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1" r:id="rId3"/>
    <p:sldId id="271" r:id="rId4"/>
    <p:sldId id="270" r:id="rId5"/>
    <p:sldId id="263" r:id="rId6"/>
    <p:sldId id="267" r:id="rId7"/>
    <p:sldId id="264" r:id="rId8"/>
    <p:sldId id="265" r:id="rId9"/>
    <p:sldId id="266" r:id="rId10"/>
    <p:sldId id="262" r:id="rId11"/>
    <p:sldId id="272" r:id="rId12"/>
    <p:sldId id="269" r:id="rId13"/>
    <p:sldId id="268" r:id="rId14"/>
    <p:sldId id="273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66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>
      <p:cViewPr>
        <p:scale>
          <a:sx n="83" d="100"/>
          <a:sy n="83" d="100"/>
        </p:scale>
        <p:origin x="61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0CA98-3BA6-454E-9A2A-1822FDE9D6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3BDFBC-7354-418F-BB23-B835739866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C2C2C3-51CA-4F7F-AE78-1AE17E258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98F869-DEC4-4A0F-80F9-E486099322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DEFB7-7A02-44F6-AAEA-BBBC903FA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7695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E807B-86DD-46B3-89BE-34B14797B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7B3C05-E946-43BB-8BB8-FA56C91CDE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A6CC03-AF1F-4F84-9919-86BE88596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FE4192-D20A-4EDB-A67F-D49D40770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1E285-F91F-4442-93FB-1C252EAA0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597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940A41-4786-4D6F-B61E-8913C27DFE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84FB87-97C1-4E35-ABDC-95B7EA9F1D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DD90C2-BD4F-4673-BBA9-E2E097F7F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3779A5-F792-475B-A53E-2B89C1B11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B80E9-ACCA-4DAD-874B-30E22B18F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082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B07AE-BE0D-445A-8FEF-345ABD9A7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91110-6DF9-42F6-9B10-4E32F6513C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A62E9F-E658-4F1B-976F-FAEAE3C4B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561A3-8AC2-4528-A81C-3AA1860FE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2DC2EB-BEF3-4C35-81AF-03211557E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0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525DB-9F94-42EB-80AD-EBD76E998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889E3F-45EE-4F71-B29E-7778E8A6A5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E63B0-8AC6-4B36-9C46-67DC5DD231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0A5D47-DD2D-447D-9E80-C7A6B989DF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A5FFC-22E3-431C-BEA3-81FAE0094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75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817C7-BA0F-45F0-9D95-5CACBB844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6070B1-DDC2-44A9-B62C-406FCAC5BB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CE187D-DFD1-46AF-AE03-C24F1685FC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4A564A-CE76-4D28-9D92-123023A95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520210-23A6-4A4E-AFD6-64320F0A5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2E3E79-6986-423D-8D46-7B88A8CE1B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928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04F033-DB4B-471C-A4CB-C0666EA78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1B6C06-9B8B-44E7-9B21-8B30FD4C96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C0D661-061D-4932-8AA1-7F25991BF2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DBF4AE-D759-4EA7-8A04-963E788E99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673BC2-F99E-4CE7-8122-6C643A9E9C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CA1FAF9-49A0-491C-AE1B-F599ECE07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06558A-4541-4E1F-A3CC-E16AFC6E9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9AA6B8-3C90-4792-B500-4BD002E8D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197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BB8B1-90AE-4028-AA68-0326E65E8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0690CB-6A39-49D5-90AD-22454AAF9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FBAF4E-4F07-4795-B743-AF186448F8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743352-A4E1-4B4C-9FF3-860032A08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4210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AB323B-9185-4811-90ED-6972F625C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6FFFEC-2D79-4299-A1DE-07452EEE6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262189-5A4F-4BC2-BE51-191394AA4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08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88107-5717-4278-812D-E96A1F216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D1B127-E8C6-4544-B0F6-568D247744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9AC705-6676-4139-B613-3867C4D0CE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5352D8-F1BB-41D3-BAFF-AEBCF14885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3E7BF5-3187-4F5F-83CA-3CD232872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D6571E-977F-4AB0-B346-93E175EB8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141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BCC46-E551-459E-9E08-9998B4D51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1A29E1-5B21-4713-80F2-9E49E359AD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AB14E5-646A-4B52-B97F-789B0C85F5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7A740D-3A46-4024-BC02-22072BFCD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3902C3-D473-4A52-BEC4-C8F0A0FC0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D4BE72-018D-404B-BCF0-F86E3DE95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948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4ED416-FAC0-4ED0-9976-570183C22F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201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C4ED416-FAC0-4ED0-9976-570183C22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7ECA262-D75C-4887-9A0D-D9A5B7BAED8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99A6D6-323D-4D0D-9FC6-A28A899C3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B8485F-BE2C-43CC-9006-CEB15A666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6CF0AE-3F0A-4CAD-B6A0-5F0431F63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3FED6D-D8C4-4A98-97A2-AB3F26C9AA97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669F97-171D-4490-90F0-C17F79E43A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5A9DD-12E8-402C-BAC9-154A0063C8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E647E-B1CF-46C4-8283-3C47BF25AA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268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gif"/><Relationship Id="rId13" Type="http://schemas.openxmlformats.org/officeDocument/2006/relationships/image" Target="../media/image83.gif"/><Relationship Id="rId18" Type="http://schemas.openxmlformats.org/officeDocument/2006/relationships/image" Target="../media/image88.gif"/><Relationship Id="rId3" Type="http://schemas.openxmlformats.org/officeDocument/2006/relationships/image" Target="../media/image73.gif"/><Relationship Id="rId21" Type="http://schemas.openxmlformats.org/officeDocument/2006/relationships/image" Target="../media/image91.gif"/><Relationship Id="rId7" Type="http://schemas.openxmlformats.org/officeDocument/2006/relationships/image" Target="../media/image77.gif"/><Relationship Id="rId12" Type="http://schemas.openxmlformats.org/officeDocument/2006/relationships/image" Target="../media/image82.gif"/><Relationship Id="rId17" Type="http://schemas.openxmlformats.org/officeDocument/2006/relationships/image" Target="../media/image87.gif"/><Relationship Id="rId2" Type="http://schemas.openxmlformats.org/officeDocument/2006/relationships/image" Target="../media/image72.gif"/><Relationship Id="rId16" Type="http://schemas.openxmlformats.org/officeDocument/2006/relationships/image" Target="../media/image86.gif"/><Relationship Id="rId20" Type="http://schemas.openxmlformats.org/officeDocument/2006/relationships/image" Target="../media/image90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6.gif"/><Relationship Id="rId11" Type="http://schemas.openxmlformats.org/officeDocument/2006/relationships/image" Target="../media/image81.gif"/><Relationship Id="rId5" Type="http://schemas.openxmlformats.org/officeDocument/2006/relationships/image" Target="../media/image75.gif"/><Relationship Id="rId15" Type="http://schemas.openxmlformats.org/officeDocument/2006/relationships/image" Target="../media/image85.gif"/><Relationship Id="rId10" Type="http://schemas.openxmlformats.org/officeDocument/2006/relationships/image" Target="../media/image80.gif"/><Relationship Id="rId19" Type="http://schemas.openxmlformats.org/officeDocument/2006/relationships/image" Target="../media/image89.gif"/><Relationship Id="rId4" Type="http://schemas.openxmlformats.org/officeDocument/2006/relationships/image" Target="../media/image74.gif"/><Relationship Id="rId9" Type="http://schemas.openxmlformats.org/officeDocument/2006/relationships/image" Target="../media/image79.gif"/><Relationship Id="rId14" Type="http://schemas.openxmlformats.org/officeDocument/2006/relationships/image" Target="../media/image84.gi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gif"/><Relationship Id="rId13" Type="http://schemas.openxmlformats.org/officeDocument/2006/relationships/image" Target="../media/image102.gif"/><Relationship Id="rId18" Type="http://schemas.openxmlformats.org/officeDocument/2006/relationships/image" Target="../media/image107.gif"/><Relationship Id="rId3" Type="http://schemas.openxmlformats.org/officeDocument/2006/relationships/image" Target="../media/image93.gif"/><Relationship Id="rId21" Type="http://schemas.openxmlformats.org/officeDocument/2006/relationships/image" Target="../media/image110.gif"/><Relationship Id="rId7" Type="http://schemas.openxmlformats.org/officeDocument/2006/relationships/image" Target="../media/image97.gif"/><Relationship Id="rId12" Type="http://schemas.openxmlformats.org/officeDocument/2006/relationships/image" Target="../media/image101.gif"/><Relationship Id="rId17" Type="http://schemas.openxmlformats.org/officeDocument/2006/relationships/image" Target="../media/image106.gif"/><Relationship Id="rId2" Type="http://schemas.openxmlformats.org/officeDocument/2006/relationships/image" Target="../media/image92.gif"/><Relationship Id="rId16" Type="http://schemas.openxmlformats.org/officeDocument/2006/relationships/image" Target="../media/image105.gif"/><Relationship Id="rId20" Type="http://schemas.openxmlformats.org/officeDocument/2006/relationships/image" Target="../media/image109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6.gif"/><Relationship Id="rId11" Type="http://schemas.openxmlformats.org/officeDocument/2006/relationships/image" Target="../media/image100.gif"/><Relationship Id="rId5" Type="http://schemas.openxmlformats.org/officeDocument/2006/relationships/image" Target="../media/image95.gif"/><Relationship Id="rId15" Type="http://schemas.openxmlformats.org/officeDocument/2006/relationships/image" Target="../media/image104.gif"/><Relationship Id="rId23" Type="http://schemas.openxmlformats.org/officeDocument/2006/relationships/image" Target="../media/image112.gif"/><Relationship Id="rId10" Type="http://schemas.openxmlformats.org/officeDocument/2006/relationships/image" Target="../media/image99.gif"/><Relationship Id="rId19" Type="http://schemas.openxmlformats.org/officeDocument/2006/relationships/image" Target="../media/image108.gif"/><Relationship Id="rId4" Type="http://schemas.openxmlformats.org/officeDocument/2006/relationships/image" Target="../media/image94.gif"/><Relationship Id="rId9" Type="http://schemas.openxmlformats.org/officeDocument/2006/relationships/image" Target="../media/image7.gif"/><Relationship Id="rId14" Type="http://schemas.openxmlformats.org/officeDocument/2006/relationships/image" Target="../media/image103.gif"/><Relationship Id="rId22" Type="http://schemas.openxmlformats.org/officeDocument/2006/relationships/image" Target="../media/image111.gi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gif"/><Relationship Id="rId13" Type="http://schemas.openxmlformats.org/officeDocument/2006/relationships/image" Target="../media/image122.gif"/><Relationship Id="rId3" Type="http://schemas.openxmlformats.org/officeDocument/2006/relationships/image" Target="../media/image114.gif"/><Relationship Id="rId7" Type="http://schemas.openxmlformats.org/officeDocument/2006/relationships/image" Target="../media/image117.gif"/><Relationship Id="rId12" Type="http://schemas.openxmlformats.org/officeDocument/2006/relationships/image" Target="../media/image121.gif"/><Relationship Id="rId2" Type="http://schemas.openxmlformats.org/officeDocument/2006/relationships/image" Target="../media/image113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6.gif"/><Relationship Id="rId11" Type="http://schemas.openxmlformats.org/officeDocument/2006/relationships/image" Target="../media/image6.gif"/><Relationship Id="rId5" Type="http://schemas.openxmlformats.org/officeDocument/2006/relationships/image" Target="../media/image3.gif"/><Relationship Id="rId15" Type="http://schemas.openxmlformats.org/officeDocument/2006/relationships/image" Target="../media/image124.gif"/><Relationship Id="rId10" Type="http://schemas.openxmlformats.org/officeDocument/2006/relationships/image" Target="../media/image120.gif"/><Relationship Id="rId4" Type="http://schemas.openxmlformats.org/officeDocument/2006/relationships/image" Target="../media/image115.gif"/><Relationship Id="rId9" Type="http://schemas.openxmlformats.org/officeDocument/2006/relationships/image" Target="../media/image119.gif"/><Relationship Id="rId14" Type="http://schemas.openxmlformats.org/officeDocument/2006/relationships/image" Target="../media/image123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hooserandom.com/spinner" TargetMode="External"/><Relationship Id="rId2" Type="http://schemas.openxmlformats.org/officeDocument/2006/relationships/hyperlink" Target="https://www.sportslogos.net/teams/list_by_league/31/NCAA_Division_I_d-h/NCAA_d-h/logos/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Wheel%20of%20Names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chooserandom.com/spinner" TargetMode="External"/><Relationship Id="rId2" Type="http://schemas.openxmlformats.org/officeDocument/2006/relationships/hyperlink" Target="https://www.sportslogos.net/teams/list_by_league/31/NCAA_Division_I_d-h/NCAA_d-h/logos/" TargetMode="External"/><Relationship Id="rId1" Type="http://schemas.openxmlformats.org/officeDocument/2006/relationships/slideLayout" Target="../slideLayouts/slideLayout7.xml"/><Relationship Id="rId4" Type="http://schemas.openxmlformats.org/officeDocument/2006/relationships/hyperlink" Target="Wheel%20of%20Name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gif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gi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3.gif"/><Relationship Id="rId11" Type="http://schemas.openxmlformats.org/officeDocument/2006/relationships/image" Target="../media/image8.gif"/><Relationship Id="rId5" Type="http://schemas.openxmlformats.org/officeDocument/2006/relationships/image" Target="../media/image2.gif"/><Relationship Id="rId10" Type="http://schemas.openxmlformats.org/officeDocument/2006/relationships/image" Target="../media/image7.gif"/><Relationship Id="rId4" Type="http://schemas.openxmlformats.org/officeDocument/2006/relationships/image" Target="../media/image1.emf"/><Relationship Id="rId9" Type="http://schemas.openxmlformats.org/officeDocument/2006/relationships/image" Target="../media/image6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13" Type="http://schemas.openxmlformats.org/officeDocument/2006/relationships/image" Target="../media/image18.gif"/><Relationship Id="rId18" Type="http://schemas.openxmlformats.org/officeDocument/2006/relationships/image" Target="../media/image23.gif"/><Relationship Id="rId3" Type="http://schemas.openxmlformats.org/officeDocument/2006/relationships/image" Target="../media/image10.gif"/><Relationship Id="rId21" Type="http://schemas.openxmlformats.org/officeDocument/2006/relationships/image" Target="../media/image26.gif"/><Relationship Id="rId7" Type="http://schemas.openxmlformats.org/officeDocument/2006/relationships/image" Target="../media/image12.gif"/><Relationship Id="rId12" Type="http://schemas.openxmlformats.org/officeDocument/2006/relationships/image" Target="../media/image17.gif"/><Relationship Id="rId17" Type="http://schemas.openxmlformats.org/officeDocument/2006/relationships/image" Target="../media/image22.gif"/><Relationship Id="rId2" Type="http://schemas.openxmlformats.org/officeDocument/2006/relationships/image" Target="../media/image2.gif"/><Relationship Id="rId16" Type="http://schemas.openxmlformats.org/officeDocument/2006/relationships/image" Target="../media/image21.gif"/><Relationship Id="rId20" Type="http://schemas.openxmlformats.org/officeDocument/2006/relationships/image" Target="../media/image25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gif"/><Relationship Id="rId11" Type="http://schemas.openxmlformats.org/officeDocument/2006/relationships/image" Target="../media/image16.gif"/><Relationship Id="rId5" Type="http://schemas.openxmlformats.org/officeDocument/2006/relationships/image" Target="../media/image4.gif"/><Relationship Id="rId15" Type="http://schemas.openxmlformats.org/officeDocument/2006/relationships/image" Target="../media/image20.gif"/><Relationship Id="rId10" Type="http://schemas.openxmlformats.org/officeDocument/2006/relationships/image" Target="../media/image15.gif"/><Relationship Id="rId19" Type="http://schemas.openxmlformats.org/officeDocument/2006/relationships/image" Target="../media/image24.gif"/><Relationship Id="rId4" Type="http://schemas.openxmlformats.org/officeDocument/2006/relationships/image" Target="../media/image11.gif"/><Relationship Id="rId9" Type="http://schemas.openxmlformats.org/officeDocument/2006/relationships/image" Target="../media/image14.gif"/><Relationship Id="rId14" Type="http://schemas.openxmlformats.org/officeDocument/2006/relationships/image" Target="../media/image19.gi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gif"/><Relationship Id="rId13" Type="http://schemas.openxmlformats.org/officeDocument/2006/relationships/image" Target="../media/image38.gif"/><Relationship Id="rId18" Type="http://schemas.openxmlformats.org/officeDocument/2006/relationships/image" Target="../media/image43.gif"/><Relationship Id="rId3" Type="http://schemas.openxmlformats.org/officeDocument/2006/relationships/image" Target="../media/image28.gif"/><Relationship Id="rId21" Type="http://schemas.openxmlformats.org/officeDocument/2006/relationships/image" Target="../media/image46.gif"/><Relationship Id="rId7" Type="http://schemas.openxmlformats.org/officeDocument/2006/relationships/image" Target="../media/image32.gif"/><Relationship Id="rId12" Type="http://schemas.openxmlformats.org/officeDocument/2006/relationships/image" Target="../media/image37.gif"/><Relationship Id="rId17" Type="http://schemas.openxmlformats.org/officeDocument/2006/relationships/image" Target="../media/image42.gif"/><Relationship Id="rId2" Type="http://schemas.openxmlformats.org/officeDocument/2006/relationships/image" Target="../media/image27.gif"/><Relationship Id="rId16" Type="http://schemas.openxmlformats.org/officeDocument/2006/relationships/image" Target="../media/image41.gif"/><Relationship Id="rId20" Type="http://schemas.openxmlformats.org/officeDocument/2006/relationships/image" Target="../media/image45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gif"/><Relationship Id="rId11" Type="http://schemas.openxmlformats.org/officeDocument/2006/relationships/image" Target="../media/image36.gif"/><Relationship Id="rId5" Type="http://schemas.openxmlformats.org/officeDocument/2006/relationships/image" Target="../media/image30.gif"/><Relationship Id="rId15" Type="http://schemas.openxmlformats.org/officeDocument/2006/relationships/image" Target="../media/image40.gif"/><Relationship Id="rId10" Type="http://schemas.openxmlformats.org/officeDocument/2006/relationships/image" Target="../media/image35.gif"/><Relationship Id="rId19" Type="http://schemas.openxmlformats.org/officeDocument/2006/relationships/image" Target="../media/image44.gif"/><Relationship Id="rId4" Type="http://schemas.openxmlformats.org/officeDocument/2006/relationships/image" Target="../media/image29.gif"/><Relationship Id="rId9" Type="http://schemas.openxmlformats.org/officeDocument/2006/relationships/image" Target="../media/image34.gif"/><Relationship Id="rId14" Type="http://schemas.openxmlformats.org/officeDocument/2006/relationships/image" Target="../media/image39.gi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gif"/><Relationship Id="rId13" Type="http://schemas.openxmlformats.org/officeDocument/2006/relationships/image" Target="../media/image58.gif"/><Relationship Id="rId3" Type="http://schemas.openxmlformats.org/officeDocument/2006/relationships/image" Target="../media/image48.gif"/><Relationship Id="rId7" Type="http://schemas.openxmlformats.org/officeDocument/2006/relationships/image" Target="../media/image52.gif"/><Relationship Id="rId12" Type="http://schemas.openxmlformats.org/officeDocument/2006/relationships/image" Target="../media/image57.gif"/><Relationship Id="rId2" Type="http://schemas.openxmlformats.org/officeDocument/2006/relationships/image" Target="../media/image47.gif"/><Relationship Id="rId16" Type="http://schemas.openxmlformats.org/officeDocument/2006/relationships/image" Target="../media/image61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gif"/><Relationship Id="rId11" Type="http://schemas.openxmlformats.org/officeDocument/2006/relationships/image" Target="../media/image56.gif"/><Relationship Id="rId5" Type="http://schemas.openxmlformats.org/officeDocument/2006/relationships/image" Target="../media/image50.gif"/><Relationship Id="rId15" Type="http://schemas.openxmlformats.org/officeDocument/2006/relationships/image" Target="../media/image60.gif"/><Relationship Id="rId10" Type="http://schemas.openxmlformats.org/officeDocument/2006/relationships/image" Target="../media/image55.gif"/><Relationship Id="rId4" Type="http://schemas.openxmlformats.org/officeDocument/2006/relationships/image" Target="../media/image49.gif"/><Relationship Id="rId9" Type="http://schemas.openxmlformats.org/officeDocument/2006/relationships/image" Target="../media/image54.gif"/><Relationship Id="rId14" Type="http://schemas.openxmlformats.org/officeDocument/2006/relationships/image" Target="../media/image59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gif"/><Relationship Id="rId3" Type="http://schemas.openxmlformats.org/officeDocument/2006/relationships/image" Target="../media/image63.gif"/><Relationship Id="rId7" Type="http://schemas.openxmlformats.org/officeDocument/2006/relationships/image" Target="../media/image67.gif"/><Relationship Id="rId12" Type="http://schemas.openxmlformats.org/officeDocument/2006/relationships/image" Target="../media/image71.gif"/><Relationship Id="rId2" Type="http://schemas.openxmlformats.org/officeDocument/2006/relationships/image" Target="../media/image62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gif"/><Relationship Id="rId11" Type="http://schemas.openxmlformats.org/officeDocument/2006/relationships/image" Target="../media/image8.gif"/><Relationship Id="rId5" Type="http://schemas.openxmlformats.org/officeDocument/2006/relationships/image" Target="../media/image65.gif"/><Relationship Id="rId10" Type="http://schemas.openxmlformats.org/officeDocument/2006/relationships/image" Target="../media/image70.gif"/><Relationship Id="rId4" Type="http://schemas.openxmlformats.org/officeDocument/2006/relationships/image" Target="../media/image64.gif"/><Relationship Id="rId9" Type="http://schemas.openxmlformats.org/officeDocument/2006/relationships/image" Target="../media/image69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98AE82-3F92-4767-A59E-F4831887E9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98AE82-3F92-4767-A59E-F4831887E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8023733B-42F2-4213-B459-E3152A90D988}"/>
              </a:ext>
            </a:extLst>
          </p:cNvPr>
          <p:cNvGrpSpPr/>
          <p:nvPr/>
        </p:nvGrpSpPr>
        <p:grpSpPr>
          <a:xfrm>
            <a:off x="300896" y="1178697"/>
            <a:ext cx="11590208" cy="4500607"/>
            <a:chOff x="300896" y="1178697"/>
            <a:chExt cx="11590208" cy="4500607"/>
          </a:xfrm>
        </p:grpSpPr>
        <p:sp>
          <p:nvSpPr>
            <p:cNvPr id="18" name="Hawaii">
              <a:extLst>
                <a:ext uri="{FF2B5EF4-FFF2-40B4-BE49-F238E27FC236}">
                  <a16:creationId xmlns:a16="http://schemas.microsoft.com/office/drawing/2014/main" id="{39B0AFE4-1228-4405-A201-19EFAC1EB0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9108" y="4849897"/>
              <a:ext cx="1650552" cy="829407"/>
            </a:xfrm>
            <a:custGeom>
              <a:avLst/>
              <a:gdLst>
                <a:gd name="T0" fmla="*/ 371 w 417"/>
                <a:gd name="T1" fmla="*/ 181 h 209"/>
                <a:gd name="T2" fmla="*/ 360 w 417"/>
                <a:gd name="T3" fmla="*/ 165 h 209"/>
                <a:gd name="T4" fmla="*/ 367 w 417"/>
                <a:gd name="T5" fmla="*/ 158 h 209"/>
                <a:gd name="T6" fmla="*/ 107 w 417"/>
                <a:gd name="T7" fmla="*/ 12 h 209"/>
                <a:gd name="T8" fmla="*/ 101 w 417"/>
                <a:gd name="T9" fmla="*/ 34 h 209"/>
                <a:gd name="T10" fmla="*/ 97 w 417"/>
                <a:gd name="T11" fmla="*/ 38 h 209"/>
                <a:gd name="T12" fmla="*/ 85 w 417"/>
                <a:gd name="T13" fmla="*/ 42 h 209"/>
                <a:gd name="T14" fmla="*/ 61 w 417"/>
                <a:gd name="T15" fmla="*/ 33 h 209"/>
                <a:gd name="T16" fmla="*/ 57 w 417"/>
                <a:gd name="T17" fmla="*/ 16 h 209"/>
                <a:gd name="T18" fmla="*/ 61 w 417"/>
                <a:gd name="T19" fmla="*/ 10 h 209"/>
                <a:gd name="T20" fmla="*/ 71 w 417"/>
                <a:gd name="T21" fmla="*/ 4 h 209"/>
                <a:gd name="T22" fmla="*/ 84 w 417"/>
                <a:gd name="T23" fmla="*/ 3 h 209"/>
                <a:gd name="T24" fmla="*/ 92 w 417"/>
                <a:gd name="T25" fmla="*/ 2 h 209"/>
                <a:gd name="T26" fmla="*/ 103 w 417"/>
                <a:gd name="T27" fmla="*/ 4 h 209"/>
                <a:gd name="T28" fmla="*/ 397 w 417"/>
                <a:gd name="T29" fmla="*/ 131 h 209"/>
                <a:gd name="T30" fmla="*/ 381 w 417"/>
                <a:gd name="T31" fmla="*/ 142 h 209"/>
                <a:gd name="T32" fmla="*/ 349 w 417"/>
                <a:gd name="T33" fmla="*/ 137 h 209"/>
                <a:gd name="T34" fmla="*/ 335 w 417"/>
                <a:gd name="T35" fmla="*/ 129 h 209"/>
                <a:gd name="T36" fmla="*/ 344 w 417"/>
                <a:gd name="T37" fmla="*/ 124 h 209"/>
                <a:gd name="T38" fmla="*/ 362 w 417"/>
                <a:gd name="T39" fmla="*/ 127 h 209"/>
                <a:gd name="T40" fmla="*/ 371 w 417"/>
                <a:gd name="T41" fmla="*/ 128 h 209"/>
                <a:gd name="T42" fmla="*/ 375 w 417"/>
                <a:gd name="T43" fmla="*/ 129 h 209"/>
                <a:gd name="T44" fmla="*/ 394 w 417"/>
                <a:gd name="T45" fmla="*/ 129 h 209"/>
                <a:gd name="T46" fmla="*/ 11 w 417"/>
                <a:gd name="T47" fmla="*/ 35 h 209"/>
                <a:gd name="T48" fmla="*/ 4 w 417"/>
                <a:gd name="T49" fmla="*/ 55 h 209"/>
                <a:gd name="T50" fmla="*/ 19 w 417"/>
                <a:gd name="T51" fmla="*/ 39 h 209"/>
                <a:gd name="T52" fmla="*/ 416 w 417"/>
                <a:gd name="T53" fmla="*/ 199 h 209"/>
                <a:gd name="T54" fmla="*/ 400 w 417"/>
                <a:gd name="T55" fmla="*/ 208 h 209"/>
                <a:gd name="T56" fmla="*/ 415 w 417"/>
                <a:gd name="T57" fmla="*/ 207 h 209"/>
                <a:gd name="T58" fmla="*/ 291 w 417"/>
                <a:gd name="T59" fmla="*/ 113 h 209"/>
                <a:gd name="T60" fmla="*/ 279 w 417"/>
                <a:gd name="T61" fmla="*/ 116 h 209"/>
                <a:gd name="T62" fmla="*/ 274 w 417"/>
                <a:gd name="T63" fmla="*/ 118 h 209"/>
                <a:gd name="T64" fmla="*/ 271 w 417"/>
                <a:gd name="T65" fmla="*/ 116 h 209"/>
                <a:gd name="T66" fmla="*/ 265 w 417"/>
                <a:gd name="T67" fmla="*/ 111 h 209"/>
                <a:gd name="T68" fmla="*/ 264 w 417"/>
                <a:gd name="T69" fmla="*/ 111 h 209"/>
                <a:gd name="T70" fmla="*/ 259 w 417"/>
                <a:gd name="T71" fmla="*/ 112 h 209"/>
                <a:gd name="T72" fmla="*/ 259 w 417"/>
                <a:gd name="T73" fmla="*/ 104 h 209"/>
                <a:gd name="T74" fmla="*/ 259 w 417"/>
                <a:gd name="T75" fmla="*/ 104 h 209"/>
                <a:gd name="T76" fmla="*/ 255 w 417"/>
                <a:gd name="T77" fmla="*/ 104 h 209"/>
                <a:gd name="T78" fmla="*/ 250 w 417"/>
                <a:gd name="T79" fmla="*/ 104 h 209"/>
                <a:gd name="T80" fmla="*/ 253 w 417"/>
                <a:gd name="T81" fmla="*/ 111 h 209"/>
                <a:gd name="T82" fmla="*/ 239 w 417"/>
                <a:gd name="T83" fmla="*/ 110 h 209"/>
                <a:gd name="T84" fmla="*/ 233 w 417"/>
                <a:gd name="T85" fmla="*/ 100 h 209"/>
                <a:gd name="T86" fmla="*/ 229 w 417"/>
                <a:gd name="T87" fmla="*/ 94 h 209"/>
                <a:gd name="T88" fmla="*/ 221 w 417"/>
                <a:gd name="T89" fmla="*/ 80 h 209"/>
                <a:gd name="T90" fmla="*/ 231 w 417"/>
                <a:gd name="T91" fmla="*/ 79 h 209"/>
                <a:gd name="T92" fmla="*/ 236 w 417"/>
                <a:gd name="T93" fmla="*/ 79 h 209"/>
                <a:gd name="T94" fmla="*/ 251 w 417"/>
                <a:gd name="T95" fmla="*/ 64 h 209"/>
                <a:gd name="T96" fmla="*/ 267 w 417"/>
                <a:gd name="T97" fmla="*/ 82 h 209"/>
                <a:gd name="T98" fmla="*/ 273 w 417"/>
                <a:gd name="T99" fmla="*/ 94 h 209"/>
                <a:gd name="T100" fmla="*/ 279 w 417"/>
                <a:gd name="T101" fmla="*/ 96 h 209"/>
                <a:gd name="T102" fmla="*/ 281 w 417"/>
                <a:gd name="T103" fmla="*/ 99 h 209"/>
                <a:gd name="T104" fmla="*/ 285 w 417"/>
                <a:gd name="T105" fmla="*/ 103 h 209"/>
                <a:gd name="T106" fmla="*/ 18 w 417"/>
                <a:gd name="T107" fmla="*/ 26 h 209"/>
                <a:gd name="T108" fmla="*/ 257 w 417"/>
                <a:gd name="T109" fmla="*/ 10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17" h="209">
                  <a:moveTo>
                    <a:pt x="386" y="170"/>
                  </a:moveTo>
                  <a:cubicBezTo>
                    <a:pt x="386" y="171"/>
                    <a:pt x="386" y="172"/>
                    <a:pt x="386" y="173"/>
                  </a:cubicBezTo>
                  <a:cubicBezTo>
                    <a:pt x="385" y="174"/>
                    <a:pt x="384" y="174"/>
                    <a:pt x="384" y="175"/>
                  </a:cubicBezTo>
                  <a:cubicBezTo>
                    <a:pt x="384" y="176"/>
                    <a:pt x="383" y="177"/>
                    <a:pt x="382" y="178"/>
                  </a:cubicBezTo>
                  <a:cubicBezTo>
                    <a:pt x="380" y="178"/>
                    <a:pt x="379" y="179"/>
                    <a:pt x="377" y="180"/>
                  </a:cubicBezTo>
                  <a:cubicBezTo>
                    <a:pt x="375" y="181"/>
                    <a:pt x="373" y="181"/>
                    <a:pt x="371" y="181"/>
                  </a:cubicBezTo>
                  <a:cubicBezTo>
                    <a:pt x="371" y="181"/>
                    <a:pt x="371" y="180"/>
                    <a:pt x="370" y="181"/>
                  </a:cubicBezTo>
                  <a:cubicBezTo>
                    <a:pt x="369" y="181"/>
                    <a:pt x="368" y="181"/>
                    <a:pt x="368" y="180"/>
                  </a:cubicBezTo>
                  <a:cubicBezTo>
                    <a:pt x="367" y="179"/>
                    <a:pt x="366" y="178"/>
                    <a:pt x="366" y="177"/>
                  </a:cubicBezTo>
                  <a:cubicBezTo>
                    <a:pt x="365" y="175"/>
                    <a:pt x="365" y="173"/>
                    <a:pt x="366" y="172"/>
                  </a:cubicBezTo>
                  <a:cubicBezTo>
                    <a:pt x="366" y="170"/>
                    <a:pt x="364" y="167"/>
                    <a:pt x="362" y="166"/>
                  </a:cubicBezTo>
                  <a:cubicBezTo>
                    <a:pt x="362" y="166"/>
                    <a:pt x="361" y="165"/>
                    <a:pt x="360" y="165"/>
                  </a:cubicBezTo>
                  <a:cubicBezTo>
                    <a:pt x="358" y="164"/>
                    <a:pt x="357" y="162"/>
                    <a:pt x="358" y="160"/>
                  </a:cubicBezTo>
                  <a:cubicBezTo>
                    <a:pt x="358" y="160"/>
                    <a:pt x="358" y="159"/>
                    <a:pt x="358" y="159"/>
                  </a:cubicBezTo>
                  <a:cubicBezTo>
                    <a:pt x="359" y="159"/>
                    <a:pt x="360" y="158"/>
                    <a:pt x="361" y="158"/>
                  </a:cubicBezTo>
                  <a:cubicBezTo>
                    <a:pt x="361" y="158"/>
                    <a:pt x="361" y="158"/>
                    <a:pt x="361" y="158"/>
                  </a:cubicBezTo>
                  <a:cubicBezTo>
                    <a:pt x="363" y="157"/>
                    <a:pt x="364" y="158"/>
                    <a:pt x="365" y="157"/>
                  </a:cubicBezTo>
                  <a:cubicBezTo>
                    <a:pt x="366" y="157"/>
                    <a:pt x="366" y="158"/>
                    <a:pt x="367" y="158"/>
                  </a:cubicBezTo>
                  <a:cubicBezTo>
                    <a:pt x="367" y="158"/>
                    <a:pt x="367" y="158"/>
                    <a:pt x="367" y="158"/>
                  </a:cubicBezTo>
                  <a:cubicBezTo>
                    <a:pt x="368" y="158"/>
                    <a:pt x="370" y="157"/>
                    <a:pt x="372" y="158"/>
                  </a:cubicBezTo>
                  <a:cubicBezTo>
                    <a:pt x="372" y="158"/>
                    <a:pt x="372" y="158"/>
                    <a:pt x="373" y="158"/>
                  </a:cubicBezTo>
                  <a:cubicBezTo>
                    <a:pt x="375" y="159"/>
                    <a:pt x="377" y="160"/>
                    <a:pt x="379" y="162"/>
                  </a:cubicBezTo>
                  <a:cubicBezTo>
                    <a:pt x="381" y="164"/>
                    <a:pt x="384" y="166"/>
                    <a:pt x="386" y="170"/>
                  </a:cubicBezTo>
                  <a:close/>
                  <a:moveTo>
                    <a:pt x="107" y="12"/>
                  </a:moveTo>
                  <a:cubicBezTo>
                    <a:pt x="107" y="13"/>
                    <a:pt x="108" y="16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5" y="18"/>
                    <a:pt x="104" y="20"/>
                    <a:pt x="104" y="21"/>
                  </a:cubicBezTo>
                  <a:cubicBezTo>
                    <a:pt x="104" y="22"/>
                    <a:pt x="103" y="22"/>
                    <a:pt x="102" y="23"/>
                  </a:cubicBezTo>
                  <a:cubicBezTo>
                    <a:pt x="102" y="26"/>
                    <a:pt x="103" y="29"/>
                    <a:pt x="103" y="32"/>
                  </a:cubicBezTo>
                  <a:cubicBezTo>
                    <a:pt x="103" y="33"/>
                    <a:pt x="103" y="34"/>
                    <a:pt x="101" y="34"/>
                  </a:cubicBezTo>
                  <a:cubicBezTo>
                    <a:pt x="101" y="34"/>
                    <a:pt x="100" y="34"/>
                    <a:pt x="100" y="34"/>
                  </a:cubicBezTo>
                  <a:cubicBezTo>
                    <a:pt x="101" y="36"/>
                    <a:pt x="101" y="36"/>
                    <a:pt x="99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8" y="37"/>
                    <a:pt x="98" y="37"/>
                    <a:pt x="98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5" y="41"/>
                    <a:pt x="93" y="43"/>
                    <a:pt x="90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88" y="43"/>
                    <a:pt x="87" y="43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1" y="42"/>
                    <a:pt x="77" y="42"/>
                    <a:pt x="74" y="40"/>
                  </a:cubicBezTo>
                  <a:cubicBezTo>
                    <a:pt x="74" y="40"/>
                    <a:pt x="73" y="40"/>
                    <a:pt x="73" y="40"/>
                  </a:cubicBezTo>
                  <a:cubicBezTo>
                    <a:pt x="71" y="40"/>
                    <a:pt x="69" y="40"/>
                    <a:pt x="68" y="37"/>
                  </a:cubicBezTo>
                  <a:cubicBezTo>
                    <a:pt x="68" y="37"/>
                    <a:pt x="67" y="37"/>
                    <a:pt x="67" y="36"/>
                  </a:cubicBezTo>
                  <a:cubicBezTo>
                    <a:pt x="66" y="34"/>
                    <a:pt x="63" y="34"/>
                    <a:pt x="61" y="33"/>
                  </a:cubicBezTo>
                  <a:cubicBezTo>
                    <a:pt x="59" y="32"/>
                    <a:pt x="57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3" y="28"/>
                    <a:pt x="51" y="25"/>
                    <a:pt x="52" y="22"/>
                  </a:cubicBezTo>
                  <a:cubicBezTo>
                    <a:pt x="52" y="20"/>
                    <a:pt x="53" y="19"/>
                    <a:pt x="54" y="18"/>
                  </a:cubicBezTo>
                  <a:cubicBezTo>
                    <a:pt x="55" y="18"/>
                    <a:pt x="56" y="17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5"/>
                    <a:pt x="57" y="14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11"/>
                    <a:pt x="59" y="10"/>
                    <a:pt x="60" y="10"/>
                  </a:cubicBezTo>
                  <a:cubicBezTo>
                    <a:pt x="60" y="10"/>
                    <a:pt x="60" y="10"/>
                    <a:pt x="61" y="10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4" y="9"/>
                    <a:pt x="67" y="7"/>
                    <a:pt x="69" y="5"/>
                  </a:cubicBezTo>
                  <a:cubicBezTo>
                    <a:pt x="70" y="5"/>
                    <a:pt x="70" y="5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2" y="4"/>
                    <a:pt x="73" y="3"/>
                    <a:pt x="73" y="3"/>
                  </a:cubicBezTo>
                  <a:cubicBezTo>
                    <a:pt x="75" y="1"/>
                    <a:pt x="76" y="1"/>
                    <a:pt x="78" y="1"/>
                  </a:cubicBezTo>
                  <a:cubicBezTo>
                    <a:pt x="78" y="1"/>
                    <a:pt x="79" y="1"/>
                    <a:pt x="79" y="2"/>
                  </a:cubicBezTo>
                  <a:cubicBezTo>
                    <a:pt x="79" y="2"/>
                    <a:pt x="80" y="2"/>
                    <a:pt x="80" y="2"/>
                  </a:cubicBezTo>
                  <a:cubicBezTo>
                    <a:pt x="81" y="2"/>
                    <a:pt x="82" y="2"/>
                    <a:pt x="82" y="3"/>
                  </a:cubicBezTo>
                  <a:cubicBezTo>
                    <a:pt x="83" y="4"/>
                    <a:pt x="83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0"/>
                    <a:pt x="85" y="0"/>
                    <a:pt x="87" y="1"/>
                  </a:cubicBezTo>
                  <a:cubicBezTo>
                    <a:pt x="88" y="1"/>
                    <a:pt x="89" y="1"/>
                    <a:pt x="90" y="1"/>
                  </a:cubicBezTo>
                  <a:cubicBezTo>
                    <a:pt x="91" y="1"/>
                    <a:pt x="91" y="1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1"/>
                    <a:pt x="94" y="1"/>
                    <a:pt x="95" y="1"/>
                  </a:cubicBezTo>
                  <a:cubicBezTo>
                    <a:pt x="97" y="0"/>
                    <a:pt x="97" y="2"/>
                    <a:pt x="98" y="2"/>
                  </a:cubicBezTo>
                  <a:cubicBezTo>
                    <a:pt x="98" y="2"/>
                    <a:pt x="99" y="3"/>
                    <a:pt x="100" y="3"/>
                  </a:cubicBezTo>
                  <a:cubicBezTo>
                    <a:pt x="101" y="2"/>
                    <a:pt x="102" y="3"/>
                    <a:pt x="103" y="4"/>
                  </a:cubicBezTo>
                  <a:cubicBezTo>
                    <a:pt x="103" y="4"/>
                    <a:pt x="103" y="5"/>
                    <a:pt x="103" y="5"/>
                  </a:cubicBezTo>
                  <a:cubicBezTo>
                    <a:pt x="106" y="6"/>
                    <a:pt x="105" y="8"/>
                    <a:pt x="106" y="10"/>
                  </a:cubicBezTo>
                  <a:cubicBezTo>
                    <a:pt x="106" y="10"/>
                    <a:pt x="106" y="10"/>
                    <a:pt x="106" y="11"/>
                  </a:cubicBezTo>
                  <a:cubicBezTo>
                    <a:pt x="106" y="11"/>
                    <a:pt x="107" y="11"/>
                    <a:pt x="107" y="12"/>
                  </a:cubicBezTo>
                  <a:close/>
                  <a:moveTo>
                    <a:pt x="397" y="130"/>
                  </a:moveTo>
                  <a:cubicBezTo>
                    <a:pt x="397" y="130"/>
                    <a:pt x="397" y="131"/>
                    <a:pt x="397" y="131"/>
                  </a:cubicBezTo>
                  <a:cubicBezTo>
                    <a:pt x="395" y="133"/>
                    <a:pt x="395" y="134"/>
                    <a:pt x="393" y="136"/>
                  </a:cubicBezTo>
                  <a:cubicBezTo>
                    <a:pt x="393" y="136"/>
                    <a:pt x="393" y="136"/>
                    <a:pt x="393" y="136"/>
                  </a:cubicBezTo>
                  <a:cubicBezTo>
                    <a:pt x="393" y="136"/>
                    <a:pt x="393" y="136"/>
                    <a:pt x="393" y="136"/>
                  </a:cubicBezTo>
                  <a:cubicBezTo>
                    <a:pt x="391" y="138"/>
                    <a:pt x="389" y="139"/>
                    <a:pt x="387" y="141"/>
                  </a:cubicBezTo>
                  <a:cubicBezTo>
                    <a:pt x="385" y="140"/>
                    <a:pt x="383" y="143"/>
                    <a:pt x="381" y="142"/>
                  </a:cubicBezTo>
                  <a:cubicBezTo>
                    <a:pt x="381" y="142"/>
                    <a:pt x="381" y="142"/>
                    <a:pt x="381" y="142"/>
                  </a:cubicBezTo>
                  <a:cubicBezTo>
                    <a:pt x="378" y="144"/>
                    <a:pt x="375" y="142"/>
                    <a:pt x="373" y="142"/>
                  </a:cubicBezTo>
                  <a:cubicBezTo>
                    <a:pt x="371" y="141"/>
                    <a:pt x="368" y="141"/>
                    <a:pt x="366" y="140"/>
                  </a:cubicBezTo>
                  <a:cubicBezTo>
                    <a:pt x="364" y="139"/>
                    <a:pt x="362" y="139"/>
                    <a:pt x="360" y="137"/>
                  </a:cubicBezTo>
                  <a:cubicBezTo>
                    <a:pt x="360" y="137"/>
                    <a:pt x="360" y="137"/>
                    <a:pt x="360" y="137"/>
                  </a:cubicBezTo>
                  <a:cubicBezTo>
                    <a:pt x="359" y="137"/>
                    <a:pt x="357" y="137"/>
                    <a:pt x="355" y="137"/>
                  </a:cubicBezTo>
                  <a:cubicBezTo>
                    <a:pt x="353" y="136"/>
                    <a:pt x="351" y="137"/>
                    <a:pt x="349" y="137"/>
                  </a:cubicBezTo>
                  <a:cubicBezTo>
                    <a:pt x="347" y="138"/>
                    <a:pt x="345" y="138"/>
                    <a:pt x="343" y="138"/>
                  </a:cubicBezTo>
                  <a:cubicBezTo>
                    <a:pt x="341" y="138"/>
                    <a:pt x="339" y="138"/>
                    <a:pt x="337" y="138"/>
                  </a:cubicBezTo>
                  <a:cubicBezTo>
                    <a:pt x="335" y="138"/>
                    <a:pt x="333" y="138"/>
                    <a:pt x="331" y="137"/>
                  </a:cubicBezTo>
                  <a:cubicBezTo>
                    <a:pt x="330" y="137"/>
                    <a:pt x="329" y="137"/>
                    <a:pt x="330" y="136"/>
                  </a:cubicBezTo>
                  <a:cubicBezTo>
                    <a:pt x="331" y="135"/>
                    <a:pt x="331" y="134"/>
                    <a:pt x="331" y="133"/>
                  </a:cubicBezTo>
                  <a:cubicBezTo>
                    <a:pt x="332" y="131"/>
                    <a:pt x="334" y="130"/>
                    <a:pt x="335" y="129"/>
                  </a:cubicBezTo>
                  <a:cubicBezTo>
                    <a:pt x="336" y="128"/>
                    <a:pt x="337" y="126"/>
                    <a:pt x="336" y="125"/>
                  </a:cubicBezTo>
                  <a:cubicBezTo>
                    <a:pt x="336" y="124"/>
                    <a:pt x="336" y="124"/>
                    <a:pt x="336" y="123"/>
                  </a:cubicBezTo>
                  <a:cubicBezTo>
                    <a:pt x="336" y="123"/>
                    <a:pt x="335" y="123"/>
                    <a:pt x="336" y="122"/>
                  </a:cubicBezTo>
                  <a:cubicBezTo>
                    <a:pt x="336" y="122"/>
                    <a:pt x="336" y="122"/>
                    <a:pt x="337" y="122"/>
                  </a:cubicBezTo>
                  <a:cubicBezTo>
                    <a:pt x="337" y="123"/>
                    <a:pt x="338" y="123"/>
                    <a:pt x="339" y="123"/>
                  </a:cubicBezTo>
                  <a:cubicBezTo>
                    <a:pt x="341" y="123"/>
                    <a:pt x="342" y="124"/>
                    <a:pt x="344" y="124"/>
                  </a:cubicBezTo>
                  <a:cubicBezTo>
                    <a:pt x="346" y="125"/>
                    <a:pt x="349" y="125"/>
                    <a:pt x="352" y="125"/>
                  </a:cubicBezTo>
                  <a:cubicBezTo>
                    <a:pt x="352" y="125"/>
                    <a:pt x="353" y="125"/>
                    <a:pt x="354" y="126"/>
                  </a:cubicBezTo>
                  <a:cubicBezTo>
                    <a:pt x="354" y="126"/>
                    <a:pt x="354" y="126"/>
                    <a:pt x="354" y="126"/>
                  </a:cubicBezTo>
                  <a:cubicBezTo>
                    <a:pt x="356" y="126"/>
                    <a:pt x="359" y="126"/>
                    <a:pt x="362" y="127"/>
                  </a:cubicBezTo>
                  <a:cubicBezTo>
                    <a:pt x="362" y="127"/>
                    <a:pt x="362" y="127"/>
                    <a:pt x="362" y="127"/>
                  </a:cubicBezTo>
                  <a:cubicBezTo>
                    <a:pt x="362" y="127"/>
                    <a:pt x="362" y="127"/>
                    <a:pt x="362" y="127"/>
                  </a:cubicBezTo>
                  <a:cubicBezTo>
                    <a:pt x="363" y="127"/>
                    <a:pt x="364" y="127"/>
                    <a:pt x="364" y="127"/>
                  </a:cubicBezTo>
                  <a:cubicBezTo>
                    <a:pt x="365" y="127"/>
                    <a:pt x="365" y="127"/>
                    <a:pt x="365" y="126"/>
                  </a:cubicBezTo>
                  <a:cubicBezTo>
                    <a:pt x="366" y="126"/>
                    <a:pt x="366" y="125"/>
                    <a:pt x="366" y="125"/>
                  </a:cubicBezTo>
                  <a:cubicBezTo>
                    <a:pt x="366" y="124"/>
                    <a:pt x="366" y="123"/>
                    <a:pt x="367" y="123"/>
                  </a:cubicBezTo>
                  <a:cubicBezTo>
                    <a:pt x="368" y="123"/>
                    <a:pt x="369" y="124"/>
                    <a:pt x="369" y="125"/>
                  </a:cubicBezTo>
                  <a:cubicBezTo>
                    <a:pt x="370" y="126"/>
                    <a:pt x="370" y="127"/>
                    <a:pt x="371" y="128"/>
                  </a:cubicBezTo>
                  <a:cubicBezTo>
                    <a:pt x="371" y="128"/>
                    <a:pt x="371" y="128"/>
                    <a:pt x="371" y="128"/>
                  </a:cubicBezTo>
                  <a:cubicBezTo>
                    <a:pt x="372" y="128"/>
                    <a:pt x="372" y="128"/>
                    <a:pt x="373" y="128"/>
                  </a:cubicBezTo>
                  <a:cubicBezTo>
                    <a:pt x="373" y="129"/>
                    <a:pt x="373" y="129"/>
                    <a:pt x="373" y="129"/>
                  </a:cubicBezTo>
                  <a:cubicBezTo>
                    <a:pt x="373" y="129"/>
                    <a:pt x="373" y="129"/>
                    <a:pt x="373" y="129"/>
                  </a:cubicBezTo>
                  <a:cubicBezTo>
                    <a:pt x="374" y="129"/>
                    <a:pt x="375" y="129"/>
                    <a:pt x="375" y="129"/>
                  </a:cubicBezTo>
                  <a:cubicBezTo>
                    <a:pt x="375" y="129"/>
                    <a:pt x="375" y="129"/>
                    <a:pt x="375" y="129"/>
                  </a:cubicBezTo>
                  <a:cubicBezTo>
                    <a:pt x="376" y="129"/>
                    <a:pt x="377" y="128"/>
                    <a:pt x="378" y="130"/>
                  </a:cubicBezTo>
                  <a:cubicBezTo>
                    <a:pt x="378" y="130"/>
                    <a:pt x="378" y="130"/>
                    <a:pt x="379" y="130"/>
                  </a:cubicBezTo>
                  <a:cubicBezTo>
                    <a:pt x="381" y="129"/>
                    <a:pt x="383" y="129"/>
                    <a:pt x="386" y="128"/>
                  </a:cubicBezTo>
                  <a:cubicBezTo>
                    <a:pt x="387" y="128"/>
                    <a:pt x="388" y="129"/>
                    <a:pt x="389" y="128"/>
                  </a:cubicBezTo>
                  <a:cubicBezTo>
                    <a:pt x="390" y="128"/>
                    <a:pt x="391" y="128"/>
                    <a:pt x="392" y="128"/>
                  </a:cubicBezTo>
                  <a:cubicBezTo>
                    <a:pt x="393" y="128"/>
                    <a:pt x="394" y="128"/>
                    <a:pt x="394" y="129"/>
                  </a:cubicBezTo>
                  <a:cubicBezTo>
                    <a:pt x="394" y="130"/>
                    <a:pt x="395" y="130"/>
                    <a:pt x="396" y="130"/>
                  </a:cubicBezTo>
                  <a:cubicBezTo>
                    <a:pt x="396" y="130"/>
                    <a:pt x="396" y="130"/>
                    <a:pt x="397" y="130"/>
                  </a:cubicBezTo>
                  <a:close/>
                  <a:moveTo>
                    <a:pt x="21" y="29"/>
                  </a:moveTo>
                  <a:cubicBezTo>
                    <a:pt x="20" y="28"/>
                    <a:pt x="19" y="28"/>
                    <a:pt x="18" y="28"/>
                  </a:cubicBezTo>
                  <a:cubicBezTo>
                    <a:pt x="16" y="29"/>
                    <a:pt x="15" y="29"/>
                    <a:pt x="15" y="31"/>
                  </a:cubicBezTo>
                  <a:cubicBezTo>
                    <a:pt x="15" y="33"/>
                    <a:pt x="14" y="35"/>
                    <a:pt x="11" y="35"/>
                  </a:cubicBezTo>
                  <a:cubicBezTo>
                    <a:pt x="10" y="36"/>
                    <a:pt x="8" y="37"/>
                    <a:pt x="7" y="38"/>
                  </a:cubicBezTo>
                  <a:cubicBezTo>
                    <a:pt x="5" y="40"/>
                    <a:pt x="2" y="41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1" y="46"/>
                    <a:pt x="0" y="47"/>
                    <a:pt x="1" y="49"/>
                  </a:cubicBezTo>
                  <a:cubicBezTo>
                    <a:pt x="1" y="50"/>
                    <a:pt x="0" y="50"/>
                    <a:pt x="1" y="51"/>
                  </a:cubicBezTo>
                  <a:cubicBezTo>
                    <a:pt x="2" y="52"/>
                    <a:pt x="3" y="54"/>
                    <a:pt x="4" y="55"/>
                  </a:cubicBezTo>
                  <a:cubicBezTo>
                    <a:pt x="4" y="55"/>
                    <a:pt x="5" y="55"/>
                    <a:pt x="5" y="54"/>
                  </a:cubicBezTo>
                  <a:cubicBezTo>
                    <a:pt x="5" y="53"/>
                    <a:pt x="6" y="52"/>
                    <a:pt x="7" y="51"/>
                  </a:cubicBezTo>
                  <a:cubicBezTo>
                    <a:pt x="7" y="49"/>
                    <a:pt x="9" y="47"/>
                    <a:pt x="10" y="45"/>
                  </a:cubicBezTo>
                  <a:cubicBezTo>
                    <a:pt x="10" y="44"/>
                    <a:pt x="12" y="44"/>
                    <a:pt x="13" y="44"/>
                  </a:cubicBezTo>
                  <a:cubicBezTo>
                    <a:pt x="15" y="43"/>
                    <a:pt x="17" y="42"/>
                    <a:pt x="18" y="41"/>
                  </a:cubicBezTo>
                  <a:cubicBezTo>
                    <a:pt x="19" y="41"/>
                    <a:pt x="20" y="40"/>
                    <a:pt x="19" y="39"/>
                  </a:cubicBezTo>
                  <a:cubicBezTo>
                    <a:pt x="18" y="36"/>
                    <a:pt x="19" y="33"/>
                    <a:pt x="21" y="31"/>
                  </a:cubicBezTo>
                  <a:cubicBezTo>
                    <a:pt x="22" y="30"/>
                    <a:pt x="22" y="29"/>
                    <a:pt x="21" y="29"/>
                  </a:cubicBezTo>
                  <a:close/>
                  <a:moveTo>
                    <a:pt x="415" y="205"/>
                  </a:moveTo>
                  <a:cubicBezTo>
                    <a:pt x="414" y="204"/>
                    <a:pt x="414" y="204"/>
                    <a:pt x="415" y="203"/>
                  </a:cubicBezTo>
                  <a:cubicBezTo>
                    <a:pt x="415" y="202"/>
                    <a:pt x="415" y="201"/>
                    <a:pt x="416" y="200"/>
                  </a:cubicBezTo>
                  <a:cubicBezTo>
                    <a:pt x="416" y="200"/>
                    <a:pt x="416" y="199"/>
                    <a:pt x="416" y="199"/>
                  </a:cubicBezTo>
                  <a:cubicBezTo>
                    <a:pt x="415" y="197"/>
                    <a:pt x="412" y="196"/>
                    <a:pt x="410" y="197"/>
                  </a:cubicBezTo>
                  <a:cubicBezTo>
                    <a:pt x="409" y="197"/>
                    <a:pt x="408" y="198"/>
                    <a:pt x="408" y="198"/>
                  </a:cubicBezTo>
                  <a:cubicBezTo>
                    <a:pt x="406" y="200"/>
                    <a:pt x="404" y="202"/>
                    <a:pt x="401" y="202"/>
                  </a:cubicBezTo>
                  <a:cubicBezTo>
                    <a:pt x="399" y="202"/>
                    <a:pt x="399" y="204"/>
                    <a:pt x="398" y="205"/>
                  </a:cubicBezTo>
                  <a:cubicBezTo>
                    <a:pt x="398" y="206"/>
                    <a:pt x="399" y="206"/>
                    <a:pt x="399" y="207"/>
                  </a:cubicBezTo>
                  <a:cubicBezTo>
                    <a:pt x="400" y="207"/>
                    <a:pt x="400" y="207"/>
                    <a:pt x="400" y="208"/>
                  </a:cubicBezTo>
                  <a:cubicBezTo>
                    <a:pt x="401" y="209"/>
                    <a:pt x="401" y="209"/>
                    <a:pt x="402" y="208"/>
                  </a:cubicBezTo>
                  <a:cubicBezTo>
                    <a:pt x="403" y="208"/>
                    <a:pt x="403" y="207"/>
                    <a:pt x="404" y="207"/>
                  </a:cubicBezTo>
                  <a:cubicBezTo>
                    <a:pt x="406" y="208"/>
                    <a:pt x="407" y="207"/>
                    <a:pt x="408" y="206"/>
                  </a:cubicBezTo>
                  <a:cubicBezTo>
                    <a:pt x="409" y="206"/>
                    <a:pt x="409" y="206"/>
                    <a:pt x="410" y="207"/>
                  </a:cubicBezTo>
                  <a:cubicBezTo>
                    <a:pt x="410" y="208"/>
                    <a:pt x="411" y="208"/>
                    <a:pt x="412" y="207"/>
                  </a:cubicBezTo>
                  <a:cubicBezTo>
                    <a:pt x="413" y="207"/>
                    <a:pt x="414" y="206"/>
                    <a:pt x="415" y="207"/>
                  </a:cubicBezTo>
                  <a:cubicBezTo>
                    <a:pt x="415" y="207"/>
                    <a:pt x="416" y="206"/>
                    <a:pt x="416" y="205"/>
                  </a:cubicBezTo>
                  <a:cubicBezTo>
                    <a:pt x="417" y="205"/>
                    <a:pt x="416" y="205"/>
                    <a:pt x="415" y="205"/>
                  </a:cubicBezTo>
                  <a:close/>
                  <a:moveTo>
                    <a:pt x="259" y="104"/>
                  </a:move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lose/>
                  <a:moveTo>
                    <a:pt x="291" y="113"/>
                  </a:moveTo>
                  <a:cubicBezTo>
                    <a:pt x="290" y="114"/>
                    <a:pt x="288" y="116"/>
                    <a:pt x="286" y="116"/>
                  </a:cubicBezTo>
                  <a:cubicBezTo>
                    <a:pt x="286" y="116"/>
                    <a:pt x="286" y="116"/>
                    <a:pt x="286" y="116"/>
                  </a:cubicBezTo>
                  <a:cubicBezTo>
                    <a:pt x="287" y="117"/>
                    <a:pt x="286" y="117"/>
                    <a:pt x="286" y="117"/>
                  </a:cubicBezTo>
                  <a:cubicBezTo>
                    <a:pt x="284" y="117"/>
                    <a:pt x="285" y="116"/>
                    <a:pt x="285" y="116"/>
                  </a:cubicBezTo>
                  <a:cubicBezTo>
                    <a:pt x="284" y="114"/>
                    <a:pt x="282" y="115"/>
                    <a:pt x="281" y="115"/>
                  </a:cubicBezTo>
                  <a:cubicBezTo>
                    <a:pt x="281" y="115"/>
                    <a:pt x="280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8" y="116"/>
                    <a:pt x="277" y="116"/>
                    <a:pt x="276" y="118"/>
                  </a:cubicBezTo>
                  <a:cubicBezTo>
                    <a:pt x="276" y="118"/>
                    <a:pt x="275" y="118"/>
                    <a:pt x="274" y="118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3" y="118"/>
                    <a:pt x="273" y="118"/>
                    <a:pt x="273" y="117"/>
                  </a:cubicBezTo>
                  <a:cubicBezTo>
                    <a:pt x="273" y="117"/>
                    <a:pt x="272" y="117"/>
                    <a:pt x="272" y="116"/>
                  </a:cubicBezTo>
                  <a:cubicBezTo>
                    <a:pt x="272" y="116"/>
                    <a:pt x="272" y="116"/>
                    <a:pt x="272" y="116"/>
                  </a:cubicBezTo>
                  <a:cubicBezTo>
                    <a:pt x="272" y="116"/>
                    <a:pt x="272" y="116"/>
                    <a:pt x="271" y="116"/>
                  </a:cubicBezTo>
                  <a:cubicBezTo>
                    <a:pt x="270" y="115"/>
                    <a:pt x="269" y="114"/>
                    <a:pt x="268" y="114"/>
                  </a:cubicBezTo>
                  <a:cubicBezTo>
                    <a:pt x="267" y="113"/>
                    <a:pt x="267" y="113"/>
                    <a:pt x="267" y="112"/>
                  </a:cubicBezTo>
                  <a:cubicBezTo>
                    <a:pt x="267" y="111"/>
                    <a:pt x="267" y="111"/>
                    <a:pt x="266" y="111"/>
                  </a:cubicBezTo>
                  <a:cubicBezTo>
                    <a:pt x="266" y="111"/>
                    <a:pt x="266" y="111"/>
                    <a:pt x="266" y="111"/>
                  </a:cubicBezTo>
                  <a:cubicBezTo>
                    <a:pt x="266" y="111"/>
                    <a:pt x="266" y="111"/>
                    <a:pt x="266" y="111"/>
                  </a:cubicBezTo>
                  <a:cubicBezTo>
                    <a:pt x="266" y="111"/>
                    <a:pt x="265" y="111"/>
                    <a:pt x="265" y="111"/>
                  </a:cubicBezTo>
                  <a:cubicBezTo>
                    <a:pt x="265" y="111"/>
                    <a:pt x="266" y="111"/>
                    <a:pt x="266" y="112"/>
                  </a:cubicBezTo>
                  <a:cubicBezTo>
                    <a:pt x="266" y="112"/>
                    <a:pt x="266" y="112"/>
                    <a:pt x="266" y="112"/>
                  </a:cubicBezTo>
                  <a:cubicBezTo>
                    <a:pt x="266" y="112"/>
                    <a:pt x="266" y="113"/>
                    <a:pt x="266" y="113"/>
                  </a:cubicBezTo>
                  <a:cubicBezTo>
                    <a:pt x="265" y="113"/>
                    <a:pt x="265" y="112"/>
                    <a:pt x="265" y="112"/>
                  </a:cubicBezTo>
                  <a:cubicBezTo>
                    <a:pt x="265" y="112"/>
                    <a:pt x="264" y="111"/>
                    <a:pt x="26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09"/>
                    <a:pt x="263" y="109"/>
                    <a:pt x="262" y="111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3" y="113"/>
                    <a:pt x="262" y="112"/>
                    <a:pt x="261" y="112"/>
                  </a:cubicBezTo>
                  <a:cubicBezTo>
                    <a:pt x="261" y="112"/>
                    <a:pt x="260" y="112"/>
                    <a:pt x="259" y="112"/>
                  </a:cubicBezTo>
                  <a:cubicBezTo>
                    <a:pt x="258" y="112"/>
                    <a:pt x="258" y="112"/>
                    <a:pt x="258" y="112"/>
                  </a:cubicBezTo>
                  <a:cubicBezTo>
                    <a:pt x="258" y="112"/>
                    <a:pt x="258" y="112"/>
                    <a:pt x="258" y="112"/>
                  </a:cubicBezTo>
                  <a:cubicBezTo>
                    <a:pt x="258" y="111"/>
                    <a:pt x="257" y="110"/>
                    <a:pt x="257" y="110"/>
                  </a:cubicBezTo>
                  <a:cubicBezTo>
                    <a:pt x="256" y="109"/>
                    <a:pt x="256" y="107"/>
                    <a:pt x="257" y="106"/>
                  </a:cubicBezTo>
                  <a:cubicBezTo>
                    <a:pt x="258" y="105"/>
                    <a:pt x="259" y="105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3"/>
                    <a:pt x="259" y="103"/>
                  </a:cubicBezTo>
                  <a:cubicBezTo>
                    <a:pt x="258" y="102"/>
                    <a:pt x="257" y="102"/>
                    <a:pt x="256" y="102"/>
                  </a:cubicBezTo>
                  <a:cubicBezTo>
                    <a:pt x="256" y="102"/>
                    <a:pt x="256" y="102"/>
                    <a:pt x="256" y="102"/>
                  </a:cubicBezTo>
                  <a:cubicBezTo>
                    <a:pt x="256" y="102"/>
                    <a:pt x="256" y="102"/>
                    <a:pt x="256" y="102"/>
                  </a:cubicBezTo>
                  <a:cubicBezTo>
                    <a:pt x="256" y="103"/>
                    <a:pt x="256" y="103"/>
                    <a:pt x="256" y="103"/>
                  </a:cubicBezTo>
                  <a:cubicBezTo>
                    <a:pt x="256" y="104"/>
                    <a:pt x="256" y="104"/>
                    <a:pt x="255" y="104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5" y="103"/>
                    <a:pt x="254" y="102"/>
                    <a:pt x="254" y="103"/>
                  </a:cubicBezTo>
                  <a:cubicBezTo>
                    <a:pt x="253" y="104"/>
                    <a:pt x="254" y="105"/>
                    <a:pt x="254" y="105"/>
                  </a:cubicBezTo>
                  <a:cubicBezTo>
                    <a:pt x="255" y="105"/>
                    <a:pt x="255" y="106"/>
                    <a:pt x="255" y="107"/>
                  </a:cubicBezTo>
                  <a:cubicBezTo>
                    <a:pt x="254" y="106"/>
                    <a:pt x="252" y="106"/>
                    <a:pt x="252" y="105"/>
                  </a:cubicBezTo>
                  <a:cubicBezTo>
                    <a:pt x="252" y="104"/>
                    <a:pt x="251" y="104"/>
                    <a:pt x="250" y="104"/>
                  </a:cubicBezTo>
                  <a:cubicBezTo>
                    <a:pt x="250" y="104"/>
                    <a:pt x="250" y="105"/>
                    <a:pt x="250" y="105"/>
                  </a:cubicBezTo>
                  <a:cubicBezTo>
                    <a:pt x="250" y="106"/>
                    <a:pt x="250" y="106"/>
                    <a:pt x="251" y="106"/>
                  </a:cubicBezTo>
                  <a:cubicBezTo>
                    <a:pt x="252" y="106"/>
                    <a:pt x="252" y="106"/>
                    <a:pt x="253" y="107"/>
                  </a:cubicBezTo>
                  <a:cubicBezTo>
                    <a:pt x="255" y="107"/>
                    <a:pt x="255" y="108"/>
                    <a:pt x="255" y="109"/>
                  </a:cubicBezTo>
                  <a:cubicBezTo>
                    <a:pt x="255" y="111"/>
                    <a:pt x="254" y="111"/>
                    <a:pt x="253" y="111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52" y="112"/>
                    <a:pt x="250" y="112"/>
                    <a:pt x="249" y="112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7" y="113"/>
                    <a:pt x="245" y="113"/>
                    <a:pt x="243" y="113"/>
                  </a:cubicBezTo>
                  <a:cubicBezTo>
                    <a:pt x="243" y="113"/>
                    <a:pt x="243" y="113"/>
                    <a:pt x="243" y="113"/>
                  </a:cubicBezTo>
                  <a:cubicBezTo>
                    <a:pt x="242" y="113"/>
                    <a:pt x="241" y="114"/>
                    <a:pt x="240" y="113"/>
                  </a:cubicBezTo>
                  <a:cubicBezTo>
                    <a:pt x="239" y="112"/>
                    <a:pt x="239" y="111"/>
                    <a:pt x="239" y="110"/>
                  </a:cubicBezTo>
                  <a:cubicBezTo>
                    <a:pt x="238" y="107"/>
                    <a:pt x="237" y="105"/>
                    <a:pt x="235" y="103"/>
                  </a:cubicBezTo>
                  <a:cubicBezTo>
                    <a:pt x="235" y="103"/>
                    <a:pt x="235" y="103"/>
                    <a:pt x="235" y="103"/>
                  </a:cubicBezTo>
                  <a:cubicBezTo>
                    <a:pt x="235" y="103"/>
                    <a:pt x="235" y="103"/>
                    <a:pt x="235" y="102"/>
                  </a:cubicBezTo>
                  <a:cubicBezTo>
                    <a:pt x="235" y="102"/>
                    <a:pt x="234" y="102"/>
                    <a:pt x="234" y="101"/>
                  </a:cubicBezTo>
                  <a:cubicBezTo>
                    <a:pt x="234" y="101"/>
                    <a:pt x="234" y="101"/>
                    <a:pt x="233" y="101"/>
                  </a:cubicBezTo>
                  <a:cubicBezTo>
                    <a:pt x="233" y="101"/>
                    <a:pt x="233" y="101"/>
                    <a:pt x="233" y="100"/>
                  </a:cubicBezTo>
                  <a:cubicBezTo>
                    <a:pt x="233" y="100"/>
                    <a:pt x="233" y="100"/>
                    <a:pt x="233" y="100"/>
                  </a:cubicBezTo>
                  <a:cubicBezTo>
                    <a:pt x="233" y="100"/>
                    <a:pt x="233" y="100"/>
                    <a:pt x="233" y="100"/>
                  </a:cubicBezTo>
                  <a:cubicBezTo>
                    <a:pt x="233" y="100"/>
                    <a:pt x="233" y="99"/>
                    <a:pt x="233" y="99"/>
                  </a:cubicBezTo>
                  <a:cubicBezTo>
                    <a:pt x="233" y="99"/>
                    <a:pt x="232" y="99"/>
                    <a:pt x="232" y="99"/>
                  </a:cubicBezTo>
                  <a:cubicBezTo>
                    <a:pt x="232" y="98"/>
                    <a:pt x="232" y="98"/>
                    <a:pt x="232" y="97"/>
                  </a:cubicBezTo>
                  <a:cubicBezTo>
                    <a:pt x="231" y="96"/>
                    <a:pt x="231" y="95"/>
                    <a:pt x="229" y="94"/>
                  </a:cubicBezTo>
                  <a:cubicBezTo>
                    <a:pt x="228" y="93"/>
                    <a:pt x="228" y="92"/>
                    <a:pt x="227" y="91"/>
                  </a:cubicBezTo>
                  <a:cubicBezTo>
                    <a:pt x="226" y="91"/>
                    <a:pt x="226" y="90"/>
                    <a:pt x="226" y="90"/>
                  </a:cubicBezTo>
                  <a:cubicBezTo>
                    <a:pt x="226" y="89"/>
                    <a:pt x="226" y="88"/>
                    <a:pt x="226" y="87"/>
                  </a:cubicBezTo>
                  <a:cubicBezTo>
                    <a:pt x="227" y="85"/>
                    <a:pt x="226" y="83"/>
                    <a:pt x="224" y="82"/>
                  </a:cubicBezTo>
                  <a:cubicBezTo>
                    <a:pt x="223" y="81"/>
                    <a:pt x="223" y="81"/>
                    <a:pt x="222" y="81"/>
                  </a:cubicBezTo>
                  <a:cubicBezTo>
                    <a:pt x="222" y="80"/>
                    <a:pt x="221" y="80"/>
                    <a:pt x="221" y="80"/>
                  </a:cubicBezTo>
                  <a:cubicBezTo>
                    <a:pt x="222" y="79"/>
                    <a:pt x="222" y="80"/>
                    <a:pt x="222" y="79"/>
                  </a:cubicBezTo>
                  <a:cubicBezTo>
                    <a:pt x="222" y="79"/>
                    <a:pt x="223" y="79"/>
                    <a:pt x="223" y="79"/>
                  </a:cubicBezTo>
                  <a:cubicBezTo>
                    <a:pt x="223" y="79"/>
                    <a:pt x="223" y="79"/>
                    <a:pt x="223" y="79"/>
                  </a:cubicBezTo>
                  <a:cubicBezTo>
                    <a:pt x="224" y="79"/>
                    <a:pt x="224" y="79"/>
                    <a:pt x="225" y="79"/>
                  </a:cubicBezTo>
                  <a:cubicBezTo>
                    <a:pt x="225" y="79"/>
                    <a:pt x="225" y="79"/>
                    <a:pt x="225" y="79"/>
                  </a:cubicBezTo>
                  <a:cubicBezTo>
                    <a:pt x="227" y="78"/>
                    <a:pt x="229" y="79"/>
                    <a:pt x="231" y="79"/>
                  </a:cubicBezTo>
                  <a:cubicBezTo>
                    <a:pt x="231" y="79"/>
                    <a:pt x="231" y="79"/>
                    <a:pt x="231" y="79"/>
                  </a:cubicBezTo>
                  <a:cubicBezTo>
                    <a:pt x="231" y="79"/>
                    <a:pt x="231" y="79"/>
                    <a:pt x="231" y="79"/>
                  </a:cubicBezTo>
                  <a:cubicBezTo>
                    <a:pt x="232" y="79"/>
                    <a:pt x="232" y="79"/>
                    <a:pt x="232" y="79"/>
                  </a:cubicBezTo>
                  <a:cubicBezTo>
                    <a:pt x="232" y="79"/>
                    <a:pt x="232" y="79"/>
                    <a:pt x="232" y="79"/>
                  </a:cubicBezTo>
                  <a:cubicBezTo>
                    <a:pt x="233" y="79"/>
                    <a:pt x="234" y="79"/>
                    <a:pt x="235" y="79"/>
                  </a:cubicBezTo>
                  <a:cubicBezTo>
                    <a:pt x="235" y="79"/>
                    <a:pt x="235" y="79"/>
                    <a:pt x="236" y="79"/>
                  </a:cubicBezTo>
                  <a:cubicBezTo>
                    <a:pt x="238" y="79"/>
                    <a:pt x="239" y="79"/>
                    <a:pt x="240" y="77"/>
                  </a:cubicBezTo>
                  <a:cubicBezTo>
                    <a:pt x="240" y="76"/>
                    <a:pt x="241" y="75"/>
                    <a:pt x="241" y="75"/>
                  </a:cubicBezTo>
                  <a:cubicBezTo>
                    <a:pt x="243" y="73"/>
                    <a:pt x="244" y="71"/>
                    <a:pt x="245" y="70"/>
                  </a:cubicBezTo>
                  <a:cubicBezTo>
                    <a:pt x="247" y="67"/>
                    <a:pt x="248" y="65"/>
                    <a:pt x="251" y="64"/>
                  </a:cubicBezTo>
                  <a:cubicBezTo>
                    <a:pt x="251" y="64"/>
                    <a:pt x="251" y="64"/>
                    <a:pt x="251" y="64"/>
                  </a:cubicBezTo>
                  <a:cubicBezTo>
                    <a:pt x="251" y="64"/>
                    <a:pt x="251" y="64"/>
                    <a:pt x="251" y="64"/>
                  </a:cubicBezTo>
                  <a:cubicBezTo>
                    <a:pt x="254" y="63"/>
                    <a:pt x="256" y="63"/>
                    <a:pt x="258" y="66"/>
                  </a:cubicBezTo>
                  <a:cubicBezTo>
                    <a:pt x="259" y="67"/>
                    <a:pt x="260" y="69"/>
                    <a:pt x="261" y="71"/>
                  </a:cubicBezTo>
                  <a:cubicBezTo>
                    <a:pt x="261" y="71"/>
                    <a:pt x="261" y="72"/>
                    <a:pt x="261" y="72"/>
                  </a:cubicBezTo>
                  <a:cubicBezTo>
                    <a:pt x="262" y="74"/>
                    <a:pt x="262" y="75"/>
                    <a:pt x="263" y="76"/>
                  </a:cubicBezTo>
                  <a:cubicBezTo>
                    <a:pt x="264" y="76"/>
                    <a:pt x="264" y="77"/>
                    <a:pt x="264" y="77"/>
                  </a:cubicBezTo>
                  <a:cubicBezTo>
                    <a:pt x="265" y="79"/>
                    <a:pt x="266" y="80"/>
                    <a:pt x="267" y="82"/>
                  </a:cubicBezTo>
                  <a:cubicBezTo>
                    <a:pt x="267" y="81"/>
                    <a:pt x="268" y="81"/>
                    <a:pt x="268" y="82"/>
                  </a:cubicBezTo>
                  <a:cubicBezTo>
                    <a:pt x="270" y="82"/>
                    <a:pt x="271" y="86"/>
                    <a:pt x="271" y="87"/>
                  </a:cubicBezTo>
                  <a:cubicBezTo>
                    <a:pt x="271" y="87"/>
                    <a:pt x="270" y="88"/>
                    <a:pt x="270" y="88"/>
                  </a:cubicBezTo>
                  <a:cubicBezTo>
                    <a:pt x="269" y="88"/>
                    <a:pt x="269" y="88"/>
                    <a:pt x="269" y="89"/>
                  </a:cubicBezTo>
                  <a:cubicBezTo>
                    <a:pt x="269" y="91"/>
                    <a:pt x="271" y="93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4" y="95"/>
                    <a:pt x="274" y="97"/>
                    <a:pt x="274" y="98"/>
                  </a:cubicBezTo>
                  <a:cubicBezTo>
                    <a:pt x="275" y="98"/>
                    <a:pt x="276" y="98"/>
                    <a:pt x="276" y="99"/>
                  </a:cubicBezTo>
                  <a:cubicBezTo>
                    <a:pt x="277" y="99"/>
                    <a:pt x="277" y="99"/>
                    <a:pt x="278" y="99"/>
                  </a:cubicBezTo>
                  <a:cubicBezTo>
                    <a:pt x="278" y="99"/>
                    <a:pt x="278" y="99"/>
                    <a:pt x="278" y="99"/>
                  </a:cubicBezTo>
                  <a:cubicBezTo>
                    <a:pt x="278" y="98"/>
                    <a:pt x="278" y="97"/>
                    <a:pt x="279" y="96"/>
                  </a:cubicBezTo>
                  <a:cubicBezTo>
                    <a:pt x="279" y="96"/>
                    <a:pt x="279" y="96"/>
                    <a:pt x="279" y="96"/>
                  </a:cubicBezTo>
                  <a:cubicBezTo>
                    <a:pt x="279" y="96"/>
                    <a:pt x="279" y="96"/>
                    <a:pt x="279" y="96"/>
                  </a:cubicBezTo>
                  <a:cubicBezTo>
                    <a:pt x="278" y="96"/>
                    <a:pt x="277" y="96"/>
                    <a:pt x="277" y="94"/>
                  </a:cubicBezTo>
                  <a:cubicBezTo>
                    <a:pt x="278" y="94"/>
                    <a:pt x="279" y="93"/>
                    <a:pt x="279" y="94"/>
                  </a:cubicBezTo>
                  <a:cubicBezTo>
                    <a:pt x="281" y="94"/>
                    <a:pt x="282" y="94"/>
                    <a:pt x="283" y="94"/>
                  </a:cubicBezTo>
                  <a:cubicBezTo>
                    <a:pt x="282" y="95"/>
                    <a:pt x="281" y="97"/>
                    <a:pt x="281" y="99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2" y="100"/>
                    <a:pt x="282" y="101"/>
                    <a:pt x="283" y="101"/>
                  </a:cubicBezTo>
                  <a:cubicBezTo>
                    <a:pt x="283" y="101"/>
                    <a:pt x="283" y="101"/>
                    <a:pt x="283" y="101"/>
                  </a:cubicBezTo>
                  <a:cubicBezTo>
                    <a:pt x="283" y="101"/>
                    <a:pt x="283" y="101"/>
                    <a:pt x="283" y="101"/>
                  </a:cubicBezTo>
                  <a:cubicBezTo>
                    <a:pt x="284" y="102"/>
                    <a:pt x="285" y="102"/>
                    <a:pt x="285" y="103"/>
                  </a:cubicBezTo>
                  <a:cubicBezTo>
                    <a:pt x="285" y="103"/>
                    <a:pt x="285" y="103"/>
                    <a:pt x="285" y="103"/>
                  </a:cubicBezTo>
                  <a:cubicBezTo>
                    <a:pt x="285" y="105"/>
                    <a:pt x="285" y="106"/>
                    <a:pt x="286" y="108"/>
                  </a:cubicBezTo>
                  <a:cubicBezTo>
                    <a:pt x="286" y="108"/>
                    <a:pt x="286" y="108"/>
                    <a:pt x="286" y="108"/>
                  </a:cubicBezTo>
                  <a:cubicBezTo>
                    <a:pt x="287" y="109"/>
                    <a:pt x="289" y="110"/>
                    <a:pt x="290" y="111"/>
                  </a:cubicBezTo>
                  <a:cubicBezTo>
                    <a:pt x="291" y="111"/>
                    <a:pt x="291" y="112"/>
                    <a:pt x="291" y="113"/>
                  </a:cubicBezTo>
                  <a:close/>
                  <a:moveTo>
                    <a:pt x="17" y="26"/>
                  </a:moveTo>
                  <a:cubicBezTo>
                    <a:pt x="17" y="26"/>
                    <a:pt x="18" y="26"/>
                    <a:pt x="18" y="26"/>
                  </a:cubicBezTo>
                  <a:cubicBezTo>
                    <a:pt x="18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lose/>
                  <a:moveTo>
                    <a:pt x="257" y="105"/>
                  </a:moveTo>
                  <a:cubicBezTo>
                    <a:pt x="256" y="105"/>
                    <a:pt x="256" y="105"/>
                    <a:pt x="256" y="106"/>
                  </a:cubicBezTo>
                  <a:cubicBezTo>
                    <a:pt x="257" y="106"/>
                    <a:pt x="257" y="105"/>
                    <a:pt x="257" y="105"/>
                  </a:cubicBezTo>
                  <a:close/>
                </a:path>
              </a:pathLst>
            </a:custGeom>
            <a:solidFill>
              <a:schemeClr val="accent3"/>
            </a:solidFill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Alaska">
              <a:extLst>
                <a:ext uri="{FF2B5EF4-FFF2-40B4-BE49-F238E27FC236}">
                  <a16:creationId xmlns:a16="http://schemas.microsoft.com/office/drawing/2014/main" id="{4B37EAC8-F013-4853-B2F5-0940DF48F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896" y="2024626"/>
              <a:ext cx="2931009" cy="2223868"/>
            </a:xfrm>
            <a:custGeom>
              <a:avLst/>
              <a:gdLst>
                <a:gd name="T0" fmla="*/ 425 w 740"/>
                <a:gd name="T1" fmla="*/ 445 h 561"/>
                <a:gd name="T2" fmla="*/ 442 w 740"/>
                <a:gd name="T3" fmla="*/ 430 h 561"/>
                <a:gd name="T4" fmla="*/ 433 w 740"/>
                <a:gd name="T5" fmla="*/ 438 h 561"/>
                <a:gd name="T6" fmla="*/ 425 w 740"/>
                <a:gd name="T7" fmla="*/ 434 h 561"/>
                <a:gd name="T8" fmla="*/ 435 w 740"/>
                <a:gd name="T9" fmla="*/ 413 h 561"/>
                <a:gd name="T10" fmla="*/ 452 w 740"/>
                <a:gd name="T11" fmla="*/ 413 h 561"/>
                <a:gd name="T12" fmla="*/ 448 w 740"/>
                <a:gd name="T13" fmla="*/ 409 h 561"/>
                <a:gd name="T14" fmla="*/ 456 w 740"/>
                <a:gd name="T15" fmla="*/ 403 h 561"/>
                <a:gd name="T16" fmla="*/ 433 w 740"/>
                <a:gd name="T17" fmla="*/ 422 h 561"/>
                <a:gd name="T18" fmla="*/ 309 w 740"/>
                <a:gd name="T19" fmla="*/ 488 h 561"/>
                <a:gd name="T20" fmla="*/ 267 w 740"/>
                <a:gd name="T21" fmla="*/ 513 h 561"/>
                <a:gd name="T22" fmla="*/ 269 w 740"/>
                <a:gd name="T23" fmla="*/ 506 h 561"/>
                <a:gd name="T24" fmla="*/ 168 w 740"/>
                <a:gd name="T25" fmla="*/ 544 h 561"/>
                <a:gd name="T26" fmla="*/ 4 w 740"/>
                <a:gd name="T27" fmla="*/ 527 h 561"/>
                <a:gd name="T28" fmla="*/ 229 w 740"/>
                <a:gd name="T29" fmla="*/ 529 h 561"/>
                <a:gd name="T30" fmla="*/ 273 w 740"/>
                <a:gd name="T31" fmla="*/ 507 h 561"/>
                <a:gd name="T32" fmla="*/ 45 w 740"/>
                <a:gd name="T33" fmla="*/ 538 h 561"/>
                <a:gd name="T34" fmla="*/ 86 w 740"/>
                <a:gd name="T35" fmla="*/ 556 h 561"/>
                <a:gd name="T36" fmla="*/ 346 w 740"/>
                <a:gd name="T37" fmla="*/ 472 h 561"/>
                <a:gd name="T38" fmla="*/ 274 w 740"/>
                <a:gd name="T39" fmla="*/ 364 h 561"/>
                <a:gd name="T40" fmla="*/ 532 w 740"/>
                <a:gd name="T41" fmla="*/ 349 h 561"/>
                <a:gd name="T42" fmla="*/ 702 w 740"/>
                <a:gd name="T43" fmla="*/ 445 h 561"/>
                <a:gd name="T44" fmla="*/ 685 w 740"/>
                <a:gd name="T45" fmla="*/ 442 h 561"/>
                <a:gd name="T46" fmla="*/ 699 w 740"/>
                <a:gd name="T47" fmla="*/ 476 h 561"/>
                <a:gd name="T48" fmla="*/ 679 w 740"/>
                <a:gd name="T49" fmla="*/ 452 h 561"/>
                <a:gd name="T50" fmla="*/ 669 w 740"/>
                <a:gd name="T51" fmla="*/ 426 h 561"/>
                <a:gd name="T52" fmla="*/ 667 w 740"/>
                <a:gd name="T53" fmla="*/ 409 h 561"/>
                <a:gd name="T54" fmla="*/ 666 w 740"/>
                <a:gd name="T55" fmla="*/ 417 h 561"/>
                <a:gd name="T56" fmla="*/ 694 w 740"/>
                <a:gd name="T57" fmla="*/ 471 h 561"/>
                <a:gd name="T58" fmla="*/ 702 w 740"/>
                <a:gd name="T59" fmla="*/ 456 h 561"/>
                <a:gd name="T60" fmla="*/ 707 w 740"/>
                <a:gd name="T61" fmla="*/ 460 h 561"/>
                <a:gd name="T62" fmla="*/ 700 w 740"/>
                <a:gd name="T63" fmla="*/ 469 h 561"/>
                <a:gd name="T64" fmla="*/ 702 w 740"/>
                <a:gd name="T65" fmla="*/ 452 h 561"/>
                <a:gd name="T66" fmla="*/ 685 w 740"/>
                <a:gd name="T67" fmla="*/ 414 h 561"/>
                <a:gd name="T68" fmla="*/ 680 w 740"/>
                <a:gd name="T69" fmla="*/ 406 h 561"/>
                <a:gd name="T70" fmla="*/ 720 w 740"/>
                <a:gd name="T71" fmla="*/ 443 h 561"/>
                <a:gd name="T72" fmla="*/ 564 w 740"/>
                <a:gd name="T73" fmla="*/ 48 h 561"/>
                <a:gd name="T74" fmla="*/ 483 w 740"/>
                <a:gd name="T75" fmla="*/ 34 h 561"/>
                <a:gd name="T76" fmla="*/ 406 w 740"/>
                <a:gd name="T77" fmla="*/ 20 h 561"/>
                <a:gd name="T78" fmla="*/ 331 w 740"/>
                <a:gd name="T79" fmla="*/ 44 h 561"/>
                <a:gd name="T80" fmla="*/ 323 w 740"/>
                <a:gd name="T81" fmla="*/ 153 h 561"/>
                <a:gd name="T82" fmla="*/ 336 w 740"/>
                <a:gd name="T83" fmla="*/ 181 h 561"/>
                <a:gd name="T84" fmla="*/ 269 w 740"/>
                <a:gd name="T85" fmla="*/ 210 h 561"/>
                <a:gd name="T86" fmla="*/ 335 w 740"/>
                <a:gd name="T87" fmla="*/ 236 h 561"/>
                <a:gd name="T88" fmla="*/ 292 w 740"/>
                <a:gd name="T89" fmla="*/ 282 h 561"/>
                <a:gd name="T90" fmla="*/ 294 w 740"/>
                <a:gd name="T91" fmla="*/ 336 h 561"/>
                <a:gd name="T92" fmla="*/ 324 w 740"/>
                <a:gd name="T93" fmla="*/ 345 h 561"/>
                <a:gd name="T94" fmla="*/ 357 w 740"/>
                <a:gd name="T95" fmla="*/ 388 h 561"/>
                <a:gd name="T96" fmla="*/ 371 w 740"/>
                <a:gd name="T97" fmla="*/ 439 h 561"/>
                <a:gd name="T98" fmla="*/ 337 w 740"/>
                <a:gd name="T99" fmla="*/ 466 h 561"/>
                <a:gd name="T100" fmla="*/ 401 w 740"/>
                <a:gd name="T101" fmla="*/ 428 h 561"/>
                <a:gd name="T102" fmla="*/ 429 w 740"/>
                <a:gd name="T103" fmla="*/ 382 h 561"/>
                <a:gd name="T104" fmla="*/ 489 w 740"/>
                <a:gd name="T105" fmla="*/ 321 h 561"/>
                <a:gd name="T106" fmla="*/ 471 w 740"/>
                <a:gd name="T107" fmla="*/ 378 h 561"/>
                <a:gd name="T108" fmla="*/ 509 w 740"/>
                <a:gd name="T109" fmla="*/ 357 h 561"/>
                <a:gd name="T110" fmla="*/ 509 w 740"/>
                <a:gd name="T111" fmla="*/ 336 h 561"/>
                <a:gd name="T112" fmla="*/ 552 w 740"/>
                <a:gd name="T113" fmla="*/ 355 h 561"/>
                <a:gd name="T114" fmla="*/ 627 w 740"/>
                <a:gd name="T115" fmla="*/ 381 h 561"/>
                <a:gd name="T116" fmla="*/ 672 w 740"/>
                <a:gd name="T117" fmla="*/ 386 h 561"/>
                <a:gd name="T118" fmla="*/ 700 w 740"/>
                <a:gd name="T119" fmla="*/ 420 h 561"/>
                <a:gd name="T120" fmla="*/ 711 w 740"/>
                <a:gd name="T121" fmla="*/ 452 h 561"/>
                <a:gd name="T122" fmla="*/ 718 w 740"/>
                <a:gd name="T123" fmla="*/ 468 h 561"/>
                <a:gd name="T124" fmla="*/ 449 w 740"/>
                <a:gd name="T125" fmla="*/ 357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0" h="561">
                  <a:moveTo>
                    <a:pt x="203" y="259"/>
                  </a:moveTo>
                  <a:cubicBezTo>
                    <a:pt x="203" y="259"/>
                    <a:pt x="203" y="258"/>
                    <a:pt x="203" y="258"/>
                  </a:cubicBezTo>
                  <a:cubicBezTo>
                    <a:pt x="203" y="257"/>
                    <a:pt x="204" y="257"/>
                    <a:pt x="204" y="257"/>
                  </a:cubicBezTo>
                  <a:cubicBezTo>
                    <a:pt x="205" y="257"/>
                    <a:pt x="204" y="259"/>
                    <a:pt x="205" y="260"/>
                  </a:cubicBezTo>
                  <a:cubicBezTo>
                    <a:pt x="205" y="260"/>
                    <a:pt x="205" y="260"/>
                    <a:pt x="206" y="260"/>
                  </a:cubicBezTo>
                  <a:cubicBezTo>
                    <a:pt x="208" y="261"/>
                    <a:pt x="210" y="262"/>
                    <a:pt x="212" y="262"/>
                  </a:cubicBezTo>
                  <a:cubicBezTo>
                    <a:pt x="212" y="262"/>
                    <a:pt x="213" y="262"/>
                    <a:pt x="213" y="262"/>
                  </a:cubicBezTo>
                  <a:cubicBezTo>
                    <a:pt x="214" y="262"/>
                    <a:pt x="215" y="262"/>
                    <a:pt x="216" y="261"/>
                  </a:cubicBezTo>
                  <a:cubicBezTo>
                    <a:pt x="217" y="260"/>
                    <a:pt x="218" y="260"/>
                    <a:pt x="219" y="260"/>
                  </a:cubicBezTo>
                  <a:cubicBezTo>
                    <a:pt x="220" y="259"/>
                    <a:pt x="221" y="259"/>
                    <a:pt x="221" y="259"/>
                  </a:cubicBezTo>
                  <a:cubicBezTo>
                    <a:pt x="222" y="260"/>
                    <a:pt x="222" y="260"/>
                    <a:pt x="222" y="260"/>
                  </a:cubicBezTo>
                  <a:cubicBezTo>
                    <a:pt x="224" y="261"/>
                    <a:pt x="225" y="262"/>
                    <a:pt x="225" y="264"/>
                  </a:cubicBezTo>
                  <a:cubicBezTo>
                    <a:pt x="225" y="264"/>
                    <a:pt x="226" y="265"/>
                    <a:pt x="226" y="266"/>
                  </a:cubicBezTo>
                  <a:cubicBezTo>
                    <a:pt x="227" y="267"/>
                    <a:pt x="228" y="266"/>
                    <a:pt x="230" y="267"/>
                  </a:cubicBezTo>
                  <a:cubicBezTo>
                    <a:pt x="230" y="267"/>
                    <a:pt x="231" y="268"/>
                    <a:pt x="232" y="268"/>
                  </a:cubicBezTo>
                  <a:cubicBezTo>
                    <a:pt x="234" y="270"/>
                    <a:pt x="238" y="269"/>
                    <a:pt x="241" y="270"/>
                  </a:cubicBezTo>
                  <a:cubicBezTo>
                    <a:pt x="242" y="270"/>
                    <a:pt x="242" y="270"/>
                    <a:pt x="242" y="271"/>
                  </a:cubicBezTo>
                  <a:cubicBezTo>
                    <a:pt x="242" y="271"/>
                    <a:pt x="242" y="271"/>
                    <a:pt x="242" y="271"/>
                  </a:cubicBezTo>
                  <a:cubicBezTo>
                    <a:pt x="242" y="272"/>
                    <a:pt x="242" y="273"/>
                    <a:pt x="242" y="274"/>
                  </a:cubicBezTo>
                  <a:cubicBezTo>
                    <a:pt x="241" y="275"/>
                    <a:pt x="240" y="275"/>
                    <a:pt x="239" y="275"/>
                  </a:cubicBezTo>
                  <a:cubicBezTo>
                    <a:pt x="239" y="275"/>
                    <a:pt x="239" y="275"/>
                    <a:pt x="238" y="275"/>
                  </a:cubicBezTo>
                  <a:cubicBezTo>
                    <a:pt x="237" y="274"/>
                    <a:pt x="235" y="274"/>
                    <a:pt x="234" y="275"/>
                  </a:cubicBezTo>
                  <a:cubicBezTo>
                    <a:pt x="233" y="275"/>
                    <a:pt x="232" y="277"/>
                    <a:pt x="231" y="278"/>
                  </a:cubicBezTo>
                  <a:cubicBezTo>
                    <a:pt x="231" y="279"/>
                    <a:pt x="231" y="279"/>
                    <a:pt x="231" y="280"/>
                  </a:cubicBezTo>
                  <a:cubicBezTo>
                    <a:pt x="231" y="280"/>
                    <a:pt x="231" y="281"/>
                    <a:pt x="230" y="281"/>
                  </a:cubicBezTo>
                  <a:cubicBezTo>
                    <a:pt x="230" y="281"/>
                    <a:pt x="230" y="281"/>
                    <a:pt x="229" y="280"/>
                  </a:cubicBezTo>
                  <a:cubicBezTo>
                    <a:pt x="229" y="280"/>
                    <a:pt x="228" y="280"/>
                    <a:pt x="228" y="279"/>
                  </a:cubicBezTo>
                  <a:cubicBezTo>
                    <a:pt x="228" y="278"/>
                    <a:pt x="228" y="278"/>
                    <a:pt x="228" y="277"/>
                  </a:cubicBezTo>
                  <a:cubicBezTo>
                    <a:pt x="227" y="276"/>
                    <a:pt x="226" y="276"/>
                    <a:pt x="225" y="275"/>
                  </a:cubicBezTo>
                  <a:cubicBezTo>
                    <a:pt x="224" y="275"/>
                    <a:pt x="223" y="274"/>
                    <a:pt x="222" y="274"/>
                  </a:cubicBezTo>
                  <a:cubicBezTo>
                    <a:pt x="222" y="273"/>
                    <a:pt x="221" y="272"/>
                    <a:pt x="221" y="272"/>
                  </a:cubicBezTo>
                  <a:cubicBezTo>
                    <a:pt x="220" y="271"/>
                    <a:pt x="219" y="270"/>
                    <a:pt x="218" y="269"/>
                  </a:cubicBezTo>
                  <a:cubicBezTo>
                    <a:pt x="217" y="268"/>
                    <a:pt x="216" y="268"/>
                    <a:pt x="214" y="267"/>
                  </a:cubicBezTo>
                  <a:cubicBezTo>
                    <a:pt x="212" y="267"/>
                    <a:pt x="211" y="267"/>
                    <a:pt x="209" y="268"/>
                  </a:cubicBezTo>
                  <a:cubicBezTo>
                    <a:pt x="209" y="269"/>
                    <a:pt x="209" y="269"/>
                    <a:pt x="208" y="270"/>
                  </a:cubicBezTo>
                  <a:cubicBezTo>
                    <a:pt x="208" y="270"/>
                    <a:pt x="207" y="270"/>
                    <a:pt x="207" y="270"/>
                  </a:cubicBezTo>
                  <a:cubicBezTo>
                    <a:pt x="206" y="270"/>
                    <a:pt x="206" y="270"/>
                    <a:pt x="206" y="270"/>
                  </a:cubicBezTo>
                  <a:cubicBezTo>
                    <a:pt x="205" y="269"/>
                    <a:pt x="203" y="268"/>
                    <a:pt x="202" y="267"/>
                  </a:cubicBezTo>
                  <a:cubicBezTo>
                    <a:pt x="202" y="266"/>
                    <a:pt x="202" y="265"/>
                    <a:pt x="202" y="263"/>
                  </a:cubicBezTo>
                  <a:cubicBezTo>
                    <a:pt x="202" y="262"/>
                    <a:pt x="203" y="261"/>
                    <a:pt x="203" y="259"/>
                  </a:cubicBezTo>
                  <a:close/>
                  <a:moveTo>
                    <a:pt x="427" y="436"/>
                  </a:moveTo>
                  <a:cubicBezTo>
                    <a:pt x="427" y="436"/>
                    <a:pt x="427" y="436"/>
                    <a:pt x="427" y="436"/>
                  </a:cubicBezTo>
                  <a:cubicBezTo>
                    <a:pt x="427" y="436"/>
                    <a:pt x="427" y="436"/>
                    <a:pt x="427" y="436"/>
                  </a:cubicBezTo>
                  <a:close/>
                  <a:moveTo>
                    <a:pt x="449" y="397"/>
                  </a:moveTo>
                  <a:cubicBezTo>
                    <a:pt x="449" y="398"/>
                    <a:pt x="449" y="398"/>
                    <a:pt x="450" y="398"/>
                  </a:cubicBezTo>
                  <a:cubicBezTo>
                    <a:pt x="450" y="399"/>
                    <a:pt x="451" y="398"/>
                    <a:pt x="451" y="399"/>
                  </a:cubicBezTo>
                  <a:cubicBezTo>
                    <a:pt x="451" y="399"/>
                    <a:pt x="451" y="399"/>
                    <a:pt x="451" y="399"/>
                  </a:cubicBezTo>
                  <a:cubicBezTo>
                    <a:pt x="451" y="398"/>
                    <a:pt x="452" y="398"/>
                    <a:pt x="452" y="398"/>
                  </a:cubicBezTo>
                  <a:cubicBezTo>
                    <a:pt x="452" y="398"/>
                    <a:pt x="452" y="398"/>
                    <a:pt x="452" y="398"/>
                  </a:cubicBezTo>
                  <a:cubicBezTo>
                    <a:pt x="452" y="398"/>
                    <a:pt x="452" y="397"/>
                    <a:pt x="452" y="397"/>
                  </a:cubicBezTo>
                  <a:cubicBezTo>
                    <a:pt x="452" y="397"/>
                    <a:pt x="452" y="397"/>
                    <a:pt x="452" y="397"/>
                  </a:cubicBezTo>
                  <a:cubicBezTo>
                    <a:pt x="452" y="397"/>
                    <a:pt x="452" y="397"/>
                    <a:pt x="453" y="396"/>
                  </a:cubicBezTo>
                  <a:cubicBezTo>
                    <a:pt x="453" y="396"/>
                    <a:pt x="453" y="396"/>
                    <a:pt x="453" y="395"/>
                  </a:cubicBezTo>
                  <a:cubicBezTo>
                    <a:pt x="453" y="395"/>
                    <a:pt x="453" y="395"/>
                    <a:pt x="453" y="395"/>
                  </a:cubicBezTo>
                  <a:cubicBezTo>
                    <a:pt x="452" y="395"/>
                    <a:pt x="452" y="395"/>
                    <a:pt x="452" y="395"/>
                  </a:cubicBezTo>
                  <a:cubicBezTo>
                    <a:pt x="452" y="395"/>
                    <a:pt x="452" y="395"/>
                    <a:pt x="452" y="395"/>
                  </a:cubicBezTo>
                  <a:cubicBezTo>
                    <a:pt x="452" y="395"/>
                    <a:pt x="451" y="395"/>
                    <a:pt x="451" y="395"/>
                  </a:cubicBezTo>
                  <a:cubicBezTo>
                    <a:pt x="451" y="395"/>
                    <a:pt x="451" y="395"/>
                    <a:pt x="451" y="396"/>
                  </a:cubicBezTo>
                  <a:cubicBezTo>
                    <a:pt x="451" y="396"/>
                    <a:pt x="451" y="396"/>
                    <a:pt x="450" y="396"/>
                  </a:cubicBezTo>
                  <a:cubicBezTo>
                    <a:pt x="450" y="396"/>
                    <a:pt x="450" y="396"/>
                    <a:pt x="450" y="395"/>
                  </a:cubicBezTo>
                  <a:cubicBezTo>
                    <a:pt x="450" y="395"/>
                    <a:pt x="450" y="395"/>
                    <a:pt x="450" y="395"/>
                  </a:cubicBezTo>
                  <a:cubicBezTo>
                    <a:pt x="450" y="396"/>
                    <a:pt x="449" y="396"/>
                    <a:pt x="449" y="396"/>
                  </a:cubicBezTo>
                  <a:cubicBezTo>
                    <a:pt x="449" y="396"/>
                    <a:pt x="449" y="396"/>
                    <a:pt x="449" y="396"/>
                  </a:cubicBezTo>
                  <a:cubicBezTo>
                    <a:pt x="449" y="396"/>
                    <a:pt x="449" y="396"/>
                    <a:pt x="449" y="396"/>
                  </a:cubicBezTo>
                  <a:cubicBezTo>
                    <a:pt x="449" y="396"/>
                    <a:pt x="450" y="396"/>
                    <a:pt x="450" y="396"/>
                  </a:cubicBezTo>
                  <a:cubicBezTo>
                    <a:pt x="450" y="396"/>
                    <a:pt x="450" y="396"/>
                    <a:pt x="450" y="397"/>
                  </a:cubicBezTo>
                  <a:cubicBezTo>
                    <a:pt x="450" y="397"/>
                    <a:pt x="450" y="397"/>
                    <a:pt x="449" y="397"/>
                  </a:cubicBezTo>
                  <a:cubicBezTo>
                    <a:pt x="449" y="396"/>
                    <a:pt x="449" y="397"/>
                    <a:pt x="449" y="397"/>
                  </a:cubicBezTo>
                  <a:cubicBezTo>
                    <a:pt x="449" y="397"/>
                    <a:pt x="449" y="397"/>
                    <a:pt x="449" y="397"/>
                  </a:cubicBezTo>
                  <a:cubicBezTo>
                    <a:pt x="449" y="397"/>
                    <a:pt x="449" y="397"/>
                    <a:pt x="449" y="397"/>
                  </a:cubicBezTo>
                  <a:close/>
                  <a:moveTo>
                    <a:pt x="430" y="444"/>
                  </a:moveTo>
                  <a:cubicBezTo>
                    <a:pt x="430" y="444"/>
                    <a:pt x="430" y="444"/>
                    <a:pt x="430" y="444"/>
                  </a:cubicBezTo>
                  <a:cubicBezTo>
                    <a:pt x="431" y="444"/>
                    <a:pt x="431" y="444"/>
                    <a:pt x="430" y="443"/>
                  </a:cubicBezTo>
                  <a:cubicBezTo>
                    <a:pt x="430" y="443"/>
                    <a:pt x="430" y="443"/>
                    <a:pt x="430" y="443"/>
                  </a:cubicBezTo>
                  <a:cubicBezTo>
                    <a:pt x="429" y="443"/>
                    <a:pt x="429" y="443"/>
                    <a:pt x="429" y="443"/>
                  </a:cubicBezTo>
                  <a:cubicBezTo>
                    <a:pt x="429" y="443"/>
                    <a:pt x="428" y="443"/>
                    <a:pt x="428" y="443"/>
                  </a:cubicBezTo>
                  <a:cubicBezTo>
                    <a:pt x="428" y="444"/>
                    <a:pt x="427" y="444"/>
                    <a:pt x="427" y="444"/>
                  </a:cubicBezTo>
                  <a:cubicBezTo>
                    <a:pt x="427" y="444"/>
                    <a:pt x="427" y="445"/>
                    <a:pt x="427" y="445"/>
                  </a:cubicBezTo>
                  <a:cubicBezTo>
                    <a:pt x="427" y="445"/>
                    <a:pt x="427" y="445"/>
                    <a:pt x="427" y="445"/>
                  </a:cubicBezTo>
                  <a:cubicBezTo>
                    <a:pt x="427" y="446"/>
                    <a:pt x="428" y="446"/>
                    <a:pt x="429" y="446"/>
                  </a:cubicBezTo>
                  <a:cubicBezTo>
                    <a:pt x="429" y="446"/>
                    <a:pt x="430" y="445"/>
                    <a:pt x="430" y="445"/>
                  </a:cubicBezTo>
                  <a:cubicBezTo>
                    <a:pt x="430" y="445"/>
                    <a:pt x="430" y="445"/>
                    <a:pt x="430" y="444"/>
                  </a:cubicBezTo>
                  <a:close/>
                  <a:moveTo>
                    <a:pt x="425" y="445"/>
                  </a:moveTo>
                  <a:cubicBezTo>
                    <a:pt x="425" y="445"/>
                    <a:pt x="425" y="445"/>
                    <a:pt x="425" y="445"/>
                  </a:cubicBez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4"/>
                    <a:pt x="425" y="444"/>
                  </a:cubicBezTo>
                  <a:cubicBezTo>
                    <a:pt x="424" y="444"/>
                    <a:pt x="423" y="445"/>
                    <a:pt x="422" y="446"/>
                  </a:cubicBezTo>
                  <a:cubicBezTo>
                    <a:pt x="422" y="446"/>
                    <a:pt x="422" y="447"/>
                    <a:pt x="421" y="447"/>
                  </a:cubicBezTo>
                  <a:cubicBezTo>
                    <a:pt x="421" y="448"/>
                    <a:pt x="421" y="448"/>
                    <a:pt x="422" y="448"/>
                  </a:cubicBezTo>
                  <a:cubicBezTo>
                    <a:pt x="422" y="448"/>
                    <a:pt x="422" y="448"/>
                    <a:pt x="422" y="448"/>
                  </a:cubicBezTo>
                  <a:cubicBezTo>
                    <a:pt x="422" y="448"/>
                    <a:pt x="423" y="447"/>
                    <a:pt x="423" y="447"/>
                  </a:cubicBezTo>
                  <a:cubicBezTo>
                    <a:pt x="423" y="447"/>
                    <a:pt x="423" y="447"/>
                    <a:pt x="424" y="446"/>
                  </a:cubicBezTo>
                  <a:cubicBezTo>
                    <a:pt x="424" y="446"/>
                    <a:pt x="424" y="446"/>
                    <a:pt x="425" y="446"/>
                  </a:cubicBezTo>
                  <a:cubicBezTo>
                    <a:pt x="425" y="446"/>
                    <a:pt x="425" y="446"/>
                    <a:pt x="425" y="446"/>
                  </a:cubicBezTo>
                  <a:cubicBezTo>
                    <a:pt x="425" y="445"/>
                    <a:pt x="425" y="445"/>
                    <a:pt x="425" y="445"/>
                  </a:cubicBezTo>
                  <a:close/>
                  <a:moveTo>
                    <a:pt x="425" y="444"/>
                  </a:move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4"/>
                    <a:pt x="425" y="444"/>
                  </a:cubicBezTo>
                  <a:close/>
                  <a:moveTo>
                    <a:pt x="455" y="419"/>
                  </a:moveTo>
                  <a:cubicBezTo>
                    <a:pt x="455" y="420"/>
                    <a:pt x="455" y="420"/>
                    <a:pt x="455" y="420"/>
                  </a:cubicBezTo>
                  <a:cubicBezTo>
                    <a:pt x="455" y="421"/>
                    <a:pt x="454" y="421"/>
                    <a:pt x="454" y="422"/>
                  </a:cubicBezTo>
                  <a:cubicBezTo>
                    <a:pt x="453" y="422"/>
                    <a:pt x="453" y="423"/>
                    <a:pt x="453" y="424"/>
                  </a:cubicBezTo>
                  <a:cubicBezTo>
                    <a:pt x="453" y="424"/>
                    <a:pt x="453" y="424"/>
                    <a:pt x="453" y="424"/>
                  </a:cubicBezTo>
                  <a:cubicBezTo>
                    <a:pt x="452" y="424"/>
                    <a:pt x="452" y="424"/>
                    <a:pt x="451" y="424"/>
                  </a:cubicBezTo>
                  <a:cubicBezTo>
                    <a:pt x="451" y="424"/>
                    <a:pt x="451" y="424"/>
                    <a:pt x="451" y="424"/>
                  </a:cubicBezTo>
                  <a:cubicBezTo>
                    <a:pt x="451" y="423"/>
                    <a:pt x="452" y="423"/>
                    <a:pt x="451" y="423"/>
                  </a:cubicBezTo>
                  <a:cubicBezTo>
                    <a:pt x="451" y="423"/>
                    <a:pt x="451" y="423"/>
                    <a:pt x="451" y="423"/>
                  </a:cubicBezTo>
                  <a:cubicBezTo>
                    <a:pt x="451" y="423"/>
                    <a:pt x="450" y="423"/>
                    <a:pt x="450" y="423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450" y="423"/>
                    <a:pt x="449" y="423"/>
                    <a:pt x="449" y="423"/>
                  </a:cubicBezTo>
                  <a:cubicBezTo>
                    <a:pt x="449" y="423"/>
                    <a:pt x="448" y="423"/>
                    <a:pt x="448" y="422"/>
                  </a:cubicBezTo>
                  <a:cubicBezTo>
                    <a:pt x="448" y="422"/>
                    <a:pt x="448" y="422"/>
                    <a:pt x="447" y="422"/>
                  </a:cubicBezTo>
                  <a:cubicBezTo>
                    <a:pt x="447" y="422"/>
                    <a:pt x="447" y="422"/>
                    <a:pt x="446" y="422"/>
                  </a:cubicBezTo>
                  <a:cubicBezTo>
                    <a:pt x="446" y="422"/>
                    <a:pt x="446" y="422"/>
                    <a:pt x="446" y="422"/>
                  </a:cubicBezTo>
                  <a:cubicBezTo>
                    <a:pt x="446" y="422"/>
                    <a:pt x="446" y="422"/>
                    <a:pt x="445" y="422"/>
                  </a:cubicBezTo>
                  <a:cubicBezTo>
                    <a:pt x="445" y="422"/>
                    <a:pt x="446" y="422"/>
                    <a:pt x="446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4" y="423"/>
                    <a:pt x="444" y="423"/>
                    <a:pt x="444" y="423"/>
                  </a:cubicBezTo>
                  <a:cubicBezTo>
                    <a:pt x="444" y="423"/>
                    <a:pt x="444" y="423"/>
                    <a:pt x="445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5" y="423"/>
                    <a:pt x="445" y="423"/>
                    <a:pt x="446" y="423"/>
                  </a:cubicBezTo>
                  <a:cubicBezTo>
                    <a:pt x="446" y="423"/>
                    <a:pt x="447" y="423"/>
                    <a:pt x="448" y="423"/>
                  </a:cubicBezTo>
                  <a:cubicBezTo>
                    <a:pt x="448" y="423"/>
                    <a:pt x="448" y="424"/>
                    <a:pt x="448" y="424"/>
                  </a:cubicBezTo>
                  <a:cubicBezTo>
                    <a:pt x="448" y="424"/>
                    <a:pt x="448" y="424"/>
                    <a:pt x="448" y="424"/>
                  </a:cubicBezTo>
                  <a:cubicBezTo>
                    <a:pt x="448" y="424"/>
                    <a:pt x="449" y="425"/>
                    <a:pt x="449" y="424"/>
                  </a:cubicBezTo>
                  <a:cubicBezTo>
                    <a:pt x="449" y="424"/>
                    <a:pt x="449" y="425"/>
                    <a:pt x="449" y="425"/>
                  </a:cubicBezTo>
                  <a:cubicBezTo>
                    <a:pt x="449" y="425"/>
                    <a:pt x="449" y="425"/>
                    <a:pt x="449" y="425"/>
                  </a:cubicBezTo>
                  <a:cubicBezTo>
                    <a:pt x="449" y="426"/>
                    <a:pt x="449" y="427"/>
                    <a:pt x="449" y="427"/>
                  </a:cubicBezTo>
                  <a:cubicBezTo>
                    <a:pt x="448" y="427"/>
                    <a:pt x="448" y="427"/>
                    <a:pt x="448" y="427"/>
                  </a:cubicBezTo>
                  <a:cubicBezTo>
                    <a:pt x="448" y="427"/>
                    <a:pt x="448" y="427"/>
                    <a:pt x="448" y="427"/>
                  </a:cubicBezTo>
                  <a:cubicBezTo>
                    <a:pt x="447" y="427"/>
                    <a:pt x="447" y="427"/>
                    <a:pt x="447" y="427"/>
                  </a:cubicBezTo>
                  <a:cubicBezTo>
                    <a:pt x="447" y="427"/>
                    <a:pt x="447" y="427"/>
                    <a:pt x="447" y="427"/>
                  </a:cubicBezTo>
                  <a:cubicBezTo>
                    <a:pt x="447" y="427"/>
                    <a:pt x="447" y="427"/>
                    <a:pt x="447" y="427"/>
                  </a:cubicBezTo>
                  <a:cubicBezTo>
                    <a:pt x="447" y="428"/>
                    <a:pt x="447" y="428"/>
                    <a:pt x="446" y="428"/>
                  </a:cubicBezTo>
                  <a:cubicBezTo>
                    <a:pt x="446" y="428"/>
                    <a:pt x="446" y="428"/>
                    <a:pt x="446" y="427"/>
                  </a:cubicBezTo>
                  <a:cubicBezTo>
                    <a:pt x="446" y="427"/>
                    <a:pt x="446" y="427"/>
                    <a:pt x="446" y="427"/>
                  </a:cubicBezTo>
                  <a:cubicBezTo>
                    <a:pt x="446" y="427"/>
                    <a:pt x="446" y="427"/>
                    <a:pt x="446" y="427"/>
                  </a:cubicBezTo>
                  <a:cubicBezTo>
                    <a:pt x="446" y="427"/>
                    <a:pt x="446" y="426"/>
                    <a:pt x="446" y="426"/>
                  </a:cubicBezTo>
                  <a:cubicBezTo>
                    <a:pt x="446" y="426"/>
                    <a:pt x="446" y="426"/>
                    <a:pt x="446" y="426"/>
                  </a:cubicBezTo>
                  <a:cubicBezTo>
                    <a:pt x="446" y="426"/>
                    <a:pt x="446" y="426"/>
                    <a:pt x="445" y="426"/>
                  </a:cubicBezTo>
                  <a:cubicBezTo>
                    <a:pt x="445" y="426"/>
                    <a:pt x="445" y="426"/>
                    <a:pt x="445" y="426"/>
                  </a:cubicBezTo>
                  <a:cubicBezTo>
                    <a:pt x="445" y="426"/>
                    <a:pt x="444" y="426"/>
                    <a:pt x="444" y="426"/>
                  </a:cubicBezTo>
                  <a:cubicBezTo>
                    <a:pt x="444" y="426"/>
                    <a:pt x="444" y="426"/>
                    <a:pt x="444" y="426"/>
                  </a:cubicBezTo>
                  <a:cubicBezTo>
                    <a:pt x="443" y="426"/>
                    <a:pt x="443" y="427"/>
                    <a:pt x="443" y="427"/>
                  </a:cubicBezTo>
                  <a:cubicBezTo>
                    <a:pt x="443" y="426"/>
                    <a:pt x="442" y="426"/>
                    <a:pt x="442" y="426"/>
                  </a:cubicBezTo>
                  <a:cubicBezTo>
                    <a:pt x="442" y="426"/>
                    <a:pt x="442" y="426"/>
                    <a:pt x="442" y="426"/>
                  </a:cubicBezTo>
                  <a:cubicBezTo>
                    <a:pt x="442" y="426"/>
                    <a:pt x="442" y="426"/>
                    <a:pt x="442" y="426"/>
                  </a:cubicBezTo>
                  <a:cubicBezTo>
                    <a:pt x="442" y="426"/>
                    <a:pt x="442" y="426"/>
                    <a:pt x="442" y="427"/>
                  </a:cubicBezTo>
                  <a:cubicBezTo>
                    <a:pt x="442" y="427"/>
                    <a:pt x="442" y="427"/>
                    <a:pt x="442" y="427"/>
                  </a:cubicBezTo>
                  <a:cubicBezTo>
                    <a:pt x="442" y="427"/>
                    <a:pt x="443" y="427"/>
                    <a:pt x="443" y="427"/>
                  </a:cubicBezTo>
                  <a:cubicBezTo>
                    <a:pt x="443" y="427"/>
                    <a:pt x="443" y="427"/>
                    <a:pt x="444" y="427"/>
                  </a:cubicBezTo>
                  <a:cubicBezTo>
                    <a:pt x="444" y="427"/>
                    <a:pt x="445" y="427"/>
                    <a:pt x="445" y="428"/>
                  </a:cubicBezTo>
                  <a:cubicBezTo>
                    <a:pt x="445" y="428"/>
                    <a:pt x="445" y="428"/>
                    <a:pt x="445" y="428"/>
                  </a:cubicBezTo>
                  <a:cubicBezTo>
                    <a:pt x="445" y="428"/>
                    <a:pt x="444" y="429"/>
                    <a:pt x="444" y="429"/>
                  </a:cubicBezTo>
                  <a:cubicBezTo>
                    <a:pt x="444" y="429"/>
                    <a:pt x="444" y="429"/>
                    <a:pt x="443" y="429"/>
                  </a:cubicBezTo>
                  <a:cubicBezTo>
                    <a:pt x="443" y="429"/>
                    <a:pt x="442" y="429"/>
                    <a:pt x="442" y="429"/>
                  </a:cubicBezTo>
                  <a:cubicBezTo>
                    <a:pt x="442" y="429"/>
                    <a:pt x="442" y="429"/>
                    <a:pt x="442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2" y="429"/>
                    <a:pt x="442" y="429"/>
                    <a:pt x="442" y="430"/>
                  </a:cubicBezTo>
                  <a:cubicBezTo>
                    <a:pt x="442" y="430"/>
                    <a:pt x="442" y="430"/>
                    <a:pt x="442" y="429"/>
                  </a:cubicBezTo>
                  <a:cubicBezTo>
                    <a:pt x="442" y="429"/>
                    <a:pt x="442" y="430"/>
                    <a:pt x="442" y="430"/>
                  </a:cubicBezTo>
                  <a:cubicBezTo>
                    <a:pt x="442" y="430"/>
                    <a:pt x="442" y="430"/>
                    <a:pt x="442" y="430"/>
                  </a:cubicBezTo>
                  <a:cubicBezTo>
                    <a:pt x="442" y="430"/>
                    <a:pt x="442" y="430"/>
                    <a:pt x="442" y="431"/>
                  </a:cubicBezTo>
                  <a:cubicBezTo>
                    <a:pt x="442" y="431"/>
                    <a:pt x="442" y="431"/>
                    <a:pt x="442" y="431"/>
                  </a:cubicBezTo>
                  <a:cubicBezTo>
                    <a:pt x="442" y="430"/>
                    <a:pt x="443" y="430"/>
                    <a:pt x="443" y="430"/>
                  </a:cubicBezTo>
                  <a:cubicBezTo>
                    <a:pt x="443" y="430"/>
                    <a:pt x="444" y="430"/>
                    <a:pt x="443" y="430"/>
                  </a:cubicBezTo>
                  <a:cubicBezTo>
                    <a:pt x="443" y="430"/>
                    <a:pt x="443" y="430"/>
                    <a:pt x="443" y="430"/>
                  </a:cubicBezTo>
                  <a:cubicBezTo>
                    <a:pt x="443" y="430"/>
                    <a:pt x="443" y="431"/>
                    <a:pt x="443" y="431"/>
                  </a:cubicBezTo>
                  <a:cubicBezTo>
                    <a:pt x="443" y="430"/>
                    <a:pt x="444" y="430"/>
                    <a:pt x="444" y="430"/>
                  </a:cubicBezTo>
                  <a:cubicBezTo>
                    <a:pt x="444" y="430"/>
                    <a:pt x="444" y="430"/>
                    <a:pt x="444" y="430"/>
                  </a:cubicBezTo>
                  <a:cubicBezTo>
                    <a:pt x="445" y="430"/>
                    <a:pt x="445" y="430"/>
                    <a:pt x="445" y="430"/>
                  </a:cubicBezTo>
                  <a:cubicBezTo>
                    <a:pt x="445" y="430"/>
                    <a:pt x="446" y="430"/>
                    <a:pt x="446" y="430"/>
                  </a:cubicBezTo>
                  <a:cubicBezTo>
                    <a:pt x="446" y="430"/>
                    <a:pt x="446" y="430"/>
                    <a:pt x="446" y="431"/>
                  </a:cubicBezTo>
                  <a:cubicBezTo>
                    <a:pt x="446" y="431"/>
                    <a:pt x="446" y="431"/>
                    <a:pt x="445" y="431"/>
                  </a:cubicBezTo>
                  <a:cubicBezTo>
                    <a:pt x="445" y="431"/>
                    <a:pt x="445" y="431"/>
                    <a:pt x="445" y="431"/>
                  </a:cubicBezTo>
                  <a:cubicBezTo>
                    <a:pt x="444" y="431"/>
                    <a:pt x="444" y="431"/>
                    <a:pt x="444" y="432"/>
                  </a:cubicBezTo>
                  <a:cubicBezTo>
                    <a:pt x="443" y="432"/>
                    <a:pt x="443" y="432"/>
                    <a:pt x="443" y="432"/>
                  </a:cubicBezTo>
                  <a:cubicBezTo>
                    <a:pt x="443" y="432"/>
                    <a:pt x="442" y="432"/>
                    <a:pt x="442" y="432"/>
                  </a:cubicBezTo>
                  <a:cubicBezTo>
                    <a:pt x="442" y="432"/>
                    <a:pt x="441" y="433"/>
                    <a:pt x="442" y="433"/>
                  </a:cubicBezTo>
                  <a:cubicBezTo>
                    <a:pt x="442" y="433"/>
                    <a:pt x="442" y="433"/>
                    <a:pt x="442" y="433"/>
                  </a:cubicBezTo>
                  <a:cubicBezTo>
                    <a:pt x="442" y="434"/>
                    <a:pt x="441" y="434"/>
                    <a:pt x="440" y="434"/>
                  </a:cubicBezTo>
                  <a:cubicBezTo>
                    <a:pt x="440" y="434"/>
                    <a:pt x="440" y="434"/>
                    <a:pt x="440" y="434"/>
                  </a:cubicBezTo>
                  <a:cubicBezTo>
                    <a:pt x="440" y="433"/>
                    <a:pt x="440" y="433"/>
                    <a:pt x="440" y="433"/>
                  </a:cubicBezTo>
                  <a:cubicBezTo>
                    <a:pt x="440" y="433"/>
                    <a:pt x="440" y="433"/>
                    <a:pt x="440" y="433"/>
                  </a:cubicBezTo>
                  <a:cubicBezTo>
                    <a:pt x="440" y="432"/>
                    <a:pt x="441" y="432"/>
                    <a:pt x="441" y="432"/>
                  </a:cubicBezTo>
                  <a:cubicBezTo>
                    <a:pt x="440" y="432"/>
                    <a:pt x="440" y="432"/>
                    <a:pt x="440" y="432"/>
                  </a:cubicBezTo>
                  <a:cubicBezTo>
                    <a:pt x="440" y="432"/>
                    <a:pt x="440" y="432"/>
                    <a:pt x="440" y="432"/>
                  </a:cubicBezTo>
                  <a:cubicBezTo>
                    <a:pt x="440" y="432"/>
                    <a:pt x="440" y="432"/>
                    <a:pt x="439" y="433"/>
                  </a:cubicBezTo>
                  <a:cubicBezTo>
                    <a:pt x="439" y="433"/>
                    <a:pt x="439" y="432"/>
                    <a:pt x="439" y="432"/>
                  </a:cubicBezTo>
                  <a:cubicBezTo>
                    <a:pt x="439" y="432"/>
                    <a:pt x="439" y="432"/>
                    <a:pt x="439" y="432"/>
                  </a:cubicBezTo>
                  <a:cubicBezTo>
                    <a:pt x="440" y="432"/>
                    <a:pt x="440" y="432"/>
                    <a:pt x="440" y="431"/>
                  </a:cubicBezTo>
                  <a:cubicBezTo>
                    <a:pt x="440" y="431"/>
                    <a:pt x="440" y="431"/>
                    <a:pt x="440" y="431"/>
                  </a:cubicBezTo>
                  <a:cubicBezTo>
                    <a:pt x="440" y="431"/>
                    <a:pt x="440" y="431"/>
                    <a:pt x="440" y="431"/>
                  </a:cubicBezTo>
                  <a:cubicBezTo>
                    <a:pt x="439" y="431"/>
                    <a:pt x="440" y="431"/>
                    <a:pt x="440" y="431"/>
                  </a:cubicBezTo>
                  <a:cubicBezTo>
                    <a:pt x="440" y="431"/>
                    <a:pt x="441" y="430"/>
                    <a:pt x="441" y="430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0" y="429"/>
                  </a:cubicBezTo>
                  <a:cubicBezTo>
                    <a:pt x="440" y="430"/>
                    <a:pt x="440" y="430"/>
                    <a:pt x="440" y="429"/>
                  </a:cubicBezTo>
                  <a:cubicBezTo>
                    <a:pt x="440" y="429"/>
                    <a:pt x="439" y="429"/>
                    <a:pt x="439" y="429"/>
                  </a:cubicBezTo>
                  <a:cubicBezTo>
                    <a:pt x="439" y="429"/>
                    <a:pt x="439" y="430"/>
                    <a:pt x="439" y="430"/>
                  </a:cubicBezTo>
                  <a:cubicBezTo>
                    <a:pt x="439" y="430"/>
                    <a:pt x="440" y="430"/>
                    <a:pt x="440" y="430"/>
                  </a:cubicBezTo>
                  <a:cubicBezTo>
                    <a:pt x="439" y="430"/>
                    <a:pt x="439" y="430"/>
                    <a:pt x="439" y="431"/>
                  </a:cubicBezTo>
                  <a:cubicBezTo>
                    <a:pt x="439" y="431"/>
                    <a:pt x="439" y="431"/>
                    <a:pt x="439" y="431"/>
                  </a:cubicBezTo>
                  <a:cubicBezTo>
                    <a:pt x="439" y="431"/>
                    <a:pt x="439" y="431"/>
                    <a:pt x="439" y="431"/>
                  </a:cubicBezTo>
                  <a:cubicBezTo>
                    <a:pt x="438" y="431"/>
                    <a:pt x="438" y="431"/>
                    <a:pt x="438" y="431"/>
                  </a:cubicBezTo>
                  <a:cubicBezTo>
                    <a:pt x="438" y="431"/>
                    <a:pt x="438" y="431"/>
                    <a:pt x="438" y="430"/>
                  </a:cubicBezTo>
                  <a:cubicBezTo>
                    <a:pt x="438" y="430"/>
                    <a:pt x="438" y="430"/>
                    <a:pt x="438" y="430"/>
                  </a:cubicBezTo>
                  <a:cubicBezTo>
                    <a:pt x="438" y="430"/>
                    <a:pt x="438" y="430"/>
                    <a:pt x="437" y="430"/>
                  </a:cubicBezTo>
                  <a:cubicBezTo>
                    <a:pt x="437" y="430"/>
                    <a:pt x="437" y="430"/>
                    <a:pt x="437" y="430"/>
                  </a:cubicBezTo>
                  <a:cubicBezTo>
                    <a:pt x="437" y="430"/>
                    <a:pt x="438" y="430"/>
                    <a:pt x="438" y="430"/>
                  </a:cubicBezTo>
                  <a:cubicBezTo>
                    <a:pt x="438" y="430"/>
                    <a:pt x="438" y="430"/>
                    <a:pt x="438" y="430"/>
                  </a:cubicBezTo>
                  <a:cubicBezTo>
                    <a:pt x="438" y="430"/>
                    <a:pt x="438" y="431"/>
                    <a:pt x="438" y="431"/>
                  </a:cubicBezTo>
                  <a:cubicBezTo>
                    <a:pt x="438" y="431"/>
                    <a:pt x="438" y="432"/>
                    <a:pt x="438" y="432"/>
                  </a:cubicBezTo>
                  <a:cubicBezTo>
                    <a:pt x="438" y="432"/>
                    <a:pt x="438" y="432"/>
                    <a:pt x="438" y="432"/>
                  </a:cubicBezTo>
                  <a:cubicBezTo>
                    <a:pt x="438" y="433"/>
                    <a:pt x="438" y="432"/>
                    <a:pt x="438" y="432"/>
                  </a:cubicBezTo>
                  <a:cubicBezTo>
                    <a:pt x="437" y="432"/>
                    <a:pt x="437" y="432"/>
                    <a:pt x="437" y="432"/>
                  </a:cubicBezTo>
                  <a:cubicBezTo>
                    <a:pt x="436" y="432"/>
                    <a:pt x="436" y="432"/>
                    <a:pt x="436" y="432"/>
                  </a:cubicBezTo>
                  <a:cubicBezTo>
                    <a:pt x="436" y="432"/>
                    <a:pt x="436" y="432"/>
                    <a:pt x="436" y="432"/>
                  </a:cubicBezTo>
                  <a:cubicBezTo>
                    <a:pt x="435" y="432"/>
                    <a:pt x="435" y="432"/>
                    <a:pt x="435" y="433"/>
                  </a:cubicBezTo>
                  <a:cubicBezTo>
                    <a:pt x="435" y="433"/>
                    <a:pt x="435" y="433"/>
                    <a:pt x="436" y="433"/>
                  </a:cubicBezTo>
                  <a:cubicBezTo>
                    <a:pt x="436" y="433"/>
                    <a:pt x="436" y="433"/>
                    <a:pt x="436" y="433"/>
                  </a:cubicBezTo>
                  <a:cubicBezTo>
                    <a:pt x="437" y="433"/>
                    <a:pt x="437" y="433"/>
                    <a:pt x="437" y="433"/>
                  </a:cubicBezTo>
                  <a:cubicBezTo>
                    <a:pt x="437" y="433"/>
                    <a:pt x="437" y="433"/>
                    <a:pt x="437" y="433"/>
                  </a:cubicBezTo>
                  <a:cubicBezTo>
                    <a:pt x="437" y="434"/>
                    <a:pt x="437" y="434"/>
                    <a:pt x="437" y="434"/>
                  </a:cubicBezTo>
                  <a:cubicBezTo>
                    <a:pt x="437" y="434"/>
                    <a:pt x="437" y="434"/>
                    <a:pt x="437" y="434"/>
                  </a:cubicBezTo>
                  <a:cubicBezTo>
                    <a:pt x="438" y="434"/>
                    <a:pt x="437" y="434"/>
                    <a:pt x="437" y="435"/>
                  </a:cubicBezTo>
                  <a:cubicBezTo>
                    <a:pt x="437" y="435"/>
                    <a:pt x="437" y="435"/>
                    <a:pt x="437" y="435"/>
                  </a:cubicBezTo>
                  <a:cubicBezTo>
                    <a:pt x="437" y="435"/>
                    <a:pt x="437" y="435"/>
                    <a:pt x="437" y="435"/>
                  </a:cubicBezTo>
                  <a:cubicBezTo>
                    <a:pt x="437" y="435"/>
                    <a:pt x="437" y="435"/>
                    <a:pt x="437" y="435"/>
                  </a:cubicBezTo>
                  <a:cubicBezTo>
                    <a:pt x="437" y="436"/>
                    <a:pt x="436" y="436"/>
                    <a:pt x="436" y="436"/>
                  </a:cubicBezTo>
                  <a:cubicBezTo>
                    <a:pt x="436" y="436"/>
                    <a:pt x="436" y="436"/>
                    <a:pt x="436" y="435"/>
                  </a:cubicBezTo>
                  <a:cubicBezTo>
                    <a:pt x="436" y="435"/>
                    <a:pt x="436" y="435"/>
                    <a:pt x="435" y="435"/>
                  </a:cubicBezTo>
                  <a:cubicBezTo>
                    <a:pt x="435" y="435"/>
                    <a:pt x="435" y="435"/>
                    <a:pt x="435" y="435"/>
                  </a:cubicBezTo>
                  <a:cubicBezTo>
                    <a:pt x="435" y="435"/>
                    <a:pt x="435" y="436"/>
                    <a:pt x="435" y="436"/>
                  </a:cubicBezTo>
                  <a:cubicBezTo>
                    <a:pt x="436" y="436"/>
                    <a:pt x="435" y="436"/>
                    <a:pt x="435" y="437"/>
                  </a:cubicBezTo>
                  <a:cubicBezTo>
                    <a:pt x="435" y="437"/>
                    <a:pt x="435" y="437"/>
                    <a:pt x="435" y="437"/>
                  </a:cubicBezTo>
                  <a:cubicBezTo>
                    <a:pt x="434" y="437"/>
                    <a:pt x="434" y="437"/>
                    <a:pt x="435" y="437"/>
                  </a:cubicBezTo>
                  <a:cubicBezTo>
                    <a:pt x="435" y="437"/>
                    <a:pt x="435" y="437"/>
                    <a:pt x="435" y="438"/>
                  </a:cubicBezTo>
                  <a:cubicBezTo>
                    <a:pt x="435" y="437"/>
                    <a:pt x="435" y="437"/>
                    <a:pt x="435" y="437"/>
                  </a:cubicBezTo>
                  <a:cubicBezTo>
                    <a:pt x="435" y="437"/>
                    <a:pt x="435" y="437"/>
                    <a:pt x="435" y="437"/>
                  </a:cubicBezTo>
                  <a:cubicBezTo>
                    <a:pt x="436" y="437"/>
                    <a:pt x="435" y="437"/>
                    <a:pt x="435" y="437"/>
                  </a:cubicBezTo>
                  <a:cubicBezTo>
                    <a:pt x="435" y="437"/>
                    <a:pt x="435" y="438"/>
                    <a:pt x="434" y="438"/>
                  </a:cubicBezTo>
                  <a:cubicBezTo>
                    <a:pt x="434" y="438"/>
                    <a:pt x="434" y="438"/>
                    <a:pt x="434" y="438"/>
                  </a:cubicBezTo>
                  <a:cubicBezTo>
                    <a:pt x="433" y="438"/>
                    <a:pt x="433" y="438"/>
                    <a:pt x="433" y="438"/>
                  </a:cubicBezTo>
                  <a:cubicBezTo>
                    <a:pt x="433" y="439"/>
                    <a:pt x="433" y="439"/>
                    <a:pt x="432" y="440"/>
                  </a:cubicBezTo>
                  <a:cubicBezTo>
                    <a:pt x="432" y="440"/>
                    <a:pt x="432" y="440"/>
                    <a:pt x="432" y="440"/>
                  </a:cubicBezTo>
                  <a:cubicBezTo>
                    <a:pt x="432" y="440"/>
                    <a:pt x="431" y="440"/>
                    <a:pt x="431" y="440"/>
                  </a:cubicBezTo>
                  <a:cubicBezTo>
                    <a:pt x="431" y="440"/>
                    <a:pt x="431" y="440"/>
                    <a:pt x="431" y="440"/>
                  </a:cubicBezTo>
                  <a:cubicBezTo>
                    <a:pt x="430" y="440"/>
                    <a:pt x="430" y="440"/>
                    <a:pt x="430" y="440"/>
                  </a:cubicBezTo>
                  <a:cubicBezTo>
                    <a:pt x="430" y="440"/>
                    <a:pt x="430" y="439"/>
                    <a:pt x="430" y="439"/>
                  </a:cubicBezTo>
                  <a:cubicBezTo>
                    <a:pt x="430" y="438"/>
                    <a:pt x="431" y="438"/>
                    <a:pt x="431" y="438"/>
                  </a:cubicBezTo>
                  <a:cubicBezTo>
                    <a:pt x="431" y="437"/>
                    <a:pt x="432" y="437"/>
                    <a:pt x="432" y="436"/>
                  </a:cubicBezTo>
                  <a:cubicBezTo>
                    <a:pt x="432" y="436"/>
                    <a:pt x="432" y="436"/>
                    <a:pt x="432" y="436"/>
                  </a:cubicBezTo>
                  <a:cubicBezTo>
                    <a:pt x="433" y="436"/>
                    <a:pt x="433" y="435"/>
                    <a:pt x="434" y="435"/>
                  </a:cubicBezTo>
                  <a:cubicBezTo>
                    <a:pt x="434" y="435"/>
                    <a:pt x="434" y="434"/>
                    <a:pt x="434" y="434"/>
                  </a:cubicBezTo>
                  <a:cubicBezTo>
                    <a:pt x="434" y="434"/>
                    <a:pt x="435" y="434"/>
                    <a:pt x="434" y="434"/>
                  </a:cubicBezTo>
                  <a:cubicBezTo>
                    <a:pt x="434" y="434"/>
                    <a:pt x="434" y="434"/>
                    <a:pt x="434" y="434"/>
                  </a:cubicBezTo>
                  <a:cubicBezTo>
                    <a:pt x="434" y="434"/>
                    <a:pt x="434" y="435"/>
                    <a:pt x="433" y="435"/>
                  </a:cubicBezTo>
                  <a:cubicBezTo>
                    <a:pt x="433" y="435"/>
                    <a:pt x="433" y="434"/>
                    <a:pt x="434" y="434"/>
                  </a:cubicBezTo>
                  <a:cubicBezTo>
                    <a:pt x="434" y="434"/>
                    <a:pt x="434" y="434"/>
                    <a:pt x="434" y="434"/>
                  </a:cubicBezTo>
                  <a:cubicBezTo>
                    <a:pt x="434" y="434"/>
                    <a:pt x="433" y="433"/>
                    <a:pt x="433" y="434"/>
                  </a:cubicBezTo>
                  <a:cubicBezTo>
                    <a:pt x="433" y="434"/>
                    <a:pt x="433" y="434"/>
                    <a:pt x="433" y="434"/>
                  </a:cubicBezTo>
                  <a:cubicBezTo>
                    <a:pt x="433" y="434"/>
                    <a:pt x="433" y="435"/>
                    <a:pt x="433" y="435"/>
                  </a:cubicBezTo>
                  <a:cubicBezTo>
                    <a:pt x="433" y="435"/>
                    <a:pt x="433" y="435"/>
                    <a:pt x="432" y="435"/>
                  </a:cubicBezTo>
                  <a:cubicBezTo>
                    <a:pt x="432" y="435"/>
                    <a:pt x="432" y="435"/>
                    <a:pt x="432" y="435"/>
                  </a:cubicBezTo>
                  <a:cubicBezTo>
                    <a:pt x="432" y="434"/>
                    <a:pt x="432" y="434"/>
                    <a:pt x="432" y="433"/>
                  </a:cubicBezTo>
                  <a:cubicBezTo>
                    <a:pt x="432" y="433"/>
                    <a:pt x="433" y="433"/>
                    <a:pt x="433" y="433"/>
                  </a:cubicBezTo>
                  <a:cubicBezTo>
                    <a:pt x="433" y="432"/>
                    <a:pt x="433" y="432"/>
                    <a:pt x="433" y="432"/>
                  </a:cubicBezTo>
                  <a:cubicBezTo>
                    <a:pt x="433" y="432"/>
                    <a:pt x="433" y="432"/>
                    <a:pt x="434" y="432"/>
                  </a:cubicBezTo>
                  <a:cubicBezTo>
                    <a:pt x="434" y="431"/>
                    <a:pt x="434" y="431"/>
                    <a:pt x="435" y="431"/>
                  </a:cubicBezTo>
                  <a:cubicBezTo>
                    <a:pt x="435" y="431"/>
                    <a:pt x="435" y="431"/>
                    <a:pt x="434" y="431"/>
                  </a:cubicBezTo>
                  <a:cubicBezTo>
                    <a:pt x="434" y="431"/>
                    <a:pt x="434" y="431"/>
                    <a:pt x="434" y="431"/>
                  </a:cubicBezTo>
                  <a:cubicBezTo>
                    <a:pt x="434" y="430"/>
                    <a:pt x="434" y="431"/>
                    <a:pt x="434" y="431"/>
                  </a:cubicBezTo>
                  <a:cubicBezTo>
                    <a:pt x="434" y="431"/>
                    <a:pt x="434" y="431"/>
                    <a:pt x="433" y="431"/>
                  </a:cubicBezTo>
                  <a:cubicBezTo>
                    <a:pt x="433" y="431"/>
                    <a:pt x="433" y="431"/>
                    <a:pt x="433" y="431"/>
                  </a:cubicBezTo>
                  <a:cubicBezTo>
                    <a:pt x="433" y="432"/>
                    <a:pt x="432" y="432"/>
                    <a:pt x="432" y="432"/>
                  </a:cubicBezTo>
                  <a:cubicBezTo>
                    <a:pt x="432" y="433"/>
                    <a:pt x="432" y="433"/>
                    <a:pt x="432" y="433"/>
                  </a:cubicBezTo>
                  <a:cubicBezTo>
                    <a:pt x="431" y="433"/>
                    <a:pt x="431" y="433"/>
                    <a:pt x="431" y="433"/>
                  </a:cubicBezTo>
                  <a:cubicBezTo>
                    <a:pt x="431" y="434"/>
                    <a:pt x="431" y="434"/>
                    <a:pt x="431" y="434"/>
                  </a:cubicBezTo>
                  <a:cubicBezTo>
                    <a:pt x="431" y="435"/>
                    <a:pt x="431" y="435"/>
                    <a:pt x="430" y="435"/>
                  </a:cubicBezTo>
                  <a:cubicBezTo>
                    <a:pt x="430" y="435"/>
                    <a:pt x="430" y="434"/>
                    <a:pt x="430" y="434"/>
                  </a:cubicBezTo>
                  <a:cubicBezTo>
                    <a:pt x="430" y="434"/>
                    <a:pt x="430" y="434"/>
                    <a:pt x="430" y="434"/>
                  </a:cubicBezTo>
                  <a:cubicBezTo>
                    <a:pt x="430" y="434"/>
                    <a:pt x="430" y="433"/>
                    <a:pt x="430" y="433"/>
                  </a:cubicBezTo>
                  <a:cubicBezTo>
                    <a:pt x="430" y="432"/>
                    <a:pt x="431" y="432"/>
                    <a:pt x="431" y="432"/>
                  </a:cubicBezTo>
                  <a:cubicBezTo>
                    <a:pt x="432" y="432"/>
                    <a:pt x="432" y="431"/>
                    <a:pt x="432" y="431"/>
                  </a:cubicBezTo>
                  <a:cubicBezTo>
                    <a:pt x="431" y="431"/>
                    <a:pt x="431" y="431"/>
                    <a:pt x="430" y="431"/>
                  </a:cubicBezTo>
                  <a:cubicBezTo>
                    <a:pt x="430" y="431"/>
                    <a:pt x="430" y="431"/>
                    <a:pt x="430" y="431"/>
                  </a:cubicBezTo>
                  <a:cubicBezTo>
                    <a:pt x="430" y="431"/>
                    <a:pt x="430" y="431"/>
                    <a:pt x="430" y="431"/>
                  </a:cubicBezTo>
                  <a:cubicBezTo>
                    <a:pt x="430" y="431"/>
                    <a:pt x="429" y="431"/>
                    <a:pt x="429" y="431"/>
                  </a:cubicBezTo>
                  <a:cubicBezTo>
                    <a:pt x="429" y="431"/>
                    <a:pt x="429" y="431"/>
                    <a:pt x="429" y="431"/>
                  </a:cubicBezTo>
                  <a:cubicBezTo>
                    <a:pt x="429" y="430"/>
                    <a:pt x="429" y="430"/>
                    <a:pt x="428" y="430"/>
                  </a:cubicBezTo>
                  <a:cubicBezTo>
                    <a:pt x="428" y="430"/>
                    <a:pt x="428" y="430"/>
                    <a:pt x="428" y="431"/>
                  </a:cubicBezTo>
                  <a:cubicBezTo>
                    <a:pt x="428" y="431"/>
                    <a:pt x="428" y="431"/>
                    <a:pt x="428" y="431"/>
                  </a:cubicBezTo>
                  <a:cubicBezTo>
                    <a:pt x="428" y="431"/>
                    <a:pt x="427" y="431"/>
                    <a:pt x="427" y="431"/>
                  </a:cubicBezTo>
                  <a:cubicBezTo>
                    <a:pt x="427" y="431"/>
                    <a:pt x="427" y="431"/>
                    <a:pt x="427" y="431"/>
                  </a:cubicBezTo>
                  <a:cubicBezTo>
                    <a:pt x="426" y="431"/>
                    <a:pt x="426" y="431"/>
                    <a:pt x="426" y="431"/>
                  </a:cubicBezTo>
                  <a:cubicBezTo>
                    <a:pt x="426" y="431"/>
                    <a:pt x="426" y="431"/>
                    <a:pt x="426" y="431"/>
                  </a:cubicBezTo>
                  <a:cubicBezTo>
                    <a:pt x="425" y="431"/>
                    <a:pt x="425" y="432"/>
                    <a:pt x="425" y="432"/>
                  </a:cubicBezTo>
                  <a:cubicBezTo>
                    <a:pt x="425" y="432"/>
                    <a:pt x="426" y="433"/>
                    <a:pt x="426" y="433"/>
                  </a:cubicBezTo>
                  <a:cubicBezTo>
                    <a:pt x="426" y="433"/>
                    <a:pt x="427" y="433"/>
                    <a:pt x="427" y="433"/>
                  </a:cubicBezTo>
                  <a:cubicBezTo>
                    <a:pt x="427" y="433"/>
                    <a:pt x="427" y="432"/>
                    <a:pt x="427" y="432"/>
                  </a:cubicBezTo>
                  <a:cubicBezTo>
                    <a:pt x="428" y="432"/>
                    <a:pt x="428" y="431"/>
                    <a:pt x="428" y="431"/>
                  </a:cubicBezTo>
                  <a:cubicBezTo>
                    <a:pt x="429" y="431"/>
                    <a:pt x="429" y="431"/>
                    <a:pt x="430" y="431"/>
                  </a:cubicBezTo>
                  <a:cubicBezTo>
                    <a:pt x="430" y="431"/>
                    <a:pt x="430" y="431"/>
                    <a:pt x="430" y="432"/>
                  </a:cubicBezTo>
                  <a:cubicBezTo>
                    <a:pt x="430" y="432"/>
                    <a:pt x="430" y="433"/>
                    <a:pt x="430" y="433"/>
                  </a:cubicBezTo>
                  <a:cubicBezTo>
                    <a:pt x="430" y="434"/>
                    <a:pt x="430" y="434"/>
                    <a:pt x="429" y="434"/>
                  </a:cubicBezTo>
                  <a:cubicBezTo>
                    <a:pt x="429" y="434"/>
                    <a:pt x="429" y="434"/>
                    <a:pt x="429" y="435"/>
                  </a:cubicBezTo>
                  <a:cubicBezTo>
                    <a:pt x="430" y="435"/>
                    <a:pt x="429" y="435"/>
                    <a:pt x="429" y="435"/>
                  </a:cubicBezTo>
                  <a:cubicBezTo>
                    <a:pt x="429" y="435"/>
                    <a:pt x="429" y="436"/>
                    <a:pt x="429" y="436"/>
                  </a:cubicBezTo>
                  <a:cubicBezTo>
                    <a:pt x="429" y="436"/>
                    <a:pt x="428" y="436"/>
                    <a:pt x="428" y="436"/>
                  </a:cubicBezTo>
                  <a:cubicBezTo>
                    <a:pt x="428" y="436"/>
                    <a:pt x="428" y="436"/>
                    <a:pt x="428" y="436"/>
                  </a:cubicBezTo>
                  <a:cubicBezTo>
                    <a:pt x="428" y="436"/>
                    <a:pt x="429" y="436"/>
                    <a:pt x="429" y="436"/>
                  </a:cubicBezTo>
                  <a:cubicBezTo>
                    <a:pt x="429" y="436"/>
                    <a:pt x="429" y="436"/>
                    <a:pt x="429" y="436"/>
                  </a:cubicBezTo>
                  <a:cubicBezTo>
                    <a:pt x="429" y="436"/>
                    <a:pt x="429" y="437"/>
                    <a:pt x="428" y="437"/>
                  </a:cubicBezTo>
                  <a:cubicBezTo>
                    <a:pt x="428" y="436"/>
                    <a:pt x="428" y="437"/>
                    <a:pt x="428" y="437"/>
                  </a:cubicBezTo>
                  <a:cubicBezTo>
                    <a:pt x="428" y="437"/>
                    <a:pt x="428" y="437"/>
                    <a:pt x="428" y="437"/>
                  </a:cubicBezTo>
                  <a:cubicBezTo>
                    <a:pt x="428" y="437"/>
                    <a:pt x="428" y="437"/>
                    <a:pt x="428" y="437"/>
                  </a:cubicBezTo>
                  <a:cubicBezTo>
                    <a:pt x="428" y="437"/>
                    <a:pt x="428" y="436"/>
                    <a:pt x="428" y="436"/>
                  </a:cubicBezTo>
                  <a:cubicBezTo>
                    <a:pt x="428" y="436"/>
                    <a:pt x="428" y="436"/>
                    <a:pt x="428" y="436"/>
                  </a:cubicBezTo>
                  <a:cubicBezTo>
                    <a:pt x="428" y="436"/>
                    <a:pt x="428" y="436"/>
                    <a:pt x="427" y="436"/>
                  </a:cubicBezTo>
                  <a:cubicBezTo>
                    <a:pt x="427" y="436"/>
                    <a:pt x="427" y="436"/>
                    <a:pt x="427" y="436"/>
                  </a:cubicBezTo>
                  <a:cubicBezTo>
                    <a:pt x="427" y="436"/>
                    <a:pt x="427" y="436"/>
                    <a:pt x="427" y="436"/>
                  </a:cubicBezTo>
                  <a:cubicBezTo>
                    <a:pt x="427" y="436"/>
                    <a:pt x="427" y="435"/>
                    <a:pt x="428" y="435"/>
                  </a:cubicBezTo>
                  <a:cubicBezTo>
                    <a:pt x="427" y="435"/>
                    <a:pt x="427" y="435"/>
                    <a:pt x="427" y="435"/>
                  </a:cubicBezTo>
                  <a:cubicBezTo>
                    <a:pt x="427" y="435"/>
                    <a:pt x="427" y="435"/>
                    <a:pt x="427" y="435"/>
                  </a:cubicBezTo>
                  <a:cubicBezTo>
                    <a:pt x="426" y="435"/>
                    <a:pt x="426" y="435"/>
                    <a:pt x="425" y="435"/>
                  </a:cubicBezTo>
                  <a:cubicBezTo>
                    <a:pt x="425" y="434"/>
                    <a:pt x="425" y="434"/>
                    <a:pt x="425" y="434"/>
                  </a:cubicBezTo>
                  <a:cubicBezTo>
                    <a:pt x="425" y="433"/>
                    <a:pt x="425" y="432"/>
                    <a:pt x="425" y="431"/>
                  </a:cubicBezTo>
                  <a:cubicBezTo>
                    <a:pt x="425" y="431"/>
                    <a:pt x="425" y="430"/>
                    <a:pt x="425" y="430"/>
                  </a:cubicBezTo>
                  <a:cubicBezTo>
                    <a:pt x="424" y="429"/>
                    <a:pt x="424" y="428"/>
                    <a:pt x="424" y="428"/>
                  </a:cubicBezTo>
                  <a:cubicBezTo>
                    <a:pt x="423" y="428"/>
                    <a:pt x="423" y="428"/>
                    <a:pt x="423" y="428"/>
                  </a:cubicBezTo>
                  <a:cubicBezTo>
                    <a:pt x="423" y="428"/>
                    <a:pt x="423" y="428"/>
                    <a:pt x="423" y="427"/>
                  </a:cubicBezTo>
                  <a:cubicBezTo>
                    <a:pt x="423" y="427"/>
                    <a:pt x="422" y="427"/>
                    <a:pt x="422" y="427"/>
                  </a:cubicBezTo>
                  <a:cubicBezTo>
                    <a:pt x="422" y="428"/>
                    <a:pt x="422" y="428"/>
                    <a:pt x="422" y="428"/>
                  </a:cubicBezTo>
                  <a:cubicBezTo>
                    <a:pt x="422" y="428"/>
                    <a:pt x="421" y="427"/>
                    <a:pt x="422" y="427"/>
                  </a:cubicBezTo>
                  <a:cubicBezTo>
                    <a:pt x="422" y="427"/>
                    <a:pt x="422" y="427"/>
                    <a:pt x="422" y="427"/>
                  </a:cubicBezTo>
                  <a:cubicBezTo>
                    <a:pt x="422" y="427"/>
                    <a:pt x="422" y="426"/>
                    <a:pt x="422" y="426"/>
                  </a:cubicBezTo>
                  <a:cubicBezTo>
                    <a:pt x="421" y="426"/>
                    <a:pt x="421" y="426"/>
                    <a:pt x="421" y="426"/>
                  </a:cubicBezTo>
                  <a:cubicBezTo>
                    <a:pt x="421" y="426"/>
                    <a:pt x="422" y="426"/>
                    <a:pt x="422" y="426"/>
                  </a:cubicBezTo>
                  <a:cubicBezTo>
                    <a:pt x="422" y="426"/>
                    <a:pt x="422" y="426"/>
                    <a:pt x="422" y="425"/>
                  </a:cubicBezTo>
                  <a:cubicBezTo>
                    <a:pt x="422" y="425"/>
                    <a:pt x="422" y="425"/>
                    <a:pt x="422" y="425"/>
                  </a:cubicBezTo>
                  <a:cubicBezTo>
                    <a:pt x="422" y="425"/>
                    <a:pt x="422" y="424"/>
                    <a:pt x="422" y="424"/>
                  </a:cubicBezTo>
                  <a:cubicBezTo>
                    <a:pt x="422" y="424"/>
                    <a:pt x="422" y="424"/>
                    <a:pt x="422" y="424"/>
                  </a:cubicBezTo>
                  <a:cubicBezTo>
                    <a:pt x="423" y="424"/>
                    <a:pt x="423" y="423"/>
                    <a:pt x="423" y="423"/>
                  </a:cubicBezTo>
                  <a:cubicBezTo>
                    <a:pt x="423" y="423"/>
                    <a:pt x="423" y="423"/>
                    <a:pt x="423" y="422"/>
                  </a:cubicBezTo>
                  <a:cubicBezTo>
                    <a:pt x="423" y="422"/>
                    <a:pt x="424" y="422"/>
                    <a:pt x="424" y="422"/>
                  </a:cubicBezTo>
                  <a:cubicBezTo>
                    <a:pt x="424" y="422"/>
                    <a:pt x="424" y="422"/>
                    <a:pt x="424" y="422"/>
                  </a:cubicBezTo>
                  <a:cubicBezTo>
                    <a:pt x="425" y="422"/>
                    <a:pt x="425" y="421"/>
                    <a:pt x="425" y="421"/>
                  </a:cubicBezTo>
                  <a:cubicBezTo>
                    <a:pt x="425" y="421"/>
                    <a:pt x="425" y="421"/>
                    <a:pt x="425" y="421"/>
                  </a:cubicBezTo>
                  <a:cubicBezTo>
                    <a:pt x="425" y="420"/>
                    <a:pt x="425" y="420"/>
                    <a:pt x="425" y="420"/>
                  </a:cubicBezTo>
                  <a:cubicBezTo>
                    <a:pt x="425" y="421"/>
                    <a:pt x="426" y="421"/>
                    <a:pt x="426" y="420"/>
                  </a:cubicBezTo>
                  <a:cubicBezTo>
                    <a:pt x="426" y="420"/>
                    <a:pt x="426" y="420"/>
                    <a:pt x="427" y="419"/>
                  </a:cubicBezTo>
                  <a:cubicBezTo>
                    <a:pt x="427" y="419"/>
                    <a:pt x="427" y="419"/>
                    <a:pt x="427" y="419"/>
                  </a:cubicBezTo>
                  <a:cubicBezTo>
                    <a:pt x="427" y="419"/>
                    <a:pt x="427" y="419"/>
                    <a:pt x="427" y="419"/>
                  </a:cubicBezTo>
                  <a:cubicBezTo>
                    <a:pt x="428" y="419"/>
                    <a:pt x="428" y="418"/>
                    <a:pt x="429" y="418"/>
                  </a:cubicBezTo>
                  <a:cubicBezTo>
                    <a:pt x="429" y="418"/>
                    <a:pt x="430" y="418"/>
                    <a:pt x="430" y="419"/>
                  </a:cubicBezTo>
                  <a:cubicBezTo>
                    <a:pt x="430" y="419"/>
                    <a:pt x="430" y="419"/>
                    <a:pt x="431" y="419"/>
                  </a:cubicBezTo>
                  <a:cubicBezTo>
                    <a:pt x="431" y="418"/>
                    <a:pt x="431" y="419"/>
                    <a:pt x="431" y="419"/>
                  </a:cubicBezTo>
                  <a:cubicBezTo>
                    <a:pt x="431" y="419"/>
                    <a:pt x="432" y="419"/>
                    <a:pt x="432" y="419"/>
                  </a:cubicBezTo>
                  <a:cubicBezTo>
                    <a:pt x="432" y="420"/>
                    <a:pt x="432" y="420"/>
                    <a:pt x="432" y="421"/>
                  </a:cubicBezTo>
                  <a:cubicBezTo>
                    <a:pt x="432" y="421"/>
                    <a:pt x="431" y="421"/>
                    <a:pt x="431" y="421"/>
                  </a:cubicBezTo>
                  <a:cubicBezTo>
                    <a:pt x="431" y="421"/>
                    <a:pt x="431" y="421"/>
                    <a:pt x="431" y="421"/>
                  </a:cubicBezTo>
                  <a:cubicBezTo>
                    <a:pt x="431" y="421"/>
                    <a:pt x="431" y="421"/>
                    <a:pt x="431" y="421"/>
                  </a:cubicBezTo>
                  <a:cubicBezTo>
                    <a:pt x="431" y="422"/>
                    <a:pt x="431" y="422"/>
                    <a:pt x="431" y="421"/>
                  </a:cubicBezTo>
                  <a:cubicBezTo>
                    <a:pt x="432" y="421"/>
                    <a:pt x="432" y="421"/>
                    <a:pt x="432" y="421"/>
                  </a:cubicBezTo>
                  <a:cubicBezTo>
                    <a:pt x="432" y="421"/>
                    <a:pt x="432" y="421"/>
                    <a:pt x="432" y="421"/>
                  </a:cubicBezTo>
                  <a:cubicBezTo>
                    <a:pt x="432" y="421"/>
                    <a:pt x="432" y="421"/>
                    <a:pt x="432" y="422"/>
                  </a:cubicBezTo>
                  <a:cubicBezTo>
                    <a:pt x="433" y="422"/>
                    <a:pt x="432" y="422"/>
                    <a:pt x="433" y="422"/>
                  </a:cubicBezTo>
                  <a:cubicBezTo>
                    <a:pt x="433" y="423"/>
                    <a:pt x="433" y="423"/>
                    <a:pt x="433" y="423"/>
                  </a:cubicBezTo>
                  <a:cubicBezTo>
                    <a:pt x="433" y="424"/>
                    <a:pt x="433" y="424"/>
                    <a:pt x="433" y="424"/>
                  </a:cubicBezTo>
                  <a:cubicBezTo>
                    <a:pt x="433" y="424"/>
                    <a:pt x="433" y="425"/>
                    <a:pt x="433" y="425"/>
                  </a:cubicBezTo>
                  <a:cubicBezTo>
                    <a:pt x="434" y="425"/>
                    <a:pt x="434" y="425"/>
                    <a:pt x="434" y="426"/>
                  </a:cubicBezTo>
                  <a:cubicBezTo>
                    <a:pt x="434" y="426"/>
                    <a:pt x="434" y="426"/>
                    <a:pt x="434" y="427"/>
                  </a:cubicBezTo>
                  <a:cubicBezTo>
                    <a:pt x="435" y="427"/>
                    <a:pt x="435" y="427"/>
                    <a:pt x="435" y="427"/>
                  </a:cubicBezTo>
                  <a:cubicBezTo>
                    <a:pt x="435" y="427"/>
                    <a:pt x="436" y="427"/>
                    <a:pt x="436" y="427"/>
                  </a:cubicBezTo>
                  <a:cubicBezTo>
                    <a:pt x="436" y="427"/>
                    <a:pt x="436" y="427"/>
                    <a:pt x="435" y="427"/>
                  </a:cubicBezTo>
                  <a:cubicBezTo>
                    <a:pt x="435" y="427"/>
                    <a:pt x="435" y="427"/>
                    <a:pt x="435" y="427"/>
                  </a:cubicBezTo>
                  <a:cubicBezTo>
                    <a:pt x="435" y="426"/>
                    <a:pt x="435" y="426"/>
                    <a:pt x="435" y="426"/>
                  </a:cubicBezTo>
                  <a:cubicBezTo>
                    <a:pt x="434" y="425"/>
                    <a:pt x="434" y="425"/>
                    <a:pt x="434" y="424"/>
                  </a:cubicBezTo>
                  <a:cubicBezTo>
                    <a:pt x="434" y="424"/>
                    <a:pt x="434" y="424"/>
                    <a:pt x="434" y="424"/>
                  </a:cubicBezTo>
                  <a:cubicBezTo>
                    <a:pt x="434" y="423"/>
                    <a:pt x="434" y="423"/>
                    <a:pt x="434" y="422"/>
                  </a:cubicBezTo>
                  <a:cubicBezTo>
                    <a:pt x="434" y="422"/>
                    <a:pt x="434" y="421"/>
                    <a:pt x="434" y="421"/>
                  </a:cubicBezTo>
                  <a:cubicBezTo>
                    <a:pt x="434" y="421"/>
                    <a:pt x="433" y="421"/>
                    <a:pt x="433" y="421"/>
                  </a:cubicBezTo>
                  <a:cubicBezTo>
                    <a:pt x="433" y="421"/>
                    <a:pt x="434" y="420"/>
                    <a:pt x="434" y="420"/>
                  </a:cubicBezTo>
                  <a:cubicBezTo>
                    <a:pt x="434" y="420"/>
                    <a:pt x="434" y="420"/>
                    <a:pt x="434" y="421"/>
                  </a:cubicBezTo>
                  <a:cubicBezTo>
                    <a:pt x="434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4" y="421"/>
                    <a:pt x="434" y="421"/>
                    <a:pt x="434" y="420"/>
                  </a:cubicBezTo>
                  <a:cubicBezTo>
                    <a:pt x="434" y="420"/>
                    <a:pt x="433" y="420"/>
                    <a:pt x="433" y="419"/>
                  </a:cubicBezTo>
                  <a:cubicBezTo>
                    <a:pt x="433" y="419"/>
                    <a:pt x="433" y="419"/>
                    <a:pt x="433" y="419"/>
                  </a:cubicBezTo>
                  <a:cubicBezTo>
                    <a:pt x="434" y="419"/>
                    <a:pt x="435" y="419"/>
                    <a:pt x="436" y="419"/>
                  </a:cubicBezTo>
                  <a:cubicBezTo>
                    <a:pt x="436" y="419"/>
                    <a:pt x="436" y="419"/>
                    <a:pt x="436" y="419"/>
                  </a:cubicBezTo>
                  <a:cubicBezTo>
                    <a:pt x="436" y="419"/>
                    <a:pt x="436" y="419"/>
                    <a:pt x="436" y="420"/>
                  </a:cubicBezTo>
                  <a:cubicBezTo>
                    <a:pt x="436" y="420"/>
                    <a:pt x="436" y="420"/>
                    <a:pt x="437" y="420"/>
                  </a:cubicBezTo>
                  <a:cubicBezTo>
                    <a:pt x="437" y="420"/>
                    <a:pt x="437" y="420"/>
                    <a:pt x="437" y="420"/>
                  </a:cubicBezTo>
                  <a:cubicBezTo>
                    <a:pt x="437" y="420"/>
                    <a:pt x="437" y="420"/>
                    <a:pt x="437" y="419"/>
                  </a:cubicBezTo>
                  <a:cubicBezTo>
                    <a:pt x="437" y="419"/>
                    <a:pt x="436" y="418"/>
                    <a:pt x="435" y="418"/>
                  </a:cubicBezTo>
                  <a:cubicBezTo>
                    <a:pt x="435" y="418"/>
                    <a:pt x="435" y="418"/>
                    <a:pt x="435" y="418"/>
                  </a:cubicBezTo>
                  <a:cubicBezTo>
                    <a:pt x="434" y="418"/>
                    <a:pt x="434" y="418"/>
                    <a:pt x="434" y="417"/>
                  </a:cubicBezTo>
                  <a:cubicBezTo>
                    <a:pt x="434" y="417"/>
                    <a:pt x="434" y="417"/>
                    <a:pt x="433" y="417"/>
                  </a:cubicBezTo>
                  <a:cubicBezTo>
                    <a:pt x="433" y="417"/>
                    <a:pt x="432" y="417"/>
                    <a:pt x="432" y="416"/>
                  </a:cubicBezTo>
                  <a:cubicBezTo>
                    <a:pt x="432" y="416"/>
                    <a:pt x="432" y="415"/>
                    <a:pt x="432" y="415"/>
                  </a:cubicBezTo>
                  <a:cubicBezTo>
                    <a:pt x="433" y="415"/>
                    <a:pt x="433" y="414"/>
                    <a:pt x="433" y="414"/>
                  </a:cubicBezTo>
                  <a:cubicBezTo>
                    <a:pt x="433" y="414"/>
                    <a:pt x="433" y="414"/>
                    <a:pt x="433" y="414"/>
                  </a:cubicBezTo>
                  <a:cubicBezTo>
                    <a:pt x="433" y="414"/>
                    <a:pt x="434" y="413"/>
                    <a:pt x="434" y="413"/>
                  </a:cubicBezTo>
                  <a:cubicBezTo>
                    <a:pt x="434" y="413"/>
                    <a:pt x="434" y="413"/>
                    <a:pt x="435" y="413"/>
                  </a:cubicBezTo>
                  <a:cubicBezTo>
                    <a:pt x="435" y="413"/>
                    <a:pt x="435" y="413"/>
                    <a:pt x="435" y="413"/>
                  </a:cubicBezTo>
                  <a:cubicBezTo>
                    <a:pt x="435" y="413"/>
                    <a:pt x="436" y="413"/>
                    <a:pt x="436" y="413"/>
                  </a:cubicBezTo>
                  <a:cubicBezTo>
                    <a:pt x="436" y="413"/>
                    <a:pt x="436" y="413"/>
                    <a:pt x="436" y="414"/>
                  </a:cubicBezTo>
                  <a:cubicBezTo>
                    <a:pt x="436" y="414"/>
                    <a:pt x="437" y="414"/>
                    <a:pt x="437" y="414"/>
                  </a:cubicBezTo>
                  <a:cubicBezTo>
                    <a:pt x="437" y="414"/>
                    <a:pt x="437" y="414"/>
                    <a:pt x="437" y="415"/>
                  </a:cubicBezTo>
                  <a:cubicBezTo>
                    <a:pt x="437" y="415"/>
                    <a:pt x="437" y="415"/>
                    <a:pt x="437" y="415"/>
                  </a:cubicBezTo>
                  <a:cubicBezTo>
                    <a:pt x="437" y="415"/>
                    <a:pt x="437" y="415"/>
                    <a:pt x="437" y="415"/>
                  </a:cubicBezTo>
                  <a:cubicBezTo>
                    <a:pt x="437" y="416"/>
                    <a:pt x="437" y="416"/>
                    <a:pt x="437" y="417"/>
                  </a:cubicBezTo>
                  <a:cubicBezTo>
                    <a:pt x="437" y="418"/>
                    <a:pt x="438" y="418"/>
                    <a:pt x="438" y="418"/>
                  </a:cubicBezTo>
                  <a:cubicBezTo>
                    <a:pt x="438" y="418"/>
                    <a:pt x="438" y="419"/>
                    <a:pt x="438" y="419"/>
                  </a:cubicBezTo>
                  <a:cubicBezTo>
                    <a:pt x="438" y="418"/>
                    <a:pt x="438" y="418"/>
                    <a:pt x="438" y="417"/>
                  </a:cubicBezTo>
                  <a:cubicBezTo>
                    <a:pt x="438" y="417"/>
                    <a:pt x="438" y="417"/>
                    <a:pt x="438" y="417"/>
                  </a:cubicBezTo>
                  <a:cubicBezTo>
                    <a:pt x="438" y="417"/>
                    <a:pt x="439" y="417"/>
                    <a:pt x="439" y="417"/>
                  </a:cubicBezTo>
                  <a:cubicBezTo>
                    <a:pt x="439" y="417"/>
                    <a:pt x="438" y="417"/>
                    <a:pt x="438" y="417"/>
                  </a:cubicBezTo>
                  <a:cubicBezTo>
                    <a:pt x="438" y="416"/>
                    <a:pt x="438" y="416"/>
                    <a:pt x="438" y="416"/>
                  </a:cubicBezTo>
                  <a:cubicBezTo>
                    <a:pt x="438" y="416"/>
                    <a:pt x="438" y="416"/>
                    <a:pt x="438" y="416"/>
                  </a:cubicBezTo>
                  <a:cubicBezTo>
                    <a:pt x="439" y="416"/>
                    <a:pt x="439" y="416"/>
                    <a:pt x="439" y="416"/>
                  </a:cubicBezTo>
                  <a:cubicBezTo>
                    <a:pt x="439" y="416"/>
                    <a:pt x="439" y="417"/>
                    <a:pt x="439" y="417"/>
                  </a:cubicBezTo>
                  <a:cubicBezTo>
                    <a:pt x="439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6"/>
                    <a:pt x="440" y="416"/>
                  </a:cubicBezTo>
                  <a:cubicBezTo>
                    <a:pt x="440" y="416"/>
                    <a:pt x="440" y="416"/>
                    <a:pt x="440" y="416"/>
                  </a:cubicBezTo>
                  <a:cubicBezTo>
                    <a:pt x="440" y="416"/>
                    <a:pt x="439" y="416"/>
                    <a:pt x="439" y="416"/>
                  </a:cubicBezTo>
                  <a:cubicBezTo>
                    <a:pt x="439" y="415"/>
                    <a:pt x="439" y="415"/>
                    <a:pt x="438" y="415"/>
                  </a:cubicBezTo>
                  <a:cubicBezTo>
                    <a:pt x="438" y="415"/>
                    <a:pt x="438" y="415"/>
                    <a:pt x="438" y="415"/>
                  </a:cubicBezTo>
                  <a:cubicBezTo>
                    <a:pt x="438" y="414"/>
                    <a:pt x="438" y="414"/>
                    <a:pt x="438" y="414"/>
                  </a:cubicBezTo>
                  <a:cubicBezTo>
                    <a:pt x="439" y="414"/>
                    <a:pt x="440" y="415"/>
                    <a:pt x="440" y="415"/>
                  </a:cubicBezTo>
                  <a:cubicBezTo>
                    <a:pt x="441" y="415"/>
                    <a:pt x="441" y="415"/>
                    <a:pt x="441" y="415"/>
                  </a:cubicBezTo>
                  <a:cubicBezTo>
                    <a:pt x="441" y="415"/>
                    <a:pt x="441" y="415"/>
                    <a:pt x="441" y="415"/>
                  </a:cubicBezTo>
                  <a:cubicBezTo>
                    <a:pt x="442" y="415"/>
                    <a:pt x="442" y="415"/>
                    <a:pt x="442" y="416"/>
                  </a:cubicBezTo>
                  <a:cubicBezTo>
                    <a:pt x="442" y="416"/>
                    <a:pt x="442" y="416"/>
                    <a:pt x="441" y="416"/>
                  </a:cubicBezTo>
                  <a:cubicBezTo>
                    <a:pt x="441" y="416"/>
                    <a:pt x="441" y="416"/>
                    <a:pt x="442" y="417"/>
                  </a:cubicBezTo>
                  <a:cubicBezTo>
                    <a:pt x="442" y="417"/>
                    <a:pt x="442" y="417"/>
                    <a:pt x="442" y="417"/>
                  </a:cubicBezTo>
                  <a:cubicBezTo>
                    <a:pt x="442" y="417"/>
                    <a:pt x="442" y="417"/>
                    <a:pt x="442" y="417"/>
                  </a:cubicBezTo>
                  <a:cubicBezTo>
                    <a:pt x="442" y="416"/>
                    <a:pt x="442" y="416"/>
                    <a:pt x="442" y="415"/>
                  </a:cubicBezTo>
                  <a:cubicBezTo>
                    <a:pt x="442" y="415"/>
                    <a:pt x="442" y="414"/>
                    <a:pt x="442" y="413"/>
                  </a:cubicBezTo>
                  <a:cubicBezTo>
                    <a:pt x="442" y="413"/>
                    <a:pt x="442" y="413"/>
                    <a:pt x="442" y="413"/>
                  </a:cubicBezTo>
                  <a:cubicBezTo>
                    <a:pt x="442" y="413"/>
                    <a:pt x="441" y="413"/>
                    <a:pt x="441" y="413"/>
                  </a:cubicBezTo>
                  <a:cubicBezTo>
                    <a:pt x="442" y="413"/>
                    <a:pt x="442" y="413"/>
                    <a:pt x="442" y="413"/>
                  </a:cubicBezTo>
                  <a:cubicBezTo>
                    <a:pt x="442" y="413"/>
                    <a:pt x="442" y="414"/>
                    <a:pt x="443" y="414"/>
                  </a:cubicBezTo>
                  <a:cubicBezTo>
                    <a:pt x="443" y="414"/>
                    <a:pt x="443" y="414"/>
                    <a:pt x="443" y="414"/>
                  </a:cubicBezTo>
                  <a:cubicBezTo>
                    <a:pt x="443" y="414"/>
                    <a:pt x="443" y="413"/>
                    <a:pt x="443" y="413"/>
                  </a:cubicBezTo>
                  <a:cubicBezTo>
                    <a:pt x="443" y="413"/>
                    <a:pt x="443" y="413"/>
                    <a:pt x="443" y="413"/>
                  </a:cubicBezTo>
                  <a:cubicBezTo>
                    <a:pt x="442" y="413"/>
                    <a:pt x="442" y="412"/>
                    <a:pt x="442" y="412"/>
                  </a:cubicBezTo>
                  <a:cubicBezTo>
                    <a:pt x="441" y="411"/>
                    <a:pt x="441" y="411"/>
                    <a:pt x="441" y="411"/>
                  </a:cubicBezTo>
                  <a:cubicBezTo>
                    <a:pt x="440" y="411"/>
                    <a:pt x="440" y="410"/>
                    <a:pt x="441" y="410"/>
                  </a:cubicBezTo>
                  <a:cubicBezTo>
                    <a:pt x="441" y="410"/>
                    <a:pt x="441" y="410"/>
                    <a:pt x="441" y="410"/>
                  </a:cubicBezTo>
                  <a:cubicBezTo>
                    <a:pt x="441" y="411"/>
                    <a:pt x="442" y="411"/>
                    <a:pt x="442" y="411"/>
                  </a:cubicBezTo>
                  <a:cubicBezTo>
                    <a:pt x="442" y="411"/>
                    <a:pt x="442" y="411"/>
                    <a:pt x="442" y="411"/>
                  </a:cubicBezTo>
                  <a:cubicBezTo>
                    <a:pt x="443" y="411"/>
                    <a:pt x="443" y="412"/>
                    <a:pt x="444" y="412"/>
                  </a:cubicBezTo>
                  <a:cubicBezTo>
                    <a:pt x="444" y="412"/>
                    <a:pt x="444" y="412"/>
                    <a:pt x="444" y="412"/>
                  </a:cubicBezTo>
                  <a:cubicBezTo>
                    <a:pt x="444" y="412"/>
                    <a:pt x="444" y="412"/>
                    <a:pt x="444" y="412"/>
                  </a:cubicBezTo>
                  <a:cubicBezTo>
                    <a:pt x="444" y="411"/>
                    <a:pt x="444" y="411"/>
                    <a:pt x="445" y="411"/>
                  </a:cubicBezTo>
                  <a:cubicBezTo>
                    <a:pt x="445" y="411"/>
                    <a:pt x="445" y="411"/>
                    <a:pt x="446" y="412"/>
                  </a:cubicBezTo>
                  <a:cubicBezTo>
                    <a:pt x="446" y="412"/>
                    <a:pt x="446" y="412"/>
                    <a:pt x="447" y="412"/>
                  </a:cubicBezTo>
                  <a:cubicBezTo>
                    <a:pt x="447" y="412"/>
                    <a:pt x="447" y="412"/>
                    <a:pt x="447" y="413"/>
                  </a:cubicBezTo>
                  <a:cubicBezTo>
                    <a:pt x="447" y="413"/>
                    <a:pt x="446" y="413"/>
                    <a:pt x="446" y="413"/>
                  </a:cubicBezTo>
                  <a:cubicBezTo>
                    <a:pt x="446" y="413"/>
                    <a:pt x="446" y="413"/>
                    <a:pt x="446" y="414"/>
                  </a:cubicBezTo>
                  <a:cubicBezTo>
                    <a:pt x="446" y="414"/>
                    <a:pt x="446" y="414"/>
                    <a:pt x="446" y="414"/>
                  </a:cubicBezTo>
                  <a:cubicBezTo>
                    <a:pt x="446" y="414"/>
                    <a:pt x="445" y="414"/>
                    <a:pt x="445" y="415"/>
                  </a:cubicBezTo>
                  <a:cubicBezTo>
                    <a:pt x="446" y="415"/>
                    <a:pt x="445" y="416"/>
                    <a:pt x="446" y="416"/>
                  </a:cubicBezTo>
                  <a:cubicBezTo>
                    <a:pt x="446" y="416"/>
                    <a:pt x="446" y="416"/>
                    <a:pt x="446" y="417"/>
                  </a:cubicBezTo>
                  <a:cubicBezTo>
                    <a:pt x="446" y="417"/>
                    <a:pt x="446" y="417"/>
                    <a:pt x="446" y="417"/>
                  </a:cubicBezTo>
                  <a:cubicBezTo>
                    <a:pt x="446" y="417"/>
                    <a:pt x="446" y="417"/>
                    <a:pt x="446" y="417"/>
                  </a:cubicBezTo>
                  <a:cubicBezTo>
                    <a:pt x="446" y="416"/>
                    <a:pt x="446" y="415"/>
                    <a:pt x="446" y="415"/>
                  </a:cubicBezTo>
                  <a:cubicBezTo>
                    <a:pt x="446" y="414"/>
                    <a:pt x="447" y="414"/>
                    <a:pt x="447" y="414"/>
                  </a:cubicBezTo>
                  <a:cubicBezTo>
                    <a:pt x="447" y="414"/>
                    <a:pt x="447" y="414"/>
                    <a:pt x="447" y="414"/>
                  </a:cubicBezTo>
                  <a:cubicBezTo>
                    <a:pt x="447" y="414"/>
                    <a:pt x="447" y="414"/>
                    <a:pt x="447" y="414"/>
                  </a:cubicBezTo>
                  <a:cubicBezTo>
                    <a:pt x="448" y="414"/>
                    <a:pt x="448" y="415"/>
                    <a:pt x="448" y="414"/>
                  </a:cubicBezTo>
                  <a:cubicBezTo>
                    <a:pt x="448" y="414"/>
                    <a:pt x="448" y="414"/>
                    <a:pt x="448" y="414"/>
                  </a:cubicBezTo>
                  <a:cubicBezTo>
                    <a:pt x="448" y="414"/>
                    <a:pt x="448" y="414"/>
                    <a:pt x="448" y="414"/>
                  </a:cubicBezTo>
                  <a:cubicBezTo>
                    <a:pt x="448" y="413"/>
                    <a:pt x="449" y="413"/>
                    <a:pt x="449" y="413"/>
                  </a:cubicBezTo>
                  <a:cubicBezTo>
                    <a:pt x="449" y="413"/>
                    <a:pt x="449" y="414"/>
                    <a:pt x="449" y="413"/>
                  </a:cubicBezTo>
                  <a:cubicBezTo>
                    <a:pt x="449" y="413"/>
                    <a:pt x="449" y="413"/>
                    <a:pt x="449" y="413"/>
                  </a:cubicBezTo>
                  <a:cubicBezTo>
                    <a:pt x="449" y="413"/>
                    <a:pt x="449" y="413"/>
                    <a:pt x="449" y="412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450" y="412"/>
                    <a:pt x="450" y="412"/>
                    <a:pt x="450" y="412"/>
                  </a:cubicBezTo>
                  <a:cubicBezTo>
                    <a:pt x="450" y="412"/>
                    <a:pt x="450" y="412"/>
                    <a:pt x="450" y="412"/>
                  </a:cubicBezTo>
                  <a:cubicBezTo>
                    <a:pt x="450" y="412"/>
                    <a:pt x="451" y="412"/>
                    <a:pt x="451" y="413"/>
                  </a:cubicBezTo>
                  <a:cubicBezTo>
                    <a:pt x="451" y="413"/>
                    <a:pt x="451" y="413"/>
                    <a:pt x="451" y="413"/>
                  </a:cubicBezTo>
                  <a:cubicBezTo>
                    <a:pt x="451" y="413"/>
                    <a:pt x="452" y="413"/>
                    <a:pt x="452" y="413"/>
                  </a:cubicBezTo>
                  <a:cubicBezTo>
                    <a:pt x="452" y="414"/>
                    <a:pt x="452" y="414"/>
                    <a:pt x="452" y="414"/>
                  </a:cubicBezTo>
                  <a:cubicBezTo>
                    <a:pt x="452" y="414"/>
                    <a:pt x="452" y="414"/>
                    <a:pt x="452" y="414"/>
                  </a:cubicBezTo>
                  <a:cubicBezTo>
                    <a:pt x="452" y="414"/>
                    <a:pt x="452" y="414"/>
                    <a:pt x="452" y="415"/>
                  </a:cubicBezTo>
                  <a:cubicBezTo>
                    <a:pt x="452" y="415"/>
                    <a:pt x="452" y="414"/>
                    <a:pt x="452" y="414"/>
                  </a:cubicBezTo>
                  <a:cubicBezTo>
                    <a:pt x="452" y="414"/>
                    <a:pt x="452" y="414"/>
                    <a:pt x="453" y="414"/>
                  </a:cubicBezTo>
                  <a:cubicBezTo>
                    <a:pt x="453" y="415"/>
                    <a:pt x="453" y="415"/>
                    <a:pt x="452" y="415"/>
                  </a:cubicBezTo>
                  <a:cubicBezTo>
                    <a:pt x="452" y="415"/>
                    <a:pt x="452" y="415"/>
                    <a:pt x="452" y="415"/>
                  </a:cubicBezTo>
                  <a:cubicBezTo>
                    <a:pt x="452" y="415"/>
                    <a:pt x="452" y="415"/>
                    <a:pt x="451" y="416"/>
                  </a:cubicBezTo>
                  <a:cubicBezTo>
                    <a:pt x="451" y="416"/>
                    <a:pt x="451" y="416"/>
                    <a:pt x="451" y="416"/>
                  </a:cubicBezTo>
                  <a:cubicBezTo>
                    <a:pt x="451" y="416"/>
                    <a:pt x="451" y="416"/>
                    <a:pt x="451" y="416"/>
                  </a:cubicBezTo>
                  <a:cubicBezTo>
                    <a:pt x="451" y="417"/>
                    <a:pt x="451" y="417"/>
                    <a:pt x="450" y="417"/>
                  </a:cubicBezTo>
                  <a:cubicBezTo>
                    <a:pt x="450" y="417"/>
                    <a:pt x="450" y="417"/>
                    <a:pt x="450" y="417"/>
                  </a:cubicBezTo>
                  <a:cubicBezTo>
                    <a:pt x="450" y="417"/>
                    <a:pt x="450" y="417"/>
                    <a:pt x="450" y="418"/>
                  </a:cubicBezTo>
                  <a:cubicBezTo>
                    <a:pt x="450" y="418"/>
                    <a:pt x="450" y="418"/>
                    <a:pt x="450" y="418"/>
                  </a:cubicBezTo>
                  <a:cubicBezTo>
                    <a:pt x="451" y="417"/>
                    <a:pt x="451" y="417"/>
                    <a:pt x="451" y="417"/>
                  </a:cubicBezTo>
                  <a:cubicBezTo>
                    <a:pt x="451" y="417"/>
                    <a:pt x="451" y="418"/>
                    <a:pt x="451" y="418"/>
                  </a:cubicBezTo>
                  <a:cubicBezTo>
                    <a:pt x="451" y="418"/>
                    <a:pt x="451" y="418"/>
                    <a:pt x="451" y="418"/>
                  </a:cubicBezTo>
                  <a:cubicBezTo>
                    <a:pt x="451" y="418"/>
                    <a:pt x="451" y="419"/>
                    <a:pt x="451" y="419"/>
                  </a:cubicBezTo>
                  <a:cubicBezTo>
                    <a:pt x="451" y="419"/>
                    <a:pt x="451" y="418"/>
                    <a:pt x="452" y="418"/>
                  </a:cubicBezTo>
                  <a:cubicBezTo>
                    <a:pt x="452" y="418"/>
                    <a:pt x="452" y="418"/>
                    <a:pt x="452" y="418"/>
                  </a:cubicBezTo>
                  <a:cubicBezTo>
                    <a:pt x="452" y="419"/>
                    <a:pt x="452" y="419"/>
                    <a:pt x="452" y="419"/>
                  </a:cubicBezTo>
                  <a:cubicBezTo>
                    <a:pt x="452" y="419"/>
                    <a:pt x="452" y="419"/>
                    <a:pt x="451" y="420"/>
                  </a:cubicBezTo>
                  <a:cubicBezTo>
                    <a:pt x="451" y="420"/>
                    <a:pt x="451" y="420"/>
                    <a:pt x="451" y="420"/>
                  </a:cubicBezTo>
                  <a:cubicBezTo>
                    <a:pt x="451" y="420"/>
                    <a:pt x="452" y="420"/>
                    <a:pt x="452" y="420"/>
                  </a:cubicBezTo>
                  <a:cubicBezTo>
                    <a:pt x="452" y="419"/>
                    <a:pt x="453" y="419"/>
                    <a:pt x="453" y="419"/>
                  </a:cubicBezTo>
                  <a:cubicBezTo>
                    <a:pt x="453" y="419"/>
                    <a:pt x="453" y="419"/>
                    <a:pt x="453" y="419"/>
                  </a:cubicBezTo>
                  <a:cubicBezTo>
                    <a:pt x="454" y="419"/>
                    <a:pt x="454" y="419"/>
                    <a:pt x="454" y="419"/>
                  </a:cubicBezTo>
                  <a:cubicBezTo>
                    <a:pt x="454" y="420"/>
                    <a:pt x="454" y="419"/>
                    <a:pt x="455" y="419"/>
                  </a:cubicBezTo>
                  <a:cubicBezTo>
                    <a:pt x="455" y="419"/>
                    <a:pt x="455" y="419"/>
                    <a:pt x="455" y="419"/>
                  </a:cubicBezTo>
                  <a:close/>
                  <a:moveTo>
                    <a:pt x="435" y="417"/>
                  </a:moveTo>
                  <a:cubicBezTo>
                    <a:pt x="435" y="417"/>
                    <a:pt x="435" y="417"/>
                    <a:pt x="435" y="417"/>
                  </a:cubicBezTo>
                  <a:cubicBezTo>
                    <a:pt x="435" y="417"/>
                    <a:pt x="435" y="417"/>
                    <a:pt x="435" y="417"/>
                  </a:cubicBezTo>
                  <a:close/>
                  <a:moveTo>
                    <a:pt x="447" y="419"/>
                  </a:moveTo>
                  <a:cubicBezTo>
                    <a:pt x="447" y="419"/>
                    <a:pt x="447" y="419"/>
                    <a:pt x="447" y="419"/>
                  </a:cubicBezTo>
                  <a:cubicBezTo>
                    <a:pt x="447" y="419"/>
                    <a:pt x="447" y="419"/>
                    <a:pt x="447" y="419"/>
                  </a:cubicBezTo>
                  <a:close/>
                  <a:moveTo>
                    <a:pt x="450" y="418"/>
                  </a:moveTo>
                  <a:cubicBezTo>
                    <a:pt x="450" y="418"/>
                    <a:pt x="450" y="418"/>
                    <a:pt x="450" y="418"/>
                  </a:cubicBezTo>
                  <a:cubicBezTo>
                    <a:pt x="450" y="418"/>
                    <a:pt x="450" y="418"/>
                    <a:pt x="450" y="418"/>
                  </a:cubicBezTo>
                  <a:cubicBezTo>
                    <a:pt x="450" y="418"/>
                    <a:pt x="450" y="418"/>
                    <a:pt x="450" y="418"/>
                  </a:cubicBezTo>
                  <a:close/>
                  <a:moveTo>
                    <a:pt x="411" y="460"/>
                  </a:moveTo>
                  <a:cubicBezTo>
                    <a:pt x="411" y="460"/>
                    <a:pt x="411" y="460"/>
                    <a:pt x="411" y="459"/>
                  </a:cubicBezTo>
                  <a:cubicBezTo>
                    <a:pt x="411" y="459"/>
                    <a:pt x="410" y="460"/>
                    <a:pt x="410" y="460"/>
                  </a:cubicBezTo>
                  <a:cubicBezTo>
                    <a:pt x="410" y="460"/>
                    <a:pt x="410" y="461"/>
                    <a:pt x="410" y="461"/>
                  </a:cubicBezTo>
                  <a:cubicBezTo>
                    <a:pt x="409" y="461"/>
                    <a:pt x="409" y="461"/>
                    <a:pt x="409" y="461"/>
                  </a:cubicBezTo>
                  <a:cubicBezTo>
                    <a:pt x="409" y="462"/>
                    <a:pt x="409" y="462"/>
                    <a:pt x="409" y="462"/>
                  </a:cubicBezTo>
                  <a:cubicBezTo>
                    <a:pt x="409" y="463"/>
                    <a:pt x="409" y="463"/>
                    <a:pt x="410" y="463"/>
                  </a:cubicBezTo>
                  <a:cubicBezTo>
                    <a:pt x="410" y="463"/>
                    <a:pt x="410" y="463"/>
                    <a:pt x="411" y="463"/>
                  </a:cubicBezTo>
                  <a:cubicBezTo>
                    <a:pt x="411" y="463"/>
                    <a:pt x="411" y="463"/>
                    <a:pt x="411" y="463"/>
                  </a:cubicBezTo>
                  <a:cubicBezTo>
                    <a:pt x="411" y="462"/>
                    <a:pt x="412" y="462"/>
                    <a:pt x="411" y="461"/>
                  </a:cubicBezTo>
                  <a:cubicBezTo>
                    <a:pt x="411" y="461"/>
                    <a:pt x="411" y="460"/>
                    <a:pt x="411" y="460"/>
                  </a:cubicBezTo>
                  <a:close/>
                  <a:moveTo>
                    <a:pt x="458" y="404"/>
                  </a:moveTo>
                  <a:cubicBezTo>
                    <a:pt x="458" y="404"/>
                    <a:pt x="458" y="405"/>
                    <a:pt x="457" y="405"/>
                  </a:cubicBezTo>
                  <a:cubicBezTo>
                    <a:pt x="457" y="405"/>
                    <a:pt x="457" y="405"/>
                    <a:pt x="457" y="405"/>
                  </a:cubicBezTo>
                  <a:cubicBezTo>
                    <a:pt x="457" y="405"/>
                    <a:pt x="456" y="405"/>
                    <a:pt x="457" y="406"/>
                  </a:cubicBezTo>
                  <a:cubicBezTo>
                    <a:pt x="457" y="406"/>
                    <a:pt x="456" y="406"/>
                    <a:pt x="456" y="406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5" y="406"/>
                    <a:pt x="455" y="406"/>
                    <a:pt x="455" y="406"/>
                  </a:cubicBezTo>
                  <a:cubicBezTo>
                    <a:pt x="455" y="406"/>
                    <a:pt x="455" y="406"/>
                    <a:pt x="454" y="405"/>
                  </a:cubicBezTo>
                  <a:cubicBezTo>
                    <a:pt x="454" y="405"/>
                    <a:pt x="454" y="404"/>
                    <a:pt x="454" y="404"/>
                  </a:cubicBezTo>
                  <a:cubicBezTo>
                    <a:pt x="454" y="404"/>
                    <a:pt x="454" y="404"/>
                    <a:pt x="454" y="404"/>
                  </a:cubicBezTo>
                  <a:cubicBezTo>
                    <a:pt x="454" y="403"/>
                    <a:pt x="454" y="404"/>
                    <a:pt x="454" y="404"/>
                  </a:cubicBezTo>
                  <a:cubicBezTo>
                    <a:pt x="454" y="404"/>
                    <a:pt x="454" y="404"/>
                    <a:pt x="453" y="404"/>
                  </a:cubicBezTo>
                  <a:cubicBezTo>
                    <a:pt x="453" y="404"/>
                    <a:pt x="453" y="405"/>
                    <a:pt x="453" y="405"/>
                  </a:cubicBezTo>
                  <a:cubicBezTo>
                    <a:pt x="454" y="405"/>
                    <a:pt x="454" y="405"/>
                    <a:pt x="453" y="406"/>
                  </a:cubicBezTo>
                  <a:cubicBezTo>
                    <a:pt x="453" y="406"/>
                    <a:pt x="453" y="406"/>
                    <a:pt x="453" y="406"/>
                  </a:cubicBezTo>
                  <a:cubicBezTo>
                    <a:pt x="453" y="405"/>
                    <a:pt x="453" y="405"/>
                    <a:pt x="453" y="405"/>
                  </a:cubicBezTo>
                  <a:cubicBezTo>
                    <a:pt x="453" y="406"/>
                    <a:pt x="453" y="406"/>
                    <a:pt x="453" y="407"/>
                  </a:cubicBezTo>
                  <a:cubicBezTo>
                    <a:pt x="453" y="407"/>
                    <a:pt x="453" y="407"/>
                    <a:pt x="453" y="407"/>
                  </a:cubicBezTo>
                  <a:cubicBezTo>
                    <a:pt x="453" y="407"/>
                    <a:pt x="453" y="408"/>
                    <a:pt x="453" y="407"/>
                  </a:cubicBezTo>
                  <a:cubicBezTo>
                    <a:pt x="453" y="407"/>
                    <a:pt x="453" y="407"/>
                    <a:pt x="452" y="407"/>
                  </a:cubicBezTo>
                  <a:cubicBezTo>
                    <a:pt x="452" y="407"/>
                    <a:pt x="452" y="407"/>
                    <a:pt x="452" y="407"/>
                  </a:cubicBezTo>
                  <a:cubicBezTo>
                    <a:pt x="452" y="407"/>
                    <a:pt x="452" y="407"/>
                    <a:pt x="451" y="407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0" y="407"/>
                    <a:pt x="450" y="408"/>
                  </a:cubicBezTo>
                  <a:cubicBezTo>
                    <a:pt x="450" y="408"/>
                    <a:pt x="450" y="408"/>
                    <a:pt x="450" y="408"/>
                  </a:cubicBezTo>
                  <a:cubicBezTo>
                    <a:pt x="450" y="408"/>
                    <a:pt x="450" y="408"/>
                    <a:pt x="450" y="407"/>
                  </a:cubicBezTo>
                  <a:cubicBezTo>
                    <a:pt x="450" y="407"/>
                    <a:pt x="450" y="406"/>
                    <a:pt x="450" y="406"/>
                  </a:cubicBezTo>
                  <a:cubicBezTo>
                    <a:pt x="450" y="405"/>
                    <a:pt x="450" y="405"/>
                    <a:pt x="450" y="405"/>
                  </a:cubicBezTo>
                  <a:cubicBezTo>
                    <a:pt x="450" y="405"/>
                    <a:pt x="450" y="406"/>
                    <a:pt x="450" y="406"/>
                  </a:cubicBezTo>
                  <a:cubicBezTo>
                    <a:pt x="449" y="406"/>
                    <a:pt x="449" y="407"/>
                    <a:pt x="449" y="407"/>
                  </a:cubicBezTo>
                  <a:cubicBezTo>
                    <a:pt x="449" y="408"/>
                    <a:pt x="449" y="408"/>
                    <a:pt x="449" y="408"/>
                  </a:cubicBezTo>
                  <a:cubicBezTo>
                    <a:pt x="449" y="408"/>
                    <a:pt x="449" y="408"/>
                    <a:pt x="449" y="409"/>
                  </a:cubicBezTo>
                  <a:cubicBezTo>
                    <a:pt x="449" y="409"/>
                    <a:pt x="448" y="409"/>
                    <a:pt x="448" y="409"/>
                  </a:cubicBezTo>
                  <a:cubicBezTo>
                    <a:pt x="448" y="409"/>
                    <a:pt x="447" y="409"/>
                    <a:pt x="447" y="408"/>
                  </a:cubicBezTo>
                  <a:cubicBezTo>
                    <a:pt x="447" y="408"/>
                    <a:pt x="447" y="408"/>
                    <a:pt x="447" y="408"/>
                  </a:cubicBezTo>
                  <a:cubicBezTo>
                    <a:pt x="447" y="408"/>
                    <a:pt x="447" y="408"/>
                    <a:pt x="447" y="408"/>
                  </a:cubicBezTo>
                  <a:cubicBezTo>
                    <a:pt x="447" y="409"/>
                    <a:pt x="447" y="409"/>
                    <a:pt x="447" y="409"/>
                  </a:cubicBezTo>
                  <a:cubicBezTo>
                    <a:pt x="448" y="410"/>
                    <a:pt x="447" y="410"/>
                    <a:pt x="447" y="410"/>
                  </a:cubicBezTo>
                  <a:cubicBezTo>
                    <a:pt x="447" y="410"/>
                    <a:pt x="447" y="410"/>
                    <a:pt x="446" y="410"/>
                  </a:cubicBezTo>
                  <a:cubicBezTo>
                    <a:pt x="446" y="410"/>
                    <a:pt x="445" y="409"/>
                    <a:pt x="445" y="409"/>
                  </a:cubicBezTo>
                  <a:cubicBezTo>
                    <a:pt x="444" y="409"/>
                    <a:pt x="444" y="408"/>
                    <a:pt x="444" y="408"/>
                  </a:cubicBezTo>
                  <a:cubicBezTo>
                    <a:pt x="444" y="408"/>
                    <a:pt x="444" y="408"/>
                    <a:pt x="444" y="407"/>
                  </a:cubicBezTo>
                  <a:cubicBezTo>
                    <a:pt x="443" y="407"/>
                    <a:pt x="443" y="407"/>
                    <a:pt x="442" y="408"/>
                  </a:cubicBezTo>
                  <a:cubicBezTo>
                    <a:pt x="442" y="408"/>
                    <a:pt x="442" y="407"/>
                    <a:pt x="442" y="407"/>
                  </a:cubicBezTo>
                  <a:cubicBezTo>
                    <a:pt x="442" y="407"/>
                    <a:pt x="442" y="407"/>
                    <a:pt x="442" y="407"/>
                  </a:cubicBezTo>
                  <a:cubicBezTo>
                    <a:pt x="442" y="407"/>
                    <a:pt x="442" y="407"/>
                    <a:pt x="442" y="407"/>
                  </a:cubicBezTo>
                  <a:cubicBezTo>
                    <a:pt x="441" y="406"/>
                    <a:pt x="442" y="406"/>
                    <a:pt x="442" y="405"/>
                  </a:cubicBezTo>
                  <a:cubicBezTo>
                    <a:pt x="442" y="405"/>
                    <a:pt x="442" y="405"/>
                    <a:pt x="442" y="405"/>
                  </a:cubicBezTo>
                  <a:cubicBezTo>
                    <a:pt x="442" y="405"/>
                    <a:pt x="442" y="405"/>
                    <a:pt x="442" y="405"/>
                  </a:cubicBezTo>
                  <a:cubicBezTo>
                    <a:pt x="443" y="405"/>
                    <a:pt x="443" y="405"/>
                    <a:pt x="443" y="405"/>
                  </a:cubicBezTo>
                  <a:cubicBezTo>
                    <a:pt x="443" y="405"/>
                    <a:pt x="444" y="405"/>
                    <a:pt x="444" y="405"/>
                  </a:cubicBezTo>
                  <a:cubicBezTo>
                    <a:pt x="444" y="405"/>
                    <a:pt x="444" y="406"/>
                    <a:pt x="444" y="406"/>
                  </a:cubicBezTo>
                  <a:cubicBezTo>
                    <a:pt x="444" y="406"/>
                    <a:pt x="444" y="406"/>
                    <a:pt x="444" y="406"/>
                  </a:cubicBezTo>
                  <a:cubicBezTo>
                    <a:pt x="445" y="406"/>
                    <a:pt x="444" y="406"/>
                    <a:pt x="445" y="406"/>
                  </a:cubicBezTo>
                  <a:cubicBezTo>
                    <a:pt x="445" y="406"/>
                    <a:pt x="445" y="406"/>
                    <a:pt x="445" y="406"/>
                  </a:cubicBezTo>
                  <a:cubicBezTo>
                    <a:pt x="445" y="406"/>
                    <a:pt x="445" y="406"/>
                    <a:pt x="445" y="406"/>
                  </a:cubicBezTo>
                  <a:cubicBezTo>
                    <a:pt x="445" y="406"/>
                    <a:pt x="445" y="405"/>
                    <a:pt x="445" y="405"/>
                  </a:cubicBezTo>
                  <a:cubicBezTo>
                    <a:pt x="445" y="405"/>
                    <a:pt x="445" y="405"/>
                    <a:pt x="444" y="405"/>
                  </a:cubicBezTo>
                  <a:cubicBezTo>
                    <a:pt x="444" y="405"/>
                    <a:pt x="444" y="405"/>
                    <a:pt x="444" y="404"/>
                  </a:cubicBezTo>
                  <a:cubicBezTo>
                    <a:pt x="444" y="404"/>
                    <a:pt x="444" y="404"/>
                    <a:pt x="444" y="404"/>
                  </a:cubicBezTo>
                  <a:cubicBezTo>
                    <a:pt x="443" y="404"/>
                    <a:pt x="443" y="404"/>
                    <a:pt x="443" y="403"/>
                  </a:cubicBezTo>
                  <a:cubicBezTo>
                    <a:pt x="444" y="403"/>
                    <a:pt x="444" y="403"/>
                    <a:pt x="444" y="403"/>
                  </a:cubicBezTo>
                  <a:cubicBezTo>
                    <a:pt x="445" y="403"/>
                    <a:pt x="445" y="403"/>
                    <a:pt x="446" y="404"/>
                  </a:cubicBezTo>
                  <a:cubicBezTo>
                    <a:pt x="446" y="404"/>
                    <a:pt x="446" y="404"/>
                    <a:pt x="446" y="404"/>
                  </a:cubicBezTo>
                  <a:cubicBezTo>
                    <a:pt x="446" y="403"/>
                    <a:pt x="447" y="403"/>
                    <a:pt x="447" y="403"/>
                  </a:cubicBezTo>
                  <a:cubicBezTo>
                    <a:pt x="447" y="404"/>
                    <a:pt x="447" y="404"/>
                    <a:pt x="447" y="404"/>
                  </a:cubicBezTo>
                  <a:cubicBezTo>
                    <a:pt x="447" y="403"/>
                    <a:pt x="447" y="403"/>
                    <a:pt x="447" y="403"/>
                  </a:cubicBezTo>
                  <a:cubicBezTo>
                    <a:pt x="447" y="403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1"/>
                  </a:cubicBezTo>
                  <a:cubicBezTo>
                    <a:pt x="447" y="401"/>
                    <a:pt x="447" y="401"/>
                    <a:pt x="447" y="401"/>
                  </a:cubicBezTo>
                  <a:cubicBezTo>
                    <a:pt x="446" y="401"/>
                    <a:pt x="446" y="401"/>
                    <a:pt x="446" y="401"/>
                  </a:cubicBezTo>
                  <a:cubicBezTo>
                    <a:pt x="446" y="400"/>
                    <a:pt x="446" y="400"/>
                    <a:pt x="446" y="400"/>
                  </a:cubicBezTo>
                  <a:cubicBezTo>
                    <a:pt x="446" y="400"/>
                    <a:pt x="446" y="400"/>
                    <a:pt x="446" y="400"/>
                  </a:cubicBezTo>
                  <a:cubicBezTo>
                    <a:pt x="446" y="400"/>
                    <a:pt x="447" y="400"/>
                    <a:pt x="447" y="400"/>
                  </a:cubicBezTo>
                  <a:cubicBezTo>
                    <a:pt x="447" y="400"/>
                    <a:pt x="447" y="400"/>
                    <a:pt x="447" y="400"/>
                  </a:cubicBezTo>
                  <a:cubicBezTo>
                    <a:pt x="447" y="399"/>
                    <a:pt x="448" y="399"/>
                    <a:pt x="448" y="399"/>
                  </a:cubicBezTo>
                  <a:cubicBezTo>
                    <a:pt x="448" y="399"/>
                    <a:pt x="448" y="400"/>
                    <a:pt x="448" y="400"/>
                  </a:cubicBezTo>
                  <a:cubicBezTo>
                    <a:pt x="449" y="400"/>
                    <a:pt x="448" y="399"/>
                    <a:pt x="449" y="399"/>
                  </a:cubicBezTo>
                  <a:cubicBezTo>
                    <a:pt x="449" y="399"/>
                    <a:pt x="449" y="399"/>
                    <a:pt x="449" y="399"/>
                  </a:cubicBezTo>
                  <a:cubicBezTo>
                    <a:pt x="449" y="399"/>
                    <a:pt x="449" y="398"/>
                    <a:pt x="449" y="398"/>
                  </a:cubicBezTo>
                  <a:cubicBezTo>
                    <a:pt x="449" y="399"/>
                    <a:pt x="449" y="399"/>
                    <a:pt x="449" y="399"/>
                  </a:cubicBezTo>
                  <a:cubicBezTo>
                    <a:pt x="449" y="399"/>
                    <a:pt x="449" y="399"/>
                    <a:pt x="449" y="399"/>
                  </a:cubicBezTo>
                  <a:cubicBezTo>
                    <a:pt x="450" y="399"/>
                    <a:pt x="450" y="399"/>
                    <a:pt x="450" y="399"/>
                  </a:cubicBezTo>
                  <a:cubicBezTo>
                    <a:pt x="450" y="399"/>
                    <a:pt x="451" y="399"/>
                    <a:pt x="451" y="399"/>
                  </a:cubicBezTo>
                  <a:cubicBezTo>
                    <a:pt x="451" y="399"/>
                    <a:pt x="451" y="399"/>
                    <a:pt x="451" y="400"/>
                  </a:cubicBezTo>
                  <a:cubicBezTo>
                    <a:pt x="450" y="400"/>
                    <a:pt x="450" y="400"/>
                    <a:pt x="451" y="400"/>
                  </a:cubicBezTo>
                  <a:cubicBezTo>
                    <a:pt x="451" y="400"/>
                    <a:pt x="451" y="400"/>
                    <a:pt x="451" y="401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1" y="401"/>
                    <a:pt x="451" y="402"/>
                    <a:pt x="451" y="402"/>
                  </a:cubicBezTo>
                  <a:cubicBezTo>
                    <a:pt x="451" y="402"/>
                    <a:pt x="451" y="402"/>
                    <a:pt x="451" y="402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2" y="401"/>
                    <a:pt x="452" y="402"/>
                    <a:pt x="452" y="402"/>
                  </a:cubicBezTo>
                  <a:cubicBezTo>
                    <a:pt x="452" y="402"/>
                    <a:pt x="453" y="402"/>
                    <a:pt x="452" y="402"/>
                  </a:cubicBezTo>
                  <a:cubicBezTo>
                    <a:pt x="452" y="401"/>
                    <a:pt x="453" y="401"/>
                    <a:pt x="453" y="401"/>
                  </a:cubicBezTo>
                  <a:cubicBezTo>
                    <a:pt x="453" y="401"/>
                    <a:pt x="453" y="400"/>
                    <a:pt x="453" y="400"/>
                  </a:cubicBezTo>
                  <a:cubicBezTo>
                    <a:pt x="453" y="400"/>
                    <a:pt x="453" y="400"/>
                    <a:pt x="453" y="400"/>
                  </a:cubicBezTo>
                  <a:cubicBezTo>
                    <a:pt x="453" y="400"/>
                    <a:pt x="453" y="400"/>
                    <a:pt x="453" y="400"/>
                  </a:cubicBezTo>
                  <a:cubicBezTo>
                    <a:pt x="453" y="400"/>
                    <a:pt x="453" y="400"/>
                    <a:pt x="453" y="400"/>
                  </a:cubicBezTo>
                  <a:cubicBezTo>
                    <a:pt x="453" y="400"/>
                    <a:pt x="453" y="400"/>
                    <a:pt x="454" y="400"/>
                  </a:cubicBezTo>
                  <a:cubicBezTo>
                    <a:pt x="454" y="400"/>
                    <a:pt x="454" y="401"/>
                    <a:pt x="454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401"/>
                    <a:pt x="454" y="402"/>
                    <a:pt x="454" y="402"/>
                  </a:cubicBezTo>
                  <a:cubicBezTo>
                    <a:pt x="455" y="402"/>
                    <a:pt x="455" y="402"/>
                    <a:pt x="455" y="401"/>
                  </a:cubicBezTo>
                  <a:cubicBezTo>
                    <a:pt x="455" y="401"/>
                    <a:pt x="456" y="401"/>
                    <a:pt x="456" y="401"/>
                  </a:cubicBezTo>
                  <a:cubicBezTo>
                    <a:pt x="456" y="401"/>
                    <a:pt x="456" y="402"/>
                    <a:pt x="456" y="402"/>
                  </a:cubicBezTo>
                  <a:cubicBezTo>
                    <a:pt x="456" y="402"/>
                    <a:pt x="456" y="402"/>
                    <a:pt x="456" y="402"/>
                  </a:cubicBezTo>
                  <a:cubicBezTo>
                    <a:pt x="455" y="403"/>
                    <a:pt x="455" y="404"/>
                    <a:pt x="455" y="405"/>
                  </a:cubicBezTo>
                  <a:cubicBezTo>
                    <a:pt x="455" y="405"/>
                    <a:pt x="455" y="405"/>
                    <a:pt x="455" y="405"/>
                  </a:cubicBezTo>
                  <a:cubicBezTo>
                    <a:pt x="455" y="405"/>
                    <a:pt x="455" y="405"/>
                    <a:pt x="455" y="405"/>
                  </a:cubicBezTo>
                  <a:cubicBezTo>
                    <a:pt x="456" y="405"/>
                    <a:pt x="456" y="404"/>
                    <a:pt x="456" y="404"/>
                  </a:cubicBezTo>
                  <a:cubicBezTo>
                    <a:pt x="456" y="404"/>
                    <a:pt x="456" y="403"/>
                    <a:pt x="456" y="403"/>
                  </a:cubicBezTo>
                  <a:cubicBezTo>
                    <a:pt x="456" y="403"/>
                    <a:pt x="456" y="403"/>
                    <a:pt x="456" y="403"/>
                  </a:cubicBezTo>
                  <a:cubicBezTo>
                    <a:pt x="457" y="403"/>
                    <a:pt x="457" y="403"/>
                    <a:pt x="457" y="403"/>
                  </a:cubicBezTo>
                  <a:cubicBezTo>
                    <a:pt x="457" y="402"/>
                    <a:pt x="457" y="402"/>
                    <a:pt x="457" y="402"/>
                  </a:cubicBezTo>
                  <a:cubicBezTo>
                    <a:pt x="458" y="402"/>
                    <a:pt x="458" y="403"/>
                    <a:pt x="458" y="404"/>
                  </a:cubicBezTo>
                  <a:close/>
                  <a:moveTo>
                    <a:pt x="438" y="412"/>
                  </a:moveTo>
                  <a:cubicBezTo>
                    <a:pt x="438" y="413"/>
                    <a:pt x="438" y="413"/>
                    <a:pt x="439" y="413"/>
                  </a:cubicBezTo>
                  <a:cubicBezTo>
                    <a:pt x="439" y="413"/>
                    <a:pt x="439" y="414"/>
                    <a:pt x="440" y="414"/>
                  </a:cubicBezTo>
                  <a:cubicBezTo>
                    <a:pt x="440" y="414"/>
                    <a:pt x="440" y="414"/>
                    <a:pt x="440" y="414"/>
                  </a:cubicBezTo>
                  <a:cubicBezTo>
                    <a:pt x="440" y="414"/>
                    <a:pt x="440" y="414"/>
                    <a:pt x="440" y="414"/>
                  </a:cubicBezTo>
                  <a:cubicBezTo>
                    <a:pt x="441" y="415"/>
                    <a:pt x="441" y="415"/>
                    <a:pt x="441" y="415"/>
                  </a:cubicBezTo>
                  <a:cubicBezTo>
                    <a:pt x="441" y="415"/>
                    <a:pt x="442" y="415"/>
                    <a:pt x="442" y="415"/>
                  </a:cubicBezTo>
                  <a:cubicBezTo>
                    <a:pt x="442" y="415"/>
                    <a:pt x="442" y="415"/>
                    <a:pt x="442" y="415"/>
                  </a:cubicBezTo>
                  <a:cubicBezTo>
                    <a:pt x="441" y="414"/>
                    <a:pt x="441" y="414"/>
                    <a:pt x="441" y="413"/>
                  </a:cubicBezTo>
                  <a:cubicBezTo>
                    <a:pt x="441" y="413"/>
                    <a:pt x="441" y="413"/>
                    <a:pt x="441" y="413"/>
                  </a:cubicBezTo>
                  <a:cubicBezTo>
                    <a:pt x="441" y="413"/>
                    <a:pt x="441" y="413"/>
                    <a:pt x="441" y="412"/>
                  </a:cubicBezTo>
                  <a:cubicBezTo>
                    <a:pt x="440" y="412"/>
                    <a:pt x="440" y="412"/>
                    <a:pt x="440" y="412"/>
                  </a:cubicBezTo>
                  <a:cubicBezTo>
                    <a:pt x="440" y="412"/>
                    <a:pt x="439" y="411"/>
                    <a:pt x="438" y="411"/>
                  </a:cubicBezTo>
                  <a:cubicBezTo>
                    <a:pt x="438" y="411"/>
                    <a:pt x="438" y="411"/>
                    <a:pt x="438" y="411"/>
                  </a:cubicBezTo>
                  <a:cubicBezTo>
                    <a:pt x="437" y="411"/>
                    <a:pt x="437" y="412"/>
                    <a:pt x="438" y="412"/>
                  </a:cubicBezTo>
                  <a:close/>
                  <a:moveTo>
                    <a:pt x="433" y="444"/>
                  </a:moveTo>
                  <a:cubicBezTo>
                    <a:pt x="433" y="444"/>
                    <a:pt x="433" y="444"/>
                    <a:pt x="432" y="445"/>
                  </a:cubicBezTo>
                  <a:cubicBezTo>
                    <a:pt x="432" y="445"/>
                    <a:pt x="432" y="445"/>
                    <a:pt x="432" y="445"/>
                  </a:cubicBezTo>
                  <a:cubicBezTo>
                    <a:pt x="432" y="445"/>
                    <a:pt x="432" y="445"/>
                    <a:pt x="432" y="445"/>
                  </a:cubicBezTo>
                  <a:cubicBezTo>
                    <a:pt x="431" y="445"/>
                    <a:pt x="431" y="445"/>
                    <a:pt x="431" y="445"/>
                  </a:cubicBezTo>
                  <a:cubicBezTo>
                    <a:pt x="430" y="445"/>
                    <a:pt x="430" y="445"/>
                    <a:pt x="430" y="445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31" y="446"/>
                    <a:pt x="431" y="446"/>
                    <a:pt x="432" y="446"/>
                  </a:cubicBezTo>
                  <a:cubicBezTo>
                    <a:pt x="432" y="446"/>
                    <a:pt x="433" y="445"/>
                    <a:pt x="433" y="445"/>
                  </a:cubicBezTo>
                  <a:cubicBezTo>
                    <a:pt x="433" y="445"/>
                    <a:pt x="433" y="445"/>
                    <a:pt x="433" y="444"/>
                  </a:cubicBezTo>
                  <a:close/>
                  <a:moveTo>
                    <a:pt x="439" y="408"/>
                  </a:moveTo>
                  <a:cubicBezTo>
                    <a:pt x="440" y="408"/>
                    <a:pt x="440" y="407"/>
                    <a:pt x="440" y="407"/>
                  </a:cubicBezTo>
                  <a:cubicBezTo>
                    <a:pt x="440" y="407"/>
                    <a:pt x="440" y="407"/>
                    <a:pt x="441" y="407"/>
                  </a:cubicBezTo>
                  <a:cubicBezTo>
                    <a:pt x="441" y="407"/>
                    <a:pt x="441" y="407"/>
                    <a:pt x="441" y="407"/>
                  </a:cubicBezTo>
                  <a:cubicBezTo>
                    <a:pt x="441" y="407"/>
                    <a:pt x="441" y="407"/>
                    <a:pt x="442" y="408"/>
                  </a:cubicBezTo>
                  <a:cubicBezTo>
                    <a:pt x="442" y="408"/>
                    <a:pt x="442" y="408"/>
                    <a:pt x="442" y="408"/>
                  </a:cubicBezTo>
                  <a:cubicBezTo>
                    <a:pt x="442" y="408"/>
                    <a:pt x="442" y="408"/>
                    <a:pt x="442" y="408"/>
                  </a:cubicBezTo>
                  <a:cubicBezTo>
                    <a:pt x="443" y="408"/>
                    <a:pt x="443" y="408"/>
                    <a:pt x="443" y="408"/>
                  </a:cubicBezTo>
                  <a:cubicBezTo>
                    <a:pt x="443" y="408"/>
                    <a:pt x="443" y="408"/>
                    <a:pt x="443" y="408"/>
                  </a:cubicBezTo>
                  <a:cubicBezTo>
                    <a:pt x="443" y="408"/>
                    <a:pt x="443" y="409"/>
                    <a:pt x="444" y="409"/>
                  </a:cubicBezTo>
                  <a:cubicBezTo>
                    <a:pt x="444" y="409"/>
                    <a:pt x="444" y="410"/>
                    <a:pt x="444" y="410"/>
                  </a:cubicBezTo>
                  <a:cubicBezTo>
                    <a:pt x="445" y="410"/>
                    <a:pt x="445" y="410"/>
                    <a:pt x="445" y="410"/>
                  </a:cubicBezTo>
                  <a:cubicBezTo>
                    <a:pt x="445" y="410"/>
                    <a:pt x="446" y="410"/>
                    <a:pt x="446" y="410"/>
                  </a:cubicBezTo>
                  <a:cubicBezTo>
                    <a:pt x="446" y="411"/>
                    <a:pt x="445" y="411"/>
                    <a:pt x="445" y="411"/>
                  </a:cubicBezTo>
                  <a:cubicBezTo>
                    <a:pt x="445" y="411"/>
                    <a:pt x="444" y="411"/>
                    <a:pt x="444" y="411"/>
                  </a:cubicBezTo>
                  <a:cubicBezTo>
                    <a:pt x="444" y="411"/>
                    <a:pt x="443" y="410"/>
                    <a:pt x="443" y="410"/>
                  </a:cubicBezTo>
                  <a:cubicBezTo>
                    <a:pt x="443" y="410"/>
                    <a:pt x="443" y="410"/>
                    <a:pt x="442" y="410"/>
                  </a:cubicBezTo>
                  <a:cubicBezTo>
                    <a:pt x="442" y="410"/>
                    <a:pt x="442" y="409"/>
                    <a:pt x="442" y="409"/>
                  </a:cubicBezTo>
                  <a:cubicBezTo>
                    <a:pt x="441" y="409"/>
                    <a:pt x="441" y="409"/>
                    <a:pt x="441" y="409"/>
                  </a:cubicBezTo>
                  <a:cubicBezTo>
                    <a:pt x="441" y="409"/>
                    <a:pt x="441" y="408"/>
                    <a:pt x="441" y="408"/>
                  </a:cubicBezTo>
                  <a:cubicBezTo>
                    <a:pt x="441" y="408"/>
                    <a:pt x="441" y="408"/>
                    <a:pt x="441" y="409"/>
                  </a:cubicBezTo>
                  <a:cubicBezTo>
                    <a:pt x="441" y="409"/>
                    <a:pt x="441" y="409"/>
                    <a:pt x="441" y="409"/>
                  </a:cubicBezTo>
                  <a:cubicBezTo>
                    <a:pt x="441" y="409"/>
                    <a:pt x="441" y="409"/>
                    <a:pt x="441" y="409"/>
                  </a:cubicBezTo>
                  <a:cubicBezTo>
                    <a:pt x="440" y="409"/>
                    <a:pt x="440" y="409"/>
                    <a:pt x="440" y="409"/>
                  </a:cubicBezTo>
                  <a:cubicBezTo>
                    <a:pt x="439" y="409"/>
                    <a:pt x="439" y="409"/>
                    <a:pt x="439" y="408"/>
                  </a:cubicBezTo>
                  <a:close/>
                  <a:moveTo>
                    <a:pt x="460" y="404"/>
                  </a:moveTo>
                  <a:cubicBezTo>
                    <a:pt x="460" y="404"/>
                    <a:pt x="460" y="404"/>
                    <a:pt x="459" y="404"/>
                  </a:cubicBezTo>
                  <a:cubicBezTo>
                    <a:pt x="459" y="404"/>
                    <a:pt x="459" y="404"/>
                    <a:pt x="459" y="404"/>
                  </a:cubicBezTo>
                  <a:cubicBezTo>
                    <a:pt x="459" y="404"/>
                    <a:pt x="459" y="405"/>
                    <a:pt x="459" y="405"/>
                  </a:cubicBezTo>
                  <a:cubicBezTo>
                    <a:pt x="459" y="405"/>
                    <a:pt x="459" y="405"/>
                    <a:pt x="459" y="405"/>
                  </a:cubicBezTo>
                  <a:cubicBezTo>
                    <a:pt x="459" y="405"/>
                    <a:pt x="459" y="405"/>
                    <a:pt x="459" y="405"/>
                  </a:cubicBezTo>
                  <a:cubicBezTo>
                    <a:pt x="459" y="406"/>
                    <a:pt x="459" y="406"/>
                    <a:pt x="459" y="406"/>
                  </a:cubicBezTo>
                  <a:cubicBezTo>
                    <a:pt x="459" y="406"/>
                    <a:pt x="459" y="406"/>
                    <a:pt x="459" y="406"/>
                  </a:cubicBezTo>
                  <a:cubicBezTo>
                    <a:pt x="460" y="405"/>
                    <a:pt x="460" y="405"/>
                    <a:pt x="460" y="404"/>
                  </a:cubicBezTo>
                  <a:close/>
                  <a:moveTo>
                    <a:pt x="448" y="411"/>
                  </a:moveTo>
                  <a:cubicBezTo>
                    <a:pt x="448" y="411"/>
                    <a:pt x="448" y="411"/>
                    <a:pt x="448" y="411"/>
                  </a:cubicBezTo>
                  <a:cubicBezTo>
                    <a:pt x="448" y="411"/>
                    <a:pt x="448" y="411"/>
                    <a:pt x="447" y="411"/>
                  </a:cubicBezTo>
                  <a:cubicBezTo>
                    <a:pt x="447" y="411"/>
                    <a:pt x="447" y="411"/>
                    <a:pt x="447" y="411"/>
                  </a:cubicBezTo>
                  <a:cubicBezTo>
                    <a:pt x="446" y="411"/>
                    <a:pt x="446" y="411"/>
                    <a:pt x="446" y="411"/>
                  </a:cubicBezTo>
                  <a:cubicBezTo>
                    <a:pt x="446" y="412"/>
                    <a:pt x="447" y="412"/>
                    <a:pt x="447" y="412"/>
                  </a:cubicBezTo>
                  <a:cubicBezTo>
                    <a:pt x="447" y="412"/>
                    <a:pt x="448" y="412"/>
                    <a:pt x="448" y="411"/>
                  </a:cubicBezTo>
                  <a:close/>
                  <a:moveTo>
                    <a:pt x="452" y="411"/>
                  </a:moveTo>
                  <a:cubicBezTo>
                    <a:pt x="452" y="411"/>
                    <a:pt x="452" y="411"/>
                    <a:pt x="452" y="411"/>
                  </a:cubicBezTo>
                  <a:cubicBezTo>
                    <a:pt x="451" y="411"/>
                    <a:pt x="451" y="411"/>
                    <a:pt x="451" y="411"/>
                  </a:cubicBezTo>
                  <a:cubicBezTo>
                    <a:pt x="451" y="412"/>
                    <a:pt x="451" y="412"/>
                    <a:pt x="451" y="412"/>
                  </a:cubicBezTo>
                  <a:cubicBezTo>
                    <a:pt x="451" y="412"/>
                    <a:pt x="452" y="412"/>
                    <a:pt x="452" y="412"/>
                  </a:cubicBezTo>
                  <a:cubicBezTo>
                    <a:pt x="452" y="412"/>
                    <a:pt x="452" y="412"/>
                    <a:pt x="452" y="412"/>
                  </a:cubicBezTo>
                  <a:cubicBezTo>
                    <a:pt x="452" y="412"/>
                    <a:pt x="452" y="412"/>
                    <a:pt x="452" y="412"/>
                  </a:cubicBezTo>
                  <a:cubicBezTo>
                    <a:pt x="453" y="413"/>
                    <a:pt x="453" y="413"/>
                    <a:pt x="453" y="412"/>
                  </a:cubicBezTo>
                  <a:cubicBezTo>
                    <a:pt x="453" y="412"/>
                    <a:pt x="452" y="412"/>
                    <a:pt x="452" y="412"/>
                  </a:cubicBezTo>
                  <a:cubicBezTo>
                    <a:pt x="452" y="412"/>
                    <a:pt x="452" y="412"/>
                    <a:pt x="452" y="411"/>
                  </a:cubicBezTo>
                  <a:cubicBezTo>
                    <a:pt x="452" y="411"/>
                    <a:pt x="452" y="411"/>
                    <a:pt x="452" y="411"/>
                  </a:cubicBezTo>
                  <a:close/>
                  <a:moveTo>
                    <a:pt x="434" y="424"/>
                  </a:moveTo>
                  <a:cubicBezTo>
                    <a:pt x="434" y="423"/>
                    <a:pt x="434" y="422"/>
                    <a:pt x="433" y="421"/>
                  </a:cubicBezTo>
                  <a:cubicBezTo>
                    <a:pt x="433" y="421"/>
                    <a:pt x="433" y="422"/>
                    <a:pt x="433" y="422"/>
                  </a:cubicBezTo>
                  <a:cubicBezTo>
                    <a:pt x="433" y="422"/>
                    <a:pt x="433" y="423"/>
                    <a:pt x="433" y="423"/>
                  </a:cubicBezTo>
                  <a:cubicBezTo>
                    <a:pt x="433" y="423"/>
                    <a:pt x="433" y="424"/>
                    <a:pt x="434" y="424"/>
                  </a:cubicBezTo>
                  <a:close/>
                  <a:moveTo>
                    <a:pt x="445" y="402"/>
                  </a:moveTo>
                  <a:cubicBezTo>
                    <a:pt x="446" y="403"/>
                    <a:pt x="446" y="403"/>
                    <a:pt x="447" y="403"/>
                  </a:cubicBezTo>
                  <a:cubicBezTo>
                    <a:pt x="447" y="403"/>
                    <a:pt x="447" y="403"/>
                    <a:pt x="447" y="403"/>
                  </a:cubicBezTo>
                  <a:cubicBezTo>
                    <a:pt x="447" y="403"/>
                    <a:pt x="447" y="403"/>
                    <a:pt x="447" y="403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6" y="402"/>
                    <a:pt x="446" y="402"/>
                    <a:pt x="446" y="402"/>
                  </a:cubicBezTo>
                  <a:cubicBezTo>
                    <a:pt x="446" y="402"/>
                    <a:pt x="445" y="402"/>
                    <a:pt x="445" y="402"/>
                  </a:cubicBezTo>
                  <a:cubicBezTo>
                    <a:pt x="445" y="402"/>
                    <a:pt x="445" y="402"/>
                    <a:pt x="445" y="402"/>
                  </a:cubicBezTo>
                  <a:cubicBezTo>
                    <a:pt x="445" y="402"/>
                    <a:pt x="445" y="402"/>
                    <a:pt x="445" y="402"/>
                  </a:cubicBezTo>
                  <a:close/>
                  <a:moveTo>
                    <a:pt x="431" y="441"/>
                  </a:moveTo>
                  <a:cubicBezTo>
                    <a:pt x="431" y="441"/>
                    <a:pt x="431" y="441"/>
                    <a:pt x="431" y="441"/>
                  </a:cubicBezTo>
                  <a:cubicBezTo>
                    <a:pt x="431" y="441"/>
                    <a:pt x="431" y="440"/>
                    <a:pt x="431" y="441"/>
                  </a:cubicBezTo>
                  <a:cubicBezTo>
                    <a:pt x="430" y="441"/>
                    <a:pt x="430" y="441"/>
                    <a:pt x="430" y="441"/>
                  </a:cubicBezTo>
                  <a:cubicBezTo>
                    <a:pt x="430" y="442"/>
                    <a:pt x="431" y="441"/>
                    <a:pt x="431" y="442"/>
                  </a:cubicBezTo>
                  <a:cubicBezTo>
                    <a:pt x="431" y="442"/>
                    <a:pt x="431" y="442"/>
                    <a:pt x="431" y="441"/>
                  </a:cubicBezTo>
                  <a:close/>
                  <a:moveTo>
                    <a:pt x="426" y="444"/>
                  </a:moveTo>
                  <a:cubicBezTo>
                    <a:pt x="426" y="444"/>
                    <a:pt x="426" y="444"/>
                    <a:pt x="426" y="444"/>
                  </a:cubicBezTo>
                  <a:cubicBezTo>
                    <a:pt x="426" y="444"/>
                    <a:pt x="426" y="445"/>
                    <a:pt x="426" y="445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26" y="445"/>
                    <a:pt x="426" y="444"/>
                    <a:pt x="426" y="444"/>
                  </a:cubicBezTo>
                  <a:cubicBezTo>
                    <a:pt x="426" y="444"/>
                    <a:pt x="426" y="444"/>
                    <a:pt x="426" y="444"/>
                  </a:cubicBezTo>
                  <a:close/>
                  <a:moveTo>
                    <a:pt x="437" y="436"/>
                  </a:moveTo>
                  <a:cubicBezTo>
                    <a:pt x="437" y="436"/>
                    <a:pt x="437" y="436"/>
                    <a:pt x="436" y="436"/>
                  </a:cubicBezTo>
                  <a:cubicBezTo>
                    <a:pt x="436" y="436"/>
                    <a:pt x="436" y="436"/>
                    <a:pt x="436" y="436"/>
                  </a:cubicBezTo>
                  <a:cubicBezTo>
                    <a:pt x="437" y="436"/>
                    <a:pt x="437" y="436"/>
                    <a:pt x="437" y="436"/>
                  </a:cubicBezTo>
                  <a:cubicBezTo>
                    <a:pt x="437" y="436"/>
                    <a:pt x="437" y="436"/>
                    <a:pt x="437" y="436"/>
                  </a:cubicBezTo>
                  <a:cubicBezTo>
                    <a:pt x="437" y="436"/>
                    <a:pt x="437" y="436"/>
                    <a:pt x="437" y="436"/>
                  </a:cubicBezTo>
                  <a:close/>
                  <a:moveTo>
                    <a:pt x="428" y="437"/>
                  </a:moveTo>
                  <a:cubicBezTo>
                    <a:pt x="428" y="437"/>
                    <a:pt x="428" y="437"/>
                    <a:pt x="428" y="438"/>
                  </a:cubicBezTo>
                  <a:cubicBezTo>
                    <a:pt x="428" y="437"/>
                    <a:pt x="428" y="437"/>
                    <a:pt x="428" y="437"/>
                  </a:cubicBezTo>
                  <a:close/>
                  <a:moveTo>
                    <a:pt x="453" y="425"/>
                  </a:moveTo>
                  <a:cubicBezTo>
                    <a:pt x="453" y="425"/>
                    <a:pt x="453" y="425"/>
                    <a:pt x="453" y="425"/>
                  </a:cubicBezTo>
                  <a:cubicBezTo>
                    <a:pt x="453" y="425"/>
                    <a:pt x="453" y="425"/>
                    <a:pt x="453" y="425"/>
                  </a:cubicBezTo>
                  <a:cubicBezTo>
                    <a:pt x="453" y="425"/>
                    <a:pt x="454" y="425"/>
                    <a:pt x="454" y="425"/>
                  </a:cubicBezTo>
                  <a:cubicBezTo>
                    <a:pt x="454" y="425"/>
                    <a:pt x="454" y="425"/>
                    <a:pt x="453" y="425"/>
                  </a:cubicBezTo>
                  <a:close/>
                  <a:moveTo>
                    <a:pt x="453" y="416"/>
                  </a:moveTo>
                  <a:cubicBezTo>
                    <a:pt x="453" y="416"/>
                    <a:pt x="453" y="416"/>
                    <a:pt x="453" y="416"/>
                  </a:cubicBezTo>
                  <a:cubicBezTo>
                    <a:pt x="453" y="415"/>
                    <a:pt x="453" y="415"/>
                    <a:pt x="453" y="415"/>
                  </a:cubicBezTo>
                  <a:cubicBezTo>
                    <a:pt x="453" y="415"/>
                    <a:pt x="453" y="416"/>
                    <a:pt x="453" y="416"/>
                  </a:cubicBezTo>
                  <a:cubicBezTo>
                    <a:pt x="453" y="416"/>
                    <a:pt x="453" y="416"/>
                    <a:pt x="453" y="416"/>
                  </a:cubicBezTo>
                  <a:close/>
                  <a:moveTo>
                    <a:pt x="425" y="444"/>
                  </a:move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3"/>
                    <a:pt x="425" y="444"/>
                  </a:cubicBezTo>
                  <a:close/>
                  <a:moveTo>
                    <a:pt x="425" y="444"/>
                  </a:move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4"/>
                    <a:pt x="425" y="444"/>
                  </a:cubicBezTo>
                  <a:close/>
                  <a:moveTo>
                    <a:pt x="428" y="437"/>
                  </a:moveTo>
                  <a:cubicBezTo>
                    <a:pt x="428" y="437"/>
                    <a:pt x="428" y="436"/>
                    <a:pt x="427" y="436"/>
                  </a:cubicBezTo>
                  <a:cubicBezTo>
                    <a:pt x="428" y="436"/>
                    <a:pt x="427" y="437"/>
                    <a:pt x="428" y="437"/>
                  </a:cubicBezTo>
                  <a:close/>
                  <a:moveTo>
                    <a:pt x="311" y="486"/>
                  </a:moveTo>
                  <a:cubicBezTo>
                    <a:pt x="311" y="486"/>
                    <a:pt x="311" y="486"/>
                    <a:pt x="311" y="486"/>
                  </a:cubicBezTo>
                  <a:cubicBezTo>
                    <a:pt x="312" y="486"/>
                    <a:pt x="314" y="487"/>
                    <a:pt x="315" y="487"/>
                  </a:cubicBezTo>
                  <a:cubicBezTo>
                    <a:pt x="315" y="486"/>
                    <a:pt x="314" y="486"/>
                    <a:pt x="314" y="486"/>
                  </a:cubicBezTo>
                  <a:cubicBezTo>
                    <a:pt x="313" y="486"/>
                    <a:pt x="313" y="486"/>
                    <a:pt x="312" y="486"/>
                  </a:cubicBezTo>
                  <a:cubicBezTo>
                    <a:pt x="311" y="486"/>
                    <a:pt x="311" y="486"/>
                    <a:pt x="310" y="485"/>
                  </a:cubicBezTo>
                  <a:cubicBezTo>
                    <a:pt x="310" y="485"/>
                    <a:pt x="310" y="484"/>
                    <a:pt x="310" y="483"/>
                  </a:cubicBezTo>
                  <a:cubicBezTo>
                    <a:pt x="310" y="482"/>
                    <a:pt x="310" y="481"/>
                    <a:pt x="309" y="480"/>
                  </a:cubicBezTo>
                  <a:cubicBezTo>
                    <a:pt x="309" y="480"/>
                    <a:pt x="309" y="480"/>
                    <a:pt x="309" y="480"/>
                  </a:cubicBezTo>
                  <a:cubicBezTo>
                    <a:pt x="309" y="479"/>
                    <a:pt x="308" y="479"/>
                    <a:pt x="308" y="479"/>
                  </a:cubicBezTo>
                  <a:cubicBezTo>
                    <a:pt x="307" y="479"/>
                    <a:pt x="306" y="479"/>
                    <a:pt x="305" y="479"/>
                  </a:cubicBezTo>
                  <a:cubicBezTo>
                    <a:pt x="305" y="479"/>
                    <a:pt x="304" y="479"/>
                    <a:pt x="304" y="479"/>
                  </a:cubicBezTo>
                  <a:cubicBezTo>
                    <a:pt x="304" y="480"/>
                    <a:pt x="303" y="480"/>
                    <a:pt x="303" y="480"/>
                  </a:cubicBezTo>
                  <a:cubicBezTo>
                    <a:pt x="303" y="481"/>
                    <a:pt x="302" y="481"/>
                    <a:pt x="302" y="481"/>
                  </a:cubicBezTo>
                  <a:cubicBezTo>
                    <a:pt x="301" y="482"/>
                    <a:pt x="301" y="482"/>
                    <a:pt x="300" y="482"/>
                  </a:cubicBezTo>
                  <a:cubicBezTo>
                    <a:pt x="300" y="482"/>
                    <a:pt x="299" y="483"/>
                    <a:pt x="299" y="483"/>
                  </a:cubicBezTo>
                  <a:cubicBezTo>
                    <a:pt x="298" y="482"/>
                    <a:pt x="298" y="482"/>
                    <a:pt x="297" y="482"/>
                  </a:cubicBezTo>
                  <a:cubicBezTo>
                    <a:pt x="297" y="482"/>
                    <a:pt x="297" y="482"/>
                    <a:pt x="296" y="482"/>
                  </a:cubicBezTo>
                  <a:cubicBezTo>
                    <a:pt x="296" y="482"/>
                    <a:pt x="296" y="483"/>
                    <a:pt x="296" y="483"/>
                  </a:cubicBezTo>
                  <a:cubicBezTo>
                    <a:pt x="296" y="484"/>
                    <a:pt x="295" y="485"/>
                    <a:pt x="295" y="485"/>
                  </a:cubicBezTo>
                  <a:cubicBezTo>
                    <a:pt x="294" y="486"/>
                    <a:pt x="294" y="487"/>
                    <a:pt x="294" y="487"/>
                  </a:cubicBezTo>
                  <a:cubicBezTo>
                    <a:pt x="294" y="488"/>
                    <a:pt x="293" y="488"/>
                    <a:pt x="293" y="488"/>
                  </a:cubicBezTo>
                  <a:cubicBezTo>
                    <a:pt x="293" y="489"/>
                    <a:pt x="292" y="489"/>
                    <a:pt x="291" y="489"/>
                  </a:cubicBezTo>
                  <a:cubicBezTo>
                    <a:pt x="291" y="489"/>
                    <a:pt x="290" y="490"/>
                    <a:pt x="291" y="491"/>
                  </a:cubicBezTo>
                  <a:cubicBezTo>
                    <a:pt x="291" y="491"/>
                    <a:pt x="291" y="492"/>
                    <a:pt x="291" y="493"/>
                  </a:cubicBezTo>
                  <a:cubicBezTo>
                    <a:pt x="291" y="493"/>
                    <a:pt x="291" y="493"/>
                    <a:pt x="291" y="493"/>
                  </a:cubicBezTo>
                  <a:cubicBezTo>
                    <a:pt x="291" y="493"/>
                    <a:pt x="291" y="493"/>
                    <a:pt x="291" y="493"/>
                  </a:cubicBezTo>
                  <a:cubicBezTo>
                    <a:pt x="293" y="493"/>
                    <a:pt x="296" y="493"/>
                    <a:pt x="297" y="493"/>
                  </a:cubicBezTo>
                  <a:cubicBezTo>
                    <a:pt x="298" y="493"/>
                    <a:pt x="298" y="492"/>
                    <a:pt x="298" y="492"/>
                  </a:cubicBezTo>
                  <a:cubicBezTo>
                    <a:pt x="299" y="492"/>
                    <a:pt x="299" y="491"/>
                    <a:pt x="299" y="491"/>
                  </a:cubicBezTo>
                  <a:cubicBezTo>
                    <a:pt x="300" y="490"/>
                    <a:pt x="301" y="489"/>
                    <a:pt x="302" y="488"/>
                  </a:cubicBezTo>
                  <a:cubicBezTo>
                    <a:pt x="305" y="488"/>
                    <a:pt x="307" y="488"/>
                    <a:pt x="309" y="488"/>
                  </a:cubicBezTo>
                  <a:cubicBezTo>
                    <a:pt x="310" y="488"/>
                    <a:pt x="310" y="488"/>
                    <a:pt x="311" y="487"/>
                  </a:cubicBezTo>
                  <a:cubicBezTo>
                    <a:pt x="311" y="487"/>
                    <a:pt x="311" y="486"/>
                    <a:pt x="311" y="486"/>
                  </a:cubicBezTo>
                  <a:close/>
                  <a:moveTo>
                    <a:pt x="253" y="516"/>
                  </a:moveTo>
                  <a:cubicBezTo>
                    <a:pt x="252" y="517"/>
                    <a:pt x="251" y="518"/>
                    <a:pt x="249" y="518"/>
                  </a:cubicBezTo>
                  <a:cubicBezTo>
                    <a:pt x="248" y="519"/>
                    <a:pt x="247" y="519"/>
                    <a:pt x="247" y="520"/>
                  </a:cubicBezTo>
                  <a:cubicBezTo>
                    <a:pt x="247" y="521"/>
                    <a:pt x="247" y="521"/>
                    <a:pt x="246" y="522"/>
                  </a:cubicBezTo>
                  <a:cubicBezTo>
                    <a:pt x="246" y="522"/>
                    <a:pt x="245" y="523"/>
                    <a:pt x="245" y="523"/>
                  </a:cubicBezTo>
                  <a:cubicBezTo>
                    <a:pt x="244" y="524"/>
                    <a:pt x="243" y="524"/>
                    <a:pt x="243" y="525"/>
                  </a:cubicBezTo>
                  <a:cubicBezTo>
                    <a:pt x="242" y="525"/>
                    <a:pt x="242" y="525"/>
                    <a:pt x="242" y="525"/>
                  </a:cubicBezTo>
                  <a:cubicBezTo>
                    <a:pt x="242" y="525"/>
                    <a:pt x="241" y="525"/>
                    <a:pt x="241" y="525"/>
                  </a:cubicBezTo>
                  <a:cubicBezTo>
                    <a:pt x="241" y="526"/>
                    <a:pt x="241" y="526"/>
                    <a:pt x="241" y="526"/>
                  </a:cubicBezTo>
                  <a:cubicBezTo>
                    <a:pt x="241" y="526"/>
                    <a:pt x="241" y="526"/>
                    <a:pt x="242" y="526"/>
                  </a:cubicBezTo>
                  <a:cubicBezTo>
                    <a:pt x="241" y="526"/>
                    <a:pt x="241" y="526"/>
                    <a:pt x="241" y="526"/>
                  </a:cubicBezTo>
                  <a:cubicBezTo>
                    <a:pt x="241" y="526"/>
                    <a:pt x="240" y="526"/>
                    <a:pt x="240" y="526"/>
                  </a:cubicBezTo>
                  <a:cubicBezTo>
                    <a:pt x="239" y="527"/>
                    <a:pt x="239" y="527"/>
                    <a:pt x="238" y="527"/>
                  </a:cubicBezTo>
                  <a:cubicBezTo>
                    <a:pt x="238" y="527"/>
                    <a:pt x="238" y="527"/>
                    <a:pt x="238" y="527"/>
                  </a:cubicBezTo>
                  <a:cubicBezTo>
                    <a:pt x="239" y="527"/>
                    <a:pt x="239" y="527"/>
                    <a:pt x="239" y="526"/>
                  </a:cubicBezTo>
                  <a:cubicBezTo>
                    <a:pt x="239" y="526"/>
                    <a:pt x="239" y="525"/>
                    <a:pt x="240" y="525"/>
                  </a:cubicBezTo>
                  <a:cubicBezTo>
                    <a:pt x="240" y="526"/>
                    <a:pt x="240" y="525"/>
                    <a:pt x="240" y="525"/>
                  </a:cubicBezTo>
                  <a:cubicBezTo>
                    <a:pt x="240" y="524"/>
                    <a:pt x="240" y="524"/>
                    <a:pt x="241" y="524"/>
                  </a:cubicBezTo>
                  <a:cubicBezTo>
                    <a:pt x="241" y="524"/>
                    <a:pt x="241" y="523"/>
                    <a:pt x="241" y="523"/>
                  </a:cubicBezTo>
                  <a:cubicBezTo>
                    <a:pt x="242" y="523"/>
                    <a:pt x="241" y="522"/>
                    <a:pt x="241" y="522"/>
                  </a:cubicBezTo>
                  <a:cubicBezTo>
                    <a:pt x="241" y="522"/>
                    <a:pt x="241" y="521"/>
                    <a:pt x="241" y="521"/>
                  </a:cubicBezTo>
                  <a:cubicBezTo>
                    <a:pt x="241" y="520"/>
                    <a:pt x="242" y="520"/>
                    <a:pt x="242" y="520"/>
                  </a:cubicBezTo>
                  <a:cubicBezTo>
                    <a:pt x="242" y="520"/>
                    <a:pt x="243" y="520"/>
                    <a:pt x="243" y="520"/>
                  </a:cubicBezTo>
                  <a:cubicBezTo>
                    <a:pt x="243" y="519"/>
                    <a:pt x="244" y="519"/>
                    <a:pt x="244" y="519"/>
                  </a:cubicBezTo>
                  <a:cubicBezTo>
                    <a:pt x="245" y="519"/>
                    <a:pt x="245" y="519"/>
                    <a:pt x="246" y="519"/>
                  </a:cubicBezTo>
                  <a:cubicBezTo>
                    <a:pt x="246" y="519"/>
                    <a:pt x="247" y="519"/>
                    <a:pt x="247" y="519"/>
                  </a:cubicBezTo>
                  <a:cubicBezTo>
                    <a:pt x="247" y="518"/>
                    <a:pt x="247" y="518"/>
                    <a:pt x="246" y="518"/>
                  </a:cubicBezTo>
                  <a:cubicBezTo>
                    <a:pt x="246" y="518"/>
                    <a:pt x="246" y="517"/>
                    <a:pt x="246" y="517"/>
                  </a:cubicBezTo>
                  <a:cubicBezTo>
                    <a:pt x="246" y="517"/>
                    <a:pt x="246" y="516"/>
                    <a:pt x="246" y="515"/>
                  </a:cubicBezTo>
                  <a:cubicBezTo>
                    <a:pt x="246" y="515"/>
                    <a:pt x="247" y="514"/>
                    <a:pt x="247" y="514"/>
                  </a:cubicBezTo>
                  <a:cubicBezTo>
                    <a:pt x="247" y="514"/>
                    <a:pt x="248" y="514"/>
                    <a:pt x="248" y="514"/>
                  </a:cubicBezTo>
                  <a:cubicBezTo>
                    <a:pt x="248" y="513"/>
                    <a:pt x="249" y="513"/>
                    <a:pt x="250" y="512"/>
                  </a:cubicBezTo>
                  <a:cubicBezTo>
                    <a:pt x="251" y="512"/>
                    <a:pt x="251" y="512"/>
                    <a:pt x="252" y="513"/>
                  </a:cubicBezTo>
                  <a:cubicBezTo>
                    <a:pt x="252" y="513"/>
                    <a:pt x="253" y="513"/>
                    <a:pt x="253" y="513"/>
                  </a:cubicBezTo>
                  <a:cubicBezTo>
                    <a:pt x="254" y="513"/>
                    <a:pt x="254" y="513"/>
                    <a:pt x="254" y="514"/>
                  </a:cubicBezTo>
                  <a:cubicBezTo>
                    <a:pt x="254" y="514"/>
                    <a:pt x="254" y="514"/>
                    <a:pt x="254" y="514"/>
                  </a:cubicBezTo>
                  <a:cubicBezTo>
                    <a:pt x="253" y="515"/>
                    <a:pt x="253" y="515"/>
                    <a:pt x="253" y="516"/>
                  </a:cubicBezTo>
                  <a:cubicBezTo>
                    <a:pt x="253" y="516"/>
                    <a:pt x="253" y="516"/>
                    <a:pt x="253" y="516"/>
                  </a:cubicBezTo>
                  <a:close/>
                  <a:moveTo>
                    <a:pt x="127" y="549"/>
                  </a:moveTo>
                  <a:cubicBezTo>
                    <a:pt x="128" y="549"/>
                    <a:pt x="128" y="549"/>
                    <a:pt x="128" y="548"/>
                  </a:cubicBezTo>
                  <a:cubicBezTo>
                    <a:pt x="127" y="548"/>
                    <a:pt x="127" y="549"/>
                    <a:pt x="126" y="549"/>
                  </a:cubicBezTo>
                  <a:cubicBezTo>
                    <a:pt x="125" y="549"/>
                    <a:pt x="125" y="548"/>
                    <a:pt x="124" y="548"/>
                  </a:cubicBezTo>
                  <a:cubicBezTo>
                    <a:pt x="124" y="548"/>
                    <a:pt x="124" y="547"/>
                    <a:pt x="123" y="547"/>
                  </a:cubicBezTo>
                  <a:cubicBezTo>
                    <a:pt x="123" y="547"/>
                    <a:pt x="122" y="547"/>
                    <a:pt x="122" y="547"/>
                  </a:cubicBezTo>
                  <a:cubicBezTo>
                    <a:pt x="121" y="547"/>
                    <a:pt x="121" y="547"/>
                    <a:pt x="120" y="548"/>
                  </a:cubicBezTo>
                  <a:cubicBezTo>
                    <a:pt x="120" y="548"/>
                    <a:pt x="121" y="548"/>
                    <a:pt x="121" y="548"/>
                  </a:cubicBezTo>
                  <a:cubicBezTo>
                    <a:pt x="121" y="549"/>
                    <a:pt x="122" y="549"/>
                    <a:pt x="122" y="549"/>
                  </a:cubicBezTo>
                  <a:cubicBezTo>
                    <a:pt x="122" y="550"/>
                    <a:pt x="122" y="550"/>
                    <a:pt x="123" y="550"/>
                  </a:cubicBezTo>
                  <a:cubicBezTo>
                    <a:pt x="123" y="550"/>
                    <a:pt x="123" y="550"/>
                    <a:pt x="124" y="550"/>
                  </a:cubicBezTo>
                  <a:cubicBezTo>
                    <a:pt x="124" y="551"/>
                    <a:pt x="124" y="551"/>
                    <a:pt x="123" y="551"/>
                  </a:cubicBezTo>
                  <a:cubicBezTo>
                    <a:pt x="123" y="551"/>
                    <a:pt x="122" y="551"/>
                    <a:pt x="122" y="551"/>
                  </a:cubicBezTo>
                  <a:cubicBezTo>
                    <a:pt x="122" y="551"/>
                    <a:pt x="121" y="552"/>
                    <a:pt x="122" y="552"/>
                  </a:cubicBezTo>
                  <a:cubicBezTo>
                    <a:pt x="122" y="552"/>
                    <a:pt x="122" y="552"/>
                    <a:pt x="122" y="552"/>
                  </a:cubicBezTo>
                  <a:cubicBezTo>
                    <a:pt x="122" y="552"/>
                    <a:pt x="123" y="552"/>
                    <a:pt x="123" y="552"/>
                  </a:cubicBezTo>
                  <a:cubicBezTo>
                    <a:pt x="123" y="553"/>
                    <a:pt x="124" y="553"/>
                    <a:pt x="124" y="553"/>
                  </a:cubicBezTo>
                  <a:cubicBezTo>
                    <a:pt x="124" y="553"/>
                    <a:pt x="124" y="554"/>
                    <a:pt x="124" y="553"/>
                  </a:cubicBezTo>
                  <a:cubicBezTo>
                    <a:pt x="124" y="553"/>
                    <a:pt x="124" y="553"/>
                    <a:pt x="124" y="553"/>
                  </a:cubicBezTo>
                  <a:cubicBezTo>
                    <a:pt x="124" y="552"/>
                    <a:pt x="124" y="552"/>
                    <a:pt x="125" y="552"/>
                  </a:cubicBezTo>
                  <a:cubicBezTo>
                    <a:pt x="125" y="552"/>
                    <a:pt x="125" y="551"/>
                    <a:pt x="125" y="551"/>
                  </a:cubicBezTo>
                  <a:cubicBezTo>
                    <a:pt x="125" y="551"/>
                    <a:pt x="126" y="550"/>
                    <a:pt x="125" y="550"/>
                  </a:cubicBezTo>
                  <a:cubicBezTo>
                    <a:pt x="126" y="550"/>
                    <a:pt x="126" y="550"/>
                    <a:pt x="126" y="550"/>
                  </a:cubicBezTo>
                  <a:cubicBezTo>
                    <a:pt x="126" y="549"/>
                    <a:pt x="127" y="549"/>
                    <a:pt x="127" y="549"/>
                  </a:cubicBezTo>
                  <a:close/>
                  <a:moveTo>
                    <a:pt x="273" y="509"/>
                  </a:moveTo>
                  <a:cubicBezTo>
                    <a:pt x="273" y="509"/>
                    <a:pt x="273" y="510"/>
                    <a:pt x="273" y="510"/>
                  </a:cubicBezTo>
                  <a:cubicBezTo>
                    <a:pt x="272" y="510"/>
                    <a:pt x="271" y="510"/>
                    <a:pt x="270" y="510"/>
                  </a:cubicBezTo>
                  <a:cubicBezTo>
                    <a:pt x="270" y="511"/>
                    <a:pt x="270" y="511"/>
                    <a:pt x="270" y="511"/>
                  </a:cubicBezTo>
                  <a:cubicBezTo>
                    <a:pt x="270" y="511"/>
                    <a:pt x="270" y="511"/>
                    <a:pt x="270" y="511"/>
                  </a:cubicBezTo>
                  <a:cubicBezTo>
                    <a:pt x="270" y="511"/>
                    <a:pt x="270" y="511"/>
                    <a:pt x="270" y="512"/>
                  </a:cubicBezTo>
                  <a:cubicBezTo>
                    <a:pt x="270" y="512"/>
                    <a:pt x="270" y="512"/>
                    <a:pt x="269" y="512"/>
                  </a:cubicBezTo>
                  <a:cubicBezTo>
                    <a:pt x="269" y="512"/>
                    <a:pt x="269" y="512"/>
                    <a:pt x="269" y="512"/>
                  </a:cubicBezTo>
                  <a:cubicBezTo>
                    <a:pt x="269" y="512"/>
                    <a:pt x="269" y="512"/>
                    <a:pt x="269" y="511"/>
                  </a:cubicBezTo>
                  <a:cubicBezTo>
                    <a:pt x="269" y="512"/>
                    <a:pt x="268" y="512"/>
                    <a:pt x="269" y="512"/>
                  </a:cubicBezTo>
                  <a:cubicBezTo>
                    <a:pt x="269" y="512"/>
                    <a:pt x="269" y="513"/>
                    <a:pt x="269" y="513"/>
                  </a:cubicBezTo>
                  <a:cubicBezTo>
                    <a:pt x="268" y="513"/>
                    <a:pt x="268" y="513"/>
                    <a:pt x="268" y="513"/>
                  </a:cubicBezTo>
                  <a:cubicBezTo>
                    <a:pt x="268" y="513"/>
                    <a:pt x="268" y="513"/>
                    <a:pt x="268" y="512"/>
                  </a:cubicBezTo>
                  <a:cubicBezTo>
                    <a:pt x="268" y="513"/>
                    <a:pt x="268" y="513"/>
                    <a:pt x="268" y="513"/>
                  </a:cubicBezTo>
                  <a:cubicBezTo>
                    <a:pt x="268" y="513"/>
                    <a:pt x="269" y="513"/>
                    <a:pt x="268" y="513"/>
                  </a:cubicBezTo>
                  <a:cubicBezTo>
                    <a:pt x="268" y="513"/>
                    <a:pt x="268" y="513"/>
                    <a:pt x="268" y="513"/>
                  </a:cubicBezTo>
                  <a:cubicBezTo>
                    <a:pt x="267" y="513"/>
                    <a:pt x="267" y="513"/>
                    <a:pt x="267" y="512"/>
                  </a:cubicBezTo>
                  <a:cubicBezTo>
                    <a:pt x="267" y="512"/>
                    <a:pt x="267" y="512"/>
                    <a:pt x="267" y="512"/>
                  </a:cubicBezTo>
                  <a:cubicBezTo>
                    <a:pt x="267" y="513"/>
                    <a:pt x="267" y="513"/>
                    <a:pt x="267" y="513"/>
                  </a:cubicBezTo>
                  <a:cubicBezTo>
                    <a:pt x="267" y="513"/>
                    <a:pt x="267" y="514"/>
                    <a:pt x="267" y="514"/>
                  </a:cubicBezTo>
                  <a:cubicBezTo>
                    <a:pt x="267" y="514"/>
                    <a:pt x="267" y="514"/>
                    <a:pt x="267" y="514"/>
                  </a:cubicBezTo>
                  <a:cubicBezTo>
                    <a:pt x="267" y="515"/>
                    <a:pt x="267" y="515"/>
                    <a:pt x="266" y="514"/>
                  </a:cubicBezTo>
                  <a:cubicBezTo>
                    <a:pt x="266" y="514"/>
                    <a:pt x="266" y="514"/>
                    <a:pt x="266" y="514"/>
                  </a:cubicBezTo>
                  <a:cubicBezTo>
                    <a:pt x="266" y="515"/>
                    <a:pt x="265" y="515"/>
                    <a:pt x="265" y="515"/>
                  </a:cubicBezTo>
                  <a:cubicBezTo>
                    <a:pt x="265" y="514"/>
                    <a:pt x="265" y="515"/>
                    <a:pt x="264" y="515"/>
                  </a:cubicBezTo>
                  <a:cubicBezTo>
                    <a:pt x="264" y="515"/>
                    <a:pt x="264" y="515"/>
                    <a:pt x="264" y="515"/>
                  </a:cubicBezTo>
                  <a:cubicBezTo>
                    <a:pt x="264" y="514"/>
                    <a:pt x="264" y="514"/>
                    <a:pt x="264" y="514"/>
                  </a:cubicBezTo>
                  <a:cubicBezTo>
                    <a:pt x="264" y="514"/>
                    <a:pt x="263" y="514"/>
                    <a:pt x="263" y="515"/>
                  </a:cubicBezTo>
                  <a:cubicBezTo>
                    <a:pt x="263" y="515"/>
                    <a:pt x="263" y="515"/>
                    <a:pt x="263" y="515"/>
                  </a:cubicBezTo>
                  <a:cubicBezTo>
                    <a:pt x="262" y="515"/>
                    <a:pt x="262" y="516"/>
                    <a:pt x="261" y="516"/>
                  </a:cubicBezTo>
                  <a:cubicBezTo>
                    <a:pt x="261" y="516"/>
                    <a:pt x="261" y="516"/>
                    <a:pt x="261" y="516"/>
                  </a:cubicBezTo>
                  <a:cubicBezTo>
                    <a:pt x="260" y="517"/>
                    <a:pt x="260" y="517"/>
                    <a:pt x="259" y="517"/>
                  </a:cubicBezTo>
                  <a:cubicBezTo>
                    <a:pt x="258" y="517"/>
                    <a:pt x="258" y="518"/>
                    <a:pt x="258" y="518"/>
                  </a:cubicBezTo>
                  <a:cubicBezTo>
                    <a:pt x="258" y="518"/>
                    <a:pt x="258" y="519"/>
                    <a:pt x="257" y="518"/>
                  </a:cubicBezTo>
                  <a:cubicBezTo>
                    <a:pt x="257" y="518"/>
                    <a:pt x="257" y="518"/>
                    <a:pt x="257" y="518"/>
                  </a:cubicBezTo>
                  <a:cubicBezTo>
                    <a:pt x="256" y="518"/>
                    <a:pt x="256" y="518"/>
                    <a:pt x="256" y="519"/>
                  </a:cubicBezTo>
                  <a:cubicBezTo>
                    <a:pt x="256" y="519"/>
                    <a:pt x="256" y="519"/>
                    <a:pt x="255" y="519"/>
                  </a:cubicBezTo>
                  <a:cubicBezTo>
                    <a:pt x="255" y="519"/>
                    <a:pt x="255" y="518"/>
                    <a:pt x="254" y="518"/>
                  </a:cubicBezTo>
                  <a:cubicBezTo>
                    <a:pt x="254" y="518"/>
                    <a:pt x="254" y="518"/>
                    <a:pt x="254" y="518"/>
                  </a:cubicBezTo>
                  <a:cubicBezTo>
                    <a:pt x="253" y="518"/>
                    <a:pt x="253" y="518"/>
                    <a:pt x="254" y="517"/>
                  </a:cubicBezTo>
                  <a:cubicBezTo>
                    <a:pt x="254" y="517"/>
                    <a:pt x="254" y="517"/>
                    <a:pt x="255" y="516"/>
                  </a:cubicBezTo>
                  <a:cubicBezTo>
                    <a:pt x="255" y="516"/>
                    <a:pt x="255" y="516"/>
                    <a:pt x="256" y="516"/>
                  </a:cubicBezTo>
                  <a:cubicBezTo>
                    <a:pt x="256" y="516"/>
                    <a:pt x="256" y="516"/>
                    <a:pt x="257" y="516"/>
                  </a:cubicBezTo>
                  <a:cubicBezTo>
                    <a:pt x="257" y="516"/>
                    <a:pt x="257" y="516"/>
                    <a:pt x="257" y="516"/>
                  </a:cubicBezTo>
                  <a:cubicBezTo>
                    <a:pt x="257" y="516"/>
                    <a:pt x="257" y="516"/>
                    <a:pt x="258" y="516"/>
                  </a:cubicBezTo>
                  <a:cubicBezTo>
                    <a:pt x="258" y="515"/>
                    <a:pt x="258" y="515"/>
                    <a:pt x="258" y="515"/>
                  </a:cubicBezTo>
                  <a:cubicBezTo>
                    <a:pt x="258" y="515"/>
                    <a:pt x="259" y="515"/>
                    <a:pt x="259" y="515"/>
                  </a:cubicBezTo>
                  <a:cubicBezTo>
                    <a:pt x="259" y="515"/>
                    <a:pt x="259" y="515"/>
                    <a:pt x="259" y="515"/>
                  </a:cubicBezTo>
                  <a:cubicBezTo>
                    <a:pt x="259" y="515"/>
                    <a:pt x="259" y="515"/>
                    <a:pt x="259" y="515"/>
                  </a:cubicBezTo>
                  <a:cubicBezTo>
                    <a:pt x="260" y="515"/>
                    <a:pt x="260" y="515"/>
                    <a:pt x="260" y="515"/>
                  </a:cubicBezTo>
                  <a:cubicBezTo>
                    <a:pt x="260" y="515"/>
                    <a:pt x="260" y="515"/>
                    <a:pt x="260" y="515"/>
                  </a:cubicBezTo>
                  <a:cubicBezTo>
                    <a:pt x="260" y="515"/>
                    <a:pt x="260" y="515"/>
                    <a:pt x="261" y="515"/>
                  </a:cubicBezTo>
                  <a:cubicBezTo>
                    <a:pt x="261" y="514"/>
                    <a:pt x="261" y="514"/>
                    <a:pt x="260" y="514"/>
                  </a:cubicBezTo>
                  <a:cubicBezTo>
                    <a:pt x="261" y="514"/>
                    <a:pt x="262" y="514"/>
                    <a:pt x="263" y="514"/>
                  </a:cubicBezTo>
                  <a:cubicBezTo>
                    <a:pt x="263" y="514"/>
                    <a:pt x="262" y="514"/>
                    <a:pt x="262" y="514"/>
                  </a:cubicBezTo>
                  <a:cubicBezTo>
                    <a:pt x="262" y="514"/>
                    <a:pt x="262" y="513"/>
                    <a:pt x="262" y="513"/>
                  </a:cubicBezTo>
                  <a:cubicBezTo>
                    <a:pt x="262" y="513"/>
                    <a:pt x="262" y="513"/>
                    <a:pt x="262" y="513"/>
                  </a:cubicBezTo>
                  <a:cubicBezTo>
                    <a:pt x="263" y="513"/>
                    <a:pt x="264" y="513"/>
                    <a:pt x="265" y="513"/>
                  </a:cubicBezTo>
                  <a:cubicBezTo>
                    <a:pt x="264" y="512"/>
                    <a:pt x="264" y="513"/>
                    <a:pt x="264" y="513"/>
                  </a:cubicBezTo>
                  <a:cubicBezTo>
                    <a:pt x="263" y="513"/>
                    <a:pt x="263" y="513"/>
                    <a:pt x="263" y="512"/>
                  </a:cubicBezTo>
                  <a:cubicBezTo>
                    <a:pt x="262" y="512"/>
                    <a:pt x="262" y="512"/>
                    <a:pt x="262" y="512"/>
                  </a:cubicBezTo>
                  <a:cubicBezTo>
                    <a:pt x="262" y="511"/>
                    <a:pt x="262" y="511"/>
                    <a:pt x="262" y="511"/>
                  </a:cubicBezTo>
                  <a:cubicBezTo>
                    <a:pt x="263" y="511"/>
                    <a:pt x="263" y="511"/>
                    <a:pt x="263" y="511"/>
                  </a:cubicBezTo>
                  <a:cubicBezTo>
                    <a:pt x="263" y="511"/>
                    <a:pt x="263" y="511"/>
                    <a:pt x="264" y="511"/>
                  </a:cubicBezTo>
                  <a:cubicBezTo>
                    <a:pt x="263" y="511"/>
                    <a:pt x="263" y="511"/>
                    <a:pt x="264" y="511"/>
                  </a:cubicBezTo>
                  <a:cubicBezTo>
                    <a:pt x="264" y="510"/>
                    <a:pt x="264" y="510"/>
                    <a:pt x="264" y="510"/>
                  </a:cubicBezTo>
                  <a:cubicBezTo>
                    <a:pt x="263" y="510"/>
                    <a:pt x="263" y="510"/>
                    <a:pt x="263" y="509"/>
                  </a:cubicBezTo>
                  <a:cubicBezTo>
                    <a:pt x="263" y="509"/>
                    <a:pt x="264" y="509"/>
                    <a:pt x="264" y="509"/>
                  </a:cubicBezTo>
                  <a:cubicBezTo>
                    <a:pt x="264" y="509"/>
                    <a:pt x="265" y="509"/>
                    <a:pt x="265" y="509"/>
                  </a:cubicBezTo>
                  <a:cubicBezTo>
                    <a:pt x="265" y="509"/>
                    <a:pt x="266" y="509"/>
                    <a:pt x="266" y="509"/>
                  </a:cubicBezTo>
                  <a:cubicBezTo>
                    <a:pt x="266" y="510"/>
                    <a:pt x="266" y="510"/>
                    <a:pt x="266" y="510"/>
                  </a:cubicBezTo>
                  <a:cubicBezTo>
                    <a:pt x="266" y="510"/>
                    <a:pt x="266" y="510"/>
                    <a:pt x="266" y="510"/>
                  </a:cubicBezTo>
                  <a:cubicBezTo>
                    <a:pt x="266" y="510"/>
                    <a:pt x="266" y="510"/>
                    <a:pt x="267" y="511"/>
                  </a:cubicBezTo>
                  <a:cubicBezTo>
                    <a:pt x="267" y="511"/>
                    <a:pt x="267" y="511"/>
                    <a:pt x="267" y="511"/>
                  </a:cubicBezTo>
                  <a:cubicBezTo>
                    <a:pt x="267" y="511"/>
                    <a:pt x="267" y="510"/>
                    <a:pt x="267" y="510"/>
                  </a:cubicBezTo>
                  <a:cubicBezTo>
                    <a:pt x="267" y="510"/>
                    <a:pt x="267" y="510"/>
                    <a:pt x="267" y="510"/>
                  </a:cubicBezTo>
                  <a:cubicBezTo>
                    <a:pt x="266" y="509"/>
                    <a:pt x="266" y="509"/>
                    <a:pt x="267" y="509"/>
                  </a:cubicBezTo>
                  <a:cubicBezTo>
                    <a:pt x="267" y="509"/>
                    <a:pt x="267" y="509"/>
                    <a:pt x="268" y="509"/>
                  </a:cubicBezTo>
                  <a:cubicBezTo>
                    <a:pt x="268" y="509"/>
                    <a:pt x="267" y="508"/>
                    <a:pt x="267" y="508"/>
                  </a:cubicBezTo>
                  <a:cubicBezTo>
                    <a:pt x="267" y="508"/>
                    <a:pt x="267" y="508"/>
                    <a:pt x="267" y="508"/>
                  </a:cubicBezTo>
                  <a:cubicBezTo>
                    <a:pt x="267" y="508"/>
                    <a:pt x="267" y="508"/>
                    <a:pt x="267" y="508"/>
                  </a:cubicBezTo>
                  <a:cubicBezTo>
                    <a:pt x="266" y="508"/>
                    <a:pt x="266" y="509"/>
                    <a:pt x="266" y="508"/>
                  </a:cubicBezTo>
                  <a:cubicBezTo>
                    <a:pt x="266" y="508"/>
                    <a:pt x="266" y="508"/>
                    <a:pt x="266" y="508"/>
                  </a:cubicBezTo>
                  <a:cubicBezTo>
                    <a:pt x="265" y="508"/>
                    <a:pt x="265" y="508"/>
                    <a:pt x="265" y="507"/>
                  </a:cubicBezTo>
                  <a:cubicBezTo>
                    <a:pt x="265" y="508"/>
                    <a:pt x="264" y="508"/>
                    <a:pt x="264" y="508"/>
                  </a:cubicBezTo>
                  <a:cubicBezTo>
                    <a:pt x="264" y="508"/>
                    <a:pt x="263" y="507"/>
                    <a:pt x="263" y="507"/>
                  </a:cubicBezTo>
                  <a:cubicBezTo>
                    <a:pt x="263" y="506"/>
                    <a:pt x="263" y="506"/>
                    <a:pt x="262" y="506"/>
                  </a:cubicBezTo>
                  <a:cubicBezTo>
                    <a:pt x="262" y="506"/>
                    <a:pt x="262" y="506"/>
                    <a:pt x="262" y="506"/>
                  </a:cubicBezTo>
                  <a:cubicBezTo>
                    <a:pt x="263" y="505"/>
                    <a:pt x="263" y="505"/>
                    <a:pt x="263" y="505"/>
                  </a:cubicBezTo>
                  <a:cubicBezTo>
                    <a:pt x="263" y="504"/>
                    <a:pt x="264" y="504"/>
                    <a:pt x="264" y="504"/>
                  </a:cubicBezTo>
                  <a:cubicBezTo>
                    <a:pt x="265" y="503"/>
                    <a:pt x="266" y="503"/>
                    <a:pt x="267" y="502"/>
                  </a:cubicBezTo>
                  <a:cubicBezTo>
                    <a:pt x="267" y="502"/>
                    <a:pt x="267" y="502"/>
                    <a:pt x="267" y="503"/>
                  </a:cubicBezTo>
                  <a:cubicBezTo>
                    <a:pt x="267" y="503"/>
                    <a:pt x="267" y="503"/>
                    <a:pt x="267" y="503"/>
                  </a:cubicBezTo>
                  <a:cubicBezTo>
                    <a:pt x="268" y="503"/>
                    <a:pt x="268" y="503"/>
                    <a:pt x="268" y="502"/>
                  </a:cubicBezTo>
                  <a:cubicBezTo>
                    <a:pt x="269" y="502"/>
                    <a:pt x="269" y="502"/>
                    <a:pt x="269" y="503"/>
                  </a:cubicBezTo>
                  <a:cubicBezTo>
                    <a:pt x="269" y="503"/>
                    <a:pt x="269" y="503"/>
                    <a:pt x="269" y="503"/>
                  </a:cubicBezTo>
                  <a:cubicBezTo>
                    <a:pt x="269" y="503"/>
                    <a:pt x="270" y="503"/>
                    <a:pt x="269" y="504"/>
                  </a:cubicBezTo>
                  <a:cubicBezTo>
                    <a:pt x="269" y="504"/>
                    <a:pt x="269" y="504"/>
                    <a:pt x="269" y="504"/>
                  </a:cubicBezTo>
                  <a:cubicBezTo>
                    <a:pt x="269" y="505"/>
                    <a:pt x="269" y="505"/>
                    <a:pt x="269" y="505"/>
                  </a:cubicBezTo>
                  <a:cubicBezTo>
                    <a:pt x="269" y="505"/>
                    <a:pt x="269" y="505"/>
                    <a:pt x="269" y="506"/>
                  </a:cubicBezTo>
                  <a:cubicBezTo>
                    <a:pt x="269" y="506"/>
                    <a:pt x="269" y="506"/>
                    <a:pt x="269" y="506"/>
                  </a:cubicBezTo>
                  <a:cubicBezTo>
                    <a:pt x="269" y="506"/>
                    <a:pt x="269" y="506"/>
                    <a:pt x="269" y="506"/>
                  </a:cubicBezTo>
                  <a:cubicBezTo>
                    <a:pt x="270" y="506"/>
                    <a:pt x="271" y="505"/>
                    <a:pt x="271" y="505"/>
                  </a:cubicBezTo>
                  <a:cubicBezTo>
                    <a:pt x="271" y="504"/>
                    <a:pt x="272" y="504"/>
                    <a:pt x="272" y="503"/>
                  </a:cubicBezTo>
                  <a:cubicBezTo>
                    <a:pt x="272" y="503"/>
                    <a:pt x="272" y="503"/>
                    <a:pt x="272" y="503"/>
                  </a:cubicBezTo>
                  <a:cubicBezTo>
                    <a:pt x="272" y="503"/>
                    <a:pt x="272" y="503"/>
                    <a:pt x="272" y="503"/>
                  </a:cubicBezTo>
                  <a:cubicBezTo>
                    <a:pt x="272" y="503"/>
                    <a:pt x="272" y="503"/>
                    <a:pt x="272" y="503"/>
                  </a:cubicBezTo>
                  <a:cubicBezTo>
                    <a:pt x="272" y="504"/>
                    <a:pt x="272" y="504"/>
                    <a:pt x="273" y="504"/>
                  </a:cubicBezTo>
                  <a:cubicBezTo>
                    <a:pt x="273" y="504"/>
                    <a:pt x="273" y="504"/>
                    <a:pt x="273" y="504"/>
                  </a:cubicBezTo>
                  <a:cubicBezTo>
                    <a:pt x="273" y="504"/>
                    <a:pt x="273" y="504"/>
                    <a:pt x="273" y="504"/>
                  </a:cubicBezTo>
                  <a:cubicBezTo>
                    <a:pt x="273" y="504"/>
                    <a:pt x="273" y="503"/>
                    <a:pt x="273" y="503"/>
                  </a:cubicBezTo>
                  <a:cubicBezTo>
                    <a:pt x="274" y="503"/>
                    <a:pt x="273" y="504"/>
                    <a:pt x="274" y="504"/>
                  </a:cubicBezTo>
                  <a:cubicBezTo>
                    <a:pt x="274" y="504"/>
                    <a:pt x="273" y="505"/>
                    <a:pt x="274" y="504"/>
                  </a:cubicBezTo>
                  <a:cubicBezTo>
                    <a:pt x="274" y="504"/>
                    <a:pt x="274" y="505"/>
                    <a:pt x="274" y="505"/>
                  </a:cubicBezTo>
                  <a:cubicBezTo>
                    <a:pt x="274" y="505"/>
                    <a:pt x="273" y="506"/>
                    <a:pt x="273" y="505"/>
                  </a:cubicBezTo>
                  <a:cubicBezTo>
                    <a:pt x="273" y="505"/>
                    <a:pt x="272" y="505"/>
                    <a:pt x="272" y="506"/>
                  </a:cubicBezTo>
                  <a:cubicBezTo>
                    <a:pt x="272" y="506"/>
                    <a:pt x="272" y="506"/>
                    <a:pt x="272" y="507"/>
                  </a:cubicBezTo>
                  <a:cubicBezTo>
                    <a:pt x="271" y="507"/>
                    <a:pt x="271" y="507"/>
                    <a:pt x="270" y="507"/>
                  </a:cubicBezTo>
                  <a:cubicBezTo>
                    <a:pt x="271" y="508"/>
                    <a:pt x="270" y="508"/>
                    <a:pt x="269" y="508"/>
                  </a:cubicBezTo>
                  <a:cubicBezTo>
                    <a:pt x="269" y="508"/>
                    <a:pt x="270" y="508"/>
                    <a:pt x="270" y="508"/>
                  </a:cubicBezTo>
                  <a:cubicBezTo>
                    <a:pt x="270" y="509"/>
                    <a:pt x="270" y="509"/>
                    <a:pt x="270" y="509"/>
                  </a:cubicBezTo>
                  <a:cubicBezTo>
                    <a:pt x="270" y="509"/>
                    <a:pt x="270" y="509"/>
                    <a:pt x="271" y="509"/>
                  </a:cubicBezTo>
                  <a:cubicBezTo>
                    <a:pt x="271" y="509"/>
                    <a:pt x="271" y="509"/>
                    <a:pt x="271" y="509"/>
                  </a:cubicBezTo>
                  <a:cubicBezTo>
                    <a:pt x="271" y="509"/>
                    <a:pt x="271" y="508"/>
                    <a:pt x="271" y="508"/>
                  </a:cubicBezTo>
                  <a:cubicBezTo>
                    <a:pt x="272" y="508"/>
                    <a:pt x="272" y="508"/>
                    <a:pt x="272" y="508"/>
                  </a:cubicBezTo>
                  <a:cubicBezTo>
                    <a:pt x="272" y="508"/>
                    <a:pt x="272" y="508"/>
                    <a:pt x="272" y="508"/>
                  </a:cubicBezTo>
                  <a:cubicBezTo>
                    <a:pt x="272" y="508"/>
                    <a:pt x="272" y="508"/>
                    <a:pt x="273" y="508"/>
                  </a:cubicBezTo>
                  <a:cubicBezTo>
                    <a:pt x="273" y="508"/>
                    <a:pt x="273" y="508"/>
                    <a:pt x="273" y="508"/>
                  </a:cubicBezTo>
                  <a:cubicBezTo>
                    <a:pt x="273" y="508"/>
                    <a:pt x="273" y="508"/>
                    <a:pt x="273" y="508"/>
                  </a:cubicBezTo>
                  <a:cubicBezTo>
                    <a:pt x="273" y="509"/>
                    <a:pt x="273" y="509"/>
                    <a:pt x="273" y="509"/>
                  </a:cubicBezTo>
                  <a:close/>
                  <a:moveTo>
                    <a:pt x="184" y="543"/>
                  </a:moveTo>
                  <a:cubicBezTo>
                    <a:pt x="184" y="543"/>
                    <a:pt x="183" y="543"/>
                    <a:pt x="183" y="543"/>
                  </a:cubicBezTo>
                  <a:cubicBezTo>
                    <a:pt x="183" y="543"/>
                    <a:pt x="183" y="543"/>
                    <a:pt x="182" y="543"/>
                  </a:cubicBezTo>
                  <a:cubicBezTo>
                    <a:pt x="182" y="543"/>
                    <a:pt x="181" y="543"/>
                    <a:pt x="181" y="543"/>
                  </a:cubicBezTo>
                  <a:cubicBezTo>
                    <a:pt x="180" y="543"/>
                    <a:pt x="180" y="543"/>
                    <a:pt x="180" y="542"/>
                  </a:cubicBezTo>
                  <a:cubicBezTo>
                    <a:pt x="179" y="542"/>
                    <a:pt x="178" y="543"/>
                    <a:pt x="177" y="543"/>
                  </a:cubicBezTo>
                  <a:cubicBezTo>
                    <a:pt x="176" y="543"/>
                    <a:pt x="175" y="542"/>
                    <a:pt x="174" y="543"/>
                  </a:cubicBezTo>
                  <a:cubicBezTo>
                    <a:pt x="174" y="543"/>
                    <a:pt x="175" y="543"/>
                    <a:pt x="175" y="544"/>
                  </a:cubicBezTo>
                  <a:cubicBezTo>
                    <a:pt x="175" y="544"/>
                    <a:pt x="176" y="544"/>
                    <a:pt x="177" y="544"/>
                  </a:cubicBezTo>
                  <a:cubicBezTo>
                    <a:pt x="177" y="544"/>
                    <a:pt x="178" y="544"/>
                    <a:pt x="179" y="544"/>
                  </a:cubicBezTo>
                  <a:cubicBezTo>
                    <a:pt x="179" y="544"/>
                    <a:pt x="180" y="544"/>
                    <a:pt x="180" y="545"/>
                  </a:cubicBezTo>
                  <a:cubicBezTo>
                    <a:pt x="180" y="545"/>
                    <a:pt x="181" y="545"/>
                    <a:pt x="181" y="545"/>
                  </a:cubicBezTo>
                  <a:cubicBezTo>
                    <a:pt x="182" y="544"/>
                    <a:pt x="183" y="544"/>
                    <a:pt x="183" y="544"/>
                  </a:cubicBezTo>
                  <a:cubicBezTo>
                    <a:pt x="183" y="544"/>
                    <a:pt x="183" y="544"/>
                    <a:pt x="184" y="544"/>
                  </a:cubicBezTo>
                  <a:cubicBezTo>
                    <a:pt x="185" y="544"/>
                    <a:pt x="186" y="544"/>
                    <a:pt x="187" y="544"/>
                  </a:cubicBezTo>
                  <a:cubicBezTo>
                    <a:pt x="187" y="544"/>
                    <a:pt x="187" y="544"/>
                    <a:pt x="188" y="543"/>
                  </a:cubicBezTo>
                  <a:cubicBezTo>
                    <a:pt x="187" y="543"/>
                    <a:pt x="187" y="543"/>
                    <a:pt x="187" y="543"/>
                  </a:cubicBezTo>
                  <a:cubicBezTo>
                    <a:pt x="186" y="543"/>
                    <a:pt x="185" y="543"/>
                    <a:pt x="184" y="543"/>
                  </a:cubicBezTo>
                  <a:close/>
                  <a:moveTo>
                    <a:pt x="174" y="538"/>
                  </a:moveTo>
                  <a:cubicBezTo>
                    <a:pt x="174" y="538"/>
                    <a:pt x="174" y="538"/>
                    <a:pt x="174" y="537"/>
                  </a:cubicBezTo>
                  <a:cubicBezTo>
                    <a:pt x="173" y="537"/>
                    <a:pt x="172" y="536"/>
                    <a:pt x="171" y="537"/>
                  </a:cubicBezTo>
                  <a:cubicBezTo>
                    <a:pt x="171" y="537"/>
                    <a:pt x="170" y="537"/>
                    <a:pt x="170" y="538"/>
                  </a:cubicBezTo>
                  <a:cubicBezTo>
                    <a:pt x="170" y="539"/>
                    <a:pt x="170" y="539"/>
                    <a:pt x="169" y="539"/>
                  </a:cubicBezTo>
                  <a:cubicBezTo>
                    <a:pt x="169" y="538"/>
                    <a:pt x="168" y="539"/>
                    <a:pt x="169" y="539"/>
                  </a:cubicBezTo>
                  <a:cubicBezTo>
                    <a:pt x="169" y="539"/>
                    <a:pt x="169" y="539"/>
                    <a:pt x="170" y="539"/>
                  </a:cubicBezTo>
                  <a:cubicBezTo>
                    <a:pt x="170" y="539"/>
                    <a:pt x="170" y="539"/>
                    <a:pt x="170" y="539"/>
                  </a:cubicBezTo>
                  <a:cubicBezTo>
                    <a:pt x="170" y="539"/>
                    <a:pt x="171" y="539"/>
                    <a:pt x="171" y="540"/>
                  </a:cubicBezTo>
                  <a:cubicBezTo>
                    <a:pt x="171" y="540"/>
                    <a:pt x="171" y="540"/>
                    <a:pt x="171" y="540"/>
                  </a:cubicBezTo>
                  <a:cubicBezTo>
                    <a:pt x="171" y="540"/>
                    <a:pt x="171" y="540"/>
                    <a:pt x="171" y="540"/>
                  </a:cubicBezTo>
                  <a:cubicBezTo>
                    <a:pt x="171" y="541"/>
                    <a:pt x="170" y="541"/>
                    <a:pt x="169" y="541"/>
                  </a:cubicBezTo>
                  <a:cubicBezTo>
                    <a:pt x="169" y="541"/>
                    <a:pt x="169" y="540"/>
                    <a:pt x="168" y="541"/>
                  </a:cubicBezTo>
                  <a:cubicBezTo>
                    <a:pt x="168" y="541"/>
                    <a:pt x="169" y="541"/>
                    <a:pt x="169" y="541"/>
                  </a:cubicBezTo>
                  <a:cubicBezTo>
                    <a:pt x="169" y="542"/>
                    <a:pt x="169" y="542"/>
                    <a:pt x="169" y="542"/>
                  </a:cubicBezTo>
                  <a:cubicBezTo>
                    <a:pt x="168" y="541"/>
                    <a:pt x="167" y="542"/>
                    <a:pt x="167" y="542"/>
                  </a:cubicBezTo>
                  <a:cubicBezTo>
                    <a:pt x="167" y="542"/>
                    <a:pt x="167" y="542"/>
                    <a:pt x="168" y="543"/>
                  </a:cubicBezTo>
                  <a:cubicBezTo>
                    <a:pt x="167" y="542"/>
                    <a:pt x="167" y="542"/>
                    <a:pt x="167" y="542"/>
                  </a:cubicBezTo>
                  <a:cubicBezTo>
                    <a:pt x="167" y="542"/>
                    <a:pt x="167" y="542"/>
                    <a:pt x="166" y="543"/>
                  </a:cubicBezTo>
                  <a:cubicBezTo>
                    <a:pt x="166" y="543"/>
                    <a:pt x="166" y="543"/>
                    <a:pt x="165" y="543"/>
                  </a:cubicBezTo>
                  <a:cubicBezTo>
                    <a:pt x="165" y="543"/>
                    <a:pt x="165" y="543"/>
                    <a:pt x="165" y="543"/>
                  </a:cubicBezTo>
                  <a:cubicBezTo>
                    <a:pt x="164" y="543"/>
                    <a:pt x="164" y="543"/>
                    <a:pt x="164" y="543"/>
                  </a:cubicBezTo>
                  <a:cubicBezTo>
                    <a:pt x="163" y="543"/>
                    <a:pt x="163" y="543"/>
                    <a:pt x="162" y="544"/>
                  </a:cubicBezTo>
                  <a:cubicBezTo>
                    <a:pt x="162" y="544"/>
                    <a:pt x="162" y="544"/>
                    <a:pt x="162" y="544"/>
                  </a:cubicBezTo>
                  <a:cubicBezTo>
                    <a:pt x="161" y="544"/>
                    <a:pt x="161" y="544"/>
                    <a:pt x="161" y="544"/>
                  </a:cubicBezTo>
                  <a:cubicBezTo>
                    <a:pt x="161" y="545"/>
                    <a:pt x="160" y="545"/>
                    <a:pt x="160" y="544"/>
                  </a:cubicBezTo>
                  <a:cubicBezTo>
                    <a:pt x="160" y="544"/>
                    <a:pt x="159" y="544"/>
                    <a:pt x="159" y="544"/>
                  </a:cubicBezTo>
                  <a:cubicBezTo>
                    <a:pt x="159" y="544"/>
                    <a:pt x="158" y="544"/>
                    <a:pt x="157" y="545"/>
                  </a:cubicBezTo>
                  <a:cubicBezTo>
                    <a:pt x="158" y="545"/>
                    <a:pt x="159" y="545"/>
                    <a:pt x="160" y="545"/>
                  </a:cubicBezTo>
                  <a:cubicBezTo>
                    <a:pt x="161" y="545"/>
                    <a:pt x="161" y="545"/>
                    <a:pt x="162" y="545"/>
                  </a:cubicBezTo>
                  <a:cubicBezTo>
                    <a:pt x="162" y="545"/>
                    <a:pt x="162" y="544"/>
                    <a:pt x="163" y="545"/>
                  </a:cubicBezTo>
                  <a:cubicBezTo>
                    <a:pt x="163" y="545"/>
                    <a:pt x="164" y="545"/>
                    <a:pt x="165" y="545"/>
                  </a:cubicBezTo>
                  <a:cubicBezTo>
                    <a:pt x="165" y="545"/>
                    <a:pt x="165" y="545"/>
                    <a:pt x="165" y="545"/>
                  </a:cubicBezTo>
                  <a:cubicBezTo>
                    <a:pt x="165" y="544"/>
                    <a:pt x="166" y="544"/>
                    <a:pt x="166" y="545"/>
                  </a:cubicBezTo>
                  <a:cubicBezTo>
                    <a:pt x="167" y="544"/>
                    <a:pt x="167" y="545"/>
                    <a:pt x="168" y="544"/>
                  </a:cubicBezTo>
                  <a:cubicBezTo>
                    <a:pt x="168" y="544"/>
                    <a:pt x="168" y="544"/>
                    <a:pt x="168" y="544"/>
                  </a:cubicBezTo>
                  <a:cubicBezTo>
                    <a:pt x="168" y="544"/>
                    <a:pt x="168" y="544"/>
                    <a:pt x="168" y="544"/>
                  </a:cubicBezTo>
                  <a:cubicBezTo>
                    <a:pt x="168" y="544"/>
                    <a:pt x="168" y="544"/>
                    <a:pt x="169" y="544"/>
                  </a:cubicBezTo>
                  <a:cubicBezTo>
                    <a:pt x="169" y="544"/>
                    <a:pt x="169" y="544"/>
                    <a:pt x="169" y="544"/>
                  </a:cubicBezTo>
                  <a:cubicBezTo>
                    <a:pt x="169" y="544"/>
                    <a:pt x="169" y="544"/>
                    <a:pt x="169" y="544"/>
                  </a:cubicBezTo>
                  <a:cubicBezTo>
                    <a:pt x="169" y="544"/>
                    <a:pt x="169" y="543"/>
                    <a:pt x="169" y="543"/>
                  </a:cubicBezTo>
                  <a:cubicBezTo>
                    <a:pt x="169" y="543"/>
                    <a:pt x="170" y="543"/>
                    <a:pt x="170" y="543"/>
                  </a:cubicBezTo>
                  <a:cubicBezTo>
                    <a:pt x="170" y="543"/>
                    <a:pt x="171" y="543"/>
                    <a:pt x="171" y="543"/>
                  </a:cubicBezTo>
                  <a:cubicBezTo>
                    <a:pt x="171" y="543"/>
                    <a:pt x="171" y="543"/>
                    <a:pt x="172" y="543"/>
                  </a:cubicBezTo>
                  <a:cubicBezTo>
                    <a:pt x="172" y="543"/>
                    <a:pt x="172" y="543"/>
                    <a:pt x="173" y="543"/>
                  </a:cubicBezTo>
                  <a:cubicBezTo>
                    <a:pt x="173" y="543"/>
                    <a:pt x="173" y="543"/>
                    <a:pt x="173" y="542"/>
                  </a:cubicBezTo>
                  <a:cubicBezTo>
                    <a:pt x="173" y="542"/>
                    <a:pt x="173" y="542"/>
                    <a:pt x="172" y="541"/>
                  </a:cubicBezTo>
                  <a:cubicBezTo>
                    <a:pt x="172" y="541"/>
                    <a:pt x="172" y="540"/>
                    <a:pt x="173" y="541"/>
                  </a:cubicBezTo>
                  <a:cubicBezTo>
                    <a:pt x="173" y="541"/>
                    <a:pt x="173" y="541"/>
                    <a:pt x="173" y="541"/>
                  </a:cubicBezTo>
                  <a:cubicBezTo>
                    <a:pt x="174" y="540"/>
                    <a:pt x="174" y="540"/>
                    <a:pt x="174" y="540"/>
                  </a:cubicBezTo>
                  <a:cubicBezTo>
                    <a:pt x="175" y="539"/>
                    <a:pt x="175" y="538"/>
                    <a:pt x="174" y="538"/>
                  </a:cubicBezTo>
                  <a:close/>
                  <a:moveTo>
                    <a:pt x="134" y="547"/>
                  </a:moveTo>
                  <a:cubicBezTo>
                    <a:pt x="133" y="547"/>
                    <a:pt x="133" y="547"/>
                    <a:pt x="133" y="547"/>
                  </a:cubicBezTo>
                  <a:cubicBezTo>
                    <a:pt x="133" y="548"/>
                    <a:pt x="133" y="548"/>
                    <a:pt x="133" y="548"/>
                  </a:cubicBezTo>
                  <a:cubicBezTo>
                    <a:pt x="133" y="549"/>
                    <a:pt x="133" y="550"/>
                    <a:pt x="132" y="550"/>
                  </a:cubicBezTo>
                  <a:cubicBezTo>
                    <a:pt x="131" y="550"/>
                    <a:pt x="130" y="550"/>
                    <a:pt x="129" y="551"/>
                  </a:cubicBezTo>
                  <a:cubicBezTo>
                    <a:pt x="129" y="551"/>
                    <a:pt x="128" y="551"/>
                    <a:pt x="128" y="551"/>
                  </a:cubicBezTo>
                  <a:cubicBezTo>
                    <a:pt x="128" y="551"/>
                    <a:pt x="128" y="551"/>
                    <a:pt x="127" y="551"/>
                  </a:cubicBezTo>
                  <a:cubicBezTo>
                    <a:pt x="127" y="551"/>
                    <a:pt x="127" y="551"/>
                    <a:pt x="127" y="551"/>
                  </a:cubicBezTo>
                  <a:cubicBezTo>
                    <a:pt x="127" y="552"/>
                    <a:pt x="127" y="552"/>
                    <a:pt x="127" y="552"/>
                  </a:cubicBezTo>
                  <a:cubicBezTo>
                    <a:pt x="128" y="552"/>
                    <a:pt x="128" y="552"/>
                    <a:pt x="128" y="552"/>
                  </a:cubicBezTo>
                  <a:cubicBezTo>
                    <a:pt x="128" y="551"/>
                    <a:pt x="128" y="551"/>
                    <a:pt x="129" y="551"/>
                  </a:cubicBezTo>
                  <a:cubicBezTo>
                    <a:pt x="129" y="551"/>
                    <a:pt x="129" y="552"/>
                    <a:pt x="130" y="551"/>
                  </a:cubicBezTo>
                  <a:cubicBezTo>
                    <a:pt x="130" y="551"/>
                    <a:pt x="131" y="551"/>
                    <a:pt x="131" y="551"/>
                  </a:cubicBezTo>
                  <a:cubicBezTo>
                    <a:pt x="131" y="551"/>
                    <a:pt x="131" y="551"/>
                    <a:pt x="132" y="551"/>
                  </a:cubicBezTo>
                  <a:cubicBezTo>
                    <a:pt x="132" y="552"/>
                    <a:pt x="132" y="552"/>
                    <a:pt x="132" y="552"/>
                  </a:cubicBezTo>
                  <a:cubicBezTo>
                    <a:pt x="132" y="552"/>
                    <a:pt x="133" y="552"/>
                    <a:pt x="133" y="552"/>
                  </a:cubicBezTo>
                  <a:cubicBezTo>
                    <a:pt x="133" y="551"/>
                    <a:pt x="133" y="551"/>
                    <a:pt x="134" y="551"/>
                  </a:cubicBezTo>
                  <a:cubicBezTo>
                    <a:pt x="134" y="551"/>
                    <a:pt x="134" y="551"/>
                    <a:pt x="134" y="551"/>
                  </a:cubicBezTo>
                  <a:cubicBezTo>
                    <a:pt x="134" y="550"/>
                    <a:pt x="135" y="550"/>
                    <a:pt x="134" y="549"/>
                  </a:cubicBezTo>
                  <a:cubicBezTo>
                    <a:pt x="134" y="549"/>
                    <a:pt x="134" y="549"/>
                    <a:pt x="135" y="549"/>
                  </a:cubicBezTo>
                  <a:cubicBezTo>
                    <a:pt x="135" y="548"/>
                    <a:pt x="135" y="548"/>
                    <a:pt x="135" y="547"/>
                  </a:cubicBezTo>
                  <a:cubicBezTo>
                    <a:pt x="135" y="547"/>
                    <a:pt x="134" y="546"/>
                    <a:pt x="134" y="547"/>
                  </a:cubicBezTo>
                  <a:close/>
                  <a:moveTo>
                    <a:pt x="66" y="546"/>
                  </a:moveTo>
                  <a:cubicBezTo>
                    <a:pt x="65" y="546"/>
                    <a:pt x="66" y="546"/>
                    <a:pt x="66" y="545"/>
                  </a:cubicBezTo>
                  <a:cubicBezTo>
                    <a:pt x="67" y="545"/>
                    <a:pt x="67" y="544"/>
                    <a:pt x="67" y="544"/>
                  </a:cubicBezTo>
                  <a:cubicBezTo>
                    <a:pt x="67" y="543"/>
                    <a:pt x="67" y="543"/>
                    <a:pt x="67" y="543"/>
                  </a:cubicBezTo>
                  <a:cubicBezTo>
                    <a:pt x="66" y="542"/>
                    <a:pt x="66" y="542"/>
                    <a:pt x="66" y="543"/>
                  </a:cubicBezTo>
                  <a:cubicBezTo>
                    <a:pt x="66" y="543"/>
                    <a:pt x="66" y="543"/>
                    <a:pt x="66" y="544"/>
                  </a:cubicBezTo>
                  <a:cubicBezTo>
                    <a:pt x="66" y="544"/>
                    <a:pt x="65" y="544"/>
                    <a:pt x="65" y="545"/>
                  </a:cubicBezTo>
                  <a:cubicBezTo>
                    <a:pt x="65" y="545"/>
                    <a:pt x="65" y="546"/>
                    <a:pt x="64" y="546"/>
                  </a:cubicBezTo>
                  <a:cubicBezTo>
                    <a:pt x="64" y="546"/>
                    <a:pt x="63" y="546"/>
                    <a:pt x="63" y="547"/>
                  </a:cubicBezTo>
                  <a:cubicBezTo>
                    <a:pt x="63" y="547"/>
                    <a:pt x="63" y="547"/>
                    <a:pt x="63" y="547"/>
                  </a:cubicBezTo>
                  <a:cubicBezTo>
                    <a:pt x="62" y="547"/>
                    <a:pt x="62" y="547"/>
                    <a:pt x="61" y="548"/>
                  </a:cubicBezTo>
                  <a:cubicBezTo>
                    <a:pt x="62" y="548"/>
                    <a:pt x="62" y="548"/>
                    <a:pt x="62" y="548"/>
                  </a:cubicBezTo>
                  <a:cubicBezTo>
                    <a:pt x="62" y="549"/>
                    <a:pt x="63" y="549"/>
                    <a:pt x="63" y="549"/>
                  </a:cubicBezTo>
                  <a:cubicBezTo>
                    <a:pt x="63" y="549"/>
                    <a:pt x="63" y="548"/>
                    <a:pt x="63" y="548"/>
                  </a:cubicBezTo>
                  <a:cubicBezTo>
                    <a:pt x="63" y="547"/>
                    <a:pt x="63" y="547"/>
                    <a:pt x="64" y="547"/>
                  </a:cubicBezTo>
                  <a:cubicBezTo>
                    <a:pt x="65" y="547"/>
                    <a:pt x="65" y="547"/>
                    <a:pt x="66" y="547"/>
                  </a:cubicBezTo>
                  <a:cubicBezTo>
                    <a:pt x="66" y="547"/>
                    <a:pt x="66" y="547"/>
                    <a:pt x="67" y="547"/>
                  </a:cubicBezTo>
                  <a:cubicBezTo>
                    <a:pt x="67" y="547"/>
                    <a:pt x="67" y="546"/>
                    <a:pt x="66" y="546"/>
                  </a:cubicBezTo>
                  <a:close/>
                  <a:moveTo>
                    <a:pt x="13" y="528"/>
                  </a:moveTo>
                  <a:cubicBezTo>
                    <a:pt x="13" y="527"/>
                    <a:pt x="13" y="527"/>
                    <a:pt x="12" y="527"/>
                  </a:cubicBezTo>
                  <a:cubicBezTo>
                    <a:pt x="12" y="527"/>
                    <a:pt x="12" y="527"/>
                    <a:pt x="11" y="527"/>
                  </a:cubicBezTo>
                  <a:cubicBezTo>
                    <a:pt x="11" y="527"/>
                    <a:pt x="11" y="527"/>
                    <a:pt x="11" y="527"/>
                  </a:cubicBezTo>
                  <a:cubicBezTo>
                    <a:pt x="11" y="526"/>
                    <a:pt x="11" y="526"/>
                    <a:pt x="11" y="526"/>
                  </a:cubicBezTo>
                  <a:cubicBezTo>
                    <a:pt x="11" y="526"/>
                    <a:pt x="11" y="526"/>
                    <a:pt x="10" y="526"/>
                  </a:cubicBezTo>
                  <a:cubicBezTo>
                    <a:pt x="10" y="525"/>
                    <a:pt x="10" y="526"/>
                    <a:pt x="10" y="526"/>
                  </a:cubicBezTo>
                  <a:cubicBezTo>
                    <a:pt x="10" y="526"/>
                    <a:pt x="9" y="526"/>
                    <a:pt x="9" y="526"/>
                  </a:cubicBezTo>
                  <a:cubicBezTo>
                    <a:pt x="9" y="526"/>
                    <a:pt x="9" y="526"/>
                    <a:pt x="9" y="525"/>
                  </a:cubicBezTo>
                  <a:cubicBezTo>
                    <a:pt x="10" y="525"/>
                    <a:pt x="9" y="525"/>
                    <a:pt x="9" y="524"/>
                  </a:cubicBezTo>
                  <a:cubicBezTo>
                    <a:pt x="9" y="524"/>
                    <a:pt x="8" y="524"/>
                    <a:pt x="8" y="524"/>
                  </a:cubicBezTo>
                  <a:cubicBezTo>
                    <a:pt x="8" y="524"/>
                    <a:pt x="8" y="524"/>
                    <a:pt x="8" y="524"/>
                  </a:cubicBezTo>
                  <a:cubicBezTo>
                    <a:pt x="7" y="524"/>
                    <a:pt x="7" y="525"/>
                    <a:pt x="7" y="525"/>
                  </a:cubicBezTo>
                  <a:cubicBezTo>
                    <a:pt x="7" y="525"/>
                    <a:pt x="6" y="525"/>
                    <a:pt x="6" y="525"/>
                  </a:cubicBezTo>
                  <a:cubicBezTo>
                    <a:pt x="6" y="524"/>
                    <a:pt x="6" y="524"/>
                    <a:pt x="6" y="524"/>
                  </a:cubicBezTo>
                  <a:cubicBezTo>
                    <a:pt x="5" y="524"/>
                    <a:pt x="4" y="524"/>
                    <a:pt x="4" y="524"/>
                  </a:cubicBezTo>
                  <a:cubicBezTo>
                    <a:pt x="3" y="524"/>
                    <a:pt x="3" y="524"/>
                    <a:pt x="3" y="524"/>
                  </a:cubicBezTo>
                  <a:cubicBezTo>
                    <a:pt x="2" y="525"/>
                    <a:pt x="2" y="525"/>
                    <a:pt x="1" y="525"/>
                  </a:cubicBezTo>
                  <a:cubicBezTo>
                    <a:pt x="1" y="526"/>
                    <a:pt x="0" y="526"/>
                    <a:pt x="1" y="526"/>
                  </a:cubicBezTo>
                  <a:cubicBezTo>
                    <a:pt x="1" y="526"/>
                    <a:pt x="1" y="526"/>
                    <a:pt x="1" y="526"/>
                  </a:cubicBezTo>
                  <a:cubicBezTo>
                    <a:pt x="2" y="526"/>
                    <a:pt x="2" y="526"/>
                    <a:pt x="3" y="526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3" y="526"/>
                    <a:pt x="3" y="527"/>
                    <a:pt x="3" y="527"/>
                  </a:cubicBezTo>
                  <a:cubicBezTo>
                    <a:pt x="3" y="527"/>
                    <a:pt x="3" y="527"/>
                    <a:pt x="3" y="527"/>
                  </a:cubicBezTo>
                  <a:cubicBezTo>
                    <a:pt x="3" y="527"/>
                    <a:pt x="3" y="527"/>
                    <a:pt x="3" y="527"/>
                  </a:cubicBezTo>
                  <a:cubicBezTo>
                    <a:pt x="3" y="527"/>
                    <a:pt x="4" y="527"/>
                    <a:pt x="4" y="527"/>
                  </a:cubicBezTo>
                  <a:cubicBezTo>
                    <a:pt x="4" y="527"/>
                    <a:pt x="3" y="527"/>
                    <a:pt x="3" y="527"/>
                  </a:cubicBezTo>
                  <a:cubicBezTo>
                    <a:pt x="4" y="527"/>
                    <a:pt x="4" y="527"/>
                    <a:pt x="4" y="527"/>
                  </a:cubicBezTo>
                  <a:cubicBezTo>
                    <a:pt x="4" y="527"/>
                    <a:pt x="4" y="527"/>
                    <a:pt x="4" y="527"/>
                  </a:cubicBezTo>
                  <a:cubicBezTo>
                    <a:pt x="4" y="527"/>
                    <a:pt x="4" y="527"/>
                    <a:pt x="4" y="527"/>
                  </a:cubicBezTo>
                  <a:cubicBezTo>
                    <a:pt x="4" y="527"/>
                    <a:pt x="4" y="528"/>
                    <a:pt x="4" y="528"/>
                  </a:cubicBezTo>
                  <a:cubicBezTo>
                    <a:pt x="4" y="528"/>
                    <a:pt x="4" y="529"/>
                    <a:pt x="4" y="529"/>
                  </a:cubicBezTo>
                  <a:cubicBezTo>
                    <a:pt x="5" y="529"/>
                    <a:pt x="5" y="529"/>
                    <a:pt x="5" y="529"/>
                  </a:cubicBezTo>
                  <a:cubicBezTo>
                    <a:pt x="5" y="528"/>
                    <a:pt x="6" y="529"/>
                    <a:pt x="6" y="529"/>
                  </a:cubicBezTo>
                  <a:cubicBezTo>
                    <a:pt x="6" y="530"/>
                    <a:pt x="6" y="530"/>
                    <a:pt x="7" y="529"/>
                  </a:cubicBezTo>
                  <a:cubicBezTo>
                    <a:pt x="7" y="529"/>
                    <a:pt x="7" y="528"/>
                    <a:pt x="8" y="528"/>
                  </a:cubicBezTo>
                  <a:cubicBezTo>
                    <a:pt x="8" y="528"/>
                    <a:pt x="8" y="528"/>
                    <a:pt x="9" y="528"/>
                  </a:cubicBezTo>
                  <a:cubicBezTo>
                    <a:pt x="9" y="529"/>
                    <a:pt x="9" y="529"/>
                    <a:pt x="9" y="528"/>
                  </a:cubicBezTo>
                  <a:cubicBezTo>
                    <a:pt x="10" y="528"/>
                    <a:pt x="10" y="528"/>
                    <a:pt x="10" y="528"/>
                  </a:cubicBezTo>
                  <a:cubicBezTo>
                    <a:pt x="10" y="527"/>
                    <a:pt x="10" y="527"/>
                    <a:pt x="11" y="528"/>
                  </a:cubicBezTo>
                  <a:cubicBezTo>
                    <a:pt x="11" y="528"/>
                    <a:pt x="11" y="528"/>
                    <a:pt x="11" y="528"/>
                  </a:cubicBezTo>
                  <a:cubicBezTo>
                    <a:pt x="12" y="528"/>
                    <a:pt x="12" y="528"/>
                    <a:pt x="12" y="528"/>
                  </a:cubicBezTo>
                  <a:cubicBezTo>
                    <a:pt x="13" y="528"/>
                    <a:pt x="13" y="528"/>
                    <a:pt x="13" y="528"/>
                  </a:cubicBezTo>
                  <a:close/>
                  <a:moveTo>
                    <a:pt x="17" y="535"/>
                  </a:moveTo>
                  <a:cubicBezTo>
                    <a:pt x="16" y="534"/>
                    <a:pt x="16" y="535"/>
                    <a:pt x="16" y="535"/>
                  </a:cubicBezTo>
                  <a:cubicBezTo>
                    <a:pt x="16" y="535"/>
                    <a:pt x="15" y="535"/>
                    <a:pt x="15" y="535"/>
                  </a:cubicBezTo>
                  <a:cubicBezTo>
                    <a:pt x="14" y="536"/>
                    <a:pt x="14" y="536"/>
                    <a:pt x="13" y="536"/>
                  </a:cubicBezTo>
                  <a:cubicBezTo>
                    <a:pt x="13" y="536"/>
                    <a:pt x="13" y="536"/>
                    <a:pt x="12" y="536"/>
                  </a:cubicBezTo>
                  <a:cubicBezTo>
                    <a:pt x="12" y="536"/>
                    <a:pt x="12" y="537"/>
                    <a:pt x="12" y="537"/>
                  </a:cubicBezTo>
                  <a:cubicBezTo>
                    <a:pt x="12" y="537"/>
                    <a:pt x="12" y="537"/>
                    <a:pt x="12" y="537"/>
                  </a:cubicBezTo>
                  <a:cubicBezTo>
                    <a:pt x="13" y="537"/>
                    <a:pt x="14" y="537"/>
                    <a:pt x="14" y="537"/>
                  </a:cubicBezTo>
                  <a:cubicBezTo>
                    <a:pt x="15" y="537"/>
                    <a:pt x="15" y="537"/>
                    <a:pt x="16" y="538"/>
                  </a:cubicBezTo>
                  <a:cubicBezTo>
                    <a:pt x="16" y="538"/>
                    <a:pt x="16" y="538"/>
                    <a:pt x="16" y="538"/>
                  </a:cubicBezTo>
                  <a:cubicBezTo>
                    <a:pt x="17" y="538"/>
                    <a:pt x="17" y="538"/>
                    <a:pt x="17" y="537"/>
                  </a:cubicBezTo>
                  <a:cubicBezTo>
                    <a:pt x="17" y="537"/>
                    <a:pt x="17" y="537"/>
                    <a:pt x="17" y="536"/>
                  </a:cubicBezTo>
                  <a:cubicBezTo>
                    <a:pt x="16" y="536"/>
                    <a:pt x="16" y="536"/>
                    <a:pt x="17" y="535"/>
                  </a:cubicBezTo>
                  <a:cubicBezTo>
                    <a:pt x="17" y="535"/>
                    <a:pt x="17" y="535"/>
                    <a:pt x="17" y="535"/>
                  </a:cubicBezTo>
                  <a:cubicBezTo>
                    <a:pt x="17" y="535"/>
                    <a:pt x="17" y="535"/>
                    <a:pt x="17" y="535"/>
                  </a:cubicBezTo>
                  <a:close/>
                  <a:moveTo>
                    <a:pt x="93" y="545"/>
                  </a:moveTo>
                  <a:cubicBezTo>
                    <a:pt x="93" y="545"/>
                    <a:pt x="92" y="545"/>
                    <a:pt x="92" y="545"/>
                  </a:cubicBezTo>
                  <a:cubicBezTo>
                    <a:pt x="92" y="545"/>
                    <a:pt x="91" y="546"/>
                    <a:pt x="91" y="546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8"/>
                    <a:pt x="92" y="548"/>
                    <a:pt x="93" y="548"/>
                  </a:cubicBezTo>
                  <a:cubicBezTo>
                    <a:pt x="94" y="547"/>
                    <a:pt x="94" y="547"/>
                    <a:pt x="94" y="546"/>
                  </a:cubicBezTo>
                  <a:cubicBezTo>
                    <a:pt x="94" y="546"/>
                    <a:pt x="94" y="546"/>
                    <a:pt x="94" y="546"/>
                  </a:cubicBezTo>
                  <a:cubicBezTo>
                    <a:pt x="94" y="546"/>
                    <a:pt x="94" y="546"/>
                    <a:pt x="93" y="545"/>
                  </a:cubicBezTo>
                  <a:close/>
                  <a:moveTo>
                    <a:pt x="195" y="537"/>
                  </a:moveTo>
                  <a:cubicBezTo>
                    <a:pt x="195" y="537"/>
                    <a:pt x="194" y="537"/>
                    <a:pt x="194" y="537"/>
                  </a:cubicBezTo>
                  <a:cubicBezTo>
                    <a:pt x="193" y="538"/>
                    <a:pt x="193" y="538"/>
                    <a:pt x="193" y="538"/>
                  </a:cubicBezTo>
                  <a:cubicBezTo>
                    <a:pt x="192" y="539"/>
                    <a:pt x="192" y="539"/>
                    <a:pt x="192" y="540"/>
                  </a:cubicBezTo>
                  <a:cubicBezTo>
                    <a:pt x="192" y="540"/>
                    <a:pt x="193" y="540"/>
                    <a:pt x="193" y="540"/>
                  </a:cubicBezTo>
                  <a:cubicBezTo>
                    <a:pt x="194" y="540"/>
                    <a:pt x="194" y="540"/>
                    <a:pt x="195" y="539"/>
                  </a:cubicBezTo>
                  <a:cubicBezTo>
                    <a:pt x="196" y="538"/>
                    <a:pt x="196" y="538"/>
                    <a:pt x="195" y="537"/>
                  </a:cubicBezTo>
                  <a:close/>
                  <a:moveTo>
                    <a:pt x="217" y="531"/>
                  </a:moveTo>
                  <a:cubicBezTo>
                    <a:pt x="216" y="531"/>
                    <a:pt x="216" y="532"/>
                    <a:pt x="216" y="532"/>
                  </a:cubicBezTo>
                  <a:cubicBezTo>
                    <a:pt x="215" y="532"/>
                    <a:pt x="215" y="533"/>
                    <a:pt x="215" y="533"/>
                  </a:cubicBezTo>
                  <a:cubicBezTo>
                    <a:pt x="215" y="534"/>
                    <a:pt x="215" y="534"/>
                    <a:pt x="215" y="534"/>
                  </a:cubicBezTo>
                  <a:cubicBezTo>
                    <a:pt x="215" y="534"/>
                    <a:pt x="216" y="534"/>
                    <a:pt x="216" y="534"/>
                  </a:cubicBezTo>
                  <a:cubicBezTo>
                    <a:pt x="216" y="533"/>
                    <a:pt x="216" y="533"/>
                    <a:pt x="217" y="533"/>
                  </a:cubicBezTo>
                  <a:cubicBezTo>
                    <a:pt x="218" y="533"/>
                    <a:pt x="218" y="533"/>
                    <a:pt x="218" y="532"/>
                  </a:cubicBezTo>
                  <a:cubicBezTo>
                    <a:pt x="218" y="532"/>
                    <a:pt x="218" y="532"/>
                    <a:pt x="218" y="531"/>
                  </a:cubicBezTo>
                  <a:cubicBezTo>
                    <a:pt x="218" y="531"/>
                    <a:pt x="217" y="531"/>
                    <a:pt x="217" y="531"/>
                  </a:cubicBezTo>
                  <a:close/>
                  <a:moveTo>
                    <a:pt x="285" y="498"/>
                  </a:moveTo>
                  <a:cubicBezTo>
                    <a:pt x="285" y="498"/>
                    <a:pt x="284" y="498"/>
                    <a:pt x="284" y="498"/>
                  </a:cubicBezTo>
                  <a:cubicBezTo>
                    <a:pt x="284" y="498"/>
                    <a:pt x="284" y="498"/>
                    <a:pt x="283" y="498"/>
                  </a:cubicBezTo>
                  <a:cubicBezTo>
                    <a:pt x="283" y="498"/>
                    <a:pt x="283" y="498"/>
                    <a:pt x="283" y="497"/>
                  </a:cubicBezTo>
                  <a:cubicBezTo>
                    <a:pt x="283" y="497"/>
                    <a:pt x="283" y="497"/>
                    <a:pt x="283" y="497"/>
                  </a:cubicBezTo>
                  <a:cubicBezTo>
                    <a:pt x="283" y="497"/>
                    <a:pt x="283" y="497"/>
                    <a:pt x="284" y="496"/>
                  </a:cubicBezTo>
                  <a:cubicBezTo>
                    <a:pt x="283" y="496"/>
                    <a:pt x="283" y="496"/>
                    <a:pt x="283" y="496"/>
                  </a:cubicBezTo>
                  <a:cubicBezTo>
                    <a:pt x="282" y="497"/>
                    <a:pt x="282" y="497"/>
                    <a:pt x="282" y="497"/>
                  </a:cubicBezTo>
                  <a:cubicBezTo>
                    <a:pt x="282" y="496"/>
                    <a:pt x="281" y="497"/>
                    <a:pt x="281" y="497"/>
                  </a:cubicBezTo>
                  <a:cubicBezTo>
                    <a:pt x="281" y="497"/>
                    <a:pt x="281" y="497"/>
                    <a:pt x="281" y="497"/>
                  </a:cubicBezTo>
                  <a:cubicBezTo>
                    <a:pt x="281" y="498"/>
                    <a:pt x="281" y="498"/>
                    <a:pt x="282" y="498"/>
                  </a:cubicBezTo>
                  <a:cubicBezTo>
                    <a:pt x="282" y="497"/>
                    <a:pt x="282" y="497"/>
                    <a:pt x="282" y="498"/>
                  </a:cubicBezTo>
                  <a:cubicBezTo>
                    <a:pt x="282" y="498"/>
                    <a:pt x="282" y="498"/>
                    <a:pt x="282" y="498"/>
                  </a:cubicBezTo>
                  <a:cubicBezTo>
                    <a:pt x="282" y="498"/>
                    <a:pt x="282" y="498"/>
                    <a:pt x="282" y="499"/>
                  </a:cubicBezTo>
                  <a:cubicBezTo>
                    <a:pt x="282" y="499"/>
                    <a:pt x="282" y="499"/>
                    <a:pt x="282" y="499"/>
                  </a:cubicBezTo>
                  <a:cubicBezTo>
                    <a:pt x="282" y="500"/>
                    <a:pt x="282" y="500"/>
                    <a:pt x="282" y="500"/>
                  </a:cubicBezTo>
                  <a:cubicBezTo>
                    <a:pt x="283" y="500"/>
                    <a:pt x="283" y="500"/>
                    <a:pt x="283" y="500"/>
                  </a:cubicBezTo>
                  <a:cubicBezTo>
                    <a:pt x="283" y="499"/>
                    <a:pt x="283" y="499"/>
                    <a:pt x="283" y="499"/>
                  </a:cubicBezTo>
                  <a:cubicBezTo>
                    <a:pt x="283" y="499"/>
                    <a:pt x="283" y="499"/>
                    <a:pt x="283" y="499"/>
                  </a:cubicBezTo>
                  <a:cubicBezTo>
                    <a:pt x="284" y="499"/>
                    <a:pt x="284" y="499"/>
                    <a:pt x="284" y="499"/>
                  </a:cubicBezTo>
                  <a:cubicBezTo>
                    <a:pt x="284" y="499"/>
                    <a:pt x="285" y="499"/>
                    <a:pt x="285" y="498"/>
                  </a:cubicBezTo>
                  <a:close/>
                  <a:moveTo>
                    <a:pt x="229" y="527"/>
                  </a:moveTo>
                  <a:cubicBezTo>
                    <a:pt x="229" y="527"/>
                    <a:pt x="228" y="527"/>
                    <a:pt x="227" y="527"/>
                  </a:cubicBezTo>
                  <a:cubicBezTo>
                    <a:pt x="227" y="527"/>
                    <a:pt x="227" y="527"/>
                    <a:pt x="226" y="527"/>
                  </a:cubicBezTo>
                  <a:cubicBezTo>
                    <a:pt x="226" y="527"/>
                    <a:pt x="226" y="527"/>
                    <a:pt x="226" y="528"/>
                  </a:cubicBezTo>
                  <a:cubicBezTo>
                    <a:pt x="225" y="528"/>
                    <a:pt x="226" y="529"/>
                    <a:pt x="226" y="529"/>
                  </a:cubicBezTo>
                  <a:cubicBezTo>
                    <a:pt x="226" y="529"/>
                    <a:pt x="227" y="529"/>
                    <a:pt x="227" y="528"/>
                  </a:cubicBezTo>
                  <a:cubicBezTo>
                    <a:pt x="227" y="528"/>
                    <a:pt x="227" y="528"/>
                    <a:pt x="227" y="528"/>
                  </a:cubicBezTo>
                  <a:cubicBezTo>
                    <a:pt x="228" y="528"/>
                    <a:pt x="228" y="528"/>
                    <a:pt x="229" y="529"/>
                  </a:cubicBezTo>
                  <a:cubicBezTo>
                    <a:pt x="229" y="529"/>
                    <a:pt x="229" y="529"/>
                    <a:pt x="229" y="529"/>
                  </a:cubicBezTo>
                  <a:cubicBezTo>
                    <a:pt x="230" y="529"/>
                    <a:pt x="230" y="527"/>
                    <a:pt x="229" y="527"/>
                  </a:cubicBezTo>
                  <a:close/>
                  <a:moveTo>
                    <a:pt x="147" y="545"/>
                  </a:moveTo>
                  <a:cubicBezTo>
                    <a:pt x="147" y="545"/>
                    <a:pt x="147" y="545"/>
                    <a:pt x="148" y="546"/>
                  </a:cubicBezTo>
                  <a:cubicBezTo>
                    <a:pt x="148" y="546"/>
                    <a:pt x="148" y="546"/>
                    <a:pt x="148" y="546"/>
                  </a:cubicBezTo>
                  <a:cubicBezTo>
                    <a:pt x="148" y="546"/>
                    <a:pt x="148" y="545"/>
                    <a:pt x="148" y="545"/>
                  </a:cubicBezTo>
                  <a:cubicBezTo>
                    <a:pt x="148" y="545"/>
                    <a:pt x="148" y="545"/>
                    <a:pt x="148" y="545"/>
                  </a:cubicBezTo>
                  <a:cubicBezTo>
                    <a:pt x="149" y="545"/>
                    <a:pt x="149" y="544"/>
                    <a:pt x="149" y="544"/>
                  </a:cubicBezTo>
                  <a:cubicBezTo>
                    <a:pt x="149" y="543"/>
                    <a:pt x="148" y="543"/>
                    <a:pt x="147" y="543"/>
                  </a:cubicBezTo>
                  <a:cubicBezTo>
                    <a:pt x="147" y="543"/>
                    <a:pt x="146" y="544"/>
                    <a:pt x="146" y="544"/>
                  </a:cubicBezTo>
                  <a:cubicBezTo>
                    <a:pt x="146" y="545"/>
                    <a:pt x="146" y="545"/>
                    <a:pt x="147" y="545"/>
                  </a:cubicBezTo>
                  <a:close/>
                  <a:moveTo>
                    <a:pt x="281" y="500"/>
                  </a:moveTo>
                  <a:cubicBezTo>
                    <a:pt x="281" y="500"/>
                    <a:pt x="281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499"/>
                    <a:pt x="280" y="500"/>
                    <a:pt x="280" y="499"/>
                  </a:cubicBezTo>
                  <a:cubicBezTo>
                    <a:pt x="280" y="499"/>
                    <a:pt x="280" y="499"/>
                    <a:pt x="280" y="499"/>
                  </a:cubicBezTo>
                  <a:cubicBezTo>
                    <a:pt x="280" y="499"/>
                    <a:pt x="280" y="499"/>
                    <a:pt x="279" y="499"/>
                  </a:cubicBezTo>
                  <a:cubicBezTo>
                    <a:pt x="279" y="499"/>
                    <a:pt x="279" y="499"/>
                    <a:pt x="279" y="499"/>
                  </a:cubicBezTo>
                  <a:cubicBezTo>
                    <a:pt x="279" y="498"/>
                    <a:pt x="279" y="498"/>
                    <a:pt x="278" y="498"/>
                  </a:cubicBezTo>
                  <a:cubicBezTo>
                    <a:pt x="278" y="498"/>
                    <a:pt x="278" y="498"/>
                    <a:pt x="278" y="498"/>
                  </a:cubicBezTo>
                  <a:cubicBezTo>
                    <a:pt x="277" y="498"/>
                    <a:pt x="277" y="498"/>
                    <a:pt x="276" y="499"/>
                  </a:cubicBezTo>
                  <a:cubicBezTo>
                    <a:pt x="276" y="499"/>
                    <a:pt x="275" y="500"/>
                    <a:pt x="276" y="501"/>
                  </a:cubicBezTo>
                  <a:cubicBezTo>
                    <a:pt x="276" y="501"/>
                    <a:pt x="276" y="501"/>
                    <a:pt x="276" y="501"/>
                  </a:cubicBezTo>
                  <a:cubicBezTo>
                    <a:pt x="276" y="502"/>
                    <a:pt x="277" y="502"/>
                    <a:pt x="277" y="501"/>
                  </a:cubicBezTo>
                  <a:cubicBezTo>
                    <a:pt x="277" y="501"/>
                    <a:pt x="277" y="501"/>
                    <a:pt x="277" y="501"/>
                  </a:cubicBezTo>
                  <a:cubicBezTo>
                    <a:pt x="277" y="501"/>
                    <a:pt x="278" y="501"/>
                    <a:pt x="278" y="501"/>
                  </a:cubicBezTo>
                  <a:cubicBezTo>
                    <a:pt x="278" y="502"/>
                    <a:pt x="278" y="502"/>
                    <a:pt x="279" y="502"/>
                  </a:cubicBezTo>
                  <a:cubicBezTo>
                    <a:pt x="279" y="502"/>
                    <a:pt x="279" y="501"/>
                    <a:pt x="279" y="501"/>
                  </a:cubicBezTo>
                  <a:cubicBezTo>
                    <a:pt x="279" y="501"/>
                    <a:pt x="279" y="501"/>
                    <a:pt x="279" y="501"/>
                  </a:cubicBezTo>
                  <a:cubicBezTo>
                    <a:pt x="280" y="501"/>
                    <a:pt x="281" y="501"/>
                    <a:pt x="281" y="500"/>
                  </a:cubicBezTo>
                  <a:cubicBezTo>
                    <a:pt x="281" y="500"/>
                    <a:pt x="281" y="500"/>
                    <a:pt x="281" y="500"/>
                  </a:cubicBezTo>
                  <a:cubicBezTo>
                    <a:pt x="281" y="500"/>
                    <a:pt x="281" y="500"/>
                    <a:pt x="281" y="500"/>
                  </a:cubicBezTo>
                  <a:close/>
                  <a:moveTo>
                    <a:pt x="145" y="549"/>
                  </a:moveTo>
                  <a:cubicBezTo>
                    <a:pt x="145" y="549"/>
                    <a:pt x="145" y="549"/>
                    <a:pt x="145" y="548"/>
                  </a:cubicBezTo>
                  <a:cubicBezTo>
                    <a:pt x="145" y="548"/>
                    <a:pt x="144" y="548"/>
                    <a:pt x="144" y="548"/>
                  </a:cubicBezTo>
                  <a:cubicBezTo>
                    <a:pt x="143" y="548"/>
                    <a:pt x="143" y="548"/>
                    <a:pt x="143" y="549"/>
                  </a:cubicBezTo>
                  <a:cubicBezTo>
                    <a:pt x="143" y="549"/>
                    <a:pt x="143" y="549"/>
                    <a:pt x="143" y="549"/>
                  </a:cubicBezTo>
                  <a:cubicBezTo>
                    <a:pt x="142" y="548"/>
                    <a:pt x="142" y="548"/>
                    <a:pt x="142" y="549"/>
                  </a:cubicBezTo>
                  <a:cubicBezTo>
                    <a:pt x="142" y="549"/>
                    <a:pt x="142" y="549"/>
                    <a:pt x="141" y="549"/>
                  </a:cubicBezTo>
                  <a:cubicBezTo>
                    <a:pt x="141" y="549"/>
                    <a:pt x="141" y="548"/>
                    <a:pt x="140" y="548"/>
                  </a:cubicBezTo>
                  <a:cubicBezTo>
                    <a:pt x="140" y="548"/>
                    <a:pt x="141" y="547"/>
                    <a:pt x="141" y="547"/>
                  </a:cubicBezTo>
                  <a:cubicBezTo>
                    <a:pt x="141" y="547"/>
                    <a:pt x="141" y="546"/>
                    <a:pt x="141" y="546"/>
                  </a:cubicBezTo>
                  <a:cubicBezTo>
                    <a:pt x="142" y="546"/>
                    <a:pt x="142" y="546"/>
                    <a:pt x="141" y="545"/>
                  </a:cubicBezTo>
                  <a:cubicBezTo>
                    <a:pt x="141" y="545"/>
                    <a:pt x="141" y="545"/>
                    <a:pt x="141" y="545"/>
                  </a:cubicBezTo>
                  <a:cubicBezTo>
                    <a:pt x="141" y="546"/>
                    <a:pt x="140" y="546"/>
                    <a:pt x="141" y="546"/>
                  </a:cubicBezTo>
                  <a:cubicBezTo>
                    <a:pt x="141" y="547"/>
                    <a:pt x="141" y="547"/>
                    <a:pt x="140" y="547"/>
                  </a:cubicBezTo>
                  <a:cubicBezTo>
                    <a:pt x="140" y="547"/>
                    <a:pt x="140" y="547"/>
                    <a:pt x="140" y="546"/>
                  </a:cubicBezTo>
                  <a:cubicBezTo>
                    <a:pt x="140" y="546"/>
                    <a:pt x="139" y="546"/>
                    <a:pt x="139" y="546"/>
                  </a:cubicBezTo>
                  <a:cubicBezTo>
                    <a:pt x="139" y="546"/>
                    <a:pt x="138" y="546"/>
                    <a:pt x="138" y="547"/>
                  </a:cubicBezTo>
                  <a:cubicBezTo>
                    <a:pt x="138" y="547"/>
                    <a:pt x="139" y="547"/>
                    <a:pt x="139" y="548"/>
                  </a:cubicBezTo>
                  <a:cubicBezTo>
                    <a:pt x="139" y="548"/>
                    <a:pt x="139" y="548"/>
                    <a:pt x="139" y="548"/>
                  </a:cubicBezTo>
                  <a:cubicBezTo>
                    <a:pt x="138" y="549"/>
                    <a:pt x="138" y="549"/>
                    <a:pt x="139" y="550"/>
                  </a:cubicBezTo>
                  <a:cubicBezTo>
                    <a:pt x="139" y="550"/>
                    <a:pt x="138" y="550"/>
                    <a:pt x="138" y="549"/>
                  </a:cubicBezTo>
                  <a:cubicBezTo>
                    <a:pt x="137" y="549"/>
                    <a:pt x="137" y="549"/>
                    <a:pt x="137" y="549"/>
                  </a:cubicBezTo>
                  <a:cubicBezTo>
                    <a:pt x="137" y="550"/>
                    <a:pt x="137" y="550"/>
                    <a:pt x="138" y="550"/>
                  </a:cubicBezTo>
                  <a:cubicBezTo>
                    <a:pt x="138" y="550"/>
                    <a:pt x="138" y="550"/>
                    <a:pt x="138" y="551"/>
                  </a:cubicBezTo>
                  <a:cubicBezTo>
                    <a:pt x="138" y="551"/>
                    <a:pt x="137" y="551"/>
                    <a:pt x="137" y="552"/>
                  </a:cubicBezTo>
                  <a:cubicBezTo>
                    <a:pt x="136" y="552"/>
                    <a:pt x="136" y="552"/>
                    <a:pt x="136" y="553"/>
                  </a:cubicBezTo>
                  <a:cubicBezTo>
                    <a:pt x="136" y="553"/>
                    <a:pt x="136" y="554"/>
                    <a:pt x="136" y="554"/>
                  </a:cubicBezTo>
                  <a:cubicBezTo>
                    <a:pt x="137" y="554"/>
                    <a:pt x="137" y="553"/>
                    <a:pt x="137" y="553"/>
                  </a:cubicBezTo>
                  <a:cubicBezTo>
                    <a:pt x="137" y="553"/>
                    <a:pt x="137" y="552"/>
                    <a:pt x="138" y="551"/>
                  </a:cubicBezTo>
                  <a:cubicBezTo>
                    <a:pt x="138" y="552"/>
                    <a:pt x="138" y="552"/>
                    <a:pt x="138" y="553"/>
                  </a:cubicBezTo>
                  <a:cubicBezTo>
                    <a:pt x="138" y="553"/>
                    <a:pt x="138" y="553"/>
                    <a:pt x="138" y="553"/>
                  </a:cubicBezTo>
                  <a:cubicBezTo>
                    <a:pt x="139" y="553"/>
                    <a:pt x="139" y="553"/>
                    <a:pt x="139" y="552"/>
                  </a:cubicBezTo>
                  <a:cubicBezTo>
                    <a:pt x="139" y="552"/>
                    <a:pt x="140" y="552"/>
                    <a:pt x="140" y="552"/>
                  </a:cubicBezTo>
                  <a:cubicBezTo>
                    <a:pt x="140" y="552"/>
                    <a:pt x="141" y="551"/>
                    <a:pt x="141" y="551"/>
                  </a:cubicBezTo>
                  <a:cubicBezTo>
                    <a:pt x="141" y="551"/>
                    <a:pt x="142" y="551"/>
                    <a:pt x="142" y="551"/>
                  </a:cubicBezTo>
                  <a:cubicBezTo>
                    <a:pt x="142" y="551"/>
                    <a:pt x="142" y="551"/>
                    <a:pt x="142" y="551"/>
                  </a:cubicBezTo>
                  <a:cubicBezTo>
                    <a:pt x="142" y="550"/>
                    <a:pt x="142" y="550"/>
                    <a:pt x="142" y="550"/>
                  </a:cubicBezTo>
                  <a:cubicBezTo>
                    <a:pt x="143" y="551"/>
                    <a:pt x="143" y="550"/>
                    <a:pt x="143" y="550"/>
                  </a:cubicBezTo>
                  <a:cubicBezTo>
                    <a:pt x="143" y="550"/>
                    <a:pt x="143" y="550"/>
                    <a:pt x="143" y="549"/>
                  </a:cubicBezTo>
                  <a:cubicBezTo>
                    <a:pt x="144" y="550"/>
                    <a:pt x="144" y="550"/>
                    <a:pt x="144" y="550"/>
                  </a:cubicBezTo>
                  <a:cubicBezTo>
                    <a:pt x="144" y="551"/>
                    <a:pt x="144" y="551"/>
                    <a:pt x="144" y="551"/>
                  </a:cubicBezTo>
                  <a:cubicBezTo>
                    <a:pt x="144" y="551"/>
                    <a:pt x="144" y="551"/>
                    <a:pt x="144" y="551"/>
                  </a:cubicBezTo>
                  <a:cubicBezTo>
                    <a:pt x="144" y="550"/>
                    <a:pt x="145" y="551"/>
                    <a:pt x="145" y="551"/>
                  </a:cubicBezTo>
                  <a:cubicBezTo>
                    <a:pt x="145" y="550"/>
                    <a:pt x="145" y="550"/>
                    <a:pt x="145" y="549"/>
                  </a:cubicBezTo>
                  <a:cubicBezTo>
                    <a:pt x="145" y="549"/>
                    <a:pt x="145" y="549"/>
                    <a:pt x="145" y="549"/>
                  </a:cubicBezTo>
                  <a:close/>
                  <a:moveTo>
                    <a:pt x="275" y="506"/>
                  </a:moveTo>
                  <a:cubicBezTo>
                    <a:pt x="275" y="506"/>
                    <a:pt x="274" y="506"/>
                    <a:pt x="274" y="507"/>
                  </a:cubicBezTo>
                  <a:cubicBezTo>
                    <a:pt x="274" y="507"/>
                    <a:pt x="274" y="507"/>
                    <a:pt x="274" y="507"/>
                  </a:cubicBezTo>
                  <a:cubicBezTo>
                    <a:pt x="274" y="507"/>
                    <a:pt x="273" y="507"/>
                    <a:pt x="273" y="507"/>
                  </a:cubicBezTo>
                  <a:cubicBezTo>
                    <a:pt x="273" y="508"/>
                    <a:pt x="273" y="508"/>
                    <a:pt x="273" y="508"/>
                  </a:cubicBezTo>
                  <a:cubicBezTo>
                    <a:pt x="273" y="509"/>
                    <a:pt x="274" y="509"/>
                    <a:pt x="274" y="509"/>
                  </a:cubicBezTo>
                  <a:cubicBezTo>
                    <a:pt x="274" y="509"/>
                    <a:pt x="275" y="508"/>
                    <a:pt x="275" y="508"/>
                  </a:cubicBezTo>
                  <a:cubicBezTo>
                    <a:pt x="275" y="508"/>
                    <a:pt x="275" y="508"/>
                    <a:pt x="275" y="508"/>
                  </a:cubicBezTo>
                  <a:cubicBezTo>
                    <a:pt x="275" y="508"/>
                    <a:pt x="275" y="507"/>
                    <a:pt x="275" y="507"/>
                  </a:cubicBezTo>
                  <a:cubicBezTo>
                    <a:pt x="275" y="507"/>
                    <a:pt x="275" y="506"/>
                    <a:pt x="276" y="506"/>
                  </a:cubicBezTo>
                  <a:cubicBezTo>
                    <a:pt x="276" y="506"/>
                    <a:pt x="276" y="506"/>
                    <a:pt x="276" y="506"/>
                  </a:cubicBezTo>
                  <a:cubicBezTo>
                    <a:pt x="276" y="506"/>
                    <a:pt x="275" y="506"/>
                    <a:pt x="275" y="506"/>
                  </a:cubicBezTo>
                  <a:close/>
                  <a:moveTo>
                    <a:pt x="290" y="500"/>
                  </a:moveTo>
                  <a:cubicBezTo>
                    <a:pt x="290" y="500"/>
                    <a:pt x="289" y="500"/>
                    <a:pt x="289" y="500"/>
                  </a:cubicBezTo>
                  <a:cubicBezTo>
                    <a:pt x="289" y="500"/>
                    <a:pt x="288" y="500"/>
                    <a:pt x="287" y="500"/>
                  </a:cubicBezTo>
                  <a:cubicBezTo>
                    <a:pt x="287" y="500"/>
                    <a:pt x="287" y="501"/>
                    <a:pt x="287" y="501"/>
                  </a:cubicBezTo>
                  <a:cubicBezTo>
                    <a:pt x="288" y="501"/>
                    <a:pt x="289" y="501"/>
                    <a:pt x="289" y="501"/>
                  </a:cubicBezTo>
                  <a:cubicBezTo>
                    <a:pt x="290" y="501"/>
                    <a:pt x="290" y="501"/>
                    <a:pt x="290" y="501"/>
                  </a:cubicBezTo>
                  <a:cubicBezTo>
                    <a:pt x="291" y="501"/>
                    <a:pt x="291" y="500"/>
                    <a:pt x="291" y="500"/>
                  </a:cubicBezTo>
                  <a:cubicBezTo>
                    <a:pt x="290" y="500"/>
                    <a:pt x="290" y="500"/>
                    <a:pt x="290" y="500"/>
                  </a:cubicBezTo>
                  <a:close/>
                  <a:moveTo>
                    <a:pt x="148" y="548"/>
                  </a:moveTo>
                  <a:cubicBezTo>
                    <a:pt x="147" y="549"/>
                    <a:pt x="147" y="548"/>
                    <a:pt x="147" y="548"/>
                  </a:cubicBezTo>
                  <a:cubicBezTo>
                    <a:pt x="146" y="548"/>
                    <a:pt x="146" y="548"/>
                    <a:pt x="146" y="548"/>
                  </a:cubicBezTo>
                  <a:cubicBezTo>
                    <a:pt x="146" y="548"/>
                    <a:pt x="146" y="549"/>
                    <a:pt x="146" y="549"/>
                  </a:cubicBezTo>
                  <a:cubicBezTo>
                    <a:pt x="146" y="550"/>
                    <a:pt x="146" y="550"/>
                    <a:pt x="147" y="550"/>
                  </a:cubicBezTo>
                  <a:cubicBezTo>
                    <a:pt x="147" y="550"/>
                    <a:pt x="147" y="550"/>
                    <a:pt x="147" y="549"/>
                  </a:cubicBezTo>
                  <a:cubicBezTo>
                    <a:pt x="147" y="549"/>
                    <a:pt x="148" y="549"/>
                    <a:pt x="148" y="549"/>
                  </a:cubicBezTo>
                  <a:cubicBezTo>
                    <a:pt x="148" y="549"/>
                    <a:pt x="148" y="549"/>
                    <a:pt x="148" y="549"/>
                  </a:cubicBezTo>
                  <a:cubicBezTo>
                    <a:pt x="148" y="548"/>
                    <a:pt x="148" y="548"/>
                    <a:pt x="148" y="548"/>
                  </a:cubicBezTo>
                  <a:close/>
                  <a:moveTo>
                    <a:pt x="78" y="546"/>
                  </a:moveTo>
                  <a:cubicBezTo>
                    <a:pt x="77" y="546"/>
                    <a:pt x="77" y="546"/>
                    <a:pt x="77" y="546"/>
                  </a:cubicBezTo>
                  <a:cubicBezTo>
                    <a:pt x="78" y="547"/>
                    <a:pt x="78" y="547"/>
                    <a:pt x="78" y="547"/>
                  </a:cubicBezTo>
                  <a:cubicBezTo>
                    <a:pt x="78" y="547"/>
                    <a:pt x="79" y="547"/>
                    <a:pt x="79" y="546"/>
                  </a:cubicBezTo>
                  <a:cubicBezTo>
                    <a:pt x="79" y="546"/>
                    <a:pt x="78" y="546"/>
                    <a:pt x="78" y="546"/>
                  </a:cubicBezTo>
                  <a:close/>
                  <a:moveTo>
                    <a:pt x="210" y="534"/>
                  </a:moveTo>
                  <a:cubicBezTo>
                    <a:pt x="209" y="534"/>
                    <a:pt x="209" y="535"/>
                    <a:pt x="209" y="535"/>
                  </a:cubicBezTo>
                  <a:cubicBezTo>
                    <a:pt x="209" y="536"/>
                    <a:pt x="209" y="536"/>
                    <a:pt x="210" y="536"/>
                  </a:cubicBezTo>
                  <a:cubicBezTo>
                    <a:pt x="210" y="536"/>
                    <a:pt x="210" y="535"/>
                    <a:pt x="210" y="535"/>
                  </a:cubicBezTo>
                  <a:cubicBezTo>
                    <a:pt x="210" y="535"/>
                    <a:pt x="210" y="535"/>
                    <a:pt x="210" y="534"/>
                  </a:cubicBezTo>
                  <a:close/>
                  <a:moveTo>
                    <a:pt x="229" y="524"/>
                  </a:moveTo>
                  <a:cubicBezTo>
                    <a:pt x="229" y="524"/>
                    <a:pt x="229" y="524"/>
                    <a:pt x="229" y="525"/>
                  </a:cubicBezTo>
                  <a:cubicBezTo>
                    <a:pt x="229" y="525"/>
                    <a:pt x="229" y="525"/>
                    <a:pt x="229" y="525"/>
                  </a:cubicBezTo>
                  <a:cubicBezTo>
                    <a:pt x="229" y="525"/>
                    <a:pt x="230" y="525"/>
                    <a:pt x="230" y="524"/>
                  </a:cubicBezTo>
                  <a:cubicBezTo>
                    <a:pt x="230" y="524"/>
                    <a:pt x="230" y="524"/>
                    <a:pt x="229" y="524"/>
                  </a:cubicBezTo>
                  <a:close/>
                  <a:moveTo>
                    <a:pt x="149" y="547"/>
                  </a:moveTo>
                  <a:cubicBezTo>
                    <a:pt x="149" y="547"/>
                    <a:pt x="148" y="547"/>
                    <a:pt x="148" y="547"/>
                  </a:cubicBezTo>
                  <a:cubicBezTo>
                    <a:pt x="148" y="547"/>
                    <a:pt x="148" y="547"/>
                    <a:pt x="147" y="548"/>
                  </a:cubicBezTo>
                  <a:cubicBezTo>
                    <a:pt x="148" y="548"/>
                    <a:pt x="148" y="548"/>
                    <a:pt x="149" y="548"/>
                  </a:cubicBezTo>
                  <a:cubicBezTo>
                    <a:pt x="149" y="548"/>
                    <a:pt x="149" y="548"/>
                    <a:pt x="149" y="548"/>
                  </a:cubicBezTo>
                  <a:cubicBezTo>
                    <a:pt x="150" y="547"/>
                    <a:pt x="149" y="548"/>
                    <a:pt x="149" y="547"/>
                  </a:cubicBezTo>
                  <a:close/>
                  <a:moveTo>
                    <a:pt x="286" y="501"/>
                  </a:moveTo>
                  <a:cubicBezTo>
                    <a:pt x="286" y="500"/>
                    <a:pt x="285" y="501"/>
                    <a:pt x="285" y="501"/>
                  </a:cubicBezTo>
                  <a:cubicBezTo>
                    <a:pt x="285" y="501"/>
                    <a:pt x="285" y="501"/>
                    <a:pt x="286" y="501"/>
                  </a:cubicBezTo>
                  <a:cubicBezTo>
                    <a:pt x="286" y="502"/>
                    <a:pt x="286" y="501"/>
                    <a:pt x="287" y="501"/>
                  </a:cubicBezTo>
                  <a:cubicBezTo>
                    <a:pt x="287" y="501"/>
                    <a:pt x="286" y="501"/>
                    <a:pt x="286" y="501"/>
                  </a:cubicBezTo>
                  <a:close/>
                  <a:moveTo>
                    <a:pt x="73" y="544"/>
                  </a:moveTo>
                  <a:cubicBezTo>
                    <a:pt x="73" y="544"/>
                    <a:pt x="73" y="545"/>
                    <a:pt x="73" y="545"/>
                  </a:cubicBezTo>
                  <a:cubicBezTo>
                    <a:pt x="73" y="545"/>
                    <a:pt x="73" y="546"/>
                    <a:pt x="73" y="546"/>
                  </a:cubicBezTo>
                  <a:cubicBezTo>
                    <a:pt x="74" y="546"/>
                    <a:pt x="74" y="546"/>
                    <a:pt x="74" y="545"/>
                  </a:cubicBezTo>
                  <a:cubicBezTo>
                    <a:pt x="74" y="545"/>
                    <a:pt x="74" y="544"/>
                    <a:pt x="73" y="544"/>
                  </a:cubicBezTo>
                  <a:close/>
                  <a:moveTo>
                    <a:pt x="226" y="526"/>
                  </a:moveTo>
                  <a:cubicBezTo>
                    <a:pt x="226" y="526"/>
                    <a:pt x="225" y="526"/>
                    <a:pt x="225" y="526"/>
                  </a:cubicBezTo>
                  <a:cubicBezTo>
                    <a:pt x="224" y="526"/>
                    <a:pt x="224" y="526"/>
                    <a:pt x="224" y="526"/>
                  </a:cubicBezTo>
                  <a:cubicBezTo>
                    <a:pt x="224" y="527"/>
                    <a:pt x="224" y="527"/>
                    <a:pt x="224" y="527"/>
                  </a:cubicBezTo>
                  <a:cubicBezTo>
                    <a:pt x="225" y="527"/>
                    <a:pt x="225" y="527"/>
                    <a:pt x="225" y="527"/>
                  </a:cubicBezTo>
                  <a:cubicBezTo>
                    <a:pt x="225" y="527"/>
                    <a:pt x="226" y="527"/>
                    <a:pt x="226" y="526"/>
                  </a:cubicBezTo>
                  <a:close/>
                  <a:moveTo>
                    <a:pt x="275" y="503"/>
                  </a:moveTo>
                  <a:cubicBezTo>
                    <a:pt x="275" y="503"/>
                    <a:pt x="275" y="503"/>
                    <a:pt x="275" y="503"/>
                  </a:cubicBezTo>
                  <a:cubicBezTo>
                    <a:pt x="274" y="504"/>
                    <a:pt x="275" y="503"/>
                    <a:pt x="275" y="504"/>
                  </a:cubicBezTo>
                  <a:cubicBezTo>
                    <a:pt x="275" y="504"/>
                    <a:pt x="276" y="504"/>
                    <a:pt x="276" y="503"/>
                  </a:cubicBezTo>
                  <a:cubicBezTo>
                    <a:pt x="276" y="503"/>
                    <a:pt x="275" y="503"/>
                    <a:pt x="275" y="503"/>
                  </a:cubicBezTo>
                  <a:close/>
                  <a:moveTo>
                    <a:pt x="223" y="529"/>
                  </a:moveTo>
                  <a:cubicBezTo>
                    <a:pt x="223" y="529"/>
                    <a:pt x="223" y="530"/>
                    <a:pt x="223" y="530"/>
                  </a:cubicBezTo>
                  <a:cubicBezTo>
                    <a:pt x="223" y="531"/>
                    <a:pt x="224" y="530"/>
                    <a:pt x="224" y="530"/>
                  </a:cubicBezTo>
                  <a:cubicBezTo>
                    <a:pt x="224" y="530"/>
                    <a:pt x="224" y="530"/>
                    <a:pt x="224" y="530"/>
                  </a:cubicBezTo>
                  <a:cubicBezTo>
                    <a:pt x="224" y="530"/>
                    <a:pt x="224" y="530"/>
                    <a:pt x="224" y="530"/>
                  </a:cubicBezTo>
                  <a:cubicBezTo>
                    <a:pt x="224" y="530"/>
                    <a:pt x="224" y="530"/>
                    <a:pt x="224" y="530"/>
                  </a:cubicBezTo>
                  <a:cubicBezTo>
                    <a:pt x="225" y="530"/>
                    <a:pt x="225" y="530"/>
                    <a:pt x="225" y="529"/>
                  </a:cubicBezTo>
                  <a:cubicBezTo>
                    <a:pt x="224" y="529"/>
                    <a:pt x="224" y="529"/>
                    <a:pt x="223" y="529"/>
                  </a:cubicBezTo>
                  <a:close/>
                  <a:moveTo>
                    <a:pt x="76" y="549"/>
                  </a:moveTo>
                  <a:cubicBezTo>
                    <a:pt x="76" y="549"/>
                    <a:pt x="75" y="549"/>
                    <a:pt x="75" y="549"/>
                  </a:cubicBezTo>
                  <a:cubicBezTo>
                    <a:pt x="75" y="549"/>
                    <a:pt x="75" y="549"/>
                    <a:pt x="75" y="550"/>
                  </a:cubicBezTo>
                  <a:cubicBezTo>
                    <a:pt x="75" y="550"/>
                    <a:pt x="75" y="550"/>
                    <a:pt x="75" y="550"/>
                  </a:cubicBezTo>
                  <a:cubicBezTo>
                    <a:pt x="76" y="550"/>
                    <a:pt x="76" y="550"/>
                    <a:pt x="76" y="550"/>
                  </a:cubicBezTo>
                  <a:cubicBezTo>
                    <a:pt x="76" y="550"/>
                    <a:pt x="76" y="550"/>
                    <a:pt x="76" y="550"/>
                  </a:cubicBezTo>
                  <a:cubicBezTo>
                    <a:pt x="76" y="550"/>
                    <a:pt x="76" y="549"/>
                    <a:pt x="76" y="549"/>
                  </a:cubicBezTo>
                  <a:close/>
                  <a:moveTo>
                    <a:pt x="45" y="538"/>
                  </a:moveTo>
                  <a:cubicBezTo>
                    <a:pt x="45" y="538"/>
                    <a:pt x="45" y="537"/>
                    <a:pt x="44" y="538"/>
                  </a:cubicBezTo>
                  <a:cubicBezTo>
                    <a:pt x="44" y="538"/>
                    <a:pt x="44" y="538"/>
                    <a:pt x="45" y="538"/>
                  </a:cubicBezTo>
                  <a:cubicBezTo>
                    <a:pt x="45" y="538"/>
                    <a:pt x="45" y="538"/>
                    <a:pt x="45" y="538"/>
                  </a:cubicBezTo>
                  <a:cubicBezTo>
                    <a:pt x="45" y="538"/>
                    <a:pt x="45" y="538"/>
                    <a:pt x="45" y="538"/>
                  </a:cubicBezTo>
                  <a:cubicBezTo>
                    <a:pt x="45" y="538"/>
                    <a:pt x="45" y="538"/>
                    <a:pt x="45" y="538"/>
                  </a:cubicBezTo>
                  <a:close/>
                  <a:moveTo>
                    <a:pt x="151" y="546"/>
                  </a:moveTo>
                  <a:cubicBezTo>
                    <a:pt x="151" y="546"/>
                    <a:pt x="150" y="546"/>
                    <a:pt x="151" y="547"/>
                  </a:cubicBezTo>
                  <a:cubicBezTo>
                    <a:pt x="151" y="547"/>
                    <a:pt x="151" y="547"/>
                    <a:pt x="152" y="547"/>
                  </a:cubicBezTo>
                  <a:cubicBezTo>
                    <a:pt x="151" y="547"/>
                    <a:pt x="151" y="546"/>
                    <a:pt x="151" y="546"/>
                  </a:cubicBezTo>
                  <a:close/>
                  <a:moveTo>
                    <a:pt x="150" y="545"/>
                  </a:moveTo>
                  <a:cubicBezTo>
                    <a:pt x="150" y="545"/>
                    <a:pt x="150" y="545"/>
                    <a:pt x="150" y="546"/>
                  </a:cubicBezTo>
                  <a:cubicBezTo>
                    <a:pt x="149" y="546"/>
                    <a:pt x="150" y="546"/>
                    <a:pt x="150" y="546"/>
                  </a:cubicBezTo>
                  <a:cubicBezTo>
                    <a:pt x="150" y="546"/>
                    <a:pt x="150" y="546"/>
                    <a:pt x="150" y="546"/>
                  </a:cubicBezTo>
                  <a:cubicBezTo>
                    <a:pt x="150" y="545"/>
                    <a:pt x="150" y="545"/>
                    <a:pt x="150" y="545"/>
                  </a:cubicBezTo>
                  <a:close/>
                  <a:moveTo>
                    <a:pt x="21" y="530"/>
                  </a:moveTo>
                  <a:cubicBezTo>
                    <a:pt x="21" y="530"/>
                    <a:pt x="21" y="530"/>
                    <a:pt x="21" y="530"/>
                  </a:cubicBezTo>
                  <a:cubicBezTo>
                    <a:pt x="21" y="530"/>
                    <a:pt x="22" y="530"/>
                    <a:pt x="22" y="530"/>
                  </a:cubicBezTo>
                  <a:cubicBezTo>
                    <a:pt x="22" y="531"/>
                    <a:pt x="22" y="530"/>
                    <a:pt x="22" y="530"/>
                  </a:cubicBezTo>
                  <a:cubicBezTo>
                    <a:pt x="22" y="530"/>
                    <a:pt x="22" y="530"/>
                    <a:pt x="21" y="530"/>
                  </a:cubicBezTo>
                  <a:close/>
                  <a:moveTo>
                    <a:pt x="283" y="501"/>
                  </a:moveTo>
                  <a:cubicBezTo>
                    <a:pt x="283" y="501"/>
                    <a:pt x="282" y="502"/>
                    <a:pt x="283" y="502"/>
                  </a:cubicBezTo>
                  <a:cubicBezTo>
                    <a:pt x="283" y="502"/>
                    <a:pt x="283" y="502"/>
                    <a:pt x="283" y="502"/>
                  </a:cubicBezTo>
                  <a:cubicBezTo>
                    <a:pt x="284" y="502"/>
                    <a:pt x="283" y="501"/>
                    <a:pt x="283" y="501"/>
                  </a:cubicBezTo>
                  <a:close/>
                  <a:moveTo>
                    <a:pt x="152" y="546"/>
                  </a:moveTo>
                  <a:cubicBezTo>
                    <a:pt x="152" y="546"/>
                    <a:pt x="153" y="546"/>
                    <a:pt x="153" y="546"/>
                  </a:cubicBezTo>
                  <a:cubicBezTo>
                    <a:pt x="152" y="546"/>
                    <a:pt x="152" y="546"/>
                    <a:pt x="152" y="546"/>
                  </a:cubicBezTo>
                  <a:close/>
                  <a:moveTo>
                    <a:pt x="109" y="560"/>
                  </a:moveTo>
                  <a:cubicBezTo>
                    <a:pt x="108" y="560"/>
                    <a:pt x="108" y="560"/>
                    <a:pt x="108" y="561"/>
                  </a:cubicBezTo>
                  <a:cubicBezTo>
                    <a:pt x="108" y="561"/>
                    <a:pt x="109" y="561"/>
                    <a:pt x="109" y="561"/>
                  </a:cubicBezTo>
                  <a:cubicBezTo>
                    <a:pt x="109" y="561"/>
                    <a:pt x="109" y="560"/>
                    <a:pt x="109" y="560"/>
                  </a:cubicBezTo>
                  <a:close/>
                  <a:moveTo>
                    <a:pt x="270" y="505"/>
                  </a:moveTo>
                  <a:cubicBezTo>
                    <a:pt x="270" y="505"/>
                    <a:pt x="270" y="504"/>
                    <a:pt x="270" y="504"/>
                  </a:cubicBezTo>
                  <a:cubicBezTo>
                    <a:pt x="270" y="504"/>
                    <a:pt x="270" y="505"/>
                    <a:pt x="270" y="505"/>
                  </a:cubicBezTo>
                  <a:cubicBezTo>
                    <a:pt x="270" y="505"/>
                    <a:pt x="270" y="505"/>
                    <a:pt x="270" y="505"/>
                  </a:cubicBezTo>
                  <a:close/>
                  <a:moveTo>
                    <a:pt x="211" y="533"/>
                  </a:moveTo>
                  <a:cubicBezTo>
                    <a:pt x="211" y="533"/>
                    <a:pt x="211" y="533"/>
                    <a:pt x="211" y="534"/>
                  </a:cubicBezTo>
                  <a:cubicBezTo>
                    <a:pt x="211" y="534"/>
                    <a:pt x="211" y="534"/>
                    <a:pt x="211" y="534"/>
                  </a:cubicBezTo>
                  <a:cubicBezTo>
                    <a:pt x="211" y="534"/>
                    <a:pt x="211" y="534"/>
                    <a:pt x="211" y="534"/>
                  </a:cubicBezTo>
                  <a:cubicBezTo>
                    <a:pt x="211" y="533"/>
                    <a:pt x="211" y="533"/>
                    <a:pt x="211" y="533"/>
                  </a:cubicBezTo>
                  <a:close/>
                  <a:moveTo>
                    <a:pt x="67" y="546"/>
                  </a:moveTo>
                  <a:cubicBezTo>
                    <a:pt x="67" y="546"/>
                    <a:pt x="67" y="546"/>
                    <a:pt x="67" y="546"/>
                  </a:cubicBezTo>
                  <a:cubicBezTo>
                    <a:pt x="67" y="546"/>
                    <a:pt x="67" y="546"/>
                    <a:pt x="68" y="546"/>
                  </a:cubicBezTo>
                  <a:cubicBezTo>
                    <a:pt x="67" y="546"/>
                    <a:pt x="67" y="546"/>
                    <a:pt x="67" y="546"/>
                  </a:cubicBezTo>
                  <a:close/>
                  <a:moveTo>
                    <a:pt x="113" y="555"/>
                  </a:moveTo>
                  <a:cubicBezTo>
                    <a:pt x="113" y="554"/>
                    <a:pt x="112" y="554"/>
                    <a:pt x="112" y="554"/>
                  </a:cubicBezTo>
                  <a:cubicBezTo>
                    <a:pt x="112" y="555"/>
                    <a:pt x="113" y="555"/>
                    <a:pt x="113" y="555"/>
                  </a:cubicBezTo>
                  <a:close/>
                  <a:moveTo>
                    <a:pt x="111" y="558"/>
                  </a:moveTo>
                  <a:cubicBezTo>
                    <a:pt x="111" y="558"/>
                    <a:pt x="110" y="558"/>
                    <a:pt x="110" y="558"/>
                  </a:cubicBezTo>
                  <a:cubicBezTo>
                    <a:pt x="111" y="559"/>
                    <a:pt x="110" y="559"/>
                    <a:pt x="110" y="559"/>
                  </a:cubicBezTo>
                  <a:cubicBezTo>
                    <a:pt x="111" y="559"/>
                    <a:pt x="111" y="559"/>
                    <a:pt x="111" y="559"/>
                  </a:cubicBezTo>
                  <a:cubicBezTo>
                    <a:pt x="111" y="559"/>
                    <a:pt x="111" y="559"/>
                    <a:pt x="111" y="559"/>
                  </a:cubicBezTo>
                  <a:cubicBezTo>
                    <a:pt x="111" y="559"/>
                    <a:pt x="111" y="558"/>
                    <a:pt x="111" y="558"/>
                  </a:cubicBezTo>
                  <a:close/>
                  <a:moveTo>
                    <a:pt x="291" y="498"/>
                  </a:moveTo>
                  <a:cubicBezTo>
                    <a:pt x="292" y="498"/>
                    <a:pt x="292" y="498"/>
                    <a:pt x="292" y="498"/>
                  </a:cubicBezTo>
                  <a:cubicBezTo>
                    <a:pt x="292" y="498"/>
                    <a:pt x="292" y="498"/>
                    <a:pt x="291" y="498"/>
                  </a:cubicBezTo>
                  <a:close/>
                  <a:moveTo>
                    <a:pt x="20" y="530"/>
                  </a:moveTo>
                  <a:cubicBezTo>
                    <a:pt x="20" y="530"/>
                    <a:pt x="20" y="530"/>
                    <a:pt x="20" y="530"/>
                  </a:cubicBezTo>
                  <a:cubicBezTo>
                    <a:pt x="20" y="530"/>
                    <a:pt x="20" y="530"/>
                    <a:pt x="20" y="530"/>
                  </a:cubicBezTo>
                  <a:close/>
                  <a:moveTo>
                    <a:pt x="113" y="549"/>
                  </a:moveTo>
                  <a:cubicBezTo>
                    <a:pt x="113" y="550"/>
                    <a:pt x="113" y="550"/>
                    <a:pt x="113" y="550"/>
                  </a:cubicBezTo>
                  <a:cubicBezTo>
                    <a:pt x="113" y="550"/>
                    <a:pt x="113" y="550"/>
                    <a:pt x="113" y="550"/>
                  </a:cubicBezTo>
                  <a:cubicBezTo>
                    <a:pt x="113" y="551"/>
                    <a:pt x="112" y="551"/>
                    <a:pt x="112" y="550"/>
                  </a:cubicBezTo>
                  <a:cubicBezTo>
                    <a:pt x="112" y="550"/>
                    <a:pt x="112" y="549"/>
                    <a:pt x="112" y="549"/>
                  </a:cubicBezTo>
                  <a:cubicBezTo>
                    <a:pt x="113" y="548"/>
                    <a:pt x="113" y="549"/>
                    <a:pt x="113" y="549"/>
                  </a:cubicBezTo>
                  <a:cubicBezTo>
                    <a:pt x="113" y="549"/>
                    <a:pt x="113" y="549"/>
                    <a:pt x="113" y="549"/>
                  </a:cubicBezTo>
                  <a:close/>
                  <a:moveTo>
                    <a:pt x="113" y="549"/>
                  </a:moveTo>
                  <a:cubicBezTo>
                    <a:pt x="113" y="549"/>
                    <a:pt x="113" y="549"/>
                    <a:pt x="113" y="549"/>
                  </a:cubicBezTo>
                  <a:cubicBezTo>
                    <a:pt x="113" y="549"/>
                    <a:pt x="113" y="549"/>
                    <a:pt x="113" y="549"/>
                  </a:cubicBezTo>
                  <a:close/>
                  <a:moveTo>
                    <a:pt x="115" y="553"/>
                  </a:moveTo>
                  <a:cubicBezTo>
                    <a:pt x="115" y="553"/>
                    <a:pt x="114" y="553"/>
                    <a:pt x="114" y="554"/>
                  </a:cubicBezTo>
                  <a:cubicBezTo>
                    <a:pt x="114" y="554"/>
                    <a:pt x="114" y="554"/>
                    <a:pt x="115" y="554"/>
                  </a:cubicBezTo>
                  <a:cubicBezTo>
                    <a:pt x="115" y="554"/>
                    <a:pt x="115" y="554"/>
                    <a:pt x="115" y="553"/>
                  </a:cubicBezTo>
                  <a:cubicBezTo>
                    <a:pt x="115" y="553"/>
                    <a:pt x="115" y="553"/>
                    <a:pt x="115" y="553"/>
                  </a:cubicBezTo>
                  <a:close/>
                  <a:moveTo>
                    <a:pt x="229" y="523"/>
                  </a:moveTo>
                  <a:cubicBezTo>
                    <a:pt x="229" y="523"/>
                    <a:pt x="229" y="523"/>
                    <a:pt x="228" y="523"/>
                  </a:cubicBezTo>
                  <a:cubicBezTo>
                    <a:pt x="228" y="523"/>
                    <a:pt x="228" y="523"/>
                    <a:pt x="228" y="523"/>
                  </a:cubicBezTo>
                  <a:cubicBezTo>
                    <a:pt x="228" y="523"/>
                    <a:pt x="229" y="523"/>
                    <a:pt x="229" y="523"/>
                  </a:cubicBezTo>
                  <a:close/>
                  <a:moveTo>
                    <a:pt x="88" y="558"/>
                  </a:moveTo>
                  <a:cubicBezTo>
                    <a:pt x="88" y="558"/>
                    <a:pt x="88" y="558"/>
                    <a:pt x="88" y="558"/>
                  </a:cubicBezTo>
                  <a:cubicBezTo>
                    <a:pt x="88" y="557"/>
                    <a:pt x="88" y="558"/>
                    <a:pt x="87" y="557"/>
                  </a:cubicBezTo>
                  <a:cubicBezTo>
                    <a:pt x="87" y="557"/>
                    <a:pt x="87" y="557"/>
                    <a:pt x="87" y="557"/>
                  </a:cubicBezTo>
                  <a:cubicBezTo>
                    <a:pt x="87" y="556"/>
                    <a:pt x="86" y="556"/>
                    <a:pt x="86" y="556"/>
                  </a:cubicBezTo>
                  <a:cubicBezTo>
                    <a:pt x="86" y="556"/>
                    <a:pt x="86" y="556"/>
                    <a:pt x="86" y="556"/>
                  </a:cubicBezTo>
                  <a:cubicBezTo>
                    <a:pt x="86" y="556"/>
                    <a:pt x="85" y="555"/>
                    <a:pt x="85" y="555"/>
                  </a:cubicBezTo>
                  <a:cubicBezTo>
                    <a:pt x="85" y="555"/>
                    <a:pt x="84" y="554"/>
                    <a:pt x="84" y="554"/>
                  </a:cubicBezTo>
                  <a:cubicBezTo>
                    <a:pt x="84" y="554"/>
                    <a:pt x="83" y="554"/>
                    <a:pt x="83" y="553"/>
                  </a:cubicBezTo>
                  <a:cubicBezTo>
                    <a:pt x="83" y="553"/>
                    <a:pt x="83" y="553"/>
                    <a:pt x="82" y="553"/>
                  </a:cubicBezTo>
                  <a:cubicBezTo>
                    <a:pt x="82" y="553"/>
                    <a:pt x="81" y="553"/>
                    <a:pt x="80" y="552"/>
                  </a:cubicBezTo>
                  <a:cubicBezTo>
                    <a:pt x="80" y="552"/>
                    <a:pt x="80" y="552"/>
                    <a:pt x="80" y="553"/>
                  </a:cubicBezTo>
                  <a:cubicBezTo>
                    <a:pt x="80" y="553"/>
                    <a:pt x="80" y="553"/>
                    <a:pt x="80" y="553"/>
                  </a:cubicBezTo>
                  <a:cubicBezTo>
                    <a:pt x="80" y="553"/>
                    <a:pt x="80" y="554"/>
                    <a:pt x="80" y="554"/>
                  </a:cubicBezTo>
                  <a:cubicBezTo>
                    <a:pt x="81" y="554"/>
                    <a:pt x="82" y="554"/>
                    <a:pt x="83" y="554"/>
                  </a:cubicBezTo>
                  <a:cubicBezTo>
                    <a:pt x="83" y="555"/>
                    <a:pt x="83" y="555"/>
                    <a:pt x="84" y="555"/>
                  </a:cubicBezTo>
                  <a:cubicBezTo>
                    <a:pt x="84" y="555"/>
                    <a:pt x="85" y="556"/>
                    <a:pt x="85" y="556"/>
                  </a:cubicBezTo>
                  <a:cubicBezTo>
                    <a:pt x="85" y="557"/>
                    <a:pt x="86" y="557"/>
                    <a:pt x="87" y="558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87" y="559"/>
                    <a:pt x="87" y="559"/>
                    <a:pt x="88" y="559"/>
                  </a:cubicBezTo>
                  <a:cubicBezTo>
                    <a:pt x="88" y="559"/>
                    <a:pt x="89" y="559"/>
                    <a:pt x="89" y="558"/>
                  </a:cubicBezTo>
                  <a:cubicBezTo>
                    <a:pt x="89" y="558"/>
                    <a:pt x="90" y="558"/>
                    <a:pt x="90" y="558"/>
                  </a:cubicBezTo>
                  <a:cubicBezTo>
                    <a:pt x="90" y="559"/>
                    <a:pt x="90" y="558"/>
                    <a:pt x="90" y="558"/>
                  </a:cubicBezTo>
                  <a:cubicBezTo>
                    <a:pt x="90" y="558"/>
                    <a:pt x="90" y="558"/>
                    <a:pt x="90" y="558"/>
                  </a:cubicBezTo>
                  <a:cubicBezTo>
                    <a:pt x="90" y="558"/>
                    <a:pt x="89" y="557"/>
                    <a:pt x="88" y="558"/>
                  </a:cubicBezTo>
                  <a:close/>
                  <a:moveTo>
                    <a:pt x="148" y="547"/>
                  </a:moveTo>
                  <a:cubicBezTo>
                    <a:pt x="148" y="547"/>
                    <a:pt x="148" y="547"/>
                    <a:pt x="148" y="547"/>
                  </a:cubicBezTo>
                  <a:cubicBezTo>
                    <a:pt x="148" y="547"/>
                    <a:pt x="148" y="547"/>
                    <a:pt x="148" y="547"/>
                  </a:cubicBezTo>
                  <a:cubicBezTo>
                    <a:pt x="148" y="546"/>
                    <a:pt x="148" y="546"/>
                    <a:pt x="148" y="546"/>
                  </a:cubicBezTo>
                  <a:cubicBezTo>
                    <a:pt x="148" y="546"/>
                    <a:pt x="148" y="547"/>
                    <a:pt x="148" y="547"/>
                  </a:cubicBezTo>
                  <a:close/>
                  <a:moveTo>
                    <a:pt x="321" y="494"/>
                  </a:moveTo>
                  <a:cubicBezTo>
                    <a:pt x="321" y="493"/>
                    <a:pt x="321" y="493"/>
                    <a:pt x="321" y="492"/>
                  </a:cubicBezTo>
                  <a:cubicBezTo>
                    <a:pt x="321" y="492"/>
                    <a:pt x="321" y="492"/>
                    <a:pt x="321" y="492"/>
                  </a:cubicBezTo>
                  <a:cubicBezTo>
                    <a:pt x="321" y="492"/>
                    <a:pt x="321" y="492"/>
                    <a:pt x="321" y="492"/>
                  </a:cubicBezTo>
                  <a:cubicBezTo>
                    <a:pt x="320" y="492"/>
                    <a:pt x="319" y="492"/>
                    <a:pt x="319" y="492"/>
                  </a:cubicBezTo>
                  <a:cubicBezTo>
                    <a:pt x="319" y="492"/>
                    <a:pt x="318" y="492"/>
                    <a:pt x="318" y="492"/>
                  </a:cubicBezTo>
                  <a:cubicBezTo>
                    <a:pt x="318" y="492"/>
                    <a:pt x="318" y="492"/>
                    <a:pt x="318" y="492"/>
                  </a:cubicBezTo>
                  <a:cubicBezTo>
                    <a:pt x="318" y="493"/>
                    <a:pt x="319" y="493"/>
                    <a:pt x="319" y="493"/>
                  </a:cubicBezTo>
                  <a:cubicBezTo>
                    <a:pt x="319" y="494"/>
                    <a:pt x="320" y="494"/>
                    <a:pt x="320" y="494"/>
                  </a:cubicBezTo>
                  <a:cubicBezTo>
                    <a:pt x="320" y="494"/>
                    <a:pt x="320" y="494"/>
                    <a:pt x="320" y="494"/>
                  </a:cubicBezTo>
                  <a:cubicBezTo>
                    <a:pt x="320" y="495"/>
                    <a:pt x="320" y="494"/>
                    <a:pt x="320" y="494"/>
                  </a:cubicBezTo>
                  <a:cubicBezTo>
                    <a:pt x="320" y="494"/>
                    <a:pt x="320" y="494"/>
                    <a:pt x="321" y="494"/>
                  </a:cubicBezTo>
                  <a:cubicBezTo>
                    <a:pt x="321" y="494"/>
                    <a:pt x="321" y="494"/>
                    <a:pt x="321" y="494"/>
                  </a:cubicBezTo>
                  <a:close/>
                  <a:moveTo>
                    <a:pt x="323" y="481"/>
                  </a:moveTo>
                  <a:cubicBezTo>
                    <a:pt x="323" y="481"/>
                    <a:pt x="323" y="481"/>
                    <a:pt x="323" y="481"/>
                  </a:cubicBezTo>
                  <a:cubicBezTo>
                    <a:pt x="323" y="482"/>
                    <a:pt x="323" y="482"/>
                    <a:pt x="323" y="482"/>
                  </a:cubicBezTo>
                  <a:cubicBezTo>
                    <a:pt x="323" y="482"/>
                    <a:pt x="323" y="483"/>
                    <a:pt x="323" y="483"/>
                  </a:cubicBezTo>
                  <a:cubicBezTo>
                    <a:pt x="324" y="483"/>
                    <a:pt x="324" y="483"/>
                    <a:pt x="324" y="483"/>
                  </a:cubicBezTo>
                  <a:cubicBezTo>
                    <a:pt x="324" y="484"/>
                    <a:pt x="325" y="484"/>
                    <a:pt x="325" y="484"/>
                  </a:cubicBezTo>
                  <a:cubicBezTo>
                    <a:pt x="325" y="484"/>
                    <a:pt x="325" y="483"/>
                    <a:pt x="325" y="483"/>
                  </a:cubicBezTo>
                  <a:cubicBezTo>
                    <a:pt x="325" y="483"/>
                    <a:pt x="326" y="482"/>
                    <a:pt x="326" y="481"/>
                  </a:cubicBezTo>
                  <a:cubicBezTo>
                    <a:pt x="326" y="481"/>
                    <a:pt x="326" y="481"/>
                    <a:pt x="326" y="481"/>
                  </a:cubicBezTo>
                  <a:cubicBezTo>
                    <a:pt x="326" y="481"/>
                    <a:pt x="325" y="481"/>
                    <a:pt x="325" y="481"/>
                  </a:cubicBezTo>
                  <a:cubicBezTo>
                    <a:pt x="325" y="481"/>
                    <a:pt x="325" y="481"/>
                    <a:pt x="324" y="481"/>
                  </a:cubicBezTo>
                  <a:cubicBezTo>
                    <a:pt x="324" y="481"/>
                    <a:pt x="324" y="481"/>
                    <a:pt x="323" y="481"/>
                  </a:cubicBezTo>
                  <a:close/>
                  <a:moveTo>
                    <a:pt x="333" y="477"/>
                  </a:moveTo>
                  <a:cubicBezTo>
                    <a:pt x="333" y="477"/>
                    <a:pt x="332" y="477"/>
                    <a:pt x="332" y="477"/>
                  </a:cubicBezTo>
                  <a:cubicBezTo>
                    <a:pt x="332" y="477"/>
                    <a:pt x="332" y="477"/>
                    <a:pt x="332" y="477"/>
                  </a:cubicBezTo>
                  <a:cubicBezTo>
                    <a:pt x="331" y="477"/>
                    <a:pt x="331" y="477"/>
                    <a:pt x="330" y="477"/>
                  </a:cubicBezTo>
                  <a:cubicBezTo>
                    <a:pt x="330" y="477"/>
                    <a:pt x="330" y="477"/>
                    <a:pt x="330" y="477"/>
                  </a:cubicBezTo>
                  <a:cubicBezTo>
                    <a:pt x="330" y="477"/>
                    <a:pt x="330" y="477"/>
                    <a:pt x="330" y="477"/>
                  </a:cubicBezTo>
                  <a:cubicBezTo>
                    <a:pt x="330" y="477"/>
                    <a:pt x="330" y="477"/>
                    <a:pt x="331" y="478"/>
                  </a:cubicBezTo>
                  <a:cubicBezTo>
                    <a:pt x="331" y="478"/>
                    <a:pt x="331" y="478"/>
                    <a:pt x="331" y="478"/>
                  </a:cubicBezTo>
                  <a:cubicBezTo>
                    <a:pt x="331" y="478"/>
                    <a:pt x="331" y="478"/>
                    <a:pt x="332" y="479"/>
                  </a:cubicBezTo>
                  <a:cubicBezTo>
                    <a:pt x="332" y="479"/>
                    <a:pt x="332" y="479"/>
                    <a:pt x="332" y="479"/>
                  </a:cubicBezTo>
                  <a:cubicBezTo>
                    <a:pt x="332" y="479"/>
                    <a:pt x="332" y="479"/>
                    <a:pt x="332" y="479"/>
                  </a:cubicBezTo>
                  <a:cubicBezTo>
                    <a:pt x="333" y="479"/>
                    <a:pt x="333" y="479"/>
                    <a:pt x="333" y="479"/>
                  </a:cubicBezTo>
                  <a:cubicBezTo>
                    <a:pt x="333" y="478"/>
                    <a:pt x="333" y="478"/>
                    <a:pt x="333" y="478"/>
                  </a:cubicBezTo>
                  <a:cubicBezTo>
                    <a:pt x="333" y="478"/>
                    <a:pt x="333" y="478"/>
                    <a:pt x="333" y="477"/>
                  </a:cubicBezTo>
                  <a:close/>
                  <a:moveTo>
                    <a:pt x="344" y="472"/>
                  </a:moveTo>
                  <a:cubicBezTo>
                    <a:pt x="344" y="472"/>
                    <a:pt x="344" y="472"/>
                    <a:pt x="343" y="473"/>
                  </a:cubicBezTo>
                  <a:cubicBezTo>
                    <a:pt x="343" y="473"/>
                    <a:pt x="343" y="474"/>
                    <a:pt x="343" y="474"/>
                  </a:cubicBezTo>
                  <a:cubicBezTo>
                    <a:pt x="343" y="475"/>
                    <a:pt x="343" y="476"/>
                    <a:pt x="343" y="476"/>
                  </a:cubicBezTo>
                  <a:cubicBezTo>
                    <a:pt x="344" y="477"/>
                    <a:pt x="344" y="477"/>
                    <a:pt x="344" y="477"/>
                  </a:cubicBezTo>
                  <a:cubicBezTo>
                    <a:pt x="344" y="477"/>
                    <a:pt x="344" y="476"/>
                    <a:pt x="344" y="476"/>
                  </a:cubicBezTo>
                  <a:cubicBezTo>
                    <a:pt x="345" y="476"/>
                    <a:pt x="345" y="476"/>
                    <a:pt x="346" y="476"/>
                  </a:cubicBezTo>
                  <a:cubicBezTo>
                    <a:pt x="346" y="476"/>
                    <a:pt x="347" y="477"/>
                    <a:pt x="347" y="477"/>
                  </a:cubicBezTo>
                  <a:cubicBezTo>
                    <a:pt x="347" y="477"/>
                    <a:pt x="347" y="477"/>
                    <a:pt x="347" y="477"/>
                  </a:cubicBezTo>
                  <a:cubicBezTo>
                    <a:pt x="347" y="477"/>
                    <a:pt x="347" y="477"/>
                    <a:pt x="347" y="477"/>
                  </a:cubicBezTo>
                  <a:cubicBezTo>
                    <a:pt x="348" y="477"/>
                    <a:pt x="348" y="476"/>
                    <a:pt x="348" y="476"/>
                  </a:cubicBezTo>
                  <a:cubicBezTo>
                    <a:pt x="347" y="476"/>
                    <a:pt x="347" y="475"/>
                    <a:pt x="347" y="475"/>
                  </a:cubicBezTo>
                  <a:cubicBezTo>
                    <a:pt x="347" y="475"/>
                    <a:pt x="347" y="475"/>
                    <a:pt x="347" y="474"/>
                  </a:cubicBezTo>
                  <a:cubicBezTo>
                    <a:pt x="347" y="474"/>
                    <a:pt x="348" y="474"/>
                    <a:pt x="348" y="474"/>
                  </a:cubicBezTo>
                  <a:cubicBezTo>
                    <a:pt x="349" y="474"/>
                    <a:pt x="350" y="474"/>
                    <a:pt x="350" y="474"/>
                  </a:cubicBezTo>
                  <a:cubicBezTo>
                    <a:pt x="350" y="473"/>
                    <a:pt x="350" y="473"/>
                    <a:pt x="349" y="473"/>
                  </a:cubicBezTo>
                  <a:cubicBezTo>
                    <a:pt x="349" y="473"/>
                    <a:pt x="349" y="473"/>
                    <a:pt x="348" y="473"/>
                  </a:cubicBezTo>
                  <a:cubicBezTo>
                    <a:pt x="348" y="473"/>
                    <a:pt x="347" y="472"/>
                    <a:pt x="348" y="472"/>
                  </a:cubicBezTo>
                  <a:cubicBezTo>
                    <a:pt x="347" y="472"/>
                    <a:pt x="347" y="472"/>
                    <a:pt x="347" y="472"/>
                  </a:cubicBezTo>
                  <a:cubicBezTo>
                    <a:pt x="346" y="472"/>
                    <a:pt x="346" y="472"/>
                    <a:pt x="346" y="472"/>
                  </a:cubicBezTo>
                  <a:cubicBezTo>
                    <a:pt x="346" y="472"/>
                    <a:pt x="346" y="472"/>
                    <a:pt x="346" y="472"/>
                  </a:cubicBezTo>
                  <a:cubicBezTo>
                    <a:pt x="345" y="471"/>
                    <a:pt x="345" y="472"/>
                    <a:pt x="344" y="472"/>
                  </a:cubicBezTo>
                  <a:close/>
                  <a:moveTo>
                    <a:pt x="352" y="471"/>
                  </a:moveTo>
                  <a:cubicBezTo>
                    <a:pt x="352" y="471"/>
                    <a:pt x="352" y="471"/>
                    <a:pt x="352" y="471"/>
                  </a:cubicBezTo>
                  <a:cubicBezTo>
                    <a:pt x="352" y="470"/>
                    <a:pt x="352" y="470"/>
                    <a:pt x="352" y="470"/>
                  </a:cubicBezTo>
                  <a:cubicBezTo>
                    <a:pt x="351" y="470"/>
                    <a:pt x="351" y="470"/>
                    <a:pt x="351" y="470"/>
                  </a:cubicBezTo>
                  <a:cubicBezTo>
                    <a:pt x="351" y="470"/>
                    <a:pt x="351" y="470"/>
                    <a:pt x="350" y="471"/>
                  </a:cubicBezTo>
                  <a:cubicBezTo>
                    <a:pt x="350" y="471"/>
                    <a:pt x="350" y="471"/>
                    <a:pt x="350" y="471"/>
                  </a:cubicBezTo>
                  <a:cubicBezTo>
                    <a:pt x="350" y="471"/>
                    <a:pt x="350" y="471"/>
                    <a:pt x="350" y="471"/>
                  </a:cubicBezTo>
                  <a:cubicBezTo>
                    <a:pt x="351" y="471"/>
                    <a:pt x="351" y="471"/>
                    <a:pt x="351" y="471"/>
                  </a:cubicBezTo>
                  <a:cubicBezTo>
                    <a:pt x="351" y="471"/>
                    <a:pt x="351" y="471"/>
                    <a:pt x="351" y="471"/>
                  </a:cubicBezTo>
                  <a:cubicBezTo>
                    <a:pt x="351" y="471"/>
                    <a:pt x="352" y="471"/>
                    <a:pt x="352" y="471"/>
                  </a:cubicBezTo>
                  <a:close/>
                  <a:moveTo>
                    <a:pt x="356" y="476"/>
                  </a:moveTo>
                  <a:cubicBezTo>
                    <a:pt x="356" y="476"/>
                    <a:pt x="356" y="476"/>
                    <a:pt x="356" y="475"/>
                  </a:cubicBezTo>
                  <a:cubicBezTo>
                    <a:pt x="356" y="475"/>
                    <a:pt x="356" y="475"/>
                    <a:pt x="356" y="474"/>
                  </a:cubicBezTo>
                  <a:cubicBezTo>
                    <a:pt x="356" y="474"/>
                    <a:pt x="356" y="474"/>
                    <a:pt x="355" y="474"/>
                  </a:cubicBezTo>
                  <a:cubicBezTo>
                    <a:pt x="355" y="474"/>
                    <a:pt x="355" y="474"/>
                    <a:pt x="355" y="475"/>
                  </a:cubicBezTo>
                  <a:cubicBezTo>
                    <a:pt x="355" y="475"/>
                    <a:pt x="355" y="476"/>
                    <a:pt x="354" y="477"/>
                  </a:cubicBezTo>
                  <a:cubicBezTo>
                    <a:pt x="354" y="477"/>
                    <a:pt x="354" y="477"/>
                    <a:pt x="353" y="477"/>
                  </a:cubicBezTo>
                  <a:cubicBezTo>
                    <a:pt x="353" y="477"/>
                    <a:pt x="353" y="477"/>
                    <a:pt x="353" y="478"/>
                  </a:cubicBezTo>
                  <a:cubicBezTo>
                    <a:pt x="353" y="478"/>
                    <a:pt x="353" y="478"/>
                    <a:pt x="353" y="478"/>
                  </a:cubicBezTo>
                  <a:cubicBezTo>
                    <a:pt x="353" y="478"/>
                    <a:pt x="353" y="478"/>
                    <a:pt x="353" y="478"/>
                  </a:cubicBezTo>
                  <a:cubicBezTo>
                    <a:pt x="353" y="479"/>
                    <a:pt x="352" y="479"/>
                    <a:pt x="352" y="479"/>
                  </a:cubicBezTo>
                  <a:cubicBezTo>
                    <a:pt x="352" y="479"/>
                    <a:pt x="353" y="479"/>
                    <a:pt x="353" y="480"/>
                  </a:cubicBezTo>
                  <a:cubicBezTo>
                    <a:pt x="353" y="480"/>
                    <a:pt x="353" y="480"/>
                    <a:pt x="353" y="480"/>
                  </a:cubicBezTo>
                  <a:cubicBezTo>
                    <a:pt x="352" y="480"/>
                    <a:pt x="352" y="481"/>
                    <a:pt x="352" y="481"/>
                  </a:cubicBezTo>
                  <a:cubicBezTo>
                    <a:pt x="353" y="481"/>
                    <a:pt x="353" y="481"/>
                    <a:pt x="354" y="481"/>
                  </a:cubicBezTo>
                  <a:cubicBezTo>
                    <a:pt x="354" y="480"/>
                    <a:pt x="354" y="480"/>
                    <a:pt x="355" y="479"/>
                  </a:cubicBezTo>
                  <a:cubicBezTo>
                    <a:pt x="355" y="479"/>
                    <a:pt x="355" y="478"/>
                    <a:pt x="356" y="478"/>
                  </a:cubicBezTo>
                  <a:cubicBezTo>
                    <a:pt x="356" y="478"/>
                    <a:pt x="356" y="478"/>
                    <a:pt x="356" y="477"/>
                  </a:cubicBezTo>
                  <a:cubicBezTo>
                    <a:pt x="356" y="477"/>
                    <a:pt x="356" y="477"/>
                    <a:pt x="356" y="477"/>
                  </a:cubicBezTo>
                  <a:cubicBezTo>
                    <a:pt x="356" y="477"/>
                    <a:pt x="356" y="477"/>
                    <a:pt x="356" y="476"/>
                  </a:cubicBezTo>
                  <a:close/>
                  <a:moveTo>
                    <a:pt x="360" y="478"/>
                  </a:moveTo>
                  <a:cubicBezTo>
                    <a:pt x="359" y="478"/>
                    <a:pt x="359" y="478"/>
                    <a:pt x="359" y="479"/>
                  </a:cubicBezTo>
                  <a:cubicBezTo>
                    <a:pt x="359" y="479"/>
                    <a:pt x="360" y="479"/>
                    <a:pt x="360" y="479"/>
                  </a:cubicBezTo>
                  <a:cubicBezTo>
                    <a:pt x="360" y="479"/>
                    <a:pt x="360" y="479"/>
                    <a:pt x="360" y="479"/>
                  </a:cubicBezTo>
                  <a:cubicBezTo>
                    <a:pt x="360" y="479"/>
                    <a:pt x="360" y="478"/>
                    <a:pt x="360" y="478"/>
                  </a:cubicBezTo>
                  <a:cubicBezTo>
                    <a:pt x="360" y="478"/>
                    <a:pt x="360" y="477"/>
                    <a:pt x="360" y="477"/>
                  </a:cubicBezTo>
                  <a:cubicBezTo>
                    <a:pt x="361" y="476"/>
                    <a:pt x="361" y="476"/>
                    <a:pt x="361" y="476"/>
                  </a:cubicBezTo>
                  <a:cubicBezTo>
                    <a:pt x="360" y="476"/>
                    <a:pt x="360" y="476"/>
                    <a:pt x="360" y="476"/>
                  </a:cubicBezTo>
                  <a:cubicBezTo>
                    <a:pt x="360" y="477"/>
                    <a:pt x="360" y="477"/>
                    <a:pt x="360" y="477"/>
                  </a:cubicBezTo>
                  <a:cubicBezTo>
                    <a:pt x="360" y="477"/>
                    <a:pt x="360" y="477"/>
                    <a:pt x="360" y="478"/>
                  </a:cubicBezTo>
                  <a:close/>
                  <a:moveTo>
                    <a:pt x="362" y="481"/>
                  </a:moveTo>
                  <a:cubicBezTo>
                    <a:pt x="362" y="481"/>
                    <a:pt x="362" y="481"/>
                    <a:pt x="362" y="481"/>
                  </a:cubicBezTo>
                  <a:cubicBezTo>
                    <a:pt x="362" y="481"/>
                    <a:pt x="362" y="481"/>
                    <a:pt x="362" y="481"/>
                  </a:cubicBezTo>
                  <a:cubicBezTo>
                    <a:pt x="362" y="481"/>
                    <a:pt x="362" y="481"/>
                    <a:pt x="363" y="481"/>
                  </a:cubicBezTo>
                  <a:cubicBezTo>
                    <a:pt x="363" y="481"/>
                    <a:pt x="363" y="481"/>
                    <a:pt x="363" y="481"/>
                  </a:cubicBezTo>
                  <a:cubicBezTo>
                    <a:pt x="363" y="481"/>
                    <a:pt x="363" y="481"/>
                    <a:pt x="362" y="481"/>
                  </a:cubicBezTo>
                  <a:cubicBezTo>
                    <a:pt x="362" y="480"/>
                    <a:pt x="362" y="480"/>
                    <a:pt x="362" y="480"/>
                  </a:cubicBezTo>
                  <a:cubicBezTo>
                    <a:pt x="362" y="480"/>
                    <a:pt x="362" y="480"/>
                    <a:pt x="362" y="479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2" y="480"/>
                    <a:pt x="362" y="480"/>
                    <a:pt x="362" y="480"/>
                  </a:cubicBezTo>
                  <a:moveTo>
                    <a:pt x="275" y="350"/>
                  </a:moveTo>
                  <a:cubicBezTo>
                    <a:pt x="275" y="350"/>
                    <a:pt x="274" y="350"/>
                    <a:pt x="274" y="350"/>
                  </a:cubicBezTo>
                  <a:cubicBezTo>
                    <a:pt x="274" y="350"/>
                    <a:pt x="273" y="350"/>
                    <a:pt x="273" y="351"/>
                  </a:cubicBezTo>
                  <a:cubicBezTo>
                    <a:pt x="272" y="351"/>
                    <a:pt x="272" y="351"/>
                    <a:pt x="272" y="351"/>
                  </a:cubicBezTo>
                  <a:cubicBezTo>
                    <a:pt x="271" y="351"/>
                    <a:pt x="271" y="350"/>
                    <a:pt x="271" y="350"/>
                  </a:cubicBezTo>
                  <a:cubicBezTo>
                    <a:pt x="271" y="350"/>
                    <a:pt x="271" y="351"/>
                    <a:pt x="271" y="351"/>
                  </a:cubicBezTo>
                  <a:cubicBezTo>
                    <a:pt x="270" y="352"/>
                    <a:pt x="269" y="352"/>
                    <a:pt x="268" y="352"/>
                  </a:cubicBezTo>
                  <a:cubicBezTo>
                    <a:pt x="267" y="353"/>
                    <a:pt x="267" y="353"/>
                    <a:pt x="267" y="354"/>
                  </a:cubicBezTo>
                  <a:cubicBezTo>
                    <a:pt x="267" y="354"/>
                    <a:pt x="267" y="354"/>
                    <a:pt x="267" y="354"/>
                  </a:cubicBezTo>
                  <a:cubicBezTo>
                    <a:pt x="267" y="354"/>
                    <a:pt x="267" y="354"/>
                    <a:pt x="267" y="354"/>
                  </a:cubicBezTo>
                  <a:cubicBezTo>
                    <a:pt x="266" y="355"/>
                    <a:pt x="265" y="355"/>
                    <a:pt x="265" y="355"/>
                  </a:cubicBezTo>
                  <a:cubicBezTo>
                    <a:pt x="265" y="354"/>
                    <a:pt x="264" y="354"/>
                    <a:pt x="264" y="354"/>
                  </a:cubicBezTo>
                  <a:cubicBezTo>
                    <a:pt x="264" y="354"/>
                    <a:pt x="264" y="354"/>
                    <a:pt x="263" y="354"/>
                  </a:cubicBezTo>
                  <a:cubicBezTo>
                    <a:pt x="263" y="355"/>
                    <a:pt x="262" y="355"/>
                    <a:pt x="261" y="355"/>
                  </a:cubicBezTo>
                  <a:cubicBezTo>
                    <a:pt x="260" y="355"/>
                    <a:pt x="260" y="355"/>
                    <a:pt x="260" y="355"/>
                  </a:cubicBezTo>
                  <a:cubicBezTo>
                    <a:pt x="259" y="355"/>
                    <a:pt x="259" y="355"/>
                    <a:pt x="259" y="355"/>
                  </a:cubicBezTo>
                  <a:cubicBezTo>
                    <a:pt x="259" y="356"/>
                    <a:pt x="259" y="356"/>
                    <a:pt x="259" y="356"/>
                  </a:cubicBezTo>
                  <a:cubicBezTo>
                    <a:pt x="260" y="357"/>
                    <a:pt x="260" y="358"/>
                    <a:pt x="260" y="358"/>
                  </a:cubicBezTo>
                  <a:cubicBezTo>
                    <a:pt x="261" y="359"/>
                    <a:pt x="261" y="359"/>
                    <a:pt x="261" y="360"/>
                  </a:cubicBezTo>
                  <a:cubicBezTo>
                    <a:pt x="262" y="360"/>
                    <a:pt x="262" y="360"/>
                    <a:pt x="262" y="361"/>
                  </a:cubicBezTo>
                  <a:cubicBezTo>
                    <a:pt x="262" y="361"/>
                    <a:pt x="263" y="361"/>
                    <a:pt x="263" y="361"/>
                  </a:cubicBezTo>
                  <a:cubicBezTo>
                    <a:pt x="265" y="361"/>
                    <a:pt x="266" y="362"/>
                    <a:pt x="268" y="363"/>
                  </a:cubicBezTo>
                  <a:cubicBezTo>
                    <a:pt x="268" y="363"/>
                    <a:pt x="268" y="363"/>
                    <a:pt x="268" y="363"/>
                  </a:cubicBezTo>
                  <a:cubicBezTo>
                    <a:pt x="269" y="364"/>
                    <a:pt x="271" y="364"/>
                    <a:pt x="272" y="364"/>
                  </a:cubicBezTo>
                  <a:cubicBezTo>
                    <a:pt x="272" y="364"/>
                    <a:pt x="273" y="364"/>
                    <a:pt x="273" y="364"/>
                  </a:cubicBezTo>
                  <a:cubicBezTo>
                    <a:pt x="273" y="365"/>
                    <a:pt x="274" y="365"/>
                    <a:pt x="274" y="366"/>
                  </a:cubicBezTo>
                  <a:cubicBezTo>
                    <a:pt x="274" y="366"/>
                    <a:pt x="274" y="366"/>
                    <a:pt x="274" y="366"/>
                  </a:cubicBezTo>
                  <a:cubicBezTo>
                    <a:pt x="274" y="366"/>
                    <a:pt x="274" y="366"/>
                    <a:pt x="275" y="366"/>
                  </a:cubicBezTo>
                  <a:cubicBezTo>
                    <a:pt x="275" y="366"/>
                    <a:pt x="275" y="366"/>
                    <a:pt x="275" y="366"/>
                  </a:cubicBezTo>
                  <a:cubicBezTo>
                    <a:pt x="275" y="365"/>
                    <a:pt x="275" y="365"/>
                    <a:pt x="274" y="365"/>
                  </a:cubicBezTo>
                  <a:cubicBezTo>
                    <a:pt x="274" y="365"/>
                    <a:pt x="274" y="365"/>
                    <a:pt x="274" y="364"/>
                  </a:cubicBezTo>
                  <a:cubicBezTo>
                    <a:pt x="274" y="364"/>
                    <a:pt x="274" y="364"/>
                    <a:pt x="274" y="364"/>
                  </a:cubicBezTo>
                  <a:cubicBezTo>
                    <a:pt x="274" y="364"/>
                    <a:pt x="275" y="365"/>
                    <a:pt x="276" y="364"/>
                  </a:cubicBezTo>
                  <a:cubicBezTo>
                    <a:pt x="276" y="364"/>
                    <a:pt x="277" y="364"/>
                    <a:pt x="277" y="364"/>
                  </a:cubicBezTo>
                  <a:cubicBezTo>
                    <a:pt x="278" y="363"/>
                    <a:pt x="278" y="363"/>
                    <a:pt x="279" y="363"/>
                  </a:cubicBezTo>
                  <a:cubicBezTo>
                    <a:pt x="279" y="363"/>
                    <a:pt x="279" y="363"/>
                    <a:pt x="279" y="363"/>
                  </a:cubicBezTo>
                  <a:cubicBezTo>
                    <a:pt x="279" y="362"/>
                    <a:pt x="280" y="363"/>
                    <a:pt x="280" y="363"/>
                  </a:cubicBezTo>
                  <a:cubicBezTo>
                    <a:pt x="280" y="363"/>
                    <a:pt x="281" y="363"/>
                    <a:pt x="282" y="362"/>
                  </a:cubicBezTo>
                  <a:cubicBezTo>
                    <a:pt x="282" y="362"/>
                    <a:pt x="282" y="362"/>
                    <a:pt x="283" y="362"/>
                  </a:cubicBezTo>
                  <a:cubicBezTo>
                    <a:pt x="283" y="361"/>
                    <a:pt x="283" y="361"/>
                    <a:pt x="282" y="361"/>
                  </a:cubicBezTo>
                  <a:cubicBezTo>
                    <a:pt x="282" y="361"/>
                    <a:pt x="282" y="361"/>
                    <a:pt x="282" y="361"/>
                  </a:cubicBezTo>
                  <a:cubicBezTo>
                    <a:pt x="282" y="360"/>
                    <a:pt x="282" y="360"/>
                    <a:pt x="282" y="360"/>
                  </a:cubicBezTo>
                  <a:cubicBezTo>
                    <a:pt x="282" y="360"/>
                    <a:pt x="281" y="360"/>
                    <a:pt x="281" y="359"/>
                  </a:cubicBezTo>
                  <a:cubicBezTo>
                    <a:pt x="281" y="359"/>
                    <a:pt x="281" y="358"/>
                    <a:pt x="281" y="358"/>
                  </a:cubicBezTo>
                  <a:cubicBezTo>
                    <a:pt x="281" y="357"/>
                    <a:pt x="281" y="357"/>
                    <a:pt x="281" y="357"/>
                  </a:cubicBezTo>
                  <a:cubicBezTo>
                    <a:pt x="281" y="357"/>
                    <a:pt x="281" y="356"/>
                    <a:pt x="281" y="356"/>
                  </a:cubicBezTo>
                  <a:cubicBezTo>
                    <a:pt x="281" y="356"/>
                    <a:pt x="281" y="355"/>
                    <a:pt x="281" y="355"/>
                  </a:cubicBezTo>
                  <a:cubicBezTo>
                    <a:pt x="281" y="354"/>
                    <a:pt x="281" y="354"/>
                    <a:pt x="281" y="354"/>
                  </a:cubicBezTo>
                  <a:cubicBezTo>
                    <a:pt x="281" y="353"/>
                    <a:pt x="280" y="353"/>
                    <a:pt x="280" y="353"/>
                  </a:cubicBezTo>
                  <a:cubicBezTo>
                    <a:pt x="280" y="352"/>
                    <a:pt x="280" y="352"/>
                    <a:pt x="280" y="352"/>
                  </a:cubicBezTo>
                  <a:cubicBezTo>
                    <a:pt x="280" y="352"/>
                    <a:pt x="279" y="351"/>
                    <a:pt x="279" y="351"/>
                  </a:cubicBezTo>
                  <a:cubicBezTo>
                    <a:pt x="278" y="351"/>
                    <a:pt x="278" y="352"/>
                    <a:pt x="277" y="352"/>
                  </a:cubicBezTo>
                  <a:cubicBezTo>
                    <a:pt x="276" y="352"/>
                    <a:pt x="276" y="351"/>
                    <a:pt x="275" y="351"/>
                  </a:cubicBezTo>
                  <a:cubicBezTo>
                    <a:pt x="275" y="351"/>
                    <a:pt x="275" y="350"/>
                    <a:pt x="275" y="350"/>
                  </a:cubicBezTo>
                  <a:close/>
                  <a:moveTo>
                    <a:pt x="512" y="362"/>
                  </a:moveTo>
                  <a:cubicBezTo>
                    <a:pt x="512" y="363"/>
                    <a:pt x="512" y="363"/>
                    <a:pt x="512" y="363"/>
                  </a:cubicBezTo>
                  <a:cubicBezTo>
                    <a:pt x="512" y="363"/>
                    <a:pt x="512" y="363"/>
                    <a:pt x="512" y="363"/>
                  </a:cubicBezTo>
                  <a:cubicBezTo>
                    <a:pt x="511" y="364"/>
                    <a:pt x="510" y="365"/>
                    <a:pt x="511" y="366"/>
                  </a:cubicBezTo>
                  <a:cubicBezTo>
                    <a:pt x="512" y="366"/>
                    <a:pt x="513" y="364"/>
                    <a:pt x="514" y="364"/>
                  </a:cubicBezTo>
                  <a:cubicBezTo>
                    <a:pt x="515" y="364"/>
                    <a:pt x="515" y="364"/>
                    <a:pt x="515" y="364"/>
                  </a:cubicBezTo>
                  <a:cubicBezTo>
                    <a:pt x="515" y="364"/>
                    <a:pt x="516" y="364"/>
                    <a:pt x="516" y="363"/>
                  </a:cubicBezTo>
                  <a:cubicBezTo>
                    <a:pt x="516" y="363"/>
                    <a:pt x="515" y="362"/>
                    <a:pt x="515" y="362"/>
                  </a:cubicBezTo>
                  <a:cubicBezTo>
                    <a:pt x="516" y="361"/>
                    <a:pt x="516" y="361"/>
                    <a:pt x="517" y="361"/>
                  </a:cubicBezTo>
                  <a:cubicBezTo>
                    <a:pt x="517" y="361"/>
                    <a:pt x="517" y="360"/>
                    <a:pt x="517" y="360"/>
                  </a:cubicBezTo>
                  <a:cubicBezTo>
                    <a:pt x="517" y="359"/>
                    <a:pt x="517" y="359"/>
                    <a:pt x="518" y="358"/>
                  </a:cubicBezTo>
                  <a:cubicBezTo>
                    <a:pt x="519" y="357"/>
                    <a:pt x="520" y="355"/>
                    <a:pt x="522" y="354"/>
                  </a:cubicBezTo>
                  <a:cubicBezTo>
                    <a:pt x="522" y="354"/>
                    <a:pt x="523" y="353"/>
                    <a:pt x="523" y="353"/>
                  </a:cubicBezTo>
                  <a:cubicBezTo>
                    <a:pt x="523" y="353"/>
                    <a:pt x="522" y="352"/>
                    <a:pt x="522" y="352"/>
                  </a:cubicBezTo>
                  <a:cubicBezTo>
                    <a:pt x="522" y="353"/>
                    <a:pt x="522" y="353"/>
                    <a:pt x="522" y="353"/>
                  </a:cubicBezTo>
                  <a:cubicBezTo>
                    <a:pt x="521" y="353"/>
                    <a:pt x="521" y="353"/>
                    <a:pt x="521" y="352"/>
                  </a:cubicBezTo>
                  <a:cubicBezTo>
                    <a:pt x="521" y="352"/>
                    <a:pt x="521" y="352"/>
                    <a:pt x="521" y="352"/>
                  </a:cubicBezTo>
                  <a:cubicBezTo>
                    <a:pt x="521" y="352"/>
                    <a:pt x="520" y="351"/>
                    <a:pt x="520" y="351"/>
                  </a:cubicBezTo>
                  <a:cubicBezTo>
                    <a:pt x="519" y="351"/>
                    <a:pt x="520" y="352"/>
                    <a:pt x="519" y="352"/>
                  </a:cubicBezTo>
                  <a:cubicBezTo>
                    <a:pt x="519" y="353"/>
                    <a:pt x="519" y="353"/>
                    <a:pt x="519" y="354"/>
                  </a:cubicBezTo>
                  <a:cubicBezTo>
                    <a:pt x="519" y="354"/>
                    <a:pt x="519" y="354"/>
                    <a:pt x="519" y="354"/>
                  </a:cubicBezTo>
                  <a:cubicBezTo>
                    <a:pt x="519" y="355"/>
                    <a:pt x="518" y="355"/>
                    <a:pt x="518" y="355"/>
                  </a:cubicBezTo>
                  <a:cubicBezTo>
                    <a:pt x="517" y="356"/>
                    <a:pt x="516" y="357"/>
                    <a:pt x="515" y="358"/>
                  </a:cubicBezTo>
                  <a:cubicBezTo>
                    <a:pt x="515" y="359"/>
                    <a:pt x="514" y="360"/>
                    <a:pt x="513" y="361"/>
                  </a:cubicBezTo>
                  <a:cubicBezTo>
                    <a:pt x="513" y="361"/>
                    <a:pt x="512" y="361"/>
                    <a:pt x="512" y="361"/>
                  </a:cubicBezTo>
                  <a:cubicBezTo>
                    <a:pt x="512" y="362"/>
                    <a:pt x="512" y="362"/>
                    <a:pt x="512" y="362"/>
                  </a:cubicBezTo>
                  <a:cubicBezTo>
                    <a:pt x="512" y="362"/>
                    <a:pt x="512" y="362"/>
                    <a:pt x="512" y="362"/>
                  </a:cubicBezTo>
                  <a:close/>
                  <a:moveTo>
                    <a:pt x="510" y="361"/>
                  </a:moveTo>
                  <a:cubicBezTo>
                    <a:pt x="510" y="361"/>
                    <a:pt x="510" y="361"/>
                    <a:pt x="510" y="361"/>
                  </a:cubicBezTo>
                  <a:cubicBezTo>
                    <a:pt x="511" y="360"/>
                    <a:pt x="511" y="360"/>
                    <a:pt x="511" y="360"/>
                  </a:cubicBezTo>
                  <a:cubicBezTo>
                    <a:pt x="511" y="360"/>
                    <a:pt x="511" y="359"/>
                    <a:pt x="511" y="359"/>
                  </a:cubicBezTo>
                  <a:cubicBezTo>
                    <a:pt x="511" y="359"/>
                    <a:pt x="511" y="359"/>
                    <a:pt x="511" y="359"/>
                  </a:cubicBezTo>
                  <a:cubicBezTo>
                    <a:pt x="511" y="358"/>
                    <a:pt x="510" y="358"/>
                    <a:pt x="510" y="358"/>
                  </a:cubicBezTo>
                  <a:cubicBezTo>
                    <a:pt x="510" y="358"/>
                    <a:pt x="510" y="359"/>
                    <a:pt x="510" y="359"/>
                  </a:cubicBezTo>
                  <a:cubicBezTo>
                    <a:pt x="510" y="359"/>
                    <a:pt x="510" y="359"/>
                    <a:pt x="510" y="360"/>
                  </a:cubicBezTo>
                  <a:cubicBezTo>
                    <a:pt x="509" y="360"/>
                    <a:pt x="509" y="360"/>
                    <a:pt x="509" y="360"/>
                  </a:cubicBezTo>
                  <a:cubicBezTo>
                    <a:pt x="509" y="361"/>
                    <a:pt x="508" y="361"/>
                    <a:pt x="508" y="361"/>
                  </a:cubicBezTo>
                  <a:cubicBezTo>
                    <a:pt x="509" y="361"/>
                    <a:pt x="509" y="362"/>
                    <a:pt x="510" y="361"/>
                  </a:cubicBezTo>
                  <a:cubicBezTo>
                    <a:pt x="510" y="361"/>
                    <a:pt x="510" y="361"/>
                    <a:pt x="510" y="361"/>
                  </a:cubicBezTo>
                  <a:close/>
                  <a:moveTo>
                    <a:pt x="510" y="354"/>
                  </a:moveTo>
                  <a:cubicBezTo>
                    <a:pt x="511" y="355"/>
                    <a:pt x="512" y="354"/>
                    <a:pt x="512" y="355"/>
                  </a:cubicBezTo>
                  <a:cubicBezTo>
                    <a:pt x="512" y="355"/>
                    <a:pt x="512" y="355"/>
                    <a:pt x="512" y="354"/>
                  </a:cubicBezTo>
                  <a:cubicBezTo>
                    <a:pt x="512" y="354"/>
                    <a:pt x="512" y="353"/>
                    <a:pt x="512" y="353"/>
                  </a:cubicBezTo>
                  <a:cubicBezTo>
                    <a:pt x="512" y="353"/>
                    <a:pt x="512" y="353"/>
                    <a:pt x="513" y="352"/>
                  </a:cubicBezTo>
                  <a:cubicBezTo>
                    <a:pt x="513" y="352"/>
                    <a:pt x="513" y="352"/>
                    <a:pt x="513" y="352"/>
                  </a:cubicBezTo>
                  <a:cubicBezTo>
                    <a:pt x="513" y="351"/>
                    <a:pt x="514" y="351"/>
                    <a:pt x="513" y="351"/>
                  </a:cubicBezTo>
                  <a:cubicBezTo>
                    <a:pt x="513" y="350"/>
                    <a:pt x="513" y="350"/>
                    <a:pt x="513" y="350"/>
                  </a:cubicBezTo>
                  <a:cubicBezTo>
                    <a:pt x="513" y="350"/>
                    <a:pt x="513" y="350"/>
                    <a:pt x="513" y="350"/>
                  </a:cubicBezTo>
                  <a:cubicBezTo>
                    <a:pt x="513" y="350"/>
                    <a:pt x="513" y="349"/>
                    <a:pt x="513" y="349"/>
                  </a:cubicBezTo>
                  <a:cubicBezTo>
                    <a:pt x="513" y="349"/>
                    <a:pt x="513" y="349"/>
                    <a:pt x="513" y="349"/>
                  </a:cubicBezTo>
                  <a:cubicBezTo>
                    <a:pt x="513" y="349"/>
                    <a:pt x="513" y="348"/>
                    <a:pt x="513" y="348"/>
                  </a:cubicBezTo>
                  <a:cubicBezTo>
                    <a:pt x="513" y="348"/>
                    <a:pt x="513" y="348"/>
                    <a:pt x="513" y="348"/>
                  </a:cubicBezTo>
                  <a:cubicBezTo>
                    <a:pt x="513" y="348"/>
                    <a:pt x="513" y="348"/>
                    <a:pt x="512" y="348"/>
                  </a:cubicBezTo>
                  <a:cubicBezTo>
                    <a:pt x="512" y="349"/>
                    <a:pt x="511" y="349"/>
                    <a:pt x="511" y="350"/>
                  </a:cubicBezTo>
                  <a:cubicBezTo>
                    <a:pt x="511" y="350"/>
                    <a:pt x="511" y="350"/>
                    <a:pt x="511" y="350"/>
                  </a:cubicBezTo>
                  <a:cubicBezTo>
                    <a:pt x="511" y="351"/>
                    <a:pt x="511" y="352"/>
                    <a:pt x="510" y="353"/>
                  </a:cubicBezTo>
                  <a:cubicBezTo>
                    <a:pt x="510" y="353"/>
                    <a:pt x="510" y="354"/>
                    <a:pt x="510" y="354"/>
                  </a:cubicBezTo>
                  <a:close/>
                  <a:moveTo>
                    <a:pt x="533" y="350"/>
                  </a:moveTo>
                  <a:cubicBezTo>
                    <a:pt x="534" y="350"/>
                    <a:pt x="533" y="350"/>
                    <a:pt x="533" y="349"/>
                  </a:cubicBezTo>
                  <a:cubicBezTo>
                    <a:pt x="533" y="349"/>
                    <a:pt x="532" y="349"/>
                    <a:pt x="532" y="349"/>
                  </a:cubicBezTo>
                  <a:cubicBezTo>
                    <a:pt x="532" y="349"/>
                    <a:pt x="531" y="349"/>
                    <a:pt x="531" y="349"/>
                  </a:cubicBezTo>
                  <a:cubicBezTo>
                    <a:pt x="531" y="350"/>
                    <a:pt x="530" y="349"/>
                    <a:pt x="530" y="349"/>
                  </a:cubicBezTo>
                  <a:cubicBezTo>
                    <a:pt x="530" y="349"/>
                    <a:pt x="530" y="349"/>
                    <a:pt x="530" y="348"/>
                  </a:cubicBezTo>
                  <a:cubicBezTo>
                    <a:pt x="530" y="348"/>
                    <a:pt x="530" y="348"/>
                    <a:pt x="529" y="348"/>
                  </a:cubicBezTo>
                  <a:cubicBezTo>
                    <a:pt x="529" y="348"/>
                    <a:pt x="529" y="348"/>
                    <a:pt x="528" y="348"/>
                  </a:cubicBezTo>
                  <a:cubicBezTo>
                    <a:pt x="528" y="348"/>
                    <a:pt x="528" y="348"/>
                    <a:pt x="528" y="348"/>
                  </a:cubicBezTo>
                  <a:cubicBezTo>
                    <a:pt x="527" y="347"/>
                    <a:pt x="527" y="347"/>
                    <a:pt x="527" y="347"/>
                  </a:cubicBezTo>
                  <a:cubicBezTo>
                    <a:pt x="526" y="348"/>
                    <a:pt x="526" y="348"/>
                    <a:pt x="526" y="349"/>
                  </a:cubicBezTo>
                  <a:cubicBezTo>
                    <a:pt x="526" y="349"/>
                    <a:pt x="526" y="350"/>
                    <a:pt x="526" y="350"/>
                  </a:cubicBezTo>
                  <a:cubicBezTo>
                    <a:pt x="525" y="350"/>
                    <a:pt x="525" y="351"/>
                    <a:pt x="525" y="351"/>
                  </a:cubicBezTo>
                  <a:cubicBezTo>
                    <a:pt x="526" y="351"/>
                    <a:pt x="526" y="351"/>
                    <a:pt x="526" y="351"/>
                  </a:cubicBezTo>
                  <a:cubicBezTo>
                    <a:pt x="526" y="351"/>
                    <a:pt x="526" y="351"/>
                    <a:pt x="526" y="351"/>
                  </a:cubicBezTo>
                  <a:cubicBezTo>
                    <a:pt x="526" y="351"/>
                    <a:pt x="527" y="350"/>
                    <a:pt x="527" y="351"/>
                  </a:cubicBezTo>
                  <a:cubicBezTo>
                    <a:pt x="527" y="351"/>
                    <a:pt x="528" y="351"/>
                    <a:pt x="528" y="351"/>
                  </a:cubicBezTo>
                  <a:cubicBezTo>
                    <a:pt x="528" y="351"/>
                    <a:pt x="528" y="351"/>
                    <a:pt x="528" y="351"/>
                  </a:cubicBezTo>
                  <a:cubicBezTo>
                    <a:pt x="528" y="351"/>
                    <a:pt x="527" y="352"/>
                    <a:pt x="527" y="352"/>
                  </a:cubicBezTo>
                  <a:cubicBezTo>
                    <a:pt x="527" y="352"/>
                    <a:pt x="527" y="353"/>
                    <a:pt x="526" y="353"/>
                  </a:cubicBezTo>
                  <a:cubicBezTo>
                    <a:pt x="526" y="353"/>
                    <a:pt x="526" y="353"/>
                    <a:pt x="526" y="353"/>
                  </a:cubicBezTo>
                  <a:cubicBezTo>
                    <a:pt x="526" y="354"/>
                    <a:pt x="527" y="354"/>
                    <a:pt x="527" y="354"/>
                  </a:cubicBezTo>
                  <a:cubicBezTo>
                    <a:pt x="528" y="354"/>
                    <a:pt x="529" y="352"/>
                    <a:pt x="530" y="351"/>
                  </a:cubicBezTo>
                  <a:cubicBezTo>
                    <a:pt x="531" y="351"/>
                    <a:pt x="532" y="351"/>
                    <a:pt x="532" y="351"/>
                  </a:cubicBezTo>
                  <a:cubicBezTo>
                    <a:pt x="533" y="351"/>
                    <a:pt x="533" y="351"/>
                    <a:pt x="533" y="350"/>
                  </a:cubicBezTo>
                  <a:close/>
                  <a:moveTo>
                    <a:pt x="531" y="348"/>
                  </a:moveTo>
                  <a:cubicBezTo>
                    <a:pt x="531" y="348"/>
                    <a:pt x="531" y="348"/>
                    <a:pt x="531" y="348"/>
                  </a:cubicBezTo>
                  <a:cubicBezTo>
                    <a:pt x="532" y="348"/>
                    <a:pt x="534" y="348"/>
                    <a:pt x="534" y="347"/>
                  </a:cubicBezTo>
                  <a:cubicBezTo>
                    <a:pt x="535" y="346"/>
                    <a:pt x="536" y="346"/>
                    <a:pt x="537" y="345"/>
                  </a:cubicBezTo>
                  <a:cubicBezTo>
                    <a:pt x="537" y="345"/>
                    <a:pt x="537" y="345"/>
                    <a:pt x="537" y="345"/>
                  </a:cubicBezTo>
                  <a:cubicBezTo>
                    <a:pt x="537" y="345"/>
                    <a:pt x="536" y="345"/>
                    <a:pt x="536" y="345"/>
                  </a:cubicBezTo>
                  <a:cubicBezTo>
                    <a:pt x="535" y="345"/>
                    <a:pt x="534" y="346"/>
                    <a:pt x="533" y="346"/>
                  </a:cubicBezTo>
                  <a:cubicBezTo>
                    <a:pt x="533" y="347"/>
                    <a:pt x="532" y="347"/>
                    <a:pt x="532" y="347"/>
                  </a:cubicBezTo>
                  <a:cubicBezTo>
                    <a:pt x="532" y="347"/>
                    <a:pt x="531" y="347"/>
                    <a:pt x="531" y="347"/>
                  </a:cubicBezTo>
                  <a:cubicBezTo>
                    <a:pt x="531" y="347"/>
                    <a:pt x="531" y="347"/>
                    <a:pt x="531" y="348"/>
                  </a:cubicBezTo>
                  <a:close/>
                  <a:moveTo>
                    <a:pt x="690" y="436"/>
                  </a:moveTo>
                  <a:cubicBezTo>
                    <a:pt x="691" y="436"/>
                    <a:pt x="691" y="437"/>
                    <a:pt x="692" y="437"/>
                  </a:cubicBezTo>
                  <a:cubicBezTo>
                    <a:pt x="692" y="437"/>
                    <a:pt x="691" y="437"/>
                    <a:pt x="691" y="437"/>
                  </a:cubicBezTo>
                  <a:cubicBezTo>
                    <a:pt x="690" y="437"/>
                    <a:pt x="690" y="437"/>
                    <a:pt x="690" y="437"/>
                  </a:cubicBezTo>
                  <a:cubicBezTo>
                    <a:pt x="690" y="437"/>
                    <a:pt x="690" y="437"/>
                    <a:pt x="690" y="437"/>
                  </a:cubicBezTo>
                  <a:cubicBezTo>
                    <a:pt x="691" y="437"/>
                    <a:pt x="691" y="438"/>
                    <a:pt x="691" y="438"/>
                  </a:cubicBezTo>
                  <a:cubicBezTo>
                    <a:pt x="691" y="439"/>
                    <a:pt x="692" y="439"/>
                    <a:pt x="693" y="438"/>
                  </a:cubicBezTo>
                  <a:cubicBezTo>
                    <a:pt x="693" y="439"/>
                    <a:pt x="693" y="439"/>
                    <a:pt x="693" y="439"/>
                  </a:cubicBezTo>
                  <a:cubicBezTo>
                    <a:pt x="693" y="440"/>
                    <a:pt x="693" y="440"/>
                    <a:pt x="693" y="440"/>
                  </a:cubicBezTo>
                  <a:cubicBezTo>
                    <a:pt x="693" y="440"/>
                    <a:pt x="693" y="441"/>
                    <a:pt x="692" y="441"/>
                  </a:cubicBezTo>
                  <a:cubicBezTo>
                    <a:pt x="692" y="442"/>
                    <a:pt x="692" y="442"/>
                    <a:pt x="693" y="443"/>
                  </a:cubicBezTo>
                  <a:cubicBezTo>
                    <a:pt x="693" y="443"/>
                    <a:pt x="693" y="444"/>
                    <a:pt x="693" y="445"/>
                  </a:cubicBezTo>
                  <a:cubicBezTo>
                    <a:pt x="693" y="445"/>
                    <a:pt x="693" y="446"/>
                    <a:pt x="693" y="447"/>
                  </a:cubicBezTo>
                  <a:cubicBezTo>
                    <a:pt x="693" y="447"/>
                    <a:pt x="693" y="447"/>
                    <a:pt x="694" y="447"/>
                  </a:cubicBezTo>
                  <a:cubicBezTo>
                    <a:pt x="694" y="447"/>
                    <a:pt x="695" y="447"/>
                    <a:pt x="695" y="447"/>
                  </a:cubicBezTo>
                  <a:cubicBezTo>
                    <a:pt x="696" y="447"/>
                    <a:pt x="696" y="447"/>
                    <a:pt x="696" y="447"/>
                  </a:cubicBezTo>
                  <a:cubicBezTo>
                    <a:pt x="696" y="446"/>
                    <a:pt x="696" y="446"/>
                    <a:pt x="696" y="446"/>
                  </a:cubicBezTo>
                  <a:cubicBezTo>
                    <a:pt x="696" y="446"/>
                    <a:pt x="697" y="446"/>
                    <a:pt x="697" y="446"/>
                  </a:cubicBezTo>
                  <a:cubicBezTo>
                    <a:pt x="697" y="446"/>
                    <a:pt x="697" y="447"/>
                    <a:pt x="697" y="447"/>
                  </a:cubicBezTo>
                  <a:cubicBezTo>
                    <a:pt x="698" y="446"/>
                    <a:pt x="698" y="447"/>
                    <a:pt x="699" y="447"/>
                  </a:cubicBezTo>
                  <a:cubicBezTo>
                    <a:pt x="699" y="447"/>
                    <a:pt x="700" y="447"/>
                    <a:pt x="700" y="446"/>
                  </a:cubicBezTo>
                  <a:cubicBezTo>
                    <a:pt x="700" y="446"/>
                    <a:pt x="700" y="445"/>
                    <a:pt x="700" y="445"/>
                  </a:cubicBezTo>
                  <a:cubicBezTo>
                    <a:pt x="700" y="445"/>
                    <a:pt x="700" y="445"/>
                    <a:pt x="700" y="445"/>
                  </a:cubicBezTo>
                  <a:cubicBezTo>
                    <a:pt x="700" y="445"/>
                    <a:pt x="700" y="444"/>
                    <a:pt x="700" y="444"/>
                  </a:cubicBezTo>
                  <a:cubicBezTo>
                    <a:pt x="700" y="444"/>
                    <a:pt x="700" y="444"/>
                    <a:pt x="700" y="444"/>
                  </a:cubicBezTo>
                  <a:cubicBezTo>
                    <a:pt x="700" y="443"/>
                    <a:pt x="700" y="443"/>
                    <a:pt x="700" y="443"/>
                  </a:cubicBezTo>
                  <a:cubicBezTo>
                    <a:pt x="700" y="443"/>
                    <a:pt x="699" y="443"/>
                    <a:pt x="699" y="443"/>
                  </a:cubicBezTo>
                  <a:cubicBezTo>
                    <a:pt x="699" y="442"/>
                    <a:pt x="699" y="442"/>
                    <a:pt x="698" y="443"/>
                  </a:cubicBezTo>
                  <a:cubicBezTo>
                    <a:pt x="698" y="442"/>
                    <a:pt x="698" y="442"/>
                    <a:pt x="698" y="442"/>
                  </a:cubicBezTo>
                  <a:cubicBezTo>
                    <a:pt x="698" y="442"/>
                    <a:pt x="699" y="442"/>
                    <a:pt x="699" y="441"/>
                  </a:cubicBezTo>
                  <a:cubicBezTo>
                    <a:pt x="699" y="441"/>
                    <a:pt x="699" y="440"/>
                    <a:pt x="698" y="440"/>
                  </a:cubicBezTo>
                  <a:cubicBezTo>
                    <a:pt x="697" y="440"/>
                    <a:pt x="697" y="440"/>
                    <a:pt x="697" y="440"/>
                  </a:cubicBezTo>
                  <a:cubicBezTo>
                    <a:pt x="697" y="439"/>
                    <a:pt x="697" y="439"/>
                    <a:pt x="697" y="439"/>
                  </a:cubicBezTo>
                  <a:cubicBezTo>
                    <a:pt x="697" y="439"/>
                    <a:pt x="697" y="438"/>
                    <a:pt x="697" y="438"/>
                  </a:cubicBezTo>
                  <a:cubicBezTo>
                    <a:pt x="697" y="439"/>
                    <a:pt x="698" y="438"/>
                    <a:pt x="698" y="439"/>
                  </a:cubicBezTo>
                  <a:cubicBezTo>
                    <a:pt x="698" y="439"/>
                    <a:pt x="698" y="439"/>
                    <a:pt x="698" y="439"/>
                  </a:cubicBezTo>
                  <a:cubicBezTo>
                    <a:pt x="698" y="440"/>
                    <a:pt x="699" y="440"/>
                    <a:pt x="699" y="441"/>
                  </a:cubicBezTo>
                  <a:cubicBezTo>
                    <a:pt x="699" y="441"/>
                    <a:pt x="699" y="441"/>
                    <a:pt x="699" y="441"/>
                  </a:cubicBezTo>
                  <a:cubicBezTo>
                    <a:pt x="700" y="442"/>
                    <a:pt x="701" y="442"/>
                    <a:pt x="701" y="443"/>
                  </a:cubicBezTo>
                  <a:cubicBezTo>
                    <a:pt x="701" y="443"/>
                    <a:pt x="701" y="444"/>
                    <a:pt x="702" y="443"/>
                  </a:cubicBezTo>
                  <a:cubicBezTo>
                    <a:pt x="702" y="443"/>
                    <a:pt x="702" y="442"/>
                    <a:pt x="702" y="442"/>
                  </a:cubicBezTo>
                  <a:cubicBezTo>
                    <a:pt x="702" y="441"/>
                    <a:pt x="702" y="441"/>
                    <a:pt x="702" y="441"/>
                  </a:cubicBezTo>
                  <a:cubicBezTo>
                    <a:pt x="702" y="441"/>
                    <a:pt x="702" y="441"/>
                    <a:pt x="702" y="441"/>
                  </a:cubicBezTo>
                  <a:cubicBezTo>
                    <a:pt x="702" y="440"/>
                    <a:pt x="702" y="440"/>
                    <a:pt x="702" y="440"/>
                  </a:cubicBezTo>
                  <a:cubicBezTo>
                    <a:pt x="702" y="440"/>
                    <a:pt x="703" y="441"/>
                    <a:pt x="702" y="441"/>
                  </a:cubicBezTo>
                  <a:cubicBezTo>
                    <a:pt x="702" y="442"/>
                    <a:pt x="703" y="442"/>
                    <a:pt x="703" y="443"/>
                  </a:cubicBezTo>
                  <a:cubicBezTo>
                    <a:pt x="702" y="443"/>
                    <a:pt x="702" y="443"/>
                    <a:pt x="702" y="444"/>
                  </a:cubicBezTo>
                  <a:cubicBezTo>
                    <a:pt x="702" y="444"/>
                    <a:pt x="702" y="444"/>
                    <a:pt x="701" y="444"/>
                  </a:cubicBezTo>
                  <a:cubicBezTo>
                    <a:pt x="701" y="444"/>
                    <a:pt x="701" y="444"/>
                    <a:pt x="701" y="444"/>
                  </a:cubicBezTo>
                  <a:cubicBezTo>
                    <a:pt x="701" y="444"/>
                    <a:pt x="701" y="445"/>
                    <a:pt x="701" y="446"/>
                  </a:cubicBezTo>
                  <a:cubicBezTo>
                    <a:pt x="701" y="446"/>
                    <a:pt x="702" y="446"/>
                    <a:pt x="702" y="445"/>
                  </a:cubicBezTo>
                  <a:cubicBezTo>
                    <a:pt x="702" y="445"/>
                    <a:pt x="702" y="445"/>
                    <a:pt x="702" y="444"/>
                  </a:cubicBezTo>
                  <a:cubicBezTo>
                    <a:pt x="702" y="445"/>
                    <a:pt x="702" y="445"/>
                    <a:pt x="702" y="445"/>
                  </a:cubicBezTo>
                  <a:cubicBezTo>
                    <a:pt x="702" y="446"/>
                    <a:pt x="702" y="446"/>
                    <a:pt x="703" y="446"/>
                  </a:cubicBezTo>
                  <a:cubicBezTo>
                    <a:pt x="703" y="446"/>
                    <a:pt x="704" y="446"/>
                    <a:pt x="704" y="446"/>
                  </a:cubicBezTo>
                  <a:cubicBezTo>
                    <a:pt x="704" y="446"/>
                    <a:pt x="705" y="446"/>
                    <a:pt x="705" y="446"/>
                  </a:cubicBezTo>
                  <a:cubicBezTo>
                    <a:pt x="705" y="445"/>
                    <a:pt x="705" y="445"/>
                    <a:pt x="705" y="445"/>
                  </a:cubicBezTo>
                  <a:cubicBezTo>
                    <a:pt x="705" y="445"/>
                    <a:pt x="705" y="445"/>
                    <a:pt x="705" y="445"/>
                  </a:cubicBezTo>
                  <a:cubicBezTo>
                    <a:pt x="705" y="444"/>
                    <a:pt x="705" y="445"/>
                    <a:pt x="705" y="445"/>
                  </a:cubicBezTo>
                  <a:cubicBezTo>
                    <a:pt x="705" y="445"/>
                    <a:pt x="705" y="445"/>
                    <a:pt x="706" y="445"/>
                  </a:cubicBezTo>
                  <a:cubicBezTo>
                    <a:pt x="706" y="445"/>
                    <a:pt x="707" y="445"/>
                    <a:pt x="707" y="444"/>
                  </a:cubicBezTo>
                  <a:cubicBezTo>
                    <a:pt x="707" y="444"/>
                    <a:pt x="708" y="444"/>
                    <a:pt x="707" y="443"/>
                  </a:cubicBezTo>
                  <a:cubicBezTo>
                    <a:pt x="707" y="443"/>
                    <a:pt x="706" y="443"/>
                    <a:pt x="706" y="442"/>
                  </a:cubicBezTo>
                  <a:cubicBezTo>
                    <a:pt x="706" y="442"/>
                    <a:pt x="706" y="442"/>
                    <a:pt x="706" y="442"/>
                  </a:cubicBezTo>
                  <a:cubicBezTo>
                    <a:pt x="705" y="442"/>
                    <a:pt x="705" y="441"/>
                    <a:pt x="705" y="440"/>
                  </a:cubicBezTo>
                  <a:cubicBezTo>
                    <a:pt x="704" y="440"/>
                    <a:pt x="704" y="439"/>
                    <a:pt x="703" y="439"/>
                  </a:cubicBezTo>
                  <a:cubicBezTo>
                    <a:pt x="702" y="439"/>
                    <a:pt x="702" y="439"/>
                    <a:pt x="702" y="440"/>
                  </a:cubicBezTo>
                  <a:cubicBezTo>
                    <a:pt x="702" y="439"/>
                    <a:pt x="702" y="439"/>
                    <a:pt x="702" y="439"/>
                  </a:cubicBezTo>
                  <a:cubicBezTo>
                    <a:pt x="701" y="439"/>
                    <a:pt x="702" y="438"/>
                    <a:pt x="702" y="438"/>
                  </a:cubicBezTo>
                  <a:cubicBezTo>
                    <a:pt x="703" y="438"/>
                    <a:pt x="702" y="438"/>
                    <a:pt x="702" y="437"/>
                  </a:cubicBezTo>
                  <a:cubicBezTo>
                    <a:pt x="702" y="437"/>
                    <a:pt x="702" y="437"/>
                    <a:pt x="702" y="436"/>
                  </a:cubicBezTo>
                  <a:cubicBezTo>
                    <a:pt x="702" y="436"/>
                    <a:pt x="702" y="436"/>
                    <a:pt x="702" y="436"/>
                  </a:cubicBezTo>
                  <a:cubicBezTo>
                    <a:pt x="701" y="435"/>
                    <a:pt x="701" y="435"/>
                    <a:pt x="700" y="434"/>
                  </a:cubicBezTo>
                  <a:cubicBezTo>
                    <a:pt x="700" y="434"/>
                    <a:pt x="700" y="434"/>
                    <a:pt x="700" y="434"/>
                  </a:cubicBezTo>
                  <a:cubicBezTo>
                    <a:pt x="699" y="434"/>
                    <a:pt x="699" y="434"/>
                    <a:pt x="698" y="434"/>
                  </a:cubicBezTo>
                  <a:cubicBezTo>
                    <a:pt x="697" y="434"/>
                    <a:pt x="697" y="434"/>
                    <a:pt x="698" y="435"/>
                  </a:cubicBezTo>
                  <a:cubicBezTo>
                    <a:pt x="698" y="435"/>
                    <a:pt x="698" y="435"/>
                    <a:pt x="698" y="436"/>
                  </a:cubicBezTo>
                  <a:cubicBezTo>
                    <a:pt x="697" y="435"/>
                    <a:pt x="697" y="434"/>
                    <a:pt x="696" y="434"/>
                  </a:cubicBezTo>
                  <a:cubicBezTo>
                    <a:pt x="696" y="434"/>
                    <a:pt x="696" y="434"/>
                    <a:pt x="696" y="434"/>
                  </a:cubicBezTo>
                  <a:cubicBezTo>
                    <a:pt x="696" y="434"/>
                    <a:pt x="695" y="433"/>
                    <a:pt x="695" y="433"/>
                  </a:cubicBezTo>
                  <a:cubicBezTo>
                    <a:pt x="694" y="433"/>
                    <a:pt x="694" y="433"/>
                    <a:pt x="693" y="433"/>
                  </a:cubicBezTo>
                  <a:cubicBezTo>
                    <a:pt x="692" y="433"/>
                    <a:pt x="692" y="433"/>
                    <a:pt x="692" y="432"/>
                  </a:cubicBezTo>
                  <a:cubicBezTo>
                    <a:pt x="691" y="432"/>
                    <a:pt x="690" y="432"/>
                    <a:pt x="689" y="433"/>
                  </a:cubicBezTo>
                  <a:cubicBezTo>
                    <a:pt x="688" y="433"/>
                    <a:pt x="688" y="433"/>
                    <a:pt x="689" y="434"/>
                  </a:cubicBezTo>
                  <a:cubicBezTo>
                    <a:pt x="689" y="435"/>
                    <a:pt x="690" y="435"/>
                    <a:pt x="690" y="436"/>
                  </a:cubicBezTo>
                  <a:close/>
                  <a:moveTo>
                    <a:pt x="690" y="449"/>
                  </a:moveTo>
                  <a:cubicBezTo>
                    <a:pt x="690" y="449"/>
                    <a:pt x="690" y="449"/>
                    <a:pt x="690" y="448"/>
                  </a:cubicBezTo>
                  <a:cubicBezTo>
                    <a:pt x="690" y="448"/>
                    <a:pt x="690" y="448"/>
                    <a:pt x="690" y="448"/>
                  </a:cubicBezTo>
                  <a:cubicBezTo>
                    <a:pt x="690" y="448"/>
                    <a:pt x="690" y="448"/>
                    <a:pt x="689" y="447"/>
                  </a:cubicBezTo>
                  <a:cubicBezTo>
                    <a:pt x="690" y="447"/>
                    <a:pt x="690" y="447"/>
                    <a:pt x="690" y="447"/>
                  </a:cubicBezTo>
                  <a:cubicBezTo>
                    <a:pt x="691" y="447"/>
                    <a:pt x="691" y="447"/>
                    <a:pt x="690" y="447"/>
                  </a:cubicBezTo>
                  <a:cubicBezTo>
                    <a:pt x="690" y="446"/>
                    <a:pt x="690" y="446"/>
                    <a:pt x="690" y="446"/>
                  </a:cubicBezTo>
                  <a:cubicBezTo>
                    <a:pt x="690" y="446"/>
                    <a:pt x="689" y="446"/>
                    <a:pt x="689" y="446"/>
                  </a:cubicBezTo>
                  <a:cubicBezTo>
                    <a:pt x="690" y="446"/>
                    <a:pt x="690" y="445"/>
                    <a:pt x="690" y="445"/>
                  </a:cubicBezTo>
                  <a:cubicBezTo>
                    <a:pt x="691" y="444"/>
                    <a:pt x="691" y="444"/>
                    <a:pt x="690" y="444"/>
                  </a:cubicBezTo>
                  <a:cubicBezTo>
                    <a:pt x="690" y="444"/>
                    <a:pt x="690" y="444"/>
                    <a:pt x="690" y="443"/>
                  </a:cubicBezTo>
                  <a:cubicBezTo>
                    <a:pt x="691" y="443"/>
                    <a:pt x="691" y="443"/>
                    <a:pt x="692" y="444"/>
                  </a:cubicBezTo>
                  <a:cubicBezTo>
                    <a:pt x="692" y="444"/>
                    <a:pt x="692" y="445"/>
                    <a:pt x="692" y="444"/>
                  </a:cubicBezTo>
                  <a:cubicBezTo>
                    <a:pt x="692" y="444"/>
                    <a:pt x="693" y="444"/>
                    <a:pt x="692" y="443"/>
                  </a:cubicBezTo>
                  <a:cubicBezTo>
                    <a:pt x="692" y="443"/>
                    <a:pt x="693" y="442"/>
                    <a:pt x="692" y="442"/>
                  </a:cubicBezTo>
                  <a:cubicBezTo>
                    <a:pt x="692" y="442"/>
                    <a:pt x="692" y="442"/>
                    <a:pt x="692" y="442"/>
                  </a:cubicBezTo>
                  <a:cubicBezTo>
                    <a:pt x="692" y="441"/>
                    <a:pt x="692" y="441"/>
                    <a:pt x="692" y="440"/>
                  </a:cubicBezTo>
                  <a:cubicBezTo>
                    <a:pt x="692" y="440"/>
                    <a:pt x="692" y="439"/>
                    <a:pt x="692" y="439"/>
                  </a:cubicBezTo>
                  <a:cubicBezTo>
                    <a:pt x="692" y="439"/>
                    <a:pt x="691" y="439"/>
                    <a:pt x="691" y="439"/>
                  </a:cubicBezTo>
                  <a:cubicBezTo>
                    <a:pt x="691" y="439"/>
                    <a:pt x="691" y="439"/>
                    <a:pt x="690" y="439"/>
                  </a:cubicBezTo>
                  <a:cubicBezTo>
                    <a:pt x="690" y="439"/>
                    <a:pt x="690" y="439"/>
                    <a:pt x="690" y="440"/>
                  </a:cubicBezTo>
                  <a:cubicBezTo>
                    <a:pt x="691" y="440"/>
                    <a:pt x="690" y="441"/>
                    <a:pt x="690" y="441"/>
                  </a:cubicBezTo>
                  <a:cubicBezTo>
                    <a:pt x="690" y="441"/>
                    <a:pt x="690" y="441"/>
                    <a:pt x="690" y="441"/>
                  </a:cubicBezTo>
                  <a:cubicBezTo>
                    <a:pt x="690" y="442"/>
                    <a:pt x="690" y="442"/>
                    <a:pt x="689" y="442"/>
                  </a:cubicBezTo>
                  <a:cubicBezTo>
                    <a:pt x="689" y="443"/>
                    <a:pt x="689" y="443"/>
                    <a:pt x="689" y="442"/>
                  </a:cubicBezTo>
                  <a:cubicBezTo>
                    <a:pt x="689" y="442"/>
                    <a:pt x="689" y="442"/>
                    <a:pt x="689" y="442"/>
                  </a:cubicBezTo>
                  <a:cubicBezTo>
                    <a:pt x="689" y="442"/>
                    <a:pt x="690" y="440"/>
                    <a:pt x="690" y="440"/>
                  </a:cubicBezTo>
                  <a:cubicBezTo>
                    <a:pt x="689" y="439"/>
                    <a:pt x="689" y="439"/>
                    <a:pt x="689" y="438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8" y="438"/>
                    <a:pt x="689" y="438"/>
                    <a:pt x="689" y="437"/>
                  </a:cubicBezTo>
                  <a:cubicBezTo>
                    <a:pt x="689" y="437"/>
                    <a:pt x="688" y="437"/>
                    <a:pt x="688" y="437"/>
                  </a:cubicBezTo>
                  <a:cubicBezTo>
                    <a:pt x="688" y="437"/>
                    <a:pt x="687" y="437"/>
                    <a:pt x="687" y="436"/>
                  </a:cubicBezTo>
                  <a:cubicBezTo>
                    <a:pt x="687" y="436"/>
                    <a:pt x="686" y="436"/>
                    <a:pt x="686" y="436"/>
                  </a:cubicBezTo>
                  <a:cubicBezTo>
                    <a:pt x="686" y="437"/>
                    <a:pt x="687" y="437"/>
                    <a:pt x="687" y="438"/>
                  </a:cubicBezTo>
                  <a:cubicBezTo>
                    <a:pt x="686" y="438"/>
                    <a:pt x="686" y="437"/>
                    <a:pt x="686" y="437"/>
                  </a:cubicBezTo>
                  <a:cubicBezTo>
                    <a:pt x="685" y="437"/>
                    <a:pt x="685" y="436"/>
                    <a:pt x="685" y="437"/>
                  </a:cubicBezTo>
                  <a:cubicBezTo>
                    <a:pt x="684" y="437"/>
                    <a:pt x="685" y="438"/>
                    <a:pt x="685" y="438"/>
                  </a:cubicBezTo>
                  <a:cubicBezTo>
                    <a:pt x="685" y="438"/>
                    <a:pt x="685" y="438"/>
                    <a:pt x="685" y="439"/>
                  </a:cubicBezTo>
                  <a:cubicBezTo>
                    <a:pt x="685" y="439"/>
                    <a:pt x="685" y="438"/>
                    <a:pt x="685" y="438"/>
                  </a:cubicBezTo>
                  <a:cubicBezTo>
                    <a:pt x="685" y="438"/>
                    <a:pt x="684" y="438"/>
                    <a:pt x="684" y="438"/>
                  </a:cubicBezTo>
                  <a:cubicBezTo>
                    <a:pt x="684" y="438"/>
                    <a:pt x="685" y="438"/>
                    <a:pt x="685" y="438"/>
                  </a:cubicBezTo>
                  <a:cubicBezTo>
                    <a:pt x="684" y="438"/>
                    <a:pt x="684" y="438"/>
                    <a:pt x="684" y="438"/>
                  </a:cubicBezTo>
                  <a:cubicBezTo>
                    <a:pt x="684" y="438"/>
                    <a:pt x="684" y="438"/>
                    <a:pt x="684" y="438"/>
                  </a:cubicBezTo>
                  <a:cubicBezTo>
                    <a:pt x="683" y="438"/>
                    <a:pt x="683" y="438"/>
                    <a:pt x="683" y="438"/>
                  </a:cubicBezTo>
                  <a:cubicBezTo>
                    <a:pt x="683" y="438"/>
                    <a:pt x="683" y="439"/>
                    <a:pt x="684" y="439"/>
                  </a:cubicBezTo>
                  <a:cubicBezTo>
                    <a:pt x="684" y="439"/>
                    <a:pt x="684" y="439"/>
                    <a:pt x="684" y="439"/>
                  </a:cubicBezTo>
                  <a:cubicBezTo>
                    <a:pt x="684" y="440"/>
                    <a:pt x="684" y="440"/>
                    <a:pt x="684" y="441"/>
                  </a:cubicBezTo>
                  <a:cubicBezTo>
                    <a:pt x="684" y="441"/>
                    <a:pt x="684" y="442"/>
                    <a:pt x="684" y="442"/>
                  </a:cubicBezTo>
                  <a:cubicBezTo>
                    <a:pt x="685" y="443"/>
                    <a:pt x="685" y="443"/>
                    <a:pt x="685" y="442"/>
                  </a:cubicBezTo>
                  <a:cubicBezTo>
                    <a:pt x="686" y="442"/>
                    <a:pt x="686" y="442"/>
                    <a:pt x="686" y="442"/>
                  </a:cubicBezTo>
                  <a:cubicBezTo>
                    <a:pt x="686" y="442"/>
                    <a:pt x="686" y="442"/>
                    <a:pt x="685" y="443"/>
                  </a:cubicBezTo>
                  <a:cubicBezTo>
                    <a:pt x="685" y="443"/>
                    <a:pt x="685" y="443"/>
                    <a:pt x="685" y="443"/>
                  </a:cubicBezTo>
                  <a:cubicBezTo>
                    <a:pt x="685" y="443"/>
                    <a:pt x="686" y="443"/>
                    <a:pt x="686" y="443"/>
                  </a:cubicBezTo>
                  <a:cubicBezTo>
                    <a:pt x="686" y="443"/>
                    <a:pt x="686" y="443"/>
                    <a:pt x="686" y="443"/>
                  </a:cubicBezTo>
                  <a:cubicBezTo>
                    <a:pt x="686" y="443"/>
                    <a:pt x="686" y="443"/>
                    <a:pt x="686" y="444"/>
                  </a:cubicBezTo>
                  <a:cubicBezTo>
                    <a:pt x="685" y="444"/>
                    <a:pt x="685" y="444"/>
                    <a:pt x="685" y="445"/>
                  </a:cubicBezTo>
                  <a:cubicBezTo>
                    <a:pt x="686" y="444"/>
                    <a:pt x="686" y="445"/>
                    <a:pt x="686" y="445"/>
                  </a:cubicBezTo>
                  <a:cubicBezTo>
                    <a:pt x="686" y="445"/>
                    <a:pt x="686" y="445"/>
                    <a:pt x="686" y="445"/>
                  </a:cubicBezTo>
                  <a:cubicBezTo>
                    <a:pt x="687" y="446"/>
                    <a:pt x="687" y="446"/>
                    <a:pt x="687" y="446"/>
                  </a:cubicBezTo>
                  <a:cubicBezTo>
                    <a:pt x="687" y="446"/>
                    <a:pt x="687" y="445"/>
                    <a:pt x="687" y="445"/>
                  </a:cubicBezTo>
                  <a:cubicBezTo>
                    <a:pt x="688" y="445"/>
                    <a:pt x="688" y="445"/>
                    <a:pt x="688" y="445"/>
                  </a:cubicBezTo>
                  <a:cubicBezTo>
                    <a:pt x="688" y="445"/>
                    <a:pt x="688" y="445"/>
                    <a:pt x="688" y="445"/>
                  </a:cubicBezTo>
                  <a:cubicBezTo>
                    <a:pt x="688" y="446"/>
                    <a:pt x="688" y="446"/>
                    <a:pt x="688" y="447"/>
                  </a:cubicBezTo>
                  <a:cubicBezTo>
                    <a:pt x="688" y="447"/>
                    <a:pt x="688" y="447"/>
                    <a:pt x="688" y="447"/>
                  </a:cubicBezTo>
                  <a:cubicBezTo>
                    <a:pt x="688" y="448"/>
                    <a:pt x="688" y="448"/>
                    <a:pt x="688" y="449"/>
                  </a:cubicBezTo>
                  <a:cubicBezTo>
                    <a:pt x="688" y="449"/>
                    <a:pt x="688" y="448"/>
                    <a:pt x="687" y="448"/>
                  </a:cubicBezTo>
                  <a:cubicBezTo>
                    <a:pt x="687" y="448"/>
                    <a:pt x="686" y="448"/>
                    <a:pt x="686" y="448"/>
                  </a:cubicBezTo>
                  <a:cubicBezTo>
                    <a:pt x="686" y="448"/>
                    <a:pt x="686" y="448"/>
                    <a:pt x="686" y="449"/>
                  </a:cubicBezTo>
                  <a:cubicBezTo>
                    <a:pt x="685" y="449"/>
                    <a:pt x="685" y="449"/>
                    <a:pt x="685" y="450"/>
                  </a:cubicBezTo>
                  <a:cubicBezTo>
                    <a:pt x="685" y="450"/>
                    <a:pt x="685" y="450"/>
                    <a:pt x="685" y="450"/>
                  </a:cubicBezTo>
                  <a:cubicBezTo>
                    <a:pt x="685" y="451"/>
                    <a:pt x="685" y="451"/>
                    <a:pt x="685" y="451"/>
                  </a:cubicBezTo>
                  <a:cubicBezTo>
                    <a:pt x="685" y="451"/>
                    <a:pt x="686" y="451"/>
                    <a:pt x="686" y="451"/>
                  </a:cubicBezTo>
                  <a:cubicBezTo>
                    <a:pt x="686" y="450"/>
                    <a:pt x="686" y="450"/>
                    <a:pt x="686" y="450"/>
                  </a:cubicBezTo>
                  <a:cubicBezTo>
                    <a:pt x="686" y="450"/>
                    <a:pt x="686" y="450"/>
                    <a:pt x="686" y="450"/>
                  </a:cubicBezTo>
                  <a:cubicBezTo>
                    <a:pt x="686" y="451"/>
                    <a:pt x="685" y="452"/>
                    <a:pt x="686" y="453"/>
                  </a:cubicBezTo>
                  <a:cubicBezTo>
                    <a:pt x="686" y="453"/>
                    <a:pt x="686" y="453"/>
                    <a:pt x="686" y="453"/>
                  </a:cubicBezTo>
                  <a:cubicBezTo>
                    <a:pt x="685" y="453"/>
                    <a:pt x="686" y="454"/>
                    <a:pt x="686" y="454"/>
                  </a:cubicBezTo>
                  <a:cubicBezTo>
                    <a:pt x="686" y="454"/>
                    <a:pt x="686" y="454"/>
                    <a:pt x="686" y="454"/>
                  </a:cubicBezTo>
                  <a:cubicBezTo>
                    <a:pt x="685" y="455"/>
                    <a:pt x="686" y="455"/>
                    <a:pt x="686" y="455"/>
                  </a:cubicBezTo>
                  <a:cubicBezTo>
                    <a:pt x="686" y="455"/>
                    <a:pt x="686" y="456"/>
                    <a:pt x="686" y="456"/>
                  </a:cubicBezTo>
                  <a:cubicBezTo>
                    <a:pt x="686" y="456"/>
                    <a:pt x="687" y="456"/>
                    <a:pt x="687" y="457"/>
                  </a:cubicBezTo>
                  <a:cubicBezTo>
                    <a:pt x="687" y="457"/>
                    <a:pt x="687" y="457"/>
                    <a:pt x="687" y="457"/>
                  </a:cubicBezTo>
                  <a:cubicBezTo>
                    <a:pt x="687" y="457"/>
                    <a:pt x="687" y="457"/>
                    <a:pt x="687" y="457"/>
                  </a:cubicBezTo>
                  <a:cubicBezTo>
                    <a:pt x="687" y="456"/>
                    <a:pt x="687" y="456"/>
                    <a:pt x="688" y="455"/>
                  </a:cubicBezTo>
                  <a:cubicBezTo>
                    <a:pt x="688" y="455"/>
                    <a:pt x="688" y="454"/>
                    <a:pt x="687" y="454"/>
                  </a:cubicBezTo>
                  <a:cubicBezTo>
                    <a:pt x="687" y="454"/>
                    <a:pt x="686" y="454"/>
                    <a:pt x="686" y="454"/>
                  </a:cubicBezTo>
                  <a:cubicBezTo>
                    <a:pt x="686" y="453"/>
                    <a:pt x="687" y="453"/>
                    <a:pt x="687" y="454"/>
                  </a:cubicBezTo>
                  <a:cubicBezTo>
                    <a:pt x="687" y="454"/>
                    <a:pt x="688" y="453"/>
                    <a:pt x="688" y="453"/>
                  </a:cubicBezTo>
                  <a:cubicBezTo>
                    <a:pt x="688" y="453"/>
                    <a:pt x="687" y="452"/>
                    <a:pt x="688" y="452"/>
                  </a:cubicBezTo>
                  <a:cubicBezTo>
                    <a:pt x="688" y="452"/>
                    <a:pt x="688" y="451"/>
                    <a:pt x="688" y="451"/>
                  </a:cubicBezTo>
                  <a:cubicBezTo>
                    <a:pt x="688" y="451"/>
                    <a:pt x="688" y="450"/>
                    <a:pt x="688" y="450"/>
                  </a:cubicBezTo>
                  <a:cubicBezTo>
                    <a:pt x="688" y="450"/>
                    <a:pt x="688" y="451"/>
                    <a:pt x="688" y="451"/>
                  </a:cubicBezTo>
                  <a:cubicBezTo>
                    <a:pt x="688" y="451"/>
                    <a:pt x="688" y="451"/>
                    <a:pt x="688" y="451"/>
                  </a:cubicBezTo>
                  <a:cubicBezTo>
                    <a:pt x="688" y="452"/>
                    <a:pt x="688" y="453"/>
                    <a:pt x="688" y="455"/>
                  </a:cubicBezTo>
                  <a:cubicBezTo>
                    <a:pt x="688" y="455"/>
                    <a:pt x="689" y="455"/>
                    <a:pt x="689" y="455"/>
                  </a:cubicBezTo>
                  <a:cubicBezTo>
                    <a:pt x="689" y="456"/>
                    <a:pt x="689" y="455"/>
                    <a:pt x="689" y="455"/>
                  </a:cubicBezTo>
                  <a:cubicBezTo>
                    <a:pt x="690" y="454"/>
                    <a:pt x="690" y="454"/>
                    <a:pt x="689" y="453"/>
                  </a:cubicBezTo>
                  <a:cubicBezTo>
                    <a:pt x="689" y="453"/>
                    <a:pt x="689" y="453"/>
                    <a:pt x="690" y="452"/>
                  </a:cubicBezTo>
                  <a:cubicBezTo>
                    <a:pt x="690" y="452"/>
                    <a:pt x="690" y="452"/>
                    <a:pt x="690" y="452"/>
                  </a:cubicBezTo>
                  <a:cubicBezTo>
                    <a:pt x="690" y="452"/>
                    <a:pt x="690" y="451"/>
                    <a:pt x="690" y="451"/>
                  </a:cubicBezTo>
                  <a:cubicBezTo>
                    <a:pt x="689" y="451"/>
                    <a:pt x="689" y="451"/>
                    <a:pt x="689" y="451"/>
                  </a:cubicBezTo>
                  <a:cubicBezTo>
                    <a:pt x="689" y="451"/>
                    <a:pt x="689" y="451"/>
                    <a:pt x="689" y="451"/>
                  </a:cubicBezTo>
                  <a:cubicBezTo>
                    <a:pt x="689" y="450"/>
                    <a:pt x="689" y="450"/>
                    <a:pt x="689" y="450"/>
                  </a:cubicBezTo>
                  <a:cubicBezTo>
                    <a:pt x="689" y="450"/>
                    <a:pt x="689" y="450"/>
                    <a:pt x="689" y="450"/>
                  </a:cubicBezTo>
                  <a:cubicBezTo>
                    <a:pt x="689" y="450"/>
                    <a:pt x="690" y="450"/>
                    <a:pt x="690" y="450"/>
                  </a:cubicBezTo>
                  <a:cubicBezTo>
                    <a:pt x="690" y="450"/>
                    <a:pt x="690" y="451"/>
                    <a:pt x="690" y="451"/>
                  </a:cubicBezTo>
                  <a:cubicBezTo>
                    <a:pt x="690" y="451"/>
                    <a:pt x="690" y="451"/>
                    <a:pt x="691" y="450"/>
                  </a:cubicBezTo>
                  <a:cubicBezTo>
                    <a:pt x="691" y="450"/>
                    <a:pt x="691" y="450"/>
                    <a:pt x="690" y="449"/>
                  </a:cubicBezTo>
                  <a:close/>
                  <a:moveTo>
                    <a:pt x="705" y="487"/>
                  </a:moveTo>
                  <a:cubicBezTo>
                    <a:pt x="705" y="486"/>
                    <a:pt x="705" y="486"/>
                    <a:pt x="705" y="486"/>
                  </a:cubicBezTo>
                  <a:cubicBezTo>
                    <a:pt x="705" y="486"/>
                    <a:pt x="705" y="485"/>
                    <a:pt x="705" y="485"/>
                  </a:cubicBezTo>
                  <a:cubicBezTo>
                    <a:pt x="705" y="485"/>
                    <a:pt x="705" y="484"/>
                    <a:pt x="705" y="484"/>
                  </a:cubicBezTo>
                  <a:cubicBezTo>
                    <a:pt x="704" y="484"/>
                    <a:pt x="704" y="483"/>
                    <a:pt x="704" y="484"/>
                  </a:cubicBezTo>
                  <a:cubicBezTo>
                    <a:pt x="704" y="483"/>
                    <a:pt x="704" y="482"/>
                    <a:pt x="703" y="482"/>
                  </a:cubicBezTo>
                  <a:cubicBezTo>
                    <a:pt x="703" y="482"/>
                    <a:pt x="703" y="481"/>
                    <a:pt x="702" y="481"/>
                  </a:cubicBezTo>
                  <a:cubicBezTo>
                    <a:pt x="702" y="481"/>
                    <a:pt x="702" y="481"/>
                    <a:pt x="702" y="481"/>
                  </a:cubicBezTo>
                  <a:cubicBezTo>
                    <a:pt x="702" y="480"/>
                    <a:pt x="702" y="480"/>
                    <a:pt x="702" y="480"/>
                  </a:cubicBezTo>
                  <a:cubicBezTo>
                    <a:pt x="702" y="479"/>
                    <a:pt x="701" y="479"/>
                    <a:pt x="701" y="479"/>
                  </a:cubicBezTo>
                  <a:cubicBezTo>
                    <a:pt x="701" y="479"/>
                    <a:pt x="701" y="479"/>
                    <a:pt x="701" y="479"/>
                  </a:cubicBezTo>
                  <a:cubicBezTo>
                    <a:pt x="701" y="478"/>
                    <a:pt x="701" y="478"/>
                    <a:pt x="701" y="478"/>
                  </a:cubicBezTo>
                  <a:cubicBezTo>
                    <a:pt x="701" y="478"/>
                    <a:pt x="700" y="478"/>
                    <a:pt x="700" y="478"/>
                  </a:cubicBezTo>
                  <a:cubicBezTo>
                    <a:pt x="701" y="478"/>
                    <a:pt x="701" y="478"/>
                    <a:pt x="701" y="478"/>
                  </a:cubicBezTo>
                  <a:cubicBezTo>
                    <a:pt x="701" y="478"/>
                    <a:pt x="701" y="478"/>
                    <a:pt x="701" y="478"/>
                  </a:cubicBezTo>
                  <a:cubicBezTo>
                    <a:pt x="702" y="478"/>
                    <a:pt x="701" y="477"/>
                    <a:pt x="701" y="477"/>
                  </a:cubicBezTo>
                  <a:cubicBezTo>
                    <a:pt x="701" y="477"/>
                    <a:pt x="701" y="477"/>
                    <a:pt x="701" y="477"/>
                  </a:cubicBezTo>
                  <a:cubicBezTo>
                    <a:pt x="701" y="477"/>
                    <a:pt x="700" y="476"/>
                    <a:pt x="700" y="476"/>
                  </a:cubicBezTo>
                  <a:cubicBezTo>
                    <a:pt x="701" y="476"/>
                    <a:pt x="700" y="476"/>
                    <a:pt x="700" y="476"/>
                  </a:cubicBezTo>
                  <a:cubicBezTo>
                    <a:pt x="700" y="475"/>
                    <a:pt x="700" y="475"/>
                    <a:pt x="700" y="475"/>
                  </a:cubicBezTo>
                  <a:cubicBezTo>
                    <a:pt x="700" y="475"/>
                    <a:pt x="700" y="474"/>
                    <a:pt x="700" y="474"/>
                  </a:cubicBezTo>
                  <a:cubicBezTo>
                    <a:pt x="699" y="474"/>
                    <a:pt x="699" y="474"/>
                    <a:pt x="699" y="475"/>
                  </a:cubicBezTo>
                  <a:cubicBezTo>
                    <a:pt x="699" y="475"/>
                    <a:pt x="699" y="475"/>
                    <a:pt x="699" y="475"/>
                  </a:cubicBezTo>
                  <a:cubicBezTo>
                    <a:pt x="699" y="476"/>
                    <a:pt x="699" y="476"/>
                    <a:pt x="699" y="476"/>
                  </a:cubicBezTo>
                  <a:cubicBezTo>
                    <a:pt x="699" y="476"/>
                    <a:pt x="699" y="477"/>
                    <a:pt x="699" y="477"/>
                  </a:cubicBezTo>
                  <a:cubicBezTo>
                    <a:pt x="699" y="477"/>
                    <a:pt x="699" y="477"/>
                    <a:pt x="700" y="478"/>
                  </a:cubicBezTo>
                  <a:cubicBezTo>
                    <a:pt x="699" y="478"/>
                    <a:pt x="699" y="478"/>
                    <a:pt x="699" y="478"/>
                  </a:cubicBezTo>
                  <a:cubicBezTo>
                    <a:pt x="699" y="478"/>
                    <a:pt x="699" y="478"/>
                    <a:pt x="699" y="478"/>
                  </a:cubicBezTo>
                  <a:cubicBezTo>
                    <a:pt x="699" y="478"/>
                    <a:pt x="699" y="479"/>
                    <a:pt x="699" y="479"/>
                  </a:cubicBezTo>
                  <a:cubicBezTo>
                    <a:pt x="698" y="479"/>
                    <a:pt x="699" y="479"/>
                    <a:pt x="699" y="480"/>
                  </a:cubicBezTo>
                  <a:cubicBezTo>
                    <a:pt x="699" y="480"/>
                    <a:pt x="700" y="480"/>
                    <a:pt x="700" y="480"/>
                  </a:cubicBezTo>
                  <a:cubicBezTo>
                    <a:pt x="699" y="481"/>
                    <a:pt x="700" y="481"/>
                    <a:pt x="701" y="481"/>
                  </a:cubicBezTo>
                  <a:cubicBezTo>
                    <a:pt x="701" y="481"/>
                    <a:pt x="701" y="481"/>
                    <a:pt x="701" y="481"/>
                  </a:cubicBezTo>
                  <a:cubicBezTo>
                    <a:pt x="701" y="482"/>
                    <a:pt x="700" y="481"/>
                    <a:pt x="700" y="482"/>
                  </a:cubicBezTo>
                  <a:cubicBezTo>
                    <a:pt x="700" y="482"/>
                    <a:pt x="701" y="482"/>
                    <a:pt x="701" y="482"/>
                  </a:cubicBezTo>
                  <a:cubicBezTo>
                    <a:pt x="701" y="482"/>
                    <a:pt x="701" y="482"/>
                    <a:pt x="701" y="482"/>
                  </a:cubicBezTo>
                  <a:cubicBezTo>
                    <a:pt x="701" y="483"/>
                    <a:pt x="701" y="483"/>
                    <a:pt x="701" y="483"/>
                  </a:cubicBezTo>
                  <a:cubicBezTo>
                    <a:pt x="701" y="484"/>
                    <a:pt x="702" y="484"/>
                    <a:pt x="702" y="484"/>
                  </a:cubicBezTo>
                  <a:cubicBezTo>
                    <a:pt x="702" y="484"/>
                    <a:pt x="702" y="483"/>
                    <a:pt x="703" y="483"/>
                  </a:cubicBezTo>
                  <a:cubicBezTo>
                    <a:pt x="703" y="484"/>
                    <a:pt x="702" y="484"/>
                    <a:pt x="702" y="484"/>
                  </a:cubicBezTo>
                  <a:cubicBezTo>
                    <a:pt x="702" y="485"/>
                    <a:pt x="703" y="485"/>
                    <a:pt x="703" y="485"/>
                  </a:cubicBezTo>
                  <a:cubicBezTo>
                    <a:pt x="703" y="485"/>
                    <a:pt x="703" y="486"/>
                    <a:pt x="704" y="486"/>
                  </a:cubicBezTo>
                  <a:cubicBezTo>
                    <a:pt x="704" y="486"/>
                    <a:pt x="703" y="486"/>
                    <a:pt x="703" y="486"/>
                  </a:cubicBezTo>
                  <a:cubicBezTo>
                    <a:pt x="703" y="486"/>
                    <a:pt x="703" y="487"/>
                    <a:pt x="704" y="487"/>
                  </a:cubicBezTo>
                  <a:cubicBezTo>
                    <a:pt x="704" y="487"/>
                    <a:pt x="704" y="486"/>
                    <a:pt x="704" y="487"/>
                  </a:cubicBezTo>
                  <a:cubicBezTo>
                    <a:pt x="704" y="487"/>
                    <a:pt x="705" y="487"/>
                    <a:pt x="706" y="487"/>
                  </a:cubicBezTo>
                  <a:cubicBezTo>
                    <a:pt x="705" y="487"/>
                    <a:pt x="705" y="487"/>
                    <a:pt x="705" y="487"/>
                  </a:cubicBezTo>
                  <a:close/>
                  <a:moveTo>
                    <a:pt x="704" y="452"/>
                  </a:moveTo>
                  <a:cubicBezTo>
                    <a:pt x="704" y="452"/>
                    <a:pt x="705" y="452"/>
                    <a:pt x="705" y="451"/>
                  </a:cubicBezTo>
                  <a:cubicBezTo>
                    <a:pt x="706" y="451"/>
                    <a:pt x="706" y="451"/>
                    <a:pt x="706" y="450"/>
                  </a:cubicBezTo>
                  <a:cubicBezTo>
                    <a:pt x="706" y="450"/>
                    <a:pt x="706" y="449"/>
                    <a:pt x="706" y="449"/>
                  </a:cubicBezTo>
                  <a:cubicBezTo>
                    <a:pt x="707" y="448"/>
                    <a:pt x="706" y="448"/>
                    <a:pt x="706" y="447"/>
                  </a:cubicBezTo>
                  <a:cubicBezTo>
                    <a:pt x="706" y="447"/>
                    <a:pt x="705" y="447"/>
                    <a:pt x="705" y="447"/>
                  </a:cubicBezTo>
                  <a:cubicBezTo>
                    <a:pt x="704" y="447"/>
                    <a:pt x="704" y="447"/>
                    <a:pt x="703" y="447"/>
                  </a:cubicBezTo>
                  <a:cubicBezTo>
                    <a:pt x="702" y="447"/>
                    <a:pt x="702" y="447"/>
                    <a:pt x="701" y="448"/>
                  </a:cubicBezTo>
                  <a:cubicBezTo>
                    <a:pt x="701" y="448"/>
                    <a:pt x="701" y="449"/>
                    <a:pt x="701" y="449"/>
                  </a:cubicBezTo>
                  <a:cubicBezTo>
                    <a:pt x="701" y="449"/>
                    <a:pt x="701" y="450"/>
                    <a:pt x="701" y="450"/>
                  </a:cubicBezTo>
                  <a:cubicBezTo>
                    <a:pt x="702" y="451"/>
                    <a:pt x="702" y="451"/>
                    <a:pt x="703" y="452"/>
                  </a:cubicBezTo>
                  <a:cubicBezTo>
                    <a:pt x="703" y="452"/>
                    <a:pt x="703" y="452"/>
                    <a:pt x="704" y="452"/>
                  </a:cubicBezTo>
                  <a:close/>
                  <a:moveTo>
                    <a:pt x="697" y="462"/>
                  </a:moveTo>
                  <a:cubicBezTo>
                    <a:pt x="696" y="462"/>
                    <a:pt x="695" y="462"/>
                    <a:pt x="695" y="462"/>
                  </a:cubicBezTo>
                  <a:cubicBezTo>
                    <a:pt x="695" y="461"/>
                    <a:pt x="695" y="461"/>
                    <a:pt x="694" y="461"/>
                  </a:cubicBezTo>
                  <a:cubicBezTo>
                    <a:pt x="694" y="461"/>
                    <a:pt x="694" y="462"/>
                    <a:pt x="694" y="462"/>
                  </a:cubicBezTo>
                  <a:cubicBezTo>
                    <a:pt x="694" y="462"/>
                    <a:pt x="694" y="461"/>
                    <a:pt x="693" y="461"/>
                  </a:cubicBezTo>
                  <a:cubicBezTo>
                    <a:pt x="693" y="462"/>
                    <a:pt x="693" y="462"/>
                    <a:pt x="693" y="463"/>
                  </a:cubicBezTo>
                  <a:cubicBezTo>
                    <a:pt x="693" y="463"/>
                    <a:pt x="693" y="463"/>
                    <a:pt x="693" y="463"/>
                  </a:cubicBezTo>
                  <a:cubicBezTo>
                    <a:pt x="693" y="464"/>
                    <a:pt x="694" y="464"/>
                    <a:pt x="694" y="464"/>
                  </a:cubicBezTo>
                  <a:cubicBezTo>
                    <a:pt x="695" y="464"/>
                    <a:pt x="695" y="464"/>
                    <a:pt x="695" y="464"/>
                  </a:cubicBezTo>
                  <a:cubicBezTo>
                    <a:pt x="695" y="464"/>
                    <a:pt x="695" y="464"/>
                    <a:pt x="695" y="463"/>
                  </a:cubicBezTo>
                  <a:cubicBezTo>
                    <a:pt x="695" y="463"/>
                    <a:pt x="695" y="463"/>
                    <a:pt x="695" y="463"/>
                  </a:cubicBezTo>
                  <a:cubicBezTo>
                    <a:pt x="696" y="463"/>
                    <a:pt x="696" y="464"/>
                    <a:pt x="697" y="463"/>
                  </a:cubicBezTo>
                  <a:cubicBezTo>
                    <a:pt x="697" y="463"/>
                    <a:pt x="697" y="463"/>
                    <a:pt x="697" y="462"/>
                  </a:cubicBezTo>
                  <a:cubicBezTo>
                    <a:pt x="697" y="462"/>
                    <a:pt x="697" y="462"/>
                    <a:pt x="697" y="462"/>
                  </a:cubicBezTo>
                  <a:close/>
                  <a:moveTo>
                    <a:pt x="705" y="477"/>
                  </a:moveTo>
                  <a:cubicBezTo>
                    <a:pt x="705" y="477"/>
                    <a:pt x="704" y="476"/>
                    <a:pt x="704" y="476"/>
                  </a:cubicBezTo>
                  <a:cubicBezTo>
                    <a:pt x="704" y="476"/>
                    <a:pt x="704" y="476"/>
                    <a:pt x="704" y="476"/>
                  </a:cubicBezTo>
                  <a:cubicBezTo>
                    <a:pt x="703" y="476"/>
                    <a:pt x="703" y="476"/>
                    <a:pt x="703" y="477"/>
                  </a:cubicBezTo>
                  <a:cubicBezTo>
                    <a:pt x="703" y="477"/>
                    <a:pt x="703" y="478"/>
                    <a:pt x="703" y="478"/>
                  </a:cubicBezTo>
                  <a:cubicBezTo>
                    <a:pt x="704" y="478"/>
                    <a:pt x="704" y="478"/>
                    <a:pt x="703" y="479"/>
                  </a:cubicBezTo>
                  <a:cubicBezTo>
                    <a:pt x="703" y="479"/>
                    <a:pt x="703" y="479"/>
                    <a:pt x="703" y="479"/>
                  </a:cubicBezTo>
                  <a:cubicBezTo>
                    <a:pt x="703" y="479"/>
                    <a:pt x="704" y="480"/>
                    <a:pt x="704" y="480"/>
                  </a:cubicBezTo>
                  <a:cubicBezTo>
                    <a:pt x="704" y="479"/>
                    <a:pt x="704" y="480"/>
                    <a:pt x="704" y="480"/>
                  </a:cubicBezTo>
                  <a:cubicBezTo>
                    <a:pt x="704" y="480"/>
                    <a:pt x="705" y="480"/>
                    <a:pt x="705" y="480"/>
                  </a:cubicBezTo>
                  <a:cubicBezTo>
                    <a:pt x="705" y="480"/>
                    <a:pt x="705" y="480"/>
                    <a:pt x="705" y="480"/>
                  </a:cubicBezTo>
                  <a:cubicBezTo>
                    <a:pt x="706" y="479"/>
                    <a:pt x="706" y="479"/>
                    <a:pt x="705" y="479"/>
                  </a:cubicBezTo>
                  <a:cubicBezTo>
                    <a:pt x="705" y="478"/>
                    <a:pt x="705" y="478"/>
                    <a:pt x="705" y="478"/>
                  </a:cubicBezTo>
                  <a:cubicBezTo>
                    <a:pt x="706" y="477"/>
                    <a:pt x="705" y="477"/>
                    <a:pt x="705" y="477"/>
                  </a:cubicBezTo>
                  <a:close/>
                  <a:moveTo>
                    <a:pt x="681" y="444"/>
                  </a:moveTo>
                  <a:cubicBezTo>
                    <a:pt x="681" y="444"/>
                    <a:pt x="681" y="444"/>
                    <a:pt x="681" y="445"/>
                  </a:cubicBezTo>
                  <a:cubicBezTo>
                    <a:pt x="680" y="444"/>
                    <a:pt x="680" y="444"/>
                    <a:pt x="680" y="444"/>
                  </a:cubicBezTo>
                  <a:cubicBezTo>
                    <a:pt x="680" y="444"/>
                    <a:pt x="680" y="444"/>
                    <a:pt x="680" y="444"/>
                  </a:cubicBezTo>
                  <a:cubicBezTo>
                    <a:pt x="680" y="445"/>
                    <a:pt x="680" y="445"/>
                    <a:pt x="680" y="445"/>
                  </a:cubicBezTo>
                  <a:cubicBezTo>
                    <a:pt x="679" y="445"/>
                    <a:pt x="680" y="445"/>
                    <a:pt x="680" y="445"/>
                  </a:cubicBezTo>
                  <a:cubicBezTo>
                    <a:pt x="680" y="445"/>
                    <a:pt x="680" y="445"/>
                    <a:pt x="680" y="445"/>
                  </a:cubicBezTo>
                  <a:cubicBezTo>
                    <a:pt x="680" y="445"/>
                    <a:pt x="680" y="445"/>
                    <a:pt x="680" y="445"/>
                  </a:cubicBezTo>
                  <a:cubicBezTo>
                    <a:pt x="680" y="446"/>
                    <a:pt x="681" y="446"/>
                    <a:pt x="680" y="447"/>
                  </a:cubicBezTo>
                  <a:cubicBezTo>
                    <a:pt x="681" y="447"/>
                    <a:pt x="680" y="447"/>
                    <a:pt x="680" y="448"/>
                  </a:cubicBezTo>
                  <a:cubicBezTo>
                    <a:pt x="681" y="448"/>
                    <a:pt x="681" y="448"/>
                    <a:pt x="680" y="449"/>
                  </a:cubicBezTo>
                  <a:cubicBezTo>
                    <a:pt x="680" y="449"/>
                    <a:pt x="681" y="449"/>
                    <a:pt x="681" y="449"/>
                  </a:cubicBezTo>
                  <a:cubicBezTo>
                    <a:pt x="681" y="449"/>
                    <a:pt x="681" y="450"/>
                    <a:pt x="680" y="450"/>
                  </a:cubicBezTo>
                  <a:cubicBezTo>
                    <a:pt x="680" y="450"/>
                    <a:pt x="680" y="450"/>
                    <a:pt x="680" y="450"/>
                  </a:cubicBezTo>
                  <a:cubicBezTo>
                    <a:pt x="680" y="450"/>
                    <a:pt x="680" y="450"/>
                    <a:pt x="680" y="450"/>
                  </a:cubicBezTo>
                  <a:cubicBezTo>
                    <a:pt x="680" y="451"/>
                    <a:pt x="680" y="451"/>
                    <a:pt x="680" y="452"/>
                  </a:cubicBezTo>
                  <a:cubicBezTo>
                    <a:pt x="681" y="452"/>
                    <a:pt x="680" y="453"/>
                    <a:pt x="680" y="454"/>
                  </a:cubicBezTo>
                  <a:cubicBezTo>
                    <a:pt x="680" y="453"/>
                    <a:pt x="679" y="454"/>
                    <a:pt x="680" y="453"/>
                  </a:cubicBezTo>
                  <a:cubicBezTo>
                    <a:pt x="680" y="453"/>
                    <a:pt x="680" y="453"/>
                    <a:pt x="680" y="452"/>
                  </a:cubicBezTo>
                  <a:cubicBezTo>
                    <a:pt x="680" y="452"/>
                    <a:pt x="680" y="452"/>
                    <a:pt x="679" y="452"/>
                  </a:cubicBezTo>
                  <a:cubicBezTo>
                    <a:pt x="679" y="453"/>
                    <a:pt x="679" y="452"/>
                    <a:pt x="679" y="452"/>
                  </a:cubicBezTo>
                  <a:cubicBezTo>
                    <a:pt x="679" y="452"/>
                    <a:pt x="678" y="451"/>
                    <a:pt x="678" y="450"/>
                  </a:cubicBezTo>
                  <a:cubicBezTo>
                    <a:pt x="678" y="450"/>
                    <a:pt x="678" y="450"/>
                    <a:pt x="678" y="450"/>
                  </a:cubicBezTo>
                  <a:cubicBezTo>
                    <a:pt x="678" y="450"/>
                    <a:pt x="678" y="450"/>
                    <a:pt x="678" y="450"/>
                  </a:cubicBezTo>
                  <a:cubicBezTo>
                    <a:pt x="677" y="450"/>
                    <a:pt x="677" y="450"/>
                    <a:pt x="677" y="449"/>
                  </a:cubicBezTo>
                  <a:cubicBezTo>
                    <a:pt x="677" y="449"/>
                    <a:pt x="677" y="448"/>
                    <a:pt x="676" y="447"/>
                  </a:cubicBezTo>
                  <a:cubicBezTo>
                    <a:pt x="676" y="447"/>
                    <a:pt x="676" y="447"/>
                    <a:pt x="677" y="447"/>
                  </a:cubicBezTo>
                  <a:cubicBezTo>
                    <a:pt x="676" y="446"/>
                    <a:pt x="676" y="447"/>
                    <a:pt x="676" y="446"/>
                  </a:cubicBezTo>
                  <a:cubicBezTo>
                    <a:pt x="676" y="446"/>
                    <a:pt x="676" y="445"/>
                    <a:pt x="675" y="445"/>
                  </a:cubicBezTo>
                  <a:cubicBezTo>
                    <a:pt x="675" y="445"/>
                    <a:pt x="676" y="445"/>
                    <a:pt x="675" y="444"/>
                  </a:cubicBezTo>
                  <a:cubicBezTo>
                    <a:pt x="675" y="444"/>
                    <a:pt x="676" y="444"/>
                    <a:pt x="676" y="444"/>
                  </a:cubicBezTo>
                  <a:cubicBezTo>
                    <a:pt x="677" y="443"/>
                    <a:pt x="677" y="443"/>
                    <a:pt x="677" y="443"/>
                  </a:cubicBezTo>
                  <a:cubicBezTo>
                    <a:pt x="676" y="443"/>
                    <a:pt x="676" y="443"/>
                    <a:pt x="676" y="442"/>
                  </a:cubicBezTo>
                  <a:cubicBezTo>
                    <a:pt x="676" y="442"/>
                    <a:pt x="676" y="442"/>
                    <a:pt x="676" y="442"/>
                  </a:cubicBezTo>
                  <a:cubicBezTo>
                    <a:pt x="676" y="442"/>
                    <a:pt x="676" y="442"/>
                    <a:pt x="676" y="442"/>
                  </a:cubicBezTo>
                  <a:cubicBezTo>
                    <a:pt x="676" y="442"/>
                    <a:pt x="676" y="442"/>
                    <a:pt x="676" y="442"/>
                  </a:cubicBezTo>
                  <a:cubicBezTo>
                    <a:pt x="676" y="442"/>
                    <a:pt x="676" y="443"/>
                    <a:pt x="675" y="443"/>
                  </a:cubicBezTo>
                  <a:cubicBezTo>
                    <a:pt x="675" y="444"/>
                    <a:pt x="675" y="444"/>
                    <a:pt x="674" y="444"/>
                  </a:cubicBezTo>
                  <a:cubicBezTo>
                    <a:pt x="674" y="443"/>
                    <a:pt x="674" y="443"/>
                    <a:pt x="674" y="443"/>
                  </a:cubicBezTo>
                  <a:cubicBezTo>
                    <a:pt x="674" y="443"/>
                    <a:pt x="674" y="443"/>
                    <a:pt x="674" y="443"/>
                  </a:cubicBezTo>
                  <a:cubicBezTo>
                    <a:pt x="674" y="442"/>
                    <a:pt x="674" y="441"/>
                    <a:pt x="675" y="441"/>
                  </a:cubicBezTo>
                  <a:cubicBezTo>
                    <a:pt x="675" y="441"/>
                    <a:pt x="675" y="440"/>
                    <a:pt x="676" y="440"/>
                  </a:cubicBezTo>
                  <a:cubicBezTo>
                    <a:pt x="675" y="440"/>
                    <a:pt x="675" y="440"/>
                    <a:pt x="675" y="440"/>
                  </a:cubicBezTo>
                  <a:cubicBezTo>
                    <a:pt x="675" y="440"/>
                    <a:pt x="675" y="441"/>
                    <a:pt x="674" y="441"/>
                  </a:cubicBezTo>
                  <a:cubicBezTo>
                    <a:pt x="674" y="441"/>
                    <a:pt x="674" y="442"/>
                    <a:pt x="674" y="442"/>
                  </a:cubicBezTo>
                  <a:cubicBezTo>
                    <a:pt x="674" y="442"/>
                    <a:pt x="673" y="442"/>
                    <a:pt x="673" y="442"/>
                  </a:cubicBezTo>
                  <a:cubicBezTo>
                    <a:pt x="673" y="442"/>
                    <a:pt x="673" y="441"/>
                    <a:pt x="673" y="441"/>
                  </a:cubicBezTo>
                  <a:cubicBezTo>
                    <a:pt x="673" y="441"/>
                    <a:pt x="674" y="441"/>
                    <a:pt x="674" y="441"/>
                  </a:cubicBezTo>
                  <a:cubicBezTo>
                    <a:pt x="673" y="441"/>
                    <a:pt x="674" y="440"/>
                    <a:pt x="674" y="439"/>
                  </a:cubicBezTo>
                  <a:cubicBezTo>
                    <a:pt x="673" y="440"/>
                    <a:pt x="673" y="440"/>
                    <a:pt x="673" y="441"/>
                  </a:cubicBezTo>
                  <a:cubicBezTo>
                    <a:pt x="673" y="441"/>
                    <a:pt x="673" y="441"/>
                    <a:pt x="673" y="441"/>
                  </a:cubicBezTo>
                  <a:cubicBezTo>
                    <a:pt x="673" y="441"/>
                    <a:pt x="673" y="441"/>
                    <a:pt x="673" y="441"/>
                  </a:cubicBezTo>
                  <a:cubicBezTo>
                    <a:pt x="672" y="441"/>
                    <a:pt x="673" y="441"/>
                    <a:pt x="673" y="441"/>
                  </a:cubicBezTo>
                  <a:cubicBezTo>
                    <a:pt x="673" y="441"/>
                    <a:pt x="673" y="440"/>
                    <a:pt x="673" y="440"/>
                  </a:cubicBezTo>
                  <a:cubicBezTo>
                    <a:pt x="672" y="440"/>
                    <a:pt x="673" y="440"/>
                    <a:pt x="673" y="439"/>
                  </a:cubicBezTo>
                  <a:cubicBezTo>
                    <a:pt x="673" y="439"/>
                    <a:pt x="673" y="439"/>
                    <a:pt x="673" y="439"/>
                  </a:cubicBezTo>
                  <a:cubicBezTo>
                    <a:pt x="672" y="439"/>
                    <a:pt x="672" y="439"/>
                    <a:pt x="671" y="439"/>
                  </a:cubicBezTo>
                  <a:cubicBezTo>
                    <a:pt x="671" y="438"/>
                    <a:pt x="671" y="438"/>
                    <a:pt x="671" y="437"/>
                  </a:cubicBezTo>
                  <a:cubicBezTo>
                    <a:pt x="671" y="437"/>
                    <a:pt x="671" y="437"/>
                    <a:pt x="671" y="437"/>
                  </a:cubicBezTo>
                  <a:cubicBezTo>
                    <a:pt x="672" y="437"/>
                    <a:pt x="672" y="437"/>
                    <a:pt x="672" y="437"/>
                  </a:cubicBezTo>
                  <a:cubicBezTo>
                    <a:pt x="672" y="436"/>
                    <a:pt x="672" y="436"/>
                    <a:pt x="671" y="435"/>
                  </a:cubicBezTo>
                  <a:cubicBezTo>
                    <a:pt x="671" y="435"/>
                    <a:pt x="671" y="435"/>
                    <a:pt x="671" y="435"/>
                  </a:cubicBezTo>
                  <a:cubicBezTo>
                    <a:pt x="672" y="435"/>
                    <a:pt x="672" y="434"/>
                    <a:pt x="673" y="434"/>
                  </a:cubicBezTo>
                  <a:cubicBezTo>
                    <a:pt x="673" y="434"/>
                    <a:pt x="673" y="434"/>
                    <a:pt x="673" y="434"/>
                  </a:cubicBezTo>
                  <a:cubicBezTo>
                    <a:pt x="673" y="434"/>
                    <a:pt x="674" y="434"/>
                    <a:pt x="674" y="433"/>
                  </a:cubicBezTo>
                  <a:cubicBezTo>
                    <a:pt x="674" y="433"/>
                    <a:pt x="674" y="433"/>
                    <a:pt x="674" y="433"/>
                  </a:cubicBezTo>
                  <a:cubicBezTo>
                    <a:pt x="674" y="433"/>
                    <a:pt x="673" y="433"/>
                    <a:pt x="673" y="433"/>
                  </a:cubicBezTo>
                  <a:cubicBezTo>
                    <a:pt x="672" y="434"/>
                    <a:pt x="671" y="433"/>
                    <a:pt x="671" y="432"/>
                  </a:cubicBezTo>
                  <a:cubicBezTo>
                    <a:pt x="671" y="432"/>
                    <a:pt x="671" y="431"/>
                    <a:pt x="672" y="431"/>
                  </a:cubicBezTo>
                  <a:cubicBezTo>
                    <a:pt x="672" y="431"/>
                    <a:pt x="672" y="430"/>
                    <a:pt x="672" y="430"/>
                  </a:cubicBezTo>
                  <a:cubicBezTo>
                    <a:pt x="672" y="430"/>
                    <a:pt x="672" y="430"/>
                    <a:pt x="672" y="430"/>
                  </a:cubicBezTo>
                  <a:cubicBezTo>
                    <a:pt x="672" y="430"/>
                    <a:pt x="672" y="430"/>
                    <a:pt x="672" y="430"/>
                  </a:cubicBezTo>
                  <a:cubicBezTo>
                    <a:pt x="672" y="430"/>
                    <a:pt x="672" y="430"/>
                    <a:pt x="671" y="430"/>
                  </a:cubicBezTo>
                  <a:cubicBezTo>
                    <a:pt x="671" y="430"/>
                    <a:pt x="671" y="431"/>
                    <a:pt x="671" y="431"/>
                  </a:cubicBezTo>
                  <a:cubicBezTo>
                    <a:pt x="671" y="431"/>
                    <a:pt x="671" y="430"/>
                    <a:pt x="671" y="430"/>
                  </a:cubicBezTo>
                  <a:cubicBezTo>
                    <a:pt x="672" y="430"/>
                    <a:pt x="671" y="429"/>
                    <a:pt x="672" y="428"/>
                  </a:cubicBezTo>
                  <a:cubicBezTo>
                    <a:pt x="671" y="428"/>
                    <a:pt x="670" y="428"/>
                    <a:pt x="669" y="429"/>
                  </a:cubicBezTo>
                  <a:cubicBezTo>
                    <a:pt x="669" y="429"/>
                    <a:pt x="669" y="428"/>
                    <a:pt x="669" y="428"/>
                  </a:cubicBezTo>
                  <a:cubicBezTo>
                    <a:pt x="669" y="428"/>
                    <a:pt x="669" y="428"/>
                    <a:pt x="669" y="428"/>
                  </a:cubicBezTo>
                  <a:cubicBezTo>
                    <a:pt x="669" y="429"/>
                    <a:pt x="668" y="428"/>
                    <a:pt x="668" y="429"/>
                  </a:cubicBezTo>
                  <a:cubicBezTo>
                    <a:pt x="668" y="429"/>
                    <a:pt x="668" y="430"/>
                    <a:pt x="668" y="430"/>
                  </a:cubicBezTo>
                  <a:cubicBezTo>
                    <a:pt x="668" y="431"/>
                    <a:pt x="669" y="431"/>
                    <a:pt x="669" y="431"/>
                  </a:cubicBezTo>
                  <a:cubicBezTo>
                    <a:pt x="669" y="432"/>
                    <a:pt x="668" y="433"/>
                    <a:pt x="668" y="434"/>
                  </a:cubicBezTo>
                  <a:cubicBezTo>
                    <a:pt x="668" y="434"/>
                    <a:pt x="667" y="434"/>
                    <a:pt x="666" y="434"/>
                  </a:cubicBezTo>
                  <a:cubicBezTo>
                    <a:pt x="666" y="434"/>
                    <a:pt x="666" y="435"/>
                    <a:pt x="665" y="434"/>
                  </a:cubicBezTo>
                  <a:cubicBezTo>
                    <a:pt x="665" y="434"/>
                    <a:pt x="665" y="434"/>
                    <a:pt x="665" y="433"/>
                  </a:cubicBezTo>
                  <a:cubicBezTo>
                    <a:pt x="665" y="432"/>
                    <a:pt x="665" y="432"/>
                    <a:pt x="666" y="432"/>
                  </a:cubicBezTo>
                  <a:cubicBezTo>
                    <a:pt x="667" y="431"/>
                    <a:pt x="666" y="431"/>
                    <a:pt x="666" y="430"/>
                  </a:cubicBezTo>
                  <a:cubicBezTo>
                    <a:pt x="666" y="430"/>
                    <a:pt x="666" y="430"/>
                    <a:pt x="666" y="430"/>
                  </a:cubicBezTo>
                  <a:cubicBezTo>
                    <a:pt x="665" y="430"/>
                    <a:pt x="665" y="430"/>
                    <a:pt x="665" y="430"/>
                  </a:cubicBezTo>
                  <a:cubicBezTo>
                    <a:pt x="666" y="430"/>
                    <a:pt x="665" y="429"/>
                    <a:pt x="666" y="429"/>
                  </a:cubicBezTo>
                  <a:cubicBezTo>
                    <a:pt x="665" y="429"/>
                    <a:pt x="665" y="428"/>
                    <a:pt x="665" y="428"/>
                  </a:cubicBezTo>
                  <a:cubicBezTo>
                    <a:pt x="665" y="428"/>
                    <a:pt x="665" y="428"/>
                    <a:pt x="665" y="428"/>
                  </a:cubicBezTo>
                  <a:cubicBezTo>
                    <a:pt x="665" y="427"/>
                    <a:pt x="666" y="427"/>
                    <a:pt x="665" y="427"/>
                  </a:cubicBezTo>
                  <a:cubicBezTo>
                    <a:pt x="665" y="427"/>
                    <a:pt x="665" y="426"/>
                    <a:pt x="665" y="426"/>
                  </a:cubicBezTo>
                  <a:cubicBezTo>
                    <a:pt x="667" y="426"/>
                    <a:pt x="667" y="426"/>
                    <a:pt x="667" y="428"/>
                  </a:cubicBezTo>
                  <a:cubicBezTo>
                    <a:pt x="667" y="428"/>
                    <a:pt x="667" y="428"/>
                    <a:pt x="667" y="428"/>
                  </a:cubicBezTo>
                  <a:cubicBezTo>
                    <a:pt x="668" y="428"/>
                    <a:pt x="667" y="427"/>
                    <a:pt x="668" y="427"/>
                  </a:cubicBezTo>
                  <a:cubicBezTo>
                    <a:pt x="668" y="427"/>
                    <a:pt x="668" y="427"/>
                    <a:pt x="668" y="427"/>
                  </a:cubicBezTo>
                  <a:cubicBezTo>
                    <a:pt x="668" y="427"/>
                    <a:pt x="668" y="427"/>
                    <a:pt x="668" y="427"/>
                  </a:cubicBezTo>
                  <a:cubicBezTo>
                    <a:pt x="668" y="426"/>
                    <a:pt x="667" y="426"/>
                    <a:pt x="667" y="426"/>
                  </a:cubicBezTo>
                  <a:cubicBezTo>
                    <a:pt x="667" y="426"/>
                    <a:pt x="667" y="426"/>
                    <a:pt x="668" y="426"/>
                  </a:cubicBezTo>
                  <a:cubicBezTo>
                    <a:pt x="668" y="426"/>
                    <a:pt x="669" y="426"/>
                    <a:pt x="669" y="426"/>
                  </a:cubicBezTo>
                  <a:cubicBezTo>
                    <a:pt x="669" y="426"/>
                    <a:pt x="670" y="426"/>
                    <a:pt x="670" y="426"/>
                  </a:cubicBezTo>
                  <a:cubicBezTo>
                    <a:pt x="669" y="425"/>
                    <a:pt x="669" y="425"/>
                    <a:pt x="669" y="425"/>
                  </a:cubicBezTo>
                  <a:cubicBezTo>
                    <a:pt x="668" y="425"/>
                    <a:pt x="668" y="425"/>
                    <a:pt x="669" y="425"/>
                  </a:cubicBezTo>
                  <a:cubicBezTo>
                    <a:pt x="669" y="424"/>
                    <a:pt x="669" y="424"/>
                    <a:pt x="669" y="423"/>
                  </a:cubicBezTo>
                  <a:cubicBezTo>
                    <a:pt x="669" y="423"/>
                    <a:pt x="669" y="424"/>
                    <a:pt x="668" y="424"/>
                  </a:cubicBezTo>
                  <a:cubicBezTo>
                    <a:pt x="668" y="424"/>
                    <a:pt x="668" y="424"/>
                    <a:pt x="668" y="424"/>
                  </a:cubicBezTo>
                  <a:cubicBezTo>
                    <a:pt x="668" y="424"/>
                    <a:pt x="668" y="424"/>
                    <a:pt x="668" y="425"/>
                  </a:cubicBezTo>
                  <a:cubicBezTo>
                    <a:pt x="667" y="425"/>
                    <a:pt x="667" y="425"/>
                    <a:pt x="667" y="425"/>
                  </a:cubicBezTo>
                  <a:cubicBezTo>
                    <a:pt x="667" y="425"/>
                    <a:pt x="667" y="426"/>
                    <a:pt x="666" y="425"/>
                  </a:cubicBezTo>
                  <a:cubicBezTo>
                    <a:pt x="666" y="425"/>
                    <a:pt x="666" y="425"/>
                    <a:pt x="666" y="425"/>
                  </a:cubicBezTo>
                  <a:cubicBezTo>
                    <a:pt x="665" y="425"/>
                    <a:pt x="665" y="425"/>
                    <a:pt x="665" y="424"/>
                  </a:cubicBezTo>
                  <a:cubicBezTo>
                    <a:pt x="665" y="424"/>
                    <a:pt x="664" y="424"/>
                    <a:pt x="664" y="423"/>
                  </a:cubicBezTo>
                  <a:cubicBezTo>
                    <a:pt x="664" y="423"/>
                    <a:pt x="663" y="423"/>
                    <a:pt x="663" y="422"/>
                  </a:cubicBezTo>
                  <a:cubicBezTo>
                    <a:pt x="663" y="422"/>
                    <a:pt x="663" y="422"/>
                    <a:pt x="663" y="422"/>
                  </a:cubicBezTo>
                  <a:cubicBezTo>
                    <a:pt x="663" y="422"/>
                    <a:pt x="663" y="422"/>
                    <a:pt x="663" y="422"/>
                  </a:cubicBezTo>
                  <a:cubicBezTo>
                    <a:pt x="663" y="422"/>
                    <a:pt x="664" y="422"/>
                    <a:pt x="664" y="422"/>
                  </a:cubicBezTo>
                  <a:cubicBezTo>
                    <a:pt x="664" y="423"/>
                    <a:pt x="665" y="423"/>
                    <a:pt x="665" y="424"/>
                  </a:cubicBezTo>
                  <a:cubicBezTo>
                    <a:pt x="665" y="423"/>
                    <a:pt x="665" y="423"/>
                    <a:pt x="664" y="422"/>
                  </a:cubicBezTo>
                  <a:cubicBezTo>
                    <a:pt x="664" y="422"/>
                    <a:pt x="664" y="422"/>
                    <a:pt x="663" y="421"/>
                  </a:cubicBezTo>
                  <a:cubicBezTo>
                    <a:pt x="663" y="421"/>
                    <a:pt x="663" y="421"/>
                    <a:pt x="663" y="421"/>
                  </a:cubicBezTo>
                  <a:cubicBezTo>
                    <a:pt x="663" y="421"/>
                    <a:pt x="662" y="421"/>
                    <a:pt x="663" y="419"/>
                  </a:cubicBezTo>
                  <a:cubicBezTo>
                    <a:pt x="662" y="419"/>
                    <a:pt x="663" y="420"/>
                    <a:pt x="662" y="420"/>
                  </a:cubicBezTo>
                  <a:cubicBezTo>
                    <a:pt x="662" y="419"/>
                    <a:pt x="662" y="419"/>
                    <a:pt x="662" y="419"/>
                  </a:cubicBezTo>
                  <a:cubicBezTo>
                    <a:pt x="662" y="419"/>
                    <a:pt x="662" y="420"/>
                    <a:pt x="662" y="419"/>
                  </a:cubicBezTo>
                  <a:cubicBezTo>
                    <a:pt x="661" y="419"/>
                    <a:pt x="661" y="419"/>
                    <a:pt x="661" y="419"/>
                  </a:cubicBezTo>
                  <a:cubicBezTo>
                    <a:pt x="661" y="419"/>
                    <a:pt x="661" y="419"/>
                    <a:pt x="661" y="419"/>
                  </a:cubicBezTo>
                  <a:cubicBezTo>
                    <a:pt x="660" y="419"/>
                    <a:pt x="660" y="418"/>
                    <a:pt x="660" y="418"/>
                  </a:cubicBezTo>
                  <a:cubicBezTo>
                    <a:pt x="660" y="418"/>
                    <a:pt x="661" y="417"/>
                    <a:pt x="661" y="418"/>
                  </a:cubicBezTo>
                  <a:cubicBezTo>
                    <a:pt x="661" y="417"/>
                    <a:pt x="660" y="417"/>
                    <a:pt x="661" y="416"/>
                  </a:cubicBezTo>
                  <a:cubicBezTo>
                    <a:pt x="661" y="416"/>
                    <a:pt x="660" y="416"/>
                    <a:pt x="660" y="416"/>
                  </a:cubicBezTo>
                  <a:cubicBezTo>
                    <a:pt x="660" y="416"/>
                    <a:pt x="660" y="416"/>
                    <a:pt x="660" y="416"/>
                  </a:cubicBezTo>
                  <a:cubicBezTo>
                    <a:pt x="660" y="416"/>
                    <a:pt x="660" y="417"/>
                    <a:pt x="660" y="417"/>
                  </a:cubicBezTo>
                  <a:cubicBezTo>
                    <a:pt x="659" y="417"/>
                    <a:pt x="659" y="416"/>
                    <a:pt x="659" y="416"/>
                  </a:cubicBezTo>
                  <a:cubicBezTo>
                    <a:pt x="659" y="415"/>
                    <a:pt x="659" y="415"/>
                    <a:pt x="658" y="415"/>
                  </a:cubicBezTo>
                  <a:cubicBezTo>
                    <a:pt x="658" y="414"/>
                    <a:pt x="658" y="414"/>
                    <a:pt x="658" y="414"/>
                  </a:cubicBezTo>
                  <a:cubicBezTo>
                    <a:pt x="658" y="414"/>
                    <a:pt x="658" y="414"/>
                    <a:pt x="658" y="414"/>
                  </a:cubicBezTo>
                  <a:cubicBezTo>
                    <a:pt x="658" y="414"/>
                    <a:pt x="658" y="414"/>
                    <a:pt x="657" y="414"/>
                  </a:cubicBezTo>
                  <a:cubicBezTo>
                    <a:pt x="657" y="414"/>
                    <a:pt x="657" y="413"/>
                    <a:pt x="657" y="413"/>
                  </a:cubicBezTo>
                  <a:cubicBezTo>
                    <a:pt x="657" y="413"/>
                    <a:pt x="657" y="413"/>
                    <a:pt x="657" y="413"/>
                  </a:cubicBezTo>
                  <a:cubicBezTo>
                    <a:pt x="656" y="412"/>
                    <a:pt x="656" y="412"/>
                    <a:pt x="656" y="411"/>
                  </a:cubicBezTo>
                  <a:cubicBezTo>
                    <a:pt x="656" y="411"/>
                    <a:pt x="657" y="410"/>
                    <a:pt x="656" y="410"/>
                  </a:cubicBezTo>
                  <a:cubicBezTo>
                    <a:pt x="656" y="410"/>
                    <a:pt x="656" y="408"/>
                    <a:pt x="657" y="408"/>
                  </a:cubicBezTo>
                  <a:cubicBezTo>
                    <a:pt x="657" y="408"/>
                    <a:pt x="657" y="408"/>
                    <a:pt x="657" y="408"/>
                  </a:cubicBezTo>
                  <a:cubicBezTo>
                    <a:pt x="658" y="409"/>
                    <a:pt x="658" y="409"/>
                    <a:pt x="658" y="410"/>
                  </a:cubicBezTo>
                  <a:cubicBezTo>
                    <a:pt x="659" y="410"/>
                    <a:pt x="659" y="410"/>
                    <a:pt x="659" y="410"/>
                  </a:cubicBezTo>
                  <a:cubicBezTo>
                    <a:pt x="659" y="410"/>
                    <a:pt x="659" y="411"/>
                    <a:pt x="659" y="411"/>
                  </a:cubicBezTo>
                  <a:cubicBezTo>
                    <a:pt x="660" y="411"/>
                    <a:pt x="661" y="412"/>
                    <a:pt x="662" y="413"/>
                  </a:cubicBezTo>
                  <a:cubicBezTo>
                    <a:pt x="662" y="414"/>
                    <a:pt x="662" y="414"/>
                    <a:pt x="662" y="414"/>
                  </a:cubicBezTo>
                  <a:cubicBezTo>
                    <a:pt x="662" y="414"/>
                    <a:pt x="662" y="414"/>
                    <a:pt x="663" y="414"/>
                  </a:cubicBezTo>
                  <a:cubicBezTo>
                    <a:pt x="663" y="414"/>
                    <a:pt x="663" y="414"/>
                    <a:pt x="663" y="414"/>
                  </a:cubicBezTo>
                  <a:cubicBezTo>
                    <a:pt x="662" y="414"/>
                    <a:pt x="662" y="414"/>
                    <a:pt x="662" y="414"/>
                  </a:cubicBezTo>
                  <a:cubicBezTo>
                    <a:pt x="662" y="414"/>
                    <a:pt x="662" y="414"/>
                    <a:pt x="662" y="414"/>
                  </a:cubicBezTo>
                  <a:cubicBezTo>
                    <a:pt x="662" y="413"/>
                    <a:pt x="661" y="413"/>
                    <a:pt x="661" y="412"/>
                  </a:cubicBezTo>
                  <a:cubicBezTo>
                    <a:pt x="660" y="412"/>
                    <a:pt x="660" y="411"/>
                    <a:pt x="659" y="410"/>
                  </a:cubicBezTo>
                  <a:cubicBezTo>
                    <a:pt x="659" y="410"/>
                    <a:pt x="659" y="409"/>
                    <a:pt x="658" y="409"/>
                  </a:cubicBezTo>
                  <a:cubicBezTo>
                    <a:pt x="658" y="409"/>
                    <a:pt x="658" y="408"/>
                    <a:pt x="658" y="408"/>
                  </a:cubicBezTo>
                  <a:cubicBezTo>
                    <a:pt x="657" y="407"/>
                    <a:pt x="658" y="407"/>
                    <a:pt x="658" y="407"/>
                  </a:cubicBezTo>
                  <a:cubicBezTo>
                    <a:pt x="658" y="407"/>
                    <a:pt x="658" y="407"/>
                    <a:pt x="659" y="407"/>
                  </a:cubicBezTo>
                  <a:cubicBezTo>
                    <a:pt x="659" y="407"/>
                    <a:pt x="659" y="407"/>
                    <a:pt x="659" y="408"/>
                  </a:cubicBezTo>
                  <a:cubicBezTo>
                    <a:pt x="659" y="408"/>
                    <a:pt x="659" y="408"/>
                    <a:pt x="660" y="408"/>
                  </a:cubicBezTo>
                  <a:cubicBezTo>
                    <a:pt x="659" y="407"/>
                    <a:pt x="659" y="407"/>
                    <a:pt x="659" y="406"/>
                  </a:cubicBezTo>
                  <a:cubicBezTo>
                    <a:pt x="659" y="405"/>
                    <a:pt x="659" y="405"/>
                    <a:pt x="659" y="405"/>
                  </a:cubicBezTo>
                  <a:cubicBezTo>
                    <a:pt x="659" y="405"/>
                    <a:pt x="659" y="405"/>
                    <a:pt x="660" y="405"/>
                  </a:cubicBezTo>
                  <a:cubicBezTo>
                    <a:pt x="660" y="406"/>
                    <a:pt x="660" y="406"/>
                    <a:pt x="660" y="406"/>
                  </a:cubicBezTo>
                  <a:cubicBezTo>
                    <a:pt x="660" y="407"/>
                    <a:pt x="661" y="407"/>
                    <a:pt x="661" y="408"/>
                  </a:cubicBezTo>
                  <a:cubicBezTo>
                    <a:pt x="661" y="408"/>
                    <a:pt x="661" y="409"/>
                    <a:pt x="662" y="409"/>
                  </a:cubicBezTo>
                  <a:cubicBezTo>
                    <a:pt x="662" y="409"/>
                    <a:pt x="662" y="409"/>
                    <a:pt x="662" y="409"/>
                  </a:cubicBezTo>
                  <a:cubicBezTo>
                    <a:pt x="662" y="409"/>
                    <a:pt x="662" y="409"/>
                    <a:pt x="662" y="409"/>
                  </a:cubicBezTo>
                  <a:cubicBezTo>
                    <a:pt x="661" y="408"/>
                    <a:pt x="661" y="408"/>
                    <a:pt x="661" y="407"/>
                  </a:cubicBezTo>
                  <a:cubicBezTo>
                    <a:pt x="661" y="407"/>
                    <a:pt x="661" y="407"/>
                    <a:pt x="661" y="407"/>
                  </a:cubicBezTo>
                  <a:cubicBezTo>
                    <a:pt x="661" y="406"/>
                    <a:pt x="661" y="406"/>
                    <a:pt x="661" y="405"/>
                  </a:cubicBezTo>
                  <a:cubicBezTo>
                    <a:pt x="662" y="405"/>
                    <a:pt x="662" y="405"/>
                    <a:pt x="663" y="405"/>
                  </a:cubicBezTo>
                  <a:cubicBezTo>
                    <a:pt x="663" y="406"/>
                    <a:pt x="663" y="406"/>
                    <a:pt x="663" y="406"/>
                  </a:cubicBezTo>
                  <a:cubicBezTo>
                    <a:pt x="663" y="406"/>
                    <a:pt x="664" y="406"/>
                    <a:pt x="664" y="406"/>
                  </a:cubicBezTo>
                  <a:cubicBezTo>
                    <a:pt x="664" y="405"/>
                    <a:pt x="664" y="405"/>
                    <a:pt x="664" y="405"/>
                  </a:cubicBezTo>
                  <a:cubicBezTo>
                    <a:pt x="665" y="404"/>
                    <a:pt x="665" y="404"/>
                    <a:pt x="666" y="404"/>
                  </a:cubicBezTo>
                  <a:cubicBezTo>
                    <a:pt x="666" y="404"/>
                    <a:pt x="666" y="404"/>
                    <a:pt x="666" y="404"/>
                  </a:cubicBezTo>
                  <a:cubicBezTo>
                    <a:pt x="667" y="404"/>
                    <a:pt x="667" y="405"/>
                    <a:pt x="668" y="405"/>
                  </a:cubicBezTo>
                  <a:cubicBezTo>
                    <a:pt x="668" y="405"/>
                    <a:pt x="668" y="405"/>
                    <a:pt x="669" y="406"/>
                  </a:cubicBezTo>
                  <a:cubicBezTo>
                    <a:pt x="669" y="406"/>
                    <a:pt x="669" y="406"/>
                    <a:pt x="669" y="406"/>
                  </a:cubicBezTo>
                  <a:cubicBezTo>
                    <a:pt x="670" y="407"/>
                    <a:pt x="669" y="407"/>
                    <a:pt x="669" y="407"/>
                  </a:cubicBezTo>
                  <a:cubicBezTo>
                    <a:pt x="669" y="408"/>
                    <a:pt x="669" y="409"/>
                    <a:pt x="668" y="409"/>
                  </a:cubicBezTo>
                  <a:cubicBezTo>
                    <a:pt x="668" y="409"/>
                    <a:pt x="667" y="409"/>
                    <a:pt x="667" y="409"/>
                  </a:cubicBezTo>
                  <a:cubicBezTo>
                    <a:pt x="667" y="409"/>
                    <a:pt x="666" y="409"/>
                    <a:pt x="666" y="409"/>
                  </a:cubicBezTo>
                  <a:cubicBezTo>
                    <a:pt x="666" y="410"/>
                    <a:pt x="666" y="409"/>
                    <a:pt x="667" y="409"/>
                  </a:cubicBezTo>
                  <a:cubicBezTo>
                    <a:pt x="667" y="409"/>
                    <a:pt x="667" y="409"/>
                    <a:pt x="667" y="410"/>
                  </a:cubicBezTo>
                  <a:cubicBezTo>
                    <a:pt x="667" y="410"/>
                    <a:pt x="667" y="410"/>
                    <a:pt x="668" y="410"/>
                  </a:cubicBezTo>
                  <a:cubicBezTo>
                    <a:pt x="668" y="410"/>
                    <a:pt x="668" y="410"/>
                    <a:pt x="668" y="410"/>
                  </a:cubicBezTo>
                  <a:cubicBezTo>
                    <a:pt x="668" y="411"/>
                    <a:pt x="667" y="411"/>
                    <a:pt x="667" y="411"/>
                  </a:cubicBezTo>
                  <a:cubicBezTo>
                    <a:pt x="667" y="410"/>
                    <a:pt x="666" y="410"/>
                    <a:pt x="666" y="411"/>
                  </a:cubicBezTo>
                  <a:cubicBezTo>
                    <a:pt x="666" y="411"/>
                    <a:pt x="667" y="411"/>
                    <a:pt x="667" y="411"/>
                  </a:cubicBezTo>
                  <a:cubicBezTo>
                    <a:pt x="667" y="411"/>
                    <a:pt x="668" y="411"/>
                    <a:pt x="668" y="411"/>
                  </a:cubicBezTo>
                  <a:cubicBezTo>
                    <a:pt x="668" y="411"/>
                    <a:pt x="668" y="411"/>
                    <a:pt x="668" y="411"/>
                  </a:cubicBezTo>
                  <a:cubicBezTo>
                    <a:pt x="669" y="411"/>
                    <a:pt x="669" y="410"/>
                    <a:pt x="669" y="410"/>
                  </a:cubicBezTo>
                  <a:cubicBezTo>
                    <a:pt x="669" y="409"/>
                    <a:pt x="670" y="409"/>
                    <a:pt x="670" y="408"/>
                  </a:cubicBezTo>
                  <a:cubicBezTo>
                    <a:pt x="671" y="408"/>
                    <a:pt x="671" y="408"/>
                    <a:pt x="670" y="408"/>
                  </a:cubicBezTo>
                  <a:cubicBezTo>
                    <a:pt x="670" y="408"/>
                    <a:pt x="670" y="408"/>
                    <a:pt x="670" y="407"/>
                  </a:cubicBezTo>
                  <a:cubicBezTo>
                    <a:pt x="670" y="407"/>
                    <a:pt x="671" y="407"/>
                    <a:pt x="671" y="407"/>
                  </a:cubicBezTo>
                  <a:cubicBezTo>
                    <a:pt x="671" y="407"/>
                    <a:pt x="672" y="407"/>
                    <a:pt x="672" y="408"/>
                  </a:cubicBezTo>
                  <a:cubicBezTo>
                    <a:pt x="672" y="409"/>
                    <a:pt x="673" y="408"/>
                    <a:pt x="674" y="408"/>
                  </a:cubicBezTo>
                  <a:cubicBezTo>
                    <a:pt x="674" y="408"/>
                    <a:pt x="674" y="408"/>
                    <a:pt x="674" y="408"/>
                  </a:cubicBezTo>
                  <a:cubicBezTo>
                    <a:pt x="675" y="408"/>
                    <a:pt x="675" y="408"/>
                    <a:pt x="675" y="409"/>
                  </a:cubicBezTo>
                  <a:cubicBezTo>
                    <a:pt x="675" y="409"/>
                    <a:pt x="675" y="409"/>
                    <a:pt x="674" y="409"/>
                  </a:cubicBezTo>
                  <a:cubicBezTo>
                    <a:pt x="675" y="409"/>
                    <a:pt x="676" y="409"/>
                    <a:pt x="677" y="410"/>
                  </a:cubicBezTo>
                  <a:cubicBezTo>
                    <a:pt x="677" y="410"/>
                    <a:pt x="677" y="411"/>
                    <a:pt x="677" y="411"/>
                  </a:cubicBezTo>
                  <a:cubicBezTo>
                    <a:pt x="677" y="412"/>
                    <a:pt x="677" y="413"/>
                    <a:pt x="676" y="413"/>
                  </a:cubicBezTo>
                  <a:cubicBezTo>
                    <a:pt x="676" y="413"/>
                    <a:pt x="676" y="413"/>
                    <a:pt x="676" y="413"/>
                  </a:cubicBezTo>
                  <a:cubicBezTo>
                    <a:pt x="675" y="413"/>
                    <a:pt x="675" y="413"/>
                    <a:pt x="674" y="412"/>
                  </a:cubicBezTo>
                  <a:cubicBezTo>
                    <a:pt x="674" y="412"/>
                    <a:pt x="674" y="412"/>
                    <a:pt x="674" y="412"/>
                  </a:cubicBezTo>
                  <a:cubicBezTo>
                    <a:pt x="673" y="412"/>
                    <a:pt x="673" y="412"/>
                    <a:pt x="673" y="412"/>
                  </a:cubicBezTo>
                  <a:cubicBezTo>
                    <a:pt x="673" y="412"/>
                    <a:pt x="673" y="412"/>
                    <a:pt x="674" y="412"/>
                  </a:cubicBezTo>
                  <a:cubicBezTo>
                    <a:pt x="674" y="412"/>
                    <a:pt x="674" y="412"/>
                    <a:pt x="674" y="412"/>
                  </a:cubicBezTo>
                  <a:cubicBezTo>
                    <a:pt x="674" y="413"/>
                    <a:pt x="674" y="413"/>
                    <a:pt x="675" y="413"/>
                  </a:cubicBezTo>
                  <a:cubicBezTo>
                    <a:pt x="675" y="414"/>
                    <a:pt x="676" y="414"/>
                    <a:pt x="676" y="414"/>
                  </a:cubicBezTo>
                  <a:cubicBezTo>
                    <a:pt x="676" y="414"/>
                    <a:pt x="676" y="414"/>
                    <a:pt x="676" y="415"/>
                  </a:cubicBezTo>
                  <a:cubicBezTo>
                    <a:pt x="676" y="415"/>
                    <a:pt x="677" y="415"/>
                    <a:pt x="676" y="415"/>
                  </a:cubicBezTo>
                  <a:cubicBezTo>
                    <a:pt x="676" y="415"/>
                    <a:pt x="676" y="416"/>
                    <a:pt x="675" y="416"/>
                  </a:cubicBezTo>
                  <a:cubicBezTo>
                    <a:pt x="675" y="416"/>
                    <a:pt x="674" y="416"/>
                    <a:pt x="674" y="416"/>
                  </a:cubicBezTo>
                  <a:cubicBezTo>
                    <a:pt x="673" y="416"/>
                    <a:pt x="673" y="416"/>
                    <a:pt x="672" y="415"/>
                  </a:cubicBezTo>
                  <a:cubicBezTo>
                    <a:pt x="672" y="415"/>
                    <a:pt x="671" y="414"/>
                    <a:pt x="671" y="414"/>
                  </a:cubicBezTo>
                  <a:cubicBezTo>
                    <a:pt x="670" y="414"/>
                    <a:pt x="670" y="414"/>
                    <a:pt x="670" y="413"/>
                  </a:cubicBezTo>
                  <a:cubicBezTo>
                    <a:pt x="668" y="413"/>
                    <a:pt x="667" y="412"/>
                    <a:pt x="666" y="411"/>
                  </a:cubicBezTo>
                  <a:cubicBezTo>
                    <a:pt x="666" y="411"/>
                    <a:pt x="665" y="411"/>
                    <a:pt x="665" y="411"/>
                  </a:cubicBezTo>
                  <a:cubicBezTo>
                    <a:pt x="666" y="412"/>
                    <a:pt x="667" y="412"/>
                    <a:pt x="667" y="412"/>
                  </a:cubicBezTo>
                  <a:cubicBezTo>
                    <a:pt x="668" y="413"/>
                    <a:pt x="668" y="413"/>
                    <a:pt x="668" y="413"/>
                  </a:cubicBezTo>
                  <a:cubicBezTo>
                    <a:pt x="668" y="414"/>
                    <a:pt x="668" y="414"/>
                    <a:pt x="668" y="414"/>
                  </a:cubicBezTo>
                  <a:cubicBezTo>
                    <a:pt x="668" y="414"/>
                    <a:pt x="668" y="414"/>
                    <a:pt x="669" y="414"/>
                  </a:cubicBezTo>
                  <a:cubicBezTo>
                    <a:pt x="669" y="414"/>
                    <a:pt x="669" y="414"/>
                    <a:pt x="669" y="414"/>
                  </a:cubicBezTo>
                  <a:cubicBezTo>
                    <a:pt x="669" y="414"/>
                    <a:pt x="669" y="414"/>
                    <a:pt x="669" y="415"/>
                  </a:cubicBezTo>
                  <a:cubicBezTo>
                    <a:pt x="669" y="414"/>
                    <a:pt x="670" y="414"/>
                    <a:pt x="670" y="415"/>
                  </a:cubicBezTo>
                  <a:cubicBezTo>
                    <a:pt x="671" y="415"/>
                    <a:pt x="671" y="415"/>
                    <a:pt x="671" y="416"/>
                  </a:cubicBezTo>
                  <a:cubicBezTo>
                    <a:pt x="671" y="416"/>
                    <a:pt x="671" y="416"/>
                    <a:pt x="671" y="416"/>
                  </a:cubicBezTo>
                  <a:cubicBezTo>
                    <a:pt x="671" y="416"/>
                    <a:pt x="672" y="416"/>
                    <a:pt x="672" y="416"/>
                  </a:cubicBezTo>
                  <a:cubicBezTo>
                    <a:pt x="671" y="417"/>
                    <a:pt x="671" y="417"/>
                    <a:pt x="671" y="417"/>
                  </a:cubicBezTo>
                  <a:cubicBezTo>
                    <a:pt x="671" y="417"/>
                    <a:pt x="671" y="417"/>
                    <a:pt x="671" y="417"/>
                  </a:cubicBezTo>
                  <a:cubicBezTo>
                    <a:pt x="671" y="417"/>
                    <a:pt x="671" y="417"/>
                    <a:pt x="672" y="417"/>
                  </a:cubicBezTo>
                  <a:cubicBezTo>
                    <a:pt x="672" y="417"/>
                    <a:pt x="673" y="417"/>
                    <a:pt x="673" y="417"/>
                  </a:cubicBezTo>
                  <a:cubicBezTo>
                    <a:pt x="673" y="417"/>
                    <a:pt x="673" y="417"/>
                    <a:pt x="673" y="417"/>
                  </a:cubicBezTo>
                  <a:cubicBezTo>
                    <a:pt x="673" y="417"/>
                    <a:pt x="674" y="417"/>
                    <a:pt x="674" y="417"/>
                  </a:cubicBezTo>
                  <a:cubicBezTo>
                    <a:pt x="674" y="417"/>
                    <a:pt x="674" y="417"/>
                    <a:pt x="675" y="417"/>
                  </a:cubicBezTo>
                  <a:cubicBezTo>
                    <a:pt x="675" y="416"/>
                    <a:pt x="675" y="416"/>
                    <a:pt x="675" y="416"/>
                  </a:cubicBezTo>
                  <a:cubicBezTo>
                    <a:pt x="676" y="417"/>
                    <a:pt x="676" y="417"/>
                    <a:pt x="676" y="416"/>
                  </a:cubicBezTo>
                  <a:cubicBezTo>
                    <a:pt x="677" y="416"/>
                    <a:pt x="677" y="416"/>
                    <a:pt x="677" y="417"/>
                  </a:cubicBezTo>
                  <a:cubicBezTo>
                    <a:pt x="677" y="417"/>
                    <a:pt x="678" y="418"/>
                    <a:pt x="677" y="418"/>
                  </a:cubicBezTo>
                  <a:cubicBezTo>
                    <a:pt x="677" y="418"/>
                    <a:pt x="677" y="419"/>
                    <a:pt x="677" y="419"/>
                  </a:cubicBezTo>
                  <a:cubicBezTo>
                    <a:pt x="677" y="419"/>
                    <a:pt x="677" y="419"/>
                    <a:pt x="677" y="419"/>
                  </a:cubicBezTo>
                  <a:cubicBezTo>
                    <a:pt x="677" y="419"/>
                    <a:pt x="677" y="419"/>
                    <a:pt x="677" y="419"/>
                  </a:cubicBezTo>
                  <a:cubicBezTo>
                    <a:pt x="678" y="419"/>
                    <a:pt x="678" y="420"/>
                    <a:pt x="678" y="420"/>
                  </a:cubicBezTo>
                  <a:cubicBezTo>
                    <a:pt x="678" y="420"/>
                    <a:pt x="678" y="421"/>
                    <a:pt x="678" y="421"/>
                  </a:cubicBezTo>
                  <a:cubicBezTo>
                    <a:pt x="678" y="421"/>
                    <a:pt x="678" y="421"/>
                    <a:pt x="678" y="421"/>
                  </a:cubicBezTo>
                  <a:cubicBezTo>
                    <a:pt x="678" y="421"/>
                    <a:pt x="678" y="421"/>
                    <a:pt x="678" y="422"/>
                  </a:cubicBezTo>
                  <a:cubicBezTo>
                    <a:pt x="678" y="422"/>
                    <a:pt x="678" y="422"/>
                    <a:pt x="678" y="423"/>
                  </a:cubicBezTo>
                  <a:cubicBezTo>
                    <a:pt x="678" y="423"/>
                    <a:pt x="677" y="422"/>
                    <a:pt x="677" y="422"/>
                  </a:cubicBezTo>
                  <a:cubicBezTo>
                    <a:pt x="677" y="422"/>
                    <a:pt x="677" y="422"/>
                    <a:pt x="676" y="421"/>
                  </a:cubicBezTo>
                  <a:cubicBezTo>
                    <a:pt x="677" y="422"/>
                    <a:pt x="677" y="422"/>
                    <a:pt x="677" y="423"/>
                  </a:cubicBezTo>
                  <a:cubicBezTo>
                    <a:pt x="678" y="423"/>
                    <a:pt x="677" y="423"/>
                    <a:pt x="677" y="423"/>
                  </a:cubicBezTo>
                  <a:cubicBezTo>
                    <a:pt x="676" y="423"/>
                    <a:pt x="676" y="424"/>
                    <a:pt x="675" y="423"/>
                  </a:cubicBezTo>
                  <a:cubicBezTo>
                    <a:pt x="675" y="423"/>
                    <a:pt x="675" y="423"/>
                    <a:pt x="675" y="423"/>
                  </a:cubicBezTo>
                  <a:cubicBezTo>
                    <a:pt x="674" y="423"/>
                    <a:pt x="674" y="422"/>
                    <a:pt x="674" y="422"/>
                  </a:cubicBezTo>
                  <a:cubicBezTo>
                    <a:pt x="673" y="422"/>
                    <a:pt x="673" y="421"/>
                    <a:pt x="673" y="421"/>
                  </a:cubicBezTo>
                  <a:cubicBezTo>
                    <a:pt x="672" y="421"/>
                    <a:pt x="672" y="421"/>
                    <a:pt x="672" y="421"/>
                  </a:cubicBezTo>
                  <a:cubicBezTo>
                    <a:pt x="671" y="420"/>
                    <a:pt x="670" y="419"/>
                    <a:pt x="669" y="419"/>
                  </a:cubicBezTo>
                  <a:cubicBezTo>
                    <a:pt x="669" y="418"/>
                    <a:pt x="669" y="418"/>
                    <a:pt x="669" y="418"/>
                  </a:cubicBezTo>
                  <a:cubicBezTo>
                    <a:pt x="668" y="418"/>
                    <a:pt x="668" y="418"/>
                    <a:pt x="668" y="418"/>
                  </a:cubicBezTo>
                  <a:cubicBezTo>
                    <a:pt x="668" y="418"/>
                    <a:pt x="667" y="417"/>
                    <a:pt x="667" y="417"/>
                  </a:cubicBezTo>
                  <a:cubicBezTo>
                    <a:pt x="667" y="417"/>
                    <a:pt x="667" y="417"/>
                    <a:pt x="666" y="417"/>
                  </a:cubicBezTo>
                  <a:cubicBezTo>
                    <a:pt x="666" y="416"/>
                    <a:pt x="666" y="416"/>
                    <a:pt x="666" y="416"/>
                  </a:cubicBezTo>
                  <a:cubicBezTo>
                    <a:pt x="666" y="416"/>
                    <a:pt x="666" y="416"/>
                    <a:pt x="666" y="416"/>
                  </a:cubicBezTo>
                  <a:cubicBezTo>
                    <a:pt x="665" y="416"/>
                    <a:pt x="666" y="416"/>
                    <a:pt x="666" y="417"/>
                  </a:cubicBezTo>
                  <a:cubicBezTo>
                    <a:pt x="666" y="417"/>
                    <a:pt x="666" y="417"/>
                    <a:pt x="666" y="417"/>
                  </a:cubicBezTo>
                  <a:cubicBezTo>
                    <a:pt x="667" y="418"/>
                    <a:pt x="667" y="418"/>
                    <a:pt x="666" y="419"/>
                  </a:cubicBezTo>
                  <a:cubicBezTo>
                    <a:pt x="666" y="419"/>
                    <a:pt x="666" y="419"/>
                    <a:pt x="667" y="419"/>
                  </a:cubicBezTo>
                  <a:cubicBezTo>
                    <a:pt x="667" y="419"/>
                    <a:pt x="667" y="419"/>
                    <a:pt x="667" y="419"/>
                  </a:cubicBezTo>
                  <a:cubicBezTo>
                    <a:pt x="668" y="419"/>
                    <a:pt x="668" y="420"/>
                    <a:pt x="668" y="420"/>
                  </a:cubicBezTo>
                  <a:cubicBezTo>
                    <a:pt x="669" y="420"/>
                    <a:pt x="669" y="420"/>
                    <a:pt x="669" y="420"/>
                  </a:cubicBezTo>
                  <a:cubicBezTo>
                    <a:pt x="669" y="421"/>
                    <a:pt x="668" y="421"/>
                    <a:pt x="668" y="421"/>
                  </a:cubicBezTo>
                  <a:cubicBezTo>
                    <a:pt x="668" y="421"/>
                    <a:pt x="668" y="421"/>
                    <a:pt x="668" y="421"/>
                  </a:cubicBezTo>
                  <a:cubicBezTo>
                    <a:pt x="668" y="421"/>
                    <a:pt x="668" y="421"/>
                    <a:pt x="668" y="421"/>
                  </a:cubicBezTo>
                  <a:cubicBezTo>
                    <a:pt x="668" y="421"/>
                    <a:pt x="669" y="421"/>
                    <a:pt x="669" y="422"/>
                  </a:cubicBezTo>
                  <a:cubicBezTo>
                    <a:pt x="669" y="422"/>
                    <a:pt x="669" y="422"/>
                    <a:pt x="669" y="423"/>
                  </a:cubicBezTo>
                  <a:cubicBezTo>
                    <a:pt x="669" y="422"/>
                    <a:pt x="669" y="422"/>
                    <a:pt x="669" y="422"/>
                  </a:cubicBezTo>
                  <a:cubicBezTo>
                    <a:pt x="670" y="422"/>
                    <a:pt x="670" y="422"/>
                    <a:pt x="670" y="421"/>
                  </a:cubicBezTo>
                  <a:cubicBezTo>
                    <a:pt x="670" y="421"/>
                    <a:pt x="671" y="421"/>
                    <a:pt x="671" y="421"/>
                  </a:cubicBezTo>
                  <a:cubicBezTo>
                    <a:pt x="672" y="421"/>
                    <a:pt x="672" y="422"/>
                    <a:pt x="672" y="422"/>
                  </a:cubicBezTo>
                  <a:cubicBezTo>
                    <a:pt x="672" y="422"/>
                    <a:pt x="672" y="423"/>
                    <a:pt x="672" y="423"/>
                  </a:cubicBezTo>
                  <a:cubicBezTo>
                    <a:pt x="672" y="423"/>
                    <a:pt x="671" y="423"/>
                    <a:pt x="671" y="423"/>
                  </a:cubicBezTo>
                  <a:cubicBezTo>
                    <a:pt x="671" y="424"/>
                    <a:pt x="671" y="424"/>
                    <a:pt x="671" y="424"/>
                  </a:cubicBezTo>
                  <a:cubicBezTo>
                    <a:pt x="671" y="423"/>
                    <a:pt x="671" y="423"/>
                    <a:pt x="672" y="423"/>
                  </a:cubicBezTo>
                  <a:cubicBezTo>
                    <a:pt x="672" y="423"/>
                    <a:pt x="672" y="423"/>
                    <a:pt x="672" y="423"/>
                  </a:cubicBezTo>
                  <a:cubicBezTo>
                    <a:pt x="672" y="423"/>
                    <a:pt x="673" y="423"/>
                    <a:pt x="673" y="423"/>
                  </a:cubicBezTo>
                  <a:cubicBezTo>
                    <a:pt x="673" y="423"/>
                    <a:pt x="674" y="423"/>
                    <a:pt x="674" y="423"/>
                  </a:cubicBezTo>
                  <a:cubicBezTo>
                    <a:pt x="674" y="423"/>
                    <a:pt x="674" y="423"/>
                    <a:pt x="674" y="424"/>
                  </a:cubicBezTo>
                  <a:cubicBezTo>
                    <a:pt x="674" y="424"/>
                    <a:pt x="674" y="424"/>
                    <a:pt x="673" y="424"/>
                  </a:cubicBezTo>
                  <a:cubicBezTo>
                    <a:pt x="674" y="424"/>
                    <a:pt x="675" y="424"/>
                    <a:pt x="676" y="425"/>
                  </a:cubicBezTo>
                  <a:cubicBezTo>
                    <a:pt x="676" y="425"/>
                    <a:pt x="676" y="425"/>
                    <a:pt x="676" y="425"/>
                  </a:cubicBezTo>
                  <a:cubicBezTo>
                    <a:pt x="677" y="424"/>
                    <a:pt x="678" y="424"/>
                    <a:pt x="678" y="425"/>
                  </a:cubicBezTo>
                  <a:cubicBezTo>
                    <a:pt x="678" y="426"/>
                    <a:pt x="678" y="426"/>
                    <a:pt x="678" y="427"/>
                  </a:cubicBezTo>
                  <a:cubicBezTo>
                    <a:pt x="678" y="427"/>
                    <a:pt x="678" y="427"/>
                    <a:pt x="678" y="427"/>
                  </a:cubicBezTo>
                  <a:cubicBezTo>
                    <a:pt x="677" y="426"/>
                    <a:pt x="677" y="426"/>
                    <a:pt x="676" y="426"/>
                  </a:cubicBezTo>
                  <a:cubicBezTo>
                    <a:pt x="676" y="426"/>
                    <a:pt x="676" y="426"/>
                    <a:pt x="676" y="426"/>
                  </a:cubicBezTo>
                  <a:cubicBezTo>
                    <a:pt x="676" y="426"/>
                    <a:pt x="677" y="426"/>
                    <a:pt x="676" y="427"/>
                  </a:cubicBezTo>
                  <a:cubicBezTo>
                    <a:pt x="676" y="427"/>
                    <a:pt x="676" y="427"/>
                    <a:pt x="676" y="427"/>
                  </a:cubicBezTo>
                  <a:cubicBezTo>
                    <a:pt x="677" y="427"/>
                    <a:pt x="677" y="429"/>
                    <a:pt x="678" y="428"/>
                  </a:cubicBezTo>
                  <a:cubicBezTo>
                    <a:pt x="678" y="428"/>
                    <a:pt x="678" y="428"/>
                    <a:pt x="678" y="428"/>
                  </a:cubicBezTo>
                  <a:cubicBezTo>
                    <a:pt x="678" y="428"/>
                    <a:pt x="678" y="429"/>
                    <a:pt x="678" y="429"/>
                  </a:cubicBezTo>
                  <a:cubicBezTo>
                    <a:pt x="678" y="429"/>
                    <a:pt x="678" y="429"/>
                    <a:pt x="678" y="429"/>
                  </a:cubicBezTo>
                  <a:cubicBezTo>
                    <a:pt x="678" y="429"/>
                    <a:pt x="678" y="429"/>
                    <a:pt x="678" y="429"/>
                  </a:cubicBezTo>
                  <a:cubicBezTo>
                    <a:pt x="678" y="430"/>
                    <a:pt x="678" y="430"/>
                    <a:pt x="678" y="430"/>
                  </a:cubicBezTo>
                  <a:cubicBezTo>
                    <a:pt x="679" y="430"/>
                    <a:pt x="679" y="431"/>
                    <a:pt x="678" y="431"/>
                  </a:cubicBezTo>
                  <a:cubicBezTo>
                    <a:pt x="678" y="431"/>
                    <a:pt x="678" y="431"/>
                    <a:pt x="678" y="431"/>
                  </a:cubicBezTo>
                  <a:cubicBezTo>
                    <a:pt x="679" y="431"/>
                    <a:pt x="679" y="432"/>
                    <a:pt x="679" y="432"/>
                  </a:cubicBezTo>
                  <a:cubicBezTo>
                    <a:pt x="679" y="432"/>
                    <a:pt x="678" y="432"/>
                    <a:pt x="678" y="432"/>
                  </a:cubicBezTo>
                  <a:cubicBezTo>
                    <a:pt x="679" y="432"/>
                    <a:pt x="679" y="432"/>
                    <a:pt x="679" y="433"/>
                  </a:cubicBezTo>
                  <a:cubicBezTo>
                    <a:pt x="679" y="433"/>
                    <a:pt x="679" y="433"/>
                    <a:pt x="679" y="433"/>
                  </a:cubicBezTo>
                  <a:cubicBezTo>
                    <a:pt x="679" y="434"/>
                    <a:pt x="679" y="434"/>
                    <a:pt x="679" y="435"/>
                  </a:cubicBezTo>
                  <a:cubicBezTo>
                    <a:pt x="679" y="435"/>
                    <a:pt x="679" y="435"/>
                    <a:pt x="679" y="435"/>
                  </a:cubicBezTo>
                  <a:cubicBezTo>
                    <a:pt x="680" y="436"/>
                    <a:pt x="680" y="437"/>
                    <a:pt x="680" y="438"/>
                  </a:cubicBezTo>
                  <a:cubicBezTo>
                    <a:pt x="680" y="438"/>
                    <a:pt x="680" y="438"/>
                    <a:pt x="680" y="438"/>
                  </a:cubicBezTo>
                  <a:cubicBezTo>
                    <a:pt x="680" y="439"/>
                    <a:pt x="680" y="439"/>
                    <a:pt x="680" y="440"/>
                  </a:cubicBezTo>
                  <a:cubicBezTo>
                    <a:pt x="680" y="440"/>
                    <a:pt x="680" y="440"/>
                    <a:pt x="680" y="440"/>
                  </a:cubicBezTo>
                  <a:cubicBezTo>
                    <a:pt x="681" y="440"/>
                    <a:pt x="681" y="441"/>
                    <a:pt x="681" y="441"/>
                  </a:cubicBezTo>
                  <a:cubicBezTo>
                    <a:pt x="681" y="441"/>
                    <a:pt x="681" y="441"/>
                    <a:pt x="681" y="441"/>
                  </a:cubicBezTo>
                  <a:cubicBezTo>
                    <a:pt x="681" y="441"/>
                    <a:pt x="681" y="441"/>
                    <a:pt x="681" y="441"/>
                  </a:cubicBezTo>
                  <a:cubicBezTo>
                    <a:pt x="681" y="442"/>
                    <a:pt x="681" y="443"/>
                    <a:pt x="681" y="444"/>
                  </a:cubicBezTo>
                  <a:close/>
                  <a:moveTo>
                    <a:pt x="680" y="447"/>
                  </a:moveTo>
                  <a:cubicBezTo>
                    <a:pt x="680" y="447"/>
                    <a:pt x="680" y="447"/>
                    <a:pt x="680" y="447"/>
                  </a:cubicBezTo>
                  <a:close/>
                  <a:moveTo>
                    <a:pt x="697" y="474"/>
                  </a:moveTo>
                  <a:cubicBezTo>
                    <a:pt x="697" y="473"/>
                    <a:pt x="697" y="473"/>
                    <a:pt x="697" y="473"/>
                  </a:cubicBezTo>
                  <a:cubicBezTo>
                    <a:pt x="698" y="473"/>
                    <a:pt x="698" y="473"/>
                    <a:pt x="697" y="473"/>
                  </a:cubicBezTo>
                  <a:cubicBezTo>
                    <a:pt x="697" y="472"/>
                    <a:pt x="697" y="472"/>
                    <a:pt x="697" y="473"/>
                  </a:cubicBezTo>
                  <a:cubicBezTo>
                    <a:pt x="697" y="473"/>
                    <a:pt x="696" y="473"/>
                    <a:pt x="696" y="473"/>
                  </a:cubicBezTo>
                  <a:cubicBezTo>
                    <a:pt x="696" y="473"/>
                    <a:pt x="696" y="473"/>
                    <a:pt x="696" y="474"/>
                  </a:cubicBezTo>
                  <a:cubicBezTo>
                    <a:pt x="696" y="474"/>
                    <a:pt x="696" y="474"/>
                    <a:pt x="696" y="474"/>
                  </a:cubicBezTo>
                  <a:cubicBezTo>
                    <a:pt x="695" y="474"/>
                    <a:pt x="696" y="475"/>
                    <a:pt x="696" y="475"/>
                  </a:cubicBezTo>
                  <a:cubicBezTo>
                    <a:pt x="696" y="475"/>
                    <a:pt x="696" y="475"/>
                    <a:pt x="696" y="475"/>
                  </a:cubicBezTo>
                  <a:cubicBezTo>
                    <a:pt x="697" y="475"/>
                    <a:pt x="697" y="475"/>
                    <a:pt x="697" y="475"/>
                  </a:cubicBezTo>
                  <a:cubicBezTo>
                    <a:pt x="697" y="476"/>
                    <a:pt x="698" y="475"/>
                    <a:pt x="698" y="475"/>
                  </a:cubicBezTo>
                  <a:cubicBezTo>
                    <a:pt x="698" y="475"/>
                    <a:pt x="699" y="474"/>
                    <a:pt x="698" y="474"/>
                  </a:cubicBezTo>
                  <a:cubicBezTo>
                    <a:pt x="698" y="473"/>
                    <a:pt x="698" y="473"/>
                    <a:pt x="697" y="474"/>
                  </a:cubicBezTo>
                  <a:close/>
                  <a:moveTo>
                    <a:pt x="694" y="471"/>
                  </a:moveTo>
                  <a:cubicBezTo>
                    <a:pt x="694" y="470"/>
                    <a:pt x="694" y="471"/>
                    <a:pt x="694" y="471"/>
                  </a:cubicBezTo>
                  <a:cubicBezTo>
                    <a:pt x="694" y="471"/>
                    <a:pt x="694" y="471"/>
                    <a:pt x="693" y="471"/>
                  </a:cubicBezTo>
                  <a:cubicBezTo>
                    <a:pt x="693" y="471"/>
                    <a:pt x="693" y="472"/>
                    <a:pt x="693" y="472"/>
                  </a:cubicBezTo>
                  <a:cubicBezTo>
                    <a:pt x="694" y="472"/>
                    <a:pt x="693" y="473"/>
                    <a:pt x="693" y="473"/>
                  </a:cubicBezTo>
                  <a:cubicBezTo>
                    <a:pt x="693" y="474"/>
                    <a:pt x="693" y="474"/>
                    <a:pt x="694" y="475"/>
                  </a:cubicBezTo>
                  <a:cubicBezTo>
                    <a:pt x="694" y="474"/>
                    <a:pt x="694" y="473"/>
                    <a:pt x="694" y="472"/>
                  </a:cubicBezTo>
                  <a:cubicBezTo>
                    <a:pt x="695" y="472"/>
                    <a:pt x="695" y="472"/>
                    <a:pt x="695" y="471"/>
                  </a:cubicBezTo>
                  <a:cubicBezTo>
                    <a:pt x="695" y="472"/>
                    <a:pt x="696" y="472"/>
                    <a:pt x="696" y="471"/>
                  </a:cubicBezTo>
                  <a:cubicBezTo>
                    <a:pt x="695" y="470"/>
                    <a:pt x="695" y="471"/>
                    <a:pt x="694" y="471"/>
                  </a:cubicBezTo>
                  <a:close/>
                  <a:moveTo>
                    <a:pt x="706" y="484"/>
                  </a:moveTo>
                  <a:cubicBezTo>
                    <a:pt x="706" y="484"/>
                    <a:pt x="705" y="484"/>
                    <a:pt x="706" y="483"/>
                  </a:cubicBezTo>
                  <a:cubicBezTo>
                    <a:pt x="706" y="483"/>
                    <a:pt x="706" y="483"/>
                    <a:pt x="706" y="483"/>
                  </a:cubicBezTo>
                  <a:cubicBezTo>
                    <a:pt x="706" y="483"/>
                    <a:pt x="706" y="482"/>
                    <a:pt x="706" y="482"/>
                  </a:cubicBezTo>
                  <a:cubicBezTo>
                    <a:pt x="706" y="483"/>
                    <a:pt x="706" y="481"/>
                    <a:pt x="705" y="482"/>
                  </a:cubicBezTo>
                  <a:cubicBezTo>
                    <a:pt x="705" y="482"/>
                    <a:pt x="705" y="482"/>
                    <a:pt x="705" y="482"/>
                  </a:cubicBezTo>
                  <a:cubicBezTo>
                    <a:pt x="705" y="481"/>
                    <a:pt x="704" y="481"/>
                    <a:pt x="704" y="482"/>
                  </a:cubicBezTo>
                  <a:cubicBezTo>
                    <a:pt x="704" y="482"/>
                    <a:pt x="704" y="483"/>
                    <a:pt x="704" y="483"/>
                  </a:cubicBezTo>
                  <a:cubicBezTo>
                    <a:pt x="705" y="484"/>
                    <a:pt x="706" y="484"/>
                    <a:pt x="706" y="485"/>
                  </a:cubicBezTo>
                  <a:cubicBezTo>
                    <a:pt x="706" y="485"/>
                    <a:pt x="706" y="486"/>
                    <a:pt x="706" y="485"/>
                  </a:cubicBezTo>
                  <a:cubicBezTo>
                    <a:pt x="706" y="485"/>
                    <a:pt x="707" y="485"/>
                    <a:pt x="706" y="485"/>
                  </a:cubicBezTo>
                  <a:cubicBezTo>
                    <a:pt x="706" y="484"/>
                    <a:pt x="706" y="484"/>
                    <a:pt x="706" y="484"/>
                  </a:cubicBezTo>
                  <a:close/>
                  <a:moveTo>
                    <a:pt x="694" y="469"/>
                  </a:moveTo>
                  <a:cubicBezTo>
                    <a:pt x="694" y="469"/>
                    <a:pt x="694" y="469"/>
                    <a:pt x="694" y="469"/>
                  </a:cubicBezTo>
                  <a:cubicBezTo>
                    <a:pt x="694" y="468"/>
                    <a:pt x="694" y="468"/>
                    <a:pt x="694" y="468"/>
                  </a:cubicBezTo>
                  <a:cubicBezTo>
                    <a:pt x="693" y="468"/>
                    <a:pt x="693" y="468"/>
                    <a:pt x="692" y="468"/>
                  </a:cubicBezTo>
                  <a:cubicBezTo>
                    <a:pt x="692" y="468"/>
                    <a:pt x="692" y="468"/>
                    <a:pt x="692" y="468"/>
                  </a:cubicBezTo>
                  <a:cubicBezTo>
                    <a:pt x="692" y="468"/>
                    <a:pt x="692" y="468"/>
                    <a:pt x="692" y="468"/>
                  </a:cubicBezTo>
                  <a:cubicBezTo>
                    <a:pt x="692" y="468"/>
                    <a:pt x="692" y="468"/>
                    <a:pt x="692" y="468"/>
                  </a:cubicBezTo>
                  <a:cubicBezTo>
                    <a:pt x="692" y="469"/>
                    <a:pt x="692" y="469"/>
                    <a:pt x="691" y="470"/>
                  </a:cubicBezTo>
                  <a:cubicBezTo>
                    <a:pt x="692" y="470"/>
                    <a:pt x="692" y="469"/>
                    <a:pt x="692" y="470"/>
                  </a:cubicBezTo>
                  <a:cubicBezTo>
                    <a:pt x="693" y="470"/>
                    <a:pt x="693" y="470"/>
                    <a:pt x="694" y="469"/>
                  </a:cubicBezTo>
                  <a:close/>
                  <a:moveTo>
                    <a:pt x="696" y="467"/>
                  </a:moveTo>
                  <a:cubicBezTo>
                    <a:pt x="696" y="467"/>
                    <a:pt x="696" y="467"/>
                    <a:pt x="696" y="468"/>
                  </a:cubicBezTo>
                  <a:cubicBezTo>
                    <a:pt x="696" y="468"/>
                    <a:pt x="696" y="468"/>
                    <a:pt x="696" y="468"/>
                  </a:cubicBezTo>
                  <a:cubicBezTo>
                    <a:pt x="696" y="469"/>
                    <a:pt x="696" y="469"/>
                    <a:pt x="697" y="470"/>
                  </a:cubicBezTo>
                  <a:cubicBezTo>
                    <a:pt x="697" y="470"/>
                    <a:pt x="697" y="470"/>
                    <a:pt x="697" y="470"/>
                  </a:cubicBezTo>
                  <a:cubicBezTo>
                    <a:pt x="698" y="469"/>
                    <a:pt x="698" y="469"/>
                    <a:pt x="698" y="468"/>
                  </a:cubicBezTo>
                  <a:cubicBezTo>
                    <a:pt x="698" y="468"/>
                    <a:pt x="697" y="467"/>
                    <a:pt x="696" y="467"/>
                  </a:cubicBezTo>
                  <a:close/>
                  <a:moveTo>
                    <a:pt x="671" y="429"/>
                  </a:moveTo>
                  <a:cubicBezTo>
                    <a:pt x="671" y="429"/>
                    <a:pt x="671" y="429"/>
                    <a:pt x="671" y="428"/>
                  </a:cubicBezTo>
                  <a:cubicBezTo>
                    <a:pt x="670" y="428"/>
                    <a:pt x="670" y="428"/>
                    <a:pt x="670" y="429"/>
                  </a:cubicBezTo>
                  <a:cubicBezTo>
                    <a:pt x="670" y="429"/>
                    <a:pt x="669" y="429"/>
                    <a:pt x="669" y="429"/>
                  </a:cubicBezTo>
                  <a:cubicBezTo>
                    <a:pt x="669" y="429"/>
                    <a:pt x="669" y="430"/>
                    <a:pt x="669" y="430"/>
                  </a:cubicBezTo>
                  <a:cubicBezTo>
                    <a:pt x="669" y="431"/>
                    <a:pt x="669" y="431"/>
                    <a:pt x="669" y="431"/>
                  </a:cubicBezTo>
                  <a:cubicBezTo>
                    <a:pt x="669" y="431"/>
                    <a:pt x="670" y="431"/>
                    <a:pt x="670" y="431"/>
                  </a:cubicBezTo>
                  <a:cubicBezTo>
                    <a:pt x="670" y="430"/>
                    <a:pt x="670" y="430"/>
                    <a:pt x="670" y="430"/>
                  </a:cubicBezTo>
                  <a:cubicBezTo>
                    <a:pt x="670" y="430"/>
                    <a:pt x="670" y="430"/>
                    <a:pt x="671" y="430"/>
                  </a:cubicBezTo>
                  <a:cubicBezTo>
                    <a:pt x="671" y="430"/>
                    <a:pt x="671" y="429"/>
                    <a:pt x="671" y="429"/>
                  </a:cubicBezTo>
                  <a:close/>
                  <a:moveTo>
                    <a:pt x="698" y="462"/>
                  </a:moveTo>
                  <a:cubicBezTo>
                    <a:pt x="698" y="462"/>
                    <a:pt x="698" y="462"/>
                    <a:pt x="698" y="462"/>
                  </a:cubicBezTo>
                  <a:cubicBezTo>
                    <a:pt x="699" y="462"/>
                    <a:pt x="699" y="462"/>
                    <a:pt x="699" y="461"/>
                  </a:cubicBezTo>
                  <a:cubicBezTo>
                    <a:pt x="699" y="461"/>
                    <a:pt x="699" y="461"/>
                    <a:pt x="699" y="461"/>
                  </a:cubicBezTo>
                  <a:cubicBezTo>
                    <a:pt x="699" y="460"/>
                    <a:pt x="698" y="460"/>
                    <a:pt x="698" y="460"/>
                  </a:cubicBezTo>
                  <a:cubicBezTo>
                    <a:pt x="698" y="461"/>
                    <a:pt x="698" y="460"/>
                    <a:pt x="698" y="460"/>
                  </a:cubicBezTo>
                  <a:cubicBezTo>
                    <a:pt x="698" y="460"/>
                    <a:pt x="698" y="460"/>
                    <a:pt x="698" y="460"/>
                  </a:cubicBezTo>
                  <a:cubicBezTo>
                    <a:pt x="697" y="460"/>
                    <a:pt x="697" y="461"/>
                    <a:pt x="698" y="462"/>
                  </a:cubicBezTo>
                  <a:close/>
                  <a:moveTo>
                    <a:pt x="687" y="459"/>
                  </a:moveTo>
                  <a:cubicBezTo>
                    <a:pt x="686" y="459"/>
                    <a:pt x="686" y="460"/>
                    <a:pt x="686" y="460"/>
                  </a:cubicBezTo>
                  <a:cubicBezTo>
                    <a:pt x="686" y="460"/>
                    <a:pt x="686" y="460"/>
                    <a:pt x="686" y="460"/>
                  </a:cubicBezTo>
                  <a:cubicBezTo>
                    <a:pt x="685" y="459"/>
                    <a:pt x="685" y="459"/>
                    <a:pt x="685" y="459"/>
                  </a:cubicBezTo>
                  <a:cubicBezTo>
                    <a:pt x="685" y="460"/>
                    <a:pt x="685" y="459"/>
                    <a:pt x="684" y="459"/>
                  </a:cubicBezTo>
                  <a:cubicBezTo>
                    <a:pt x="684" y="460"/>
                    <a:pt x="684" y="460"/>
                    <a:pt x="685" y="460"/>
                  </a:cubicBezTo>
                  <a:cubicBezTo>
                    <a:pt x="685" y="460"/>
                    <a:pt x="685" y="461"/>
                    <a:pt x="684" y="461"/>
                  </a:cubicBezTo>
                  <a:cubicBezTo>
                    <a:pt x="685" y="461"/>
                    <a:pt x="685" y="461"/>
                    <a:pt x="685" y="461"/>
                  </a:cubicBezTo>
                  <a:cubicBezTo>
                    <a:pt x="686" y="461"/>
                    <a:pt x="686" y="460"/>
                    <a:pt x="687" y="460"/>
                  </a:cubicBezTo>
                  <a:cubicBezTo>
                    <a:pt x="687" y="460"/>
                    <a:pt x="687" y="459"/>
                    <a:pt x="687" y="459"/>
                  </a:cubicBezTo>
                  <a:cubicBezTo>
                    <a:pt x="687" y="459"/>
                    <a:pt x="687" y="459"/>
                    <a:pt x="687" y="459"/>
                  </a:cubicBezTo>
                  <a:close/>
                  <a:moveTo>
                    <a:pt x="694" y="470"/>
                  </a:moveTo>
                  <a:cubicBezTo>
                    <a:pt x="694" y="470"/>
                    <a:pt x="694" y="470"/>
                    <a:pt x="695" y="470"/>
                  </a:cubicBezTo>
                  <a:cubicBezTo>
                    <a:pt x="695" y="470"/>
                    <a:pt x="695" y="470"/>
                    <a:pt x="695" y="470"/>
                  </a:cubicBezTo>
                  <a:cubicBezTo>
                    <a:pt x="696" y="470"/>
                    <a:pt x="696" y="470"/>
                    <a:pt x="696" y="470"/>
                  </a:cubicBezTo>
                  <a:cubicBezTo>
                    <a:pt x="696" y="469"/>
                    <a:pt x="696" y="468"/>
                    <a:pt x="695" y="468"/>
                  </a:cubicBezTo>
                  <a:cubicBezTo>
                    <a:pt x="695" y="468"/>
                    <a:pt x="695" y="469"/>
                    <a:pt x="695" y="469"/>
                  </a:cubicBezTo>
                  <a:cubicBezTo>
                    <a:pt x="694" y="469"/>
                    <a:pt x="694" y="469"/>
                    <a:pt x="694" y="469"/>
                  </a:cubicBezTo>
                  <a:cubicBezTo>
                    <a:pt x="694" y="470"/>
                    <a:pt x="694" y="470"/>
                    <a:pt x="694" y="470"/>
                  </a:cubicBezTo>
                  <a:close/>
                  <a:moveTo>
                    <a:pt x="690" y="459"/>
                  </a:moveTo>
                  <a:cubicBezTo>
                    <a:pt x="690" y="459"/>
                    <a:pt x="690" y="459"/>
                    <a:pt x="690" y="460"/>
                  </a:cubicBezTo>
                  <a:cubicBezTo>
                    <a:pt x="690" y="460"/>
                    <a:pt x="690" y="460"/>
                    <a:pt x="690" y="461"/>
                  </a:cubicBezTo>
                  <a:cubicBezTo>
                    <a:pt x="690" y="461"/>
                    <a:pt x="690" y="461"/>
                    <a:pt x="690" y="461"/>
                  </a:cubicBezTo>
                  <a:cubicBezTo>
                    <a:pt x="691" y="461"/>
                    <a:pt x="691" y="461"/>
                    <a:pt x="691" y="461"/>
                  </a:cubicBezTo>
                  <a:cubicBezTo>
                    <a:pt x="691" y="460"/>
                    <a:pt x="690" y="460"/>
                    <a:pt x="691" y="460"/>
                  </a:cubicBezTo>
                  <a:cubicBezTo>
                    <a:pt x="691" y="460"/>
                    <a:pt x="691" y="459"/>
                    <a:pt x="691" y="459"/>
                  </a:cubicBezTo>
                  <a:cubicBezTo>
                    <a:pt x="690" y="459"/>
                    <a:pt x="690" y="459"/>
                    <a:pt x="690" y="459"/>
                  </a:cubicBezTo>
                  <a:close/>
                  <a:moveTo>
                    <a:pt x="662" y="404"/>
                  </a:moveTo>
                  <a:cubicBezTo>
                    <a:pt x="663" y="404"/>
                    <a:pt x="663" y="404"/>
                    <a:pt x="663" y="403"/>
                  </a:cubicBezTo>
                  <a:cubicBezTo>
                    <a:pt x="663" y="403"/>
                    <a:pt x="663" y="403"/>
                    <a:pt x="663" y="403"/>
                  </a:cubicBezTo>
                  <a:cubicBezTo>
                    <a:pt x="662" y="403"/>
                    <a:pt x="661" y="404"/>
                    <a:pt x="661" y="404"/>
                  </a:cubicBezTo>
                  <a:cubicBezTo>
                    <a:pt x="662" y="404"/>
                    <a:pt x="662" y="404"/>
                    <a:pt x="662" y="404"/>
                  </a:cubicBezTo>
                  <a:close/>
                  <a:moveTo>
                    <a:pt x="701" y="455"/>
                  </a:moveTo>
                  <a:cubicBezTo>
                    <a:pt x="701" y="455"/>
                    <a:pt x="701" y="455"/>
                    <a:pt x="701" y="455"/>
                  </a:cubicBezTo>
                  <a:cubicBezTo>
                    <a:pt x="701" y="456"/>
                    <a:pt x="701" y="456"/>
                    <a:pt x="701" y="456"/>
                  </a:cubicBezTo>
                  <a:cubicBezTo>
                    <a:pt x="702" y="456"/>
                    <a:pt x="702" y="456"/>
                    <a:pt x="702" y="456"/>
                  </a:cubicBezTo>
                  <a:cubicBezTo>
                    <a:pt x="702" y="455"/>
                    <a:pt x="702" y="455"/>
                    <a:pt x="701" y="455"/>
                  </a:cubicBezTo>
                  <a:close/>
                  <a:moveTo>
                    <a:pt x="667" y="418"/>
                  </a:moveTo>
                  <a:cubicBezTo>
                    <a:pt x="667" y="418"/>
                    <a:pt x="668" y="419"/>
                    <a:pt x="668" y="419"/>
                  </a:cubicBezTo>
                  <a:cubicBezTo>
                    <a:pt x="668" y="419"/>
                    <a:pt x="668" y="419"/>
                    <a:pt x="668" y="419"/>
                  </a:cubicBezTo>
                  <a:cubicBezTo>
                    <a:pt x="668" y="418"/>
                    <a:pt x="667" y="418"/>
                    <a:pt x="667" y="418"/>
                  </a:cubicBezTo>
                  <a:cubicBezTo>
                    <a:pt x="667" y="418"/>
                    <a:pt x="667" y="418"/>
                    <a:pt x="667" y="418"/>
                  </a:cubicBezTo>
                  <a:close/>
                  <a:moveTo>
                    <a:pt x="714" y="484"/>
                  </a:moveTo>
                  <a:cubicBezTo>
                    <a:pt x="714" y="484"/>
                    <a:pt x="714" y="484"/>
                    <a:pt x="715" y="483"/>
                  </a:cubicBezTo>
                  <a:cubicBezTo>
                    <a:pt x="715" y="483"/>
                    <a:pt x="714" y="483"/>
                    <a:pt x="714" y="483"/>
                  </a:cubicBezTo>
                  <a:cubicBezTo>
                    <a:pt x="713" y="483"/>
                    <a:pt x="713" y="483"/>
                    <a:pt x="713" y="482"/>
                  </a:cubicBezTo>
                  <a:cubicBezTo>
                    <a:pt x="714" y="482"/>
                    <a:pt x="714" y="482"/>
                    <a:pt x="715" y="481"/>
                  </a:cubicBezTo>
                  <a:cubicBezTo>
                    <a:pt x="715" y="481"/>
                    <a:pt x="715" y="480"/>
                    <a:pt x="714" y="481"/>
                  </a:cubicBezTo>
                  <a:cubicBezTo>
                    <a:pt x="714" y="481"/>
                    <a:pt x="714" y="481"/>
                    <a:pt x="714" y="481"/>
                  </a:cubicBezTo>
                  <a:cubicBezTo>
                    <a:pt x="714" y="481"/>
                    <a:pt x="714" y="480"/>
                    <a:pt x="714" y="480"/>
                  </a:cubicBezTo>
                  <a:cubicBezTo>
                    <a:pt x="715" y="480"/>
                    <a:pt x="714" y="480"/>
                    <a:pt x="714" y="480"/>
                  </a:cubicBezTo>
                  <a:cubicBezTo>
                    <a:pt x="714" y="479"/>
                    <a:pt x="714" y="479"/>
                    <a:pt x="714" y="480"/>
                  </a:cubicBezTo>
                  <a:cubicBezTo>
                    <a:pt x="713" y="480"/>
                    <a:pt x="713" y="480"/>
                    <a:pt x="713" y="480"/>
                  </a:cubicBezTo>
                  <a:cubicBezTo>
                    <a:pt x="713" y="481"/>
                    <a:pt x="712" y="481"/>
                    <a:pt x="712" y="481"/>
                  </a:cubicBezTo>
                  <a:cubicBezTo>
                    <a:pt x="712" y="481"/>
                    <a:pt x="712" y="481"/>
                    <a:pt x="712" y="481"/>
                  </a:cubicBezTo>
                  <a:cubicBezTo>
                    <a:pt x="712" y="480"/>
                    <a:pt x="712" y="480"/>
                    <a:pt x="712" y="480"/>
                  </a:cubicBezTo>
                  <a:cubicBezTo>
                    <a:pt x="711" y="480"/>
                    <a:pt x="711" y="480"/>
                    <a:pt x="711" y="480"/>
                  </a:cubicBezTo>
                  <a:cubicBezTo>
                    <a:pt x="712" y="480"/>
                    <a:pt x="712" y="480"/>
                    <a:pt x="713" y="479"/>
                  </a:cubicBezTo>
                  <a:cubicBezTo>
                    <a:pt x="713" y="479"/>
                    <a:pt x="713" y="479"/>
                    <a:pt x="713" y="478"/>
                  </a:cubicBezTo>
                  <a:cubicBezTo>
                    <a:pt x="713" y="478"/>
                    <a:pt x="713" y="478"/>
                    <a:pt x="713" y="477"/>
                  </a:cubicBezTo>
                  <a:cubicBezTo>
                    <a:pt x="713" y="477"/>
                    <a:pt x="713" y="478"/>
                    <a:pt x="713" y="478"/>
                  </a:cubicBezTo>
                  <a:cubicBezTo>
                    <a:pt x="713" y="478"/>
                    <a:pt x="714" y="478"/>
                    <a:pt x="714" y="478"/>
                  </a:cubicBezTo>
                  <a:cubicBezTo>
                    <a:pt x="714" y="478"/>
                    <a:pt x="714" y="478"/>
                    <a:pt x="714" y="478"/>
                  </a:cubicBezTo>
                  <a:cubicBezTo>
                    <a:pt x="714" y="477"/>
                    <a:pt x="714" y="478"/>
                    <a:pt x="714" y="477"/>
                  </a:cubicBezTo>
                  <a:cubicBezTo>
                    <a:pt x="714" y="477"/>
                    <a:pt x="714" y="477"/>
                    <a:pt x="714" y="477"/>
                  </a:cubicBezTo>
                  <a:cubicBezTo>
                    <a:pt x="715" y="476"/>
                    <a:pt x="715" y="475"/>
                    <a:pt x="714" y="474"/>
                  </a:cubicBezTo>
                  <a:cubicBezTo>
                    <a:pt x="714" y="474"/>
                    <a:pt x="714" y="474"/>
                    <a:pt x="714" y="474"/>
                  </a:cubicBezTo>
                  <a:cubicBezTo>
                    <a:pt x="714" y="474"/>
                    <a:pt x="714" y="474"/>
                    <a:pt x="714" y="474"/>
                  </a:cubicBezTo>
                  <a:cubicBezTo>
                    <a:pt x="713" y="475"/>
                    <a:pt x="713" y="476"/>
                    <a:pt x="712" y="476"/>
                  </a:cubicBezTo>
                  <a:cubicBezTo>
                    <a:pt x="712" y="475"/>
                    <a:pt x="712" y="475"/>
                    <a:pt x="711" y="475"/>
                  </a:cubicBezTo>
                  <a:cubicBezTo>
                    <a:pt x="711" y="475"/>
                    <a:pt x="711" y="475"/>
                    <a:pt x="711" y="475"/>
                  </a:cubicBezTo>
                  <a:cubicBezTo>
                    <a:pt x="711" y="475"/>
                    <a:pt x="711" y="475"/>
                    <a:pt x="711" y="475"/>
                  </a:cubicBezTo>
                  <a:cubicBezTo>
                    <a:pt x="710" y="476"/>
                    <a:pt x="710" y="476"/>
                    <a:pt x="710" y="477"/>
                  </a:cubicBezTo>
                  <a:cubicBezTo>
                    <a:pt x="710" y="476"/>
                    <a:pt x="710" y="476"/>
                    <a:pt x="710" y="476"/>
                  </a:cubicBezTo>
                  <a:cubicBezTo>
                    <a:pt x="710" y="476"/>
                    <a:pt x="710" y="475"/>
                    <a:pt x="710" y="475"/>
                  </a:cubicBezTo>
                  <a:cubicBezTo>
                    <a:pt x="711" y="475"/>
                    <a:pt x="711" y="475"/>
                    <a:pt x="710" y="474"/>
                  </a:cubicBezTo>
                  <a:cubicBezTo>
                    <a:pt x="711" y="474"/>
                    <a:pt x="711" y="474"/>
                    <a:pt x="711" y="474"/>
                  </a:cubicBezTo>
                  <a:cubicBezTo>
                    <a:pt x="712" y="475"/>
                    <a:pt x="712" y="475"/>
                    <a:pt x="713" y="474"/>
                  </a:cubicBezTo>
                  <a:cubicBezTo>
                    <a:pt x="713" y="474"/>
                    <a:pt x="713" y="474"/>
                    <a:pt x="713" y="473"/>
                  </a:cubicBezTo>
                  <a:cubicBezTo>
                    <a:pt x="713" y="473"/>
                    <a:pt x="712" y="474"/>
                    <a:pt x="712" y="473"/>
                  </a:cubicBezTo>
                  <a:cubicBezTo>
                    <a:pt x="713" y="472"/>
                    <a:pt x="712" y="472"/>
                    <a:pt x="712" y="472"/>
                  </a:cubicBezTo>
                  <a:cubicBezTo>
                    <a:pt x="711" y="471"/>
                    <a:pt x="711" y="471"/>
                    <a:pt x="711" y="471"/>
                  </a:cubicBezTo>
                  <a:cubicBezTo>
                    <a:pt x="711" y="471"/>
                    <a:pt x="710" y="471"/>
                    <a:pt x="710" y="471"/>
                  </a:cubicBezTo>
                  <a:cubicBezTo>
                    <a:pt x="710" y="471"/>
                    <a:pt x="710" y="471"/>
                    <a:pt x="710" y="471"/>
                  </a:cubicBezTo>
                  <a:cubicBezTo>
                    <a:pt x="710" y="472"/>
                    <a:pt x="710" y="472"/>
                    <a:pt x="710" y="473"/>
                  </a:cubicBezTo>
                  <a:cubicBezTo>
                    <a:pt x="710" y="472"/>
                    <a:pt x="710" y="472"/>
                    <a:pt x="709" y="471"/>
                  </a:cubicBezTo>
                  <a:cubicBezTo>
                    <a:pt x="710" y="471"/>
                    <a:pt x="709" y="471"/>
                    <a:pt x="709" y="471"/>
                  </a:cubicBezTo>
                  <a:cubicBezTo>
                    <a:pt x="709" y="470"/>
                    <a:pt x="709" y="471"/>
                    <a:pt x="709" y="470"/>
                  </a:cubicBezTo>
                  <a:cubicBezTo>
                    <a:pt x="710" y="470"/>
                    <a:pt x="710" y="470"/>
                    <a:pt x="711" y="470"/>
                  </a:cubicBezTo>
                  <a:cubicBezTo>
                    <a:pt x="710" y="470"/>
                    <a:pt x="710" y="469"/>
                    <a:pt x="710" y="469"/>
                  </a:cubicBezTo>
                  <a:cubicBezTo>
                    <a:pt x="709" y="469"/>
                    <a:pt x="709" y="469"/>
                    <a:pt x="709" y="469"/>
                  </a:cubicBezTo>
                  <a:cubicBezTo>
                    <a:pt x="709" y="469"/>
                    <a:pt x="709" y="468"/>
                    <a:pt x="709" y="469"/>
                  </a:cubicBezTo>
                  <a:cubicBezTo>
                    <a:pt x="709" y="469"/>
                    <a:pt x="708" y="469"/>
                    <a:pt x="708" y="469"/>
                  </a:cubicBezTo>
                  <a:cubicBezTo>
                    <a:pt x="708" y="469"/>
                    <a:pt x="707" y="469"/>
                    <a:pt x="707" y="469"/>
                  </a:cubicBezTo>
                  <a:cubicBezTo>
                    <a:pt x="707" y="470"/>
                    <a:pt x="706" y="470"/>
                    <a:pt x="706" y="470"/>
                  </a:cubicBezTo>
                  <a:cubicBezTo>
                    <a:pt x="706" y="470"/>
                    <a:pt x="706" y="469"/>
                    <a:pt x="706" y="469"/>
                  </a:cubicBezTo>
                  <a:cubicBezTo>
                    <a:pt x="707" y="469"/>
                    <a:pt x="707" y="469"/>
                    <a:pt x="707" y="469"/>
                  </a:cubicBezTo>
                  <a:cubicBezTo>
                    <a:pt x="707" y="469"/>
                    <a:pt x="707" y="468"/>
                    <a:pt x="707" y="468"/>
                  </a:cubicBezTo>
                  <a:cubicBezTo>
                    <a:pt x="707" y="468"/>
                    <a:pt x="708" y="468"/>
                    <a:pt x="707" y="467"/>
                  </a:cubicBezTo>
                  <a:cubicBezTo>
                    <a:pt x="707" y="467"/>
                    <a:pt x="707" y="467"/>
                    <a:pt x="707" y="467"/>
                  </a:cubicBezTo>
                  <a:cubicBezTo>
                    <a:pt x="707" y="466"/>
                    <a:pt x="708" y="466"/>
                    <a:pt x="708" y="467"/>
                  </a:cubicBezTo>
                  <a:cubicBezTo>
                    <a:pt x="708" y="467"/>
                    <a:pt x="708" y="467"/>
                    <a:pt x="708" y="467"/>
                  </a:cubicBezTo>
                  <a:cubicBezTo>
                    <a:pt x="708" y="467"/>
                    <a:pt x="709" y="468"/>
                    <a:pt x="709" y="468"/>
                  </a:cubicBezTo>
                  <a:cubicBezTo>
                    <a:pt x="710" y="468"/>
                    <a:pt x="711" y="469"/>
                    <a:pt x="712" y="470"/>
                  </a:cubicBezTo>
                  <a:cubicBezTo>
                    <a:pt x="712" y="470"/>
                    <a:pt x="712" y="470"/>
                    <a:pt x="712" y="470"/>
                  </a:cubicBezTo>
                  <a:cubicBezTo>
                    <a:pt x="712" y="470"/>
                    <a:pt x="712" y="469"/>
                    <a:pt x="712" y="469"/>
                  </a:cubicBezTo>
                  <a:cubicBezTo>
                    <a:pt x="712" y="469"/>
                    <a:pt x="712" y="469"/>
                    <a:pt x="712" y="468"/>
                  </a:cubicBezTo>
                  <a:cubicBezTo>
                    <a:pt x="711" y="468"/>
                    <a:pt x="710" y="467"/>
                    <a:pt x="710" y="467"/>
                  </a:cubicBezTo>
                  <a:cubicBezTo>
                    <a:pt x="710" y="466"/>
                    <a:pt x="710" y="466"/>
                    <a:pt x="710" y="466"/>
                  </a:cubicBezTo>
                  <a:cubicBezTo>
                    <a:pt x="710" y="465"/>
                    <a:pt x="710" y="465"/>
                    <a:pt x="709" y="465"/>
                  </a:cubicBezTo>
                  <a:cubicBezTo>
                    <a:pt x="709" y="465"/>
                    <a:pt x="709" y="465"/>
                    <a:pt x="709" y="466"/>
                  </a:cubicBezTo>
                  <a:cubicBezTo>
                    <a:pt x="709" y="466"/>
                    <a:pt x="709" y="466"/>
                    <a:pt x="708" y="466"/>
                  </a:cubicBezTo>
                  <a:cubicBezTo>
                    <a:pt x="709" y="465"/>
                    <a:pt x="708" y="465"/>
                    <a:pt x="708" y="465"/>
                  </a:cubicBezTo>
                  <a:cubicBezTo>
                    <a:pt x="708" y="465"/>
                    <a:pt x="709" y="465"/>
                    <a:pt x="708" y="464"/>
                  </a:cubicBezTo>
                  <a:cubicBezTo>
                    <a:pt x="708" y="464"/>
                    <a:pt x="708" y="464"/>
                    <a:pt x="708" y="464"/>
                  </a:cubicBezTo>
                  <a:cubicBezTo>
                    <a:pt x="709" y="464"/>
                    <a:pt x="708" y="464"/>
                    <a:pt x="708" y="463"/>
                  </a:cubicBezTo>
                  <a:cubicBezTo>
                    <a:pt x="708" y="463"/>
                    <a:pt x="708" y="463"/>
                    <a:pt x="708" y="463"/>
                  </a:cubicBezTo>
                  <a:cubicBezTo>
                    <a:pt x="709" y="462"/>
                    <a:pt x="708" y="462"/>
                    <a:pt x="708" y="462"/>
                  </a:cubicBezTo>
                  <a:cubicBezTo>
                    <a:pt x="707" y="461"/>
                    <a:pt x="707" y="460"/>
                    <a:pt x="707" y="460"/>
                  </a:cubicBezTo>
                  <a:cubicBezTo>
                    <a:pt x="706" y="460"/>
                    <a:pt x="706" y="460"/>
                    <a:pt x="706" y="460"/>
                  </a:cubicBezTo>
                  <a:cubicBezTo>
                    <a:pt x="707" y="459"/>
                    <a:pt x="706" y="459"/>
                    <a:pt x="706" y="459"/>
                  </a:cubicBezTo>
                  <a:cubicBezTo>
                    <a:pt x="706" y="459"/>
                    <a:pt x="705" y="459"/>
                    <a:pt x="705" y="458"/>
                  </a:cubicBezTo>
                  <a:cubicBezTo>
                    <a:pt x="705" y="458"/>
                    <a:pt x="704" y="457"/>
                    <a:pt x="704" y="457"/>
                  </a:cubicBezTo>
                  <a:cubicBezTo>
                    <a:pt x="703" y="457"/>
                    <a:pt x="702" y="457"/>
                    <a:pt x="702" y="456"/>
                  </a:cubicBezTo>
                  <a:cubicBezTo>
                    <a:pt x="702" y="457"/>
                    <a:pt x="701" y="456"/>
                    <a:pt x="701" y="457"/>
                  </a:cubicBezTo>
                  <a:cubicBezTo>
                    <a:pt x="701" y="457"/>
                    <a:pt x="700" y="457"/>
                    <a:pt x="700" y="456"/>
                  </a:cubicBezTo>
                  <a:cubicBezTo>
                    <a:pt x="700" y="456"/>
                    <a:pt x="700" y="455"/>
                    <a:pt x="700" y="454"/>
                  </a:cubicBezTo>
                  <a:cubicBezTo>
                    <a:pt x="700" y="455"/>
                    <a:pt x="700" y="455"/>
                    <a:pt x="701" y="454"/>
                  </a:cubicBezTo>
                  <a:cubicBezTo>
                    <a:pt x="701" y="454"/>
                    <a:pt x="701" y="453"/>
                    <a:pt x="701" y="453"/>
                  </a:cubicBezTo>
                  <a:cubicBezTo>
                    <a:pt x="700" y="453"/>
                    <a:pt x="701" y="453"/>
                    <a:pt x="701" y="453"/>
                  </a:cubicBezTo>
                  <a:cubicBezTo>
                    <a:pt x="701" y="452"/>
                    <a:pt x="701" y="452"/>
                    <a:pt x="700" y="452"/>
                  </a:cubicBezTo>
                  <a:cubicBezTo>
                    <a:pt x="700" y="452"/>
                    <a:pt x="700" y="451"/>
                    <a:pt x="700" y="450"/>
                  </a:cubicBezTo>
                  <a:cubicBezTo>
                    <a:pt x="700" y="450"/>
                    <a:pt x="699" y="450"/>
                    <a:pt x="699" y="450"/>
                  </a:cubicBezTo>
                  <a:cubicBezTo>
                    <a:pt x="699" y="450"/>
                    <a:pt x="699" y="450"/>
                    <a:pt x="698" y="450"/>
                  </a:cubicBezTo>
                  <a:cubicBezTo>
                    <a:pt x="698" y="450"/>
                    <a:pt x="698" y="450"/>
                    <a:pt x="698" y="450"/>
                  </a:cubicBezTo>
                  <a:cubicBezTo>
                    <a:pt x="698" y="450"/>
                    <a:pt x="697" y="451"/>
                    <a:pt x="698" y="451"/>
                  </a:cubicBezTo>
                  <a:cubicBezTo>
                    <a:pt x="698" y="451"/>
                    <a:pt x="697" y="451"/>
                    <a:pt x="697" y="451"/>
                  </a:cubicBezTo>
                  <a:cubicBezTo>
                    <a:pt x="697" y="451"/>
                    <a:pt x="697" y="451"/>
                    <a:pt x="697" y="451"/>
                  </a:cubicBezTo>
                  <a:cubicBezTo>
                    <a:pt x="697" y="451"/>
                    <a:pt x="697" y="451"/>
                    <a:pt x="697" y="450"/>
                  </a:cubicBezTo>
                  <a:cubicBezTo>
                    <a:pt x="698" y="450"/>
                    <a:pt x="697" y="450"/>
                    <a:pt x="697" y="450"/>
                  </a:cubicBezTo>
                  <a:cubicBezTo>
                    <a:pt x="697" y="450"/>
                    <a:pt x="696" y="450"/>
                    <a:pt x="696" y="450"/>
                  </a:cubicBezTo>
                  <a:cubicBezTo>
                    <a:pt x="695" y="449"/>
                    <a:pt x="695" y="450"/>
                    <a:pt x="694" y="449"/>
                  </a:cubicBezTo>
                  <a:cubicBezTo>
                    <a:pt x="694" y="449"/>
                    <a:pt x="694" y="449"/>
                    <a:pt x="694" y="449"/>
                  </a:cubicBezTo>
                  <a:cubicBezTo>
                    <a:pt x="693" y="450"/>
                    <a:pt x="694" y="450"/>
                    <a:pt x="694" y="450"/>
                  </a:cubicBezTo>
                  <a:cubicBezTo>
                    <a:pt x="694" y="450"/>
                    <a:pt x="693" y="450"/>
                    <a:pt x="693" y="450"/>
                  </a:cubicBezTo>
                  <a:cubicBezTo>
                    <a:pt x="693" y="450"/>
                    <a:pt x="693" y="450"/>
                    <a:pt x="693" y="451"/>
                  </a:cubicBezTo>
                  <a:cubicBezTo>
                    <a:pt x="693" y="451"/>
                    <a:pt x="693" y="451"/>
                    <a:pt x="693" y="451"/>
                  </a:cubicBezTo>
                  <a:cubicBezTo>
                    <a:pt x="693" y="451"/>
                    <a:pt x="693" y="452"/>
                    <a:pt x="693" y="452"/>
                  </a:cubicBezTo>
                  <a:cubicBezTo>
                    <a:pt x="693" y="453"/>
                    <a:pt x="694" y="453"/>
                    <a:pt x="695" y="453"/>
                  </a:cubicBezTo>
                  <a:cubicBezTo>
                    <a:pt x="695" y="453"/>
                    <a:pt x="695" y="453"/>
                    <a:pt x="695" y="453"/>
                  </a:cubicBezTo>
                  <a:cubicBezTo>
                    <a:pt x="695" y="454"/>
                    <a:pt x="696" y="454"/>
                    <a:pt x="696" y="454"/>
                  </a:cubicBezTo>
                  <a:cubicBezTo>
                    <a:pt x="696" y="454"/>
                    <a:pt x="696" y="454"/>
                    <a:pt x="695" y="454"/>
                  </a:cubicBezTo>
                  <a:cubicBezTo>
                    <a:pt x="695" y="455"/>
                    <a:pt x="695" y="455"/>
                    <a:pt x="694" y="454"/>
                  </a:cubicBezTo>
                  <a:cubicBezTo>
                    <a:pt x="694" y="454"/>
                    <a:pt x="694" y="454"/>
                    <a:pt x="694" y="455"/>
                  </a:cubicBezTo>
                  <a:cubicBezTo>
                    <a:pt x="694" y="455"/>
                    <a:pt x="694" y="455"/>
                    <a:pt x="694" y="455"/>
                  </a:cubicBezTo>
                  <a:cubicBezTo>
                    <a:pt x="694" y="455"/>
                    <a:pt x="694" y="455"/>
                    <a:pt x="695" y="455"/>
                  </a:cubicBezTo>
                  <a:cubicBezTo>
                    <a:pt x="695" y="455"/>
                    <a:pt x="695" y="455"/>
                    <a:pt x="695" y="456"/>
                  </a:cubicBezTo>
                  <a:cubicBezTo>
                    <a:pt x="695" y="456"/>
                    <a:pt x="695" y="456"/>
                    <a:pt x="695" y="456"/>
                  </a:cubicBezTo>
                  <a:cubicBezTo>
                    <a:pt x="694" y="456"/>
                    <a:pt x="694" y="456"/>
                    <a:pt x="694" y="456"/>
                  </a:cubicBezTo>
                  <a:cubicBezTo>
                    <a:pt x="693" y="456"/>
                    <a:pt x="693" y="455"/>
                    <a:pt x="693" y="456"/>
                  </a:cubicBezTo>
                  <a:cubicBezTo>
                    <a:pt x="692" y="457"/>
                    <a:pt x="692" y="457"/>
                    <a:pt x="692" y="457"/>
                  </a:cubicBezTo>
                  <a:cubicBezTo>
                    <a:pt x="692" y="458"/>
                    <a:pt x="691" y="458"/>
                    <a:pt x="691" y="459"/>
                  </a:cubicBezTo>
                  <a:cubicBezTo>
                    <a:pt x="691" y="459"/>
                    <a:pt x="692" y="459"/>
                    <a:pt x="692" y="459"/>
                  </a:cubicBezTo>
                  <a:cubicBezTo>
                    <a:pt x="693" y="460"/>
                    <a:pt x="693" y="459"/>
                    <a:pt x="693" y="459"/>
                  </a:cubicBezTo>
                  <a:cubicBezTo>
                    <a:pt x="693" y="458"/>
                    <a:pt x="694" y="458"/>
                    <a:pt x="694" y="458"/>
                  </a:cubicBezTo>
                  <a:cubicBezTo>
                    <a:pt x="694" y="458"/>
                    <a:pt x="695" y="458"/>
                    <a:pt x="695" y="457"/>
                  </a:cubicBezTo>
                  <a:cubicBezTo>
                    <a:pt x="695" y="457"/>
                    <a:pt x="695" y="457"/>
                    <a:pt x="695" y="457"/>
                  </a:cubicBezTo>
                  <a:cubicBezTo>
                    <a:pt x="696" y="457"/>
                    <a:pt x="696" y="457"/>
                    <a:pt x="696" y="457"/>
                  </a:cubicBezTo>
                  <a:cubicBezTo>
                    <a:pt x="697" y="457"/>
                    <a:pt x="697" y="457"/>
                    <a:pt x="697" y="457"/>
                  </a:cubicBezTo>
                  <a:cubicBezTo>
                    <a:pt x="697" y="458"/>
                    <a:pt x="696" y="458"/>
                    <a:pt x="696" y="458"/>
                  </a:cubicBezTo>
                  <a:cubicBezTo>
                    <a:pt x="696" y="458"/>
                    <a:pt x="696" y="458"/>
                    <a:pt x="696" y="458"/>
                  </a:cubicBezTo>
                  <a:cubicBezTo>
                    <a:pt x="696" y="458"/>
                    <a:pt x="695" y="458"/>
                    <a:pt x="696" y="458"/>
                  </a:cubicBezTo>
                  <a:cubicBezTo>
                    <a:pt x="696" y="458"/>
                    <a:pt x="695" y="459"/>
                    <a:pt x="696" y="459"/>
                  </a:cubicBezTo>
                  <a:cubicBezTo>
                    <a:pt x="696" y="459"/>
                    <a:pt x="696" y="459"/>
                    <a:pt x="696" y="459"/>
                  </a:cubicBezTo>
                  <a:cubicBezTo>
                    <a:pt x="696" y="459"/>
                    <a:pt x="696" y="459"/>
                    <a:pt x="697" y="460"/>
                  </a:cubicBezTo>
                  <a:cubicBezTo>
                    <a:pt x="697" y="459"/>
                    <a:pt x="696" y="459"/>
                    <a:pt x="697" y="458"/>
                  </a:cubicBezTo>
                  <a:cubicBezTo>
                    <a:pt x="698" y="458"/>
                    <a:pt x="698" y="457"/>
                    <a:pt x="698" y="456"/>
                  </a:cubicBezTo>
                  <a:cubicBezTo>
                    <a:pt x="698" y="456"/>
                    <a:pt x="698" y="455"/>
                    <a:pt x="698" y="455"/>
                  </a:cubicBezTo>
                  <a:cubicBezTo>
                    <a:pt x="698" y="454"/>
                    <a:pt x="698" y="454"/>
                    <a:pt x="697" y="454"/>
                  </a:cubicBezTo>
                  <a:cubicBezTo>
                    <a:pt x="697" y="454"/>
                    <a:pt x="697" y="454"/>
                    <a:pt x="697" y="454"/>
                  </a:cubicBezTo>
                  <a:cubicBezTo>
                    <a:pt x="698" y="454"/>
                    <a:pt x="698" y="454"/>
                    <a:pt x="698" y="454"/>
                  </a:cubicBezTo>
                  <a:cubicBezTo>
                    <a:pt x="698" y="455"/>
                    <a:pt x="698" y="456"/>
                    <a:pt x="698" y="457"/>
                  </a:cubicBezTo>
                  <a:cubicBezTo>
                    <a:pt x="698" y="457"/>
                    <a:pt x="698" y="457"/>
                    <a:pt x="698" y="457"/>
                  </a:cubicBezTo>
                  <a:cubicBezTo>
                    <a:pt x="698" y="458"/>
                    <a:pt x="698" y="459"/>
                    <a:pt x="698" y="460"/>
                  </a:cubicBezTo>
                  <a:cubicBezTo>
                    <a:pt x="698" y="460"/>
                    <a:pt x="699" y="460"/>
                    <a:pt x="699" y="461"/>
                  </a:cubicBezTo>
                  <a:cubicBezTo>
                    <a:pt x="699" y="461"/>
                    <a:pt x="699" y="460"/>
                    <a:pt x="699" y="460"/>
                  </a:cubicBezTo>
                  <a:cubicBezTo>
                    <a:pt x="699" y="460"/>
                    <a:pt x="699" y="460"/>
                    <a:pt x="700" y="460"/>
                  </a:cubicBezTo>
                  <a:cubicBezTo>
                    <a:pt x="700" y="460"/>
                    <a:pt x="700" y="460"/>
                    <a:pt x="700" y="460"/>
                  </a:cubicBezTo>
                  <a:cubicBezTo>
                    <a:pt x="700" y="461"/>
                    <a:pt x="699" y="461"/>
                    <a:pt x="699" y="461"/>
                  </a:cubicBezTo>
                  <a:cubicBezTo>
                    <a:pt x="700" y="461"/>
                    <a:pt x="699" y="462"/>
                    <a:pt x="699" y="462"/>
                  </a:cubicBezTo>
                  <a:cubicBezTo>
                    <a:pt x="699" y="462"/>
                    <a:pt x="699" y="462"/>
                    <a:pt x="699" y="462"/>
                  </a:cubicBezTo>
                  <a:cubicBezTo>
                    <a:pt x="699" y="463"/>
                    <a:pt x="698" y="463"/>
                    <a:pt x="698" y="463"/>
                  </a:cubicBezTo>
                  <a:cubicBezTo>
                    <a:pt x="698" y="463"/>
                    <a:pt x="697" y="464"/>
                    <a:pt x="697" y="464"/>
                  </a:cubicBezTo>
                  <a:cubicBezTo>
                    <a:pt x="697" y="464"/>
                    <a:pt x="697" y="464"/>
                    <a:pt x="697" y="464"/>
                  </a:cubicBezTo>
                  <a:cubicBezTo>
                    <a:pt x="696" y="465"/>
                    <a:pt x="697" y="466"/>
                    <a:pt x="698" y="467"/>
                  </a:cubicBezTo>
                  <a:cubicBezTo>
                    <a:pt x="698" y="467"/>
                    <a:pt x="698" y="467"/>
                    <a:pt x="698" y="467"/>
                  </a:cubicBezTo>
                  <a:cubicBezTo>
                    <a:pt x="699" y="467"/>
                    <a:pt x="699" y="467"/>
                    <a:pt x="700" y="466"/>
                  </a:cubicBezTo>
                  <a:cubicBezTo>
                    <a:pt x="700" y="466"/>
                    <a:pt x="700" y="466"/>
                    <a:pt x="701" y="466"/>
                  </a:cubicBezTo>
                  <a:cubicBezTo>
                    <a:pt x="701" y="466"/>
                    <a:pt x="701" y="466"/>
                    <a:pt x="701" y="466"/>
                  </a:cubicBezTo>
                  <a:cubicBezTo>
                    <a:pt x="701" y="466"/>
                    <a:pt x="701" y="466"/>
                    <a:pt x="701" y="466"/>
                  </a:cubicBezTo>
                  <a:cubicBezTo>
                    <a:pt x="700" y="467"/>
                    <a:pt x="701" y="467"/>
                    <a:pt x="700" y="468"/>
                  </a:cubicBezTo>
                  <a:cubicBezTo>
                    <a:pt x="700" y="468"/>
                    <a:pt x="700" y="469"/>
                    <a:pt x="700" y="469"/>
                  </a:cubicBezTo>
                  <a:cubicBezTo>
                    <a:pt x="700" y="470"/>
                    <a:pt x="700" y="470"/>
                    <a:pt x="701" y="470"/>
                  </a:cubicBezTo>
                  <a:cubicBezTo>
                    <a:pt x="701" y="470"/>
                    <a:pt x="701" y="470"/>
                    <a:pt x="702" y="470"/>
                  </a:cubicBezTo>
                  <a:cubicBezTo>
                    <a:pt x="701" y="470"/>
                    <a:pt x="701" y="470"/>
                    <a:pt x="701" y="470"/>
                  </a:cubicBezTo>
                  <a:cubicBezTo>
                    <a:pt x="701" y="471"/>
                    <a:pt x="701" y="471"/>
                    <a:pt x="701" y="471"/>
                  </a:cubicBezTo>
                  <a:cubicBezTo>
                    <a:pt x="701" y="471"/>
                    <a:pt x="702" y="472"/>
                    <a:pt x="702" y="472"/>
                  </a:cubicBezTo>
                  <a:cubicBezTo>
                    <a:pt x="702" y="472"/>
                    <a:pt x="703" y="472"/>
                    <a:pt x="703" y="472"/>
                  </a:cubicBezTo>
                  <a:cubicBezTo>
                    <a:pt x="702" y="472"/>
                    <a:pt x="701" y="472"/>
                    <a:pt x="701" y="472"/>
                  </a:cubicBezTo>
                  <a:cubicBezTo>
                    <a:pt x="700" y="472"/>
                    <a:pt x="700" y="471"/>
                    <a:pt x="700" y="472"/>
                  </a:cubicBezTo>
                  <a:cubicBezTo>
                    <a:pt x="700" y="472"/>
                    <a:pt x="700" y="472"/>
                    <a:pt x="699" y="472"/>
                  </a:cubicBezTo>
                  <a:cubicBezTo>
                    <a:pt x="699" y="471"/>
                    <a:pt x="698" y="472"/>
                    <a:pt x="698" y="472"/>
                  </a:cubicBezTo>
                  <a:cubicBezTo>
                    <a:pt x="698" y="473"/>
                    <a:pt x="699" y="474"/>
                    <a:pt x="699" y="474"/>
                  </a:cubicBezTo>
                  <a:cubicBezTo>
                    <a:pt x="700" y="474"/>
                    <a:pt x="701" y="474"/>
                    <a:pt x="702" y="474"/>
                  </a:cubicBezTo>
                  <a:cubicBezTo>
                    <a:pt x="702" y="474"/>
                    <a:pt x="702" y="474"/>
                    <a:pt x="702" y="474"/>
                  </a:cubicBezTo>
                  <a:cubicBezTo>
                    <a:pt x="702" y="474"/>
                    <a:pt x="702" y="474"/>
                    <a:pt x="702" y="474"/>
                  </a:cubicBezTo>
                  <a:cubicBezTo>
                    <a:pt x="702" y="474"/>
                    <a:pt x="701" y="475"/>
                    <a:pt x="701" y="475"/>
                  </a:cubicBezTo>
                  <a:cubicBezTo>
                    <a:pt x="701" y="475"/>
                    <a:pt x="701" y="475"/>
                    <a:pt x="701" y="475"/>
                  </a:cubicBezTo>
                  <a:cubicBezTo>
                    <a:pt x="701" y="475"/>
                    <a:pt x="701" y="475"/>
                    <a:pt x="702" y="475"/>
                  </a:cubicBezTo>
                  <a:cubicBezTo>
                    <a:pt x="702" y="475"/>
                    <a:pt x="702" y="475"/>
                    <a:pt x="702" y="476"/>
                  </a:cubicBezTo>
                  <a:cubicBezTo>
                    <a:pt x="702" y="476"/>
                    <a:pt x="702" y="476"/>
                    <a:pt x="703" y="476"/>
                  </a:cubicBezTo>
                  <a:cubicBezTo>
                    <a:pt x="703" y="476"/>
                    <a:pt x="703" y="476"/>
                    <a:pt x="703" y="476"/>
                  </a:cubicBezTo>
                  <a:cubicBezTo>
                    <a:pt x="703" y="475"/>
                    <a:pt x="703" y="475"/>
                    <a:pt x="703" y="475"/>
                  </a:cubicBezTo>
                  <a:cubicBezTo>
                    <a:pt x="703" y="475"/>
                    <a:pt x="703" y="475"/>
                    <a:pt x="703" y="475"/>
                  </a:cubicBezTo>
                  <a:cubicBezTo>
                    <a:pt x="703" y="475"/>
                    <a:pt x="703" y="474"/>
                    <a:pt x="703" y="474"/>
                  </a:cubicBezTo>
                  <a:cubicBezTo>
                    <a:pt x="704" y="474"/>
                    <a:pt x="704" y="475"/>
                    <a:pt x="704" y="475"/>
                  </a:cubicBezTo>
                  <a:cubicBezTo>
                    <a:pt x="704" y="475"/>
                    <a:pt x="704" y="475"/>
                    <a:pt x="704" y="475"/>
                  </a:cubicBezTo>
                  <a:cubicBezTo>
                    <a:pt x="704" y="476"/>
                    <a:pt x="705" y="476"/>
                    <a:pt x="705" y="476"/>
                  </a:cubicBezTo>
                  <a:cubicBezTo>
                    <a:pt x="705" y="477"/>
                    <a:pt x="706" y="477"/>
                    <a:pt x="706" y="477"/>
                  </a:cubicBezTo>
                  <a:cubicBezTo>
                    <a:pt x="706" y="476"/>
                    <a:pt x="706" y="476"/>
                    <a:pt x="706" y="476"/>
                  </a:cubicBezTo>
                  <a:cubicBezTo>
                    <a:pt x="706" y="475"/>
                    <a:pt x="706" y="475"/>
                    <a:pt x="706" y="474"/>
                  </a:cubicBezTo>
                  <a:cubicBezTo>
                    <a:pt x="706" y="474"/>
                    <a:pt x="706" y="474"/>
                    <a:pt x="706" y="474"/>
                  </a:cubicBezTo>
                  <a:cubicBezTo>
                    <a:pt x="706" y="474"/>
                    <a:pt x="706" y="475"/>
                    <a:pt x="706" y="475"/>
                  </a:cubicBezTo>
                  <a:cubicBezTo>
                    <a:pt x="707" y="476"/>
                    <a:pt x="707" y="476"/>
                    <a:pt x="707" y="477"/>
                  </a:cubicBezTo>
                  <a:cubicBezTo>
                    <a:pt x="706" y="477"/>
                    <a:pt x="706" y="478"/>
                    <a:pt x="706" y="478"/>
                  </a:cubicBezTo>
                  <a:cubicBezTo>
                    <a:pt x="707" y="478"/>
                    <a:pt x="707" y="478"/>
                    <a:pt x="707" y="477"/>
                  </a:cubicBezTo>
                  <a:cubicBezTo>
                    <a:pt x="707" y="478"/>
                    <a:pt x="707" y="478"/>
                    <a:pt x="707" y="478"/>
                  </a:cubicBezTo>
                  <a:cubicBezTo>
                    <a:pt x="707" y="478"/>
                    <a:pt x="707" y="479"/>
                    <a:pt x="707" y="479"/>
                  </a:cubicBezTo>
                  <a:cubicBezTo>
                    <a:pt x="708" y="479"/>
                    <a:pt x="708" y="479"/>
                    <a:pt x="708" y="479"/>
                  </a:cubicBezTo>
                  <a:cubicBezTo>
                    <a:pt x="708" y="479"/>
                    <a:pt x="708" y="479"/>
                    <a:pt x="707" y="479"/>
                  </a:cubicBezTo>
                  <a:cubicBezTo>
                    <a:pt x="707" y="479"/>
                    <a:pt x="707" y="479"/>
                    <a:pt x="707" y="479"/>
                  </a:cubicBezTo>
                  <a:cubicBezTo>
                    <a:pt x="707" y="480"/>
                    <a:pt x="707" y="480"/>
                    <a:pt x="707" y="480"/>
                  </a:cubicBezTo>
                  <a:cubicBezTo>
                    <a:pt x="707" y="480"/>
                    <a:pt x="707" y="480"/>
                    <a:pt x="707" y="480"/>
                  </a:cubicBezTo>
                  <a:cubicBezTo>
                    <a:pt x="707" y="481"/>
                    <a:pt x="707" y="481"/>
                    <a:pt x="707" y="481"/>
                  </a:cubicBezTo>
                  <a:cubicBezTo>
                    <a:pt x="707" y="481"/>
                    <a:pt x="707" y="481"/>
                    <a:pt x="707" y="481"/>
                  </a:cubicBezTo>
                  <a:cubicBezTo>
                    <a:pt x="708" y="481"/>
                    <a:pt x="708" y="481"/>
                    <a:pt x="708" y="480"/>
                  </a:cubicBezTo>
                  <a:cubicBezTo>
                    <a:pt x="709" y="481"/>
                    <a:pt x="709" y="481"/>
                    <a:pt x="708" y="482"/>
                  </a:cubicBezTo>
                  <a:cubicBezTo>
                    <a:pt x="708" y="482"/>
                    <a:pt x="708" y="482"/>
                    <a:pt x="708" y="482"/>
                  </a:cubicBezTo>
                  <a:cubicBezTo>
                    <a:pt x="708" y="482"/>
                    <a:pt x="708" y="482"/>
                    <a:pt x="708" y="482"/>
                  </a:cubicBezTo>
                  <a:cubicBezTo>
                    <a:pt x="709" y="482"/>
                    <a:pt x="709" y="482"/>
                    <a:pt x="709" y="481"/>
                  </a:cubicBezTo>
                  <a:cubicBezTo>
                    <a:pt x="709" y="481"/>
                    <a:pt x="709" y="479"/>
                    <a:pt x="709" y="479"/>
                  </a:cubicBezTo>
                  <a:cubicBezTo>
                    <a:pt x="709" y="479"/>
                    <a:pt x="709" y="479"/>
                    <a:pt x="709" y="479"/>
                  </a:cubicBezTo>
                  <a:cubicBezTo>
                    <a:pt x="709" y="480"/>
                    <a:pt x="709" y="481"/>
                    <a:pt x="710" y="481"/>
                  </a:cubicBezTo>
                  <a:cubicBezTo>
                    <a:pt x="710" y="481"/>
                    <a:pt x="710" y="481"/>
                    <a:pt x="710" y="482"/>
                  </a:cubicBezTo>
                  <a:cubicBezTo>
                    <a:pt x="710" y="481"/>
                    <a:pt x="709" y="481"/>
                    <a:pt x="709" y="481"/>
                  </a:cubicBezTo>
                  <a:cubicBezTo>
                    <a:pt x="709" y="482"/>
                    <a:pt x="709" y="482"/>
                    <a:pt x="709" y="482"/>
                  </a:cubicBezTo>
                  <a:cubicBezTo>
                    <a:pt x="710" y="482"/>
                    <a:pt x="710" y="482"/>
                    <a:pt x="710" y="483"/>
                  </a:cubicBezTo>
                  <a:cubicBezTo>
                    <a:pt x="710" y="483"/>
                    <a:pt x="710" y="484"/>
                    <a:pt x="710" y="484"/>
                  </a:cubicBezTo>
                  <a:cubicBezTo>
                    <a:pt x="710" y="484"/>
                    <a:pt x="711" y="485"/>
                    <a:pt x="710" y="486"/>
                  </a:cubicBezTo>
                  <a:cubicBezTo>
                    <a:pt x="710" y="486"/>
                    <a:pt x="710" y="486"/>
                    <a:pt x="711" y="486"/>
                  </a:cubicBezTo>
                  <a:cubicBezTo>
                    <a:pt x="711" y="486"/>
                    <a:pt x="711" y="486"/>
                    <a:pt x="711" y="486"/>
                  </a:cubicBezTo>
                  <a:cubicBezTo>
                    <a:pt x="711" y="486"/>
                    <a:pt x="712" y="486"/>
                    <a:pt x="712" y="487"/>
                  </a:cubicBezTo>
                  <a:cubicBezTo>
                    <a:pt x="712" y="487"/>
                    <a:pt x="712" y="487"/>
                    <a:pt x="712" y="487"/>
                  </a:cubicBezTo>
                  <a:cubicBezTo>
                    <a:pt x="713" y="487"/>
                    <a:pt x="713" y="486"/>
                    <a:pt x="712" y="486"/>
                  </a:cubicBezTo>
                  <a:cubicBezTo>
                    <a:pt x="713" y="486"/>
                    <a:pt x="713" y="486"/>
                    <a:pt x="713" y="486"/>
                  </a:cubicBezTo>
                  <a:cubicBezTo>
                    <a:pt x="713" y="487"/>
                    <a:pt x="714" y="487"/>
                    <a:pt x="714" y="487"/>
                  </a:cubicBezTo>
                  <a:cubicBezTo>
                    <a:pt x="714" y="486"/>
                    <a:pt x="714" y="486"/>
                    <a:pt x="714" y="486"/>
                  </a:cubicBezTo>
                  <a:cubicBezTo>
                    <a:pt x="714" y="485"/>
                    <a:pt x="714" y="485"/>
                    <a:pt x="714" y="485"/>
                  </a:cubicBezTo>
                  <a:cubicBezTo>
                    <a:pt x="714" y="485"/>
                    <a:pt x="714" y="485"/>
                    <a:pt x="714" y="485"/>
                  </a:cubicBezTo>
                  <a:cubicBezTo>
                    <a:pt x="714" y="484"/>
                    <a:pt x="714" y="484"/>
                    <a:pt x="714" y="484"/>
                  </a:cubicBezTo>
                  <a:cubicBezTo>
                    <a:pt x="714" y="485"/>
                    <a:pt x="714" y="484"/>
                    <a:pt x="715" y="484"/>
                  </a:cubicBezTo>
                  <a:cubicBezTo>
                    <a:pt x="715" y="484"/>
                    <a:pt x="715" y="484"/>
                    <a:pt x="714" y="484"/>
                  </a:cubicBezTo>
                  <a:close/>
                  <a:moveTo>
                    <a:pt x="698" y="471"/>
                  </a:moveTo>
                  <a:cubicBezTo>
                    <a:pt x="698" y="471"/>
                    <a:pt x="698" y="471"/>
                    <a:pt x="699" y="470"/>
                  </a:cubicBezTo>
                  <a:cubicBezTo>
                    <a:pt x="699" y="470"/>
                    <a:pt x="698" y="470"/>
                    <a:pt x="698" y="470"/>
                  </a:cubicBezTo>
                  <a:cubicBezTo>
                    <a:pt x="698" y="470"/>
                    <a:pt x="698" y="470"/>
                    <a:pt x="698" y="471"/>
                  </a:cubicBezTo>
                  <a:cubicBezTo>
                    <a:pt x="698" y="471"/>
                    <a:pt x="697" y="471"/>
                    <a:pt x="698" y="471"/>
                  </a:cubicBezTo>
                  <a:close/>
                  <a:moveTo>
                    <a:pt x="659" y="405"/>
                  </a:moveTo>
                  <a:cubicBezTo>
                    <a:pt x="659" y="405"/>
                    <a:pt x="660" y="405"/>
                    <a:pt x="659" y="405"/>
                  </a:cubicBezTo>
                  <a:cubicBezTo>
                    <a:pt x="659" y="404"/>
                    <a:pt x="659" y="404"/>
                    <a:pt x="659" y="404"/>
                  </a:cubicBezTo>
                  <a:cubicBezTo>
                    <a:pt x="659" y="404"/>
                    <a:pt x="659" y="404"/>
                    <a:pt x="659" y="404"/>
                  </a:cubicBezTo>
                  <a:cubicBezTo>
                    <a:pt x="659" y="405"/>
                    <a:pt x="659" y="405"/>
                    <a:pt x="659" y="405"/>
                  </a:cubicBezTo>
                  <a:close/>
                  <a:moveTo>
                    <a:pt x="702" y="453"/>
                  </a:moveTo>
                  <a:cubicBezTo>
                    <a:pt x="702" y="453"/>
                    <a:pt x="703" y="453"/>
                    <a:pt x="703" y="452"/>
                  </a:cubicBezTo>
                  <a:cubicBezTo>
                    <a:pt x="702" y="452"/>
                    <a:pt x="702" y="452"/>
                    <a:pt x="702" y="452"/>
                  </a:cubicBezTo>
                  <a:cubicBezTo>
                    <a:pt x="702" y="452"/>
                    <a:pt x="702" y="452"/>
                    <a:pt x="702" y="452"/>
                  </a:cubicBezTo>
                  <a:cubicBezTo>
                    <a:pt x="702" y="453"/>
                    <a:pt x="702" y="453"/>
                    <a:pt x="702" y="453"/>
                  </a:cubicBezTo>
                  <a:close/>
                  <a:moveTo>
                    <a:pt x="703" y="454"/>
                  </a:moveTo>
                  <a:cubicBezTo>
                    <a:pt x="703" y="455"/>
                    <a:pt x="703" y="455"/>
                    <a:pt x="703" y="455"/>
                  </a:cubicBezTo>
                  <a:cubicBezTo>
                    <a:pt x="703" y="455"/>
                    <a:pt x="703" y="455"/>
                    <a:pt x="703" y="455"/>
                  </a:cubicBezTo>
                  <a:cubicBezTo>
                    <a:pt x="703" y="454"/>
                    <a:pt x="703" y="454"/>
                    <a:pt x="703" y="454"/>
                  </a:cubicBezTo>
                  <a:cubicBezTo>
                    <a:pt x="703" y="454"/>
                    <a:pt x="703" y="454"/>
                    <a:pt x="703" y="454"/>
                  </a:cubicBezTo>
                  <a:close/>
                  <a:moveTo>
                    <a:pt x="694" y="466"/>
                  </a:moveTo>
                  <a:cubicBezTo>
                    <a:pt x="694" y="466"/>
                    <a:pt x="694" y="466"/>
                    <a:pt x="694" y="466"/>
                  </a:cubicBezTo>
                  <a:cubicBezTo>
                    <a:pt x="694" y="466"/>
                    <a:pt x="694" y="466"/>
                    <a:pt x="694" y="466"/>
                  </a:cubicBezTo>
                  <a:cubicBezTo>
                    <a:pt x="695" y="466"/>
                    <a:pt x="695" y="465"/>
                    <a:pt x="695" y="465"/>
                  </a:cubicBezTo>
                  <a:cubicBezTo>
                    <a:pt x="695" y="465"/>
                    <a:pt x="694" y="465"/>
                    <a:pt x="694" y="465"/>
                  </a:cubicBezTo>
                  <a:cubicBezTo>
                    <a:pt x="694" y="465"/>
                    <a:pt x="695" y="465"/>
                    <a:pt x="694" y="466"/>
                  </a:cubicBezTo>
                  <a:close/>
                  <a:moveTo>
                    <a:pt x="692" y="447"/>
                  </a:moveTo>
                  <a:cubicBezTo>
                    <a:pt x="692" y="446"/>
                    <a:pt x="691" y="446"/>
                    <a:pt x="691" y="446"/>
                  </a:cubicBezTo>
                  <a:cubicBezTo>
                    <a:pt x="691" y="446"/>
                    <a:pt x="691" y="447"/>
                    <a:pt x="691" y="447"/>
                  </a:cubicBezTo>
                  <a:cubicBezTo>
                    <a:pt x="692" y="447"/>
                    <a:pt x="692" y="447"/>
                    <a:pt x="692" y="447"/>
                  </a:cubicBezTo>
                  <a:close/>
                  <a:moveTo>
                    <a:pt x="696" y="471"/>
                  </a:moveTo>
                  <a:cubicBezTo>
                    <a:pt x="696" y="471"/>
                    <a:pt x="696" y="471"/>
                    <a:pt x="696" y="471"/>
                  </a:cubicBezTo>
                  <a:cubicBezTo>
                    <a:pt x="696" y="471"/>
                    <a:pt x="696" y="471"/>
                    <a:pt x="696" y="471"/>
                  </a:cubicBezTo>
                  <a:cubicBezTo>
                    <a:pt x="696" y="471"/>
                    <a:pt x="696" y="470"/>
                    <a:pt x="696" y="471"/>
                  </a:cubicBezTo>
                  <a:cubicBezTo>
                    <a:pt x="696" y="471"/>
                    <a:pt x="696" y="471"/>
                    <a:pt x="696" y="471"/>
                  </a:cubicBezTo>
                  <a:cubicBezTo>
                    <a:pt x="696" y="471"/>
                    <a:pt x="696" y="471"/>
                    <a:pt x="696" y="471"/>
                  </a:cubicBezTo>
                  <a:close/>
                  <a:moveTo>
                    <a:pt x="706" y="446"/>
                  </a:moveTo>
                  <a:cubicBezTo>
                    <a:pt x="706" y="447"/>
                    <a:pt x="706" y="447"/>
                    <a:pt x="707" y="447"/>
                  </a:cubicBezTo>
                  <a:cubicBezTo>
                    <a:pt x="707" y="447"/>
                    <a:pt x="707" y="447"/>
                    <a:pt x="707" y="447"/>
                  </a:cubicBezTo>
                  <a:cubicBezTo>
                    <a:pt x="707" y="447"/>
                    <a:pt x="707" y="446"/>
                    <a:pt x="706" y="446"/>
                  </a:cubicBezTo>
                  <a:cubicBezTo>
                    <a:pt x="706" y="446"/>
                    <a:pt x="706" y="446"/>
                    <a:pt x="706" y="446"/>
                  </a:cubicBezTo>
                  <a:close/>
                  <a:moveTo>
                    <a:pt x="708" y="445"/>
                  </a:moveTo>
                  <a:cubicBezTo>
                    <a:pt x="708" y="445"/>
                    <a:pt x="708" y="445"/>
                    <a:pt x="707" y="445"/>
                  </a:cubicBezTo>
                  <a:cubicBezTo>
                    <a:pt x="707" y="445"/>
                    <a:pt x="707" y="445"/>
                    <a:pt x="707" y="445"/>
                  </a:cubicBezTo>
                  <a:cubicBezTo>
                    <a:pt x="707" y="445"/>
                    <a:pt x="708" y="445"/>
                    <a:pt x="708" y="445"/>
                  </a:cubicBezTo>
                  <a:close/>
                  <a:moveTo>
                    <a:pt x="695" y="454"/>
                  </a:moveTo>
                  <a:cubicBezTo>
                    <a:pt x="695" y="454"/>
                    <a:pt x="695" y="454"/>
                    <a:pt x="695" y="454"/>
                  </a:cubicBezTo>
                  <a:cubicBezTo>
                    <a:pt x="695" y="454"/>
                    <a:pt x="695" y="454"/>
                    <a:pt x="694" y="454"/>
                  </a:cubicBezTo>
                  <a:cubicBezTo>
                    <a:pt x="695" y="454"/>
                    <a:pt x="695" y="455"/>
                    <a:pt x="695" y="454"/>
                  </a:cubicBezTo>
                  <a:close/>
                  <a:moveTo>
                    <a:pt x="697" y="459"/>
                  </a:moveTo>
                  <a:cubicBezTo>
                    <a:pt x="698" y="459"/>
                    <a:pt x="698" y="459"/>
                    <a:pt x="697" y="459"/>
                  </a:cubicBezTo>
                  <a:cubicBezTo>
                    <a:pt x="697" y="459"/>
                    <a:pt x="697" y="459"/>
                    <a:pt x="697" y="459"/>
                  </a:cubicBezTo>
                  <a:close/>
                  <a:moveTo>
                    <a:pt x="707" y="446"/>
                  </a:moveTo>
                  <a:cubicBezTo>
                    <a:pt x="707" y="446"/>
                    <a:pt x="707" y="446"/>
                    <a:pt x="707" y="446"/>
                  </a:cubicBezTo>
                  <a:cubicBezTo>
                    <a:pt x="707" y="446"/>
                    <a:pt x="707" y="446"/>
                    <a:pt x="707" y="446"/>
                  </a:cubicBezTo>
                  <a:cubicBezTo>
                    <a:pt x="707" y="446"/>
                    <a:pt x="707" y="446"/>
                    <a:pt x="707" y="446"/>
                  </a:cubicBezTo>
                  <a:cubicBezTo>
                    <a:pt x="707" y="446"/>
                    <a:pt x="707" y="446"/>
                    <a:pt x="707" y="446"/>
                  </a:cubicBezTo>
                  <a:close/>
                  <a:moveTo>
                    <a:pt x="702" y="451"/>
                  </a:moveTo>
                  <a:cubicBezTo>
                    <a:pt x="702" y="451"/>
                    <a:pt x="702" y="451"/>
                    <a:pt x="702" y="451"/>
                  </a:cubicBezTo>
                  <a:cubicBezTo>
                    <a:pt x="702" y="451"/>
                    <a:pt x="702" y="451"/>
                    <a:pt x="702" y="452"/>
                  </a:cubicBezTo>
                  <a:cubicBezTo>
                    <a:pt x="702" y="452"/>
                    <a:pt x="702" y="452"/>
                    <a:pt x="702" y="451"/>
                  </a:cubicBezTo>
                  <a:close/>
                  <a:moveTo>
                    <a:pt x="709" y="445"/>
                  </a:moveTo>
                  <a:cubicBezTo>
                    <a:pt x="709" y="445"/>
                    <a:pt x="709" y="445"/>
                    <a:pt x="709" y="445"/>
                  </a:cubicBezTo>
                  <a:cubicBezTo>
                    <a:pt x="709" y="445"/>
                    <a:pt x="708" y="445"/>
                    <a:pt x="708" y="445"/>
                  </a:cubicBezTo>
                  <a:cubicBezTo>
                    <a:pt x="708" y="445"/>
                    <a:pt x="708" y="445"/>
                    <a:pt x="709" y="445"/>
                  </a:cubicBezTo>
                  <a:close/>
                  <a:moveTo>
                    <a:pt x="701" y="474"/>
                  </a:moveTo>
                  <a:cubicBezTo>
                    <a:pt x="701" y="474"/>
                    <a:pt x="701" y="474"/>
                    <a:pt x="701" y="474"/>
                  </a:cubicBezTo>
                  <a:cubicBezTo>
                    <a:pt x="701" y="474"/>
                    <a:pt x="701" y="474"/>
                    <a:pt x="701" y="474"/>
                  </a:cubicBezTo>
                  <a:cubicBezTo>
                    <a:pt x="701" y="474"/>
                    <a:pt x="701" y="474"/>
                    <a:pt x="701" y="474"/>
                  </a:cubicBezTo>
                  <a:cubicBezTo>
                    <a:pt x="701" y="474"/>
                    <a:pt x="701" y="474"/>
                    <a:pt x="701" y="474"/>
                  </a:cubicBezTo>
                  <a:close/>
                  <a:moveTo>
                    <a:pt x="660" y="417"/>
                  </a:moveTo>
                  <a:cubicBezTo>
                    <a:pt x="660" y="417"/>
                    <a:pt x="660" y="417"/>
                    <a:pt x="660" y="418"/>
                  </a:cubicBezTo>
                  <a:cubicBezTo>
                    <a:pt x="660" y="418"/>
                    <a:pt x="660" y="418"/>
                    <a:pt x="660" y="418"/>
                  </a:cubicBezTo>
                  <a:cubicBezTo>
                    <a:pt x="660" y="418"/>
                    <a:pt x="660" y="418"/>
                    <a:pt x="660" y="418"/>
                  </a:cubicBezTo>
                  <a:cubicBezTo>
                    <a:pt x="660" y="417"/>
                    <a:pt x="660" y="417"/>
                    <a:pt x="660" y="417"/>
                  </a:cubicBezTo>
                  <a:close/>
                  <a:moveTo>
                    <a:pt x="700" y="467"/>
                  </a:moveTo>
                  <a:cubicBezTo>
                    <a:pt x="700" y="468"/>
                    <a:pt x="700" y="468"/>
                    <a:pt x="699" y="468"/>
                  </a:cubicBezTo>
                  <a:cubicBezTo>
                    <a:pt x="700" y="468"/>
                    <a:pt x="700" y="468"/>
                    <a:pt x="700" y="467"/>
                  </a:cubicBezTo>
                  <a:close/>
                  <a:moveTo>
                    <a:pt x="691" y="420"/>
                  </a:moveTo>
                  <a:cubicBezTo>
                    <a:pt x="691" y="420"/>
                    <a:pt x="691" y="420"/>
                    <a:pt x="691" y="420"/>
                  </a:cubicBezTo>
                  <a:cubicBezTo>
                    <a:pt x="691" y="420"/>
                    <a:pt x="691" y="420"/>
                    <a:pt x="691" y="420"/>
                  </a:cubicBezTo>
                  <a:cubicBezTo>
                    <a:pt x="691" y="419"/>
                    <a:pt x="690" y="418"/>
                    <a:pt x="689" y="418"/>
                  </a:cubicBezTo>
                  <a:cubicBezTo>
                    <a:pt x="689" y="417"/>
                    <a:pt x="689" y="416"/>
                    <a:pt x="689" y="415"/>
                  </a:cubicBezTo>
                  <a:cubicBezTo>
                    <a:pt x="689" y="415"/>
                    <a:pt x="689" y="415"/>
                    <a:pt x="688" y="414"/>
                  </a:cubicBezTo>
                  <a:cubicBezTo>
                    <a:pt x="687" y="414"/>
                    <a:pt x="687" y="413"/>
                    <a:pt x="687" y="412"/>
                  </a:cubicBezTo>
                  <a:cubicBezTo>
                    <a:pt x="687" y="412"/>
                    <a:pt x="687" y="411"/>
                    <a:pt x="687" y="411"/>
                  </a:cubicBezTo>
                  <a:cubicBezTo>
                    <a:pt x="686" y="411"/>
                    <a:pt x="686" y="410"/>
                    <a:pt x="686" y="410"/>
                  </a:cubicBezTo>
                  <a:cubicBezTo>
                    <a:pt x="686" y="409"/>
                    <a:pt x="686" y="409"/>
                    <a:pt x="685" y="409"/>
                  </a:cubicBezTo>
                  <a:cubicBezTo>
                    <a:pt x="685" y="409"/>
                    <a:pt x="686" y="410"/>
                    <a:pt x="685" y="410"/>
                  </a:cubicBezTo>
                  <a:cubicBezTo>
                    <a:pt x="685" y="410"/>
                    <a:pt x="685" y="410"/>
                    <a:pt x="686" y="410"/>
                  </a:cubicBezTo>
                  <a:cubicBezTo>
                    <a:pt x="686" y="411"/>
                    <a:pt x="686" y="411"/>
                    <a:pt x="686" y="411"/>
                  </a:cubicBezTo>
                  <a:cubicBezTo>
                    <a:pt x="686" y="411"/>
                    <a:pt x="685" y="411"/>
                    <a:pt x="685" y="411"/>
                  </a:cubicBezTo>
                  <a:cubicBezTo>
                    <a:pt x="685" y="411"/>
                    <a:pt x="685" y="411"/>
                    <a:pt x="685" y="412"/>
                  </a:cubicBezTo>
                  <a:cubicBezTo>
                    <a:pt x="685" y="412"/>
                    <a:pt x="685" y="412"/>
                    <a:pt x="685" y="412"/>
                  </a:cubicBezTo>
                  <a:cubicBezTo>
                    <a:pt x="686" y="412"/>
                    <a:pt x="686" y="413"/>
                    <a:pt x="685" y="413"/>
                  </a:cubicBezTo>
                  <a:cubicBezTo>
                    <a:pt x="685" y="414"/>
                    <a:pt x="685" y="414"/>
                    <a:pt x="685" y="414"/>
                  </a:cubicBezTo>
                  <a:cubicBezTo>
                    <a:pt x="685" y="414"/>
                    <a:pt x="685" y="414"/>
                    <a:pt x="685" y="414"/>
                  </a:cubicBezTo>
                  <a:cubicBezTo>
                    <a:pt x="686" y="414"/>
                    <a:pt x="686" y="413"/>
                    <a:pt x="686" y="414"/>
                  </a:cubicBezTo>
                  <a:cubicBezTo>
                    <a:pt x="687" y="415"/>
                    <a:pt x="687" y="416"/>
                    <a:pt x="688" y="418"/>
                  </a:cubicBezTo>
                  <a:cubicBezTo>
                    <a:pt x="688" y="418"/>
                    <a:pt x="688" y="418"/>
                    <a:pt x="689" y="419"/>
                  </a:cubicBezTo>
                  <a:cubicBezTo>
                    <a:pt x="689" y="419"/>
                    <a:pt x="689" y="419"/>
                    <a:pt x="689" y="419"/>
                  </a:cubicBezTo>
                  <a:cubicBezTo>
                    <a:pt x="690" y="419"/>
                    <a:pt x="690" y="419"/>
                    <a:pt x="690" y="420"/>
                  </a:cubicBezTo>
                  <a:cubicBezTo>
                    <a:pt x="689" y="421"/>
                    <a:pt x="690" y="421"/>
                    <a:pt x="690" y="422"/>
                  </a:cubicBezTo>
                  <a:cubicBezTo>
                    <a:pt x="690" y="422"/>
                    <a:pt x="690" y="422"/>
                    <a:pt x="690" y="423"/>
                  </a:cubicBezTo>
                  <a:cubicBezTo>
                    <a:pt x="690" y="422"/>
                    <a:pt x="690" y="422"/>
                    <a:pt x="690" y="422"/>
                  </a:cubicBezTo>
                  <a:cubicBezTo>
                    <a:pt x="689" y="423"/>
                    <a:pt x="689" y="422"/>
                    <a:pt x="689" y="422"/>
                  </a:cubicBezTo>
                  <a:cubicBezTo>
                    <a:pt x="688" y="422"/>
                    <a:pt x="688" y="422"/>
                    <a:pt x="688" y="423"/>
                  </a:cubicBezTo>
                  <a:cubicBezTo>
                    <a:pt x="688" y="423"/>
                    <a:pt x="688" y="423"/>
                    <a:pt x="688" y="423"/>
                  </a:cubicBezTo>
                  <a:cubicBezTo>
                    <a:pt x="688" y="423"/>
                    <a:pt x="688" y="423"/>
                    <a:pt x="688" y="423"/>
                  </a:cubicBezTo>
                  <a:cubicBezTo>
                    <a:pt x="689" y="423"/>
                    <a:pt x="689" y="423"/>
                    <a:pt x="689" y="424"/>
                  </a:cubicBezTo>
                  <a:cubicBezTo>
                    <a:pt x="689" y="424"/>
                    <a:pt x="689" y="424"/>
                    <a:pt x="690" y="424"/>
                  </a:cubicBezTo>
                  <a:cubicBezTo>
                    <a:pt x="690" y="424"/>
                    <a:pt x="690" y="424"/>
                    <a:pt x="690" y="424"/>
                  </a:cubicBezTo>
                  <a:cubicBezTo>
                    <a:pt x="691" y="425"/>
                    <a:pt x="691" y="425"/>
                    <a:pt x="690" y="426"/>
                  </a:cubicBezTo>
                  <a:cubicBezTo>
                    <a:pt x="690" y="426"/>
                    <a:pt x="690" y="426"/>
                    <a:pt x="689" y="426"/>
                  </a:cubicBezTo>
                  <a:cubicBezTo>
                    <a:pt x="689" y="427"/>
                    <a:pt x="689" y="427"/>
                    <a:pt x="689" y="426"/>
                  </a:cubicBezTo>
                  <a:cubicBezTo>
                    <a:pt x="689" y="426"/>
                    <a:pt x="688" y="426"/>
                    <a:pt x="688" y="425"/>
                  </a:cubicBezTo>
                  <a:cubicBezTo>
                    <a:pt x="688" y="425"/>
                    <a:pt x="688" y="426"/>
                    <a:pt x="688" y="426"/>
                  </a:cubicBezTo>
                  <a:cubicBezTo>
                    <a:pt x="688" y="426"/>
                    <a:pt x="688" y="426"/>
                    <a:pt x="688" y="426"/>
                  </a:cubicBezTo>
                  <a:cubicBezTo>
                    <a:pt x="687" y="425"/>
                    <a:pt x="687" y="425"/>
                    <a:pt x="687" y="425"/>
                  </a:cubicBezTo>
                  <a:cubicBezTo>
                    <a:pt x="687" y="425"/>
                    <a:pt x="687" y="425"/>
                    <a:pt x="687" y="425"/>
                  </a:cubicBezTo>
                  <a:cubicBezTo>
                    <a:pt x="687" y="425"/>
                    <a:pt x="687" y="425"/>
                    <a:pt x="687" y="425"/>
                  </a:cubicBezTo>
                  <a:cubicBezTo>
                    <a:pt x="687" y="426"/>
                    <a:pt x="687" y="426"/>
                    <a:pt x="687" y="427"/>
                  </a:cubicBezTo>
                  <a:cubicBezTo>
                    <a:pt x="688" y="427"/>
                    <a:pt x="688" y="427"/>
                    <a:pt x="688" y="428"/>
                  </a:cubicBezTo>
                  <a:cubicBezTo>
                    <a:pt x="688" y="428"/>
                    <a:pt x="688" y="428"/>
                    <a:pt x="687" y="428"/>
                  </a:cubicBezTo>
                  <a:cubicBezTo>
                    <a:pt x="687" y="427"/>
                    <a:pt x="687" y="428"/>
                    <a:pt x="687" y="428"/>
                  </a:cubicBezTo>
                  <a:cubicBezTo>
                    <a:pt x="687" y="428"/>
                    <a:pt x="687" y="429"/>
                    <a:pt x="687" y="429"/>
                  </a:cubicBezTo>
                  <a:cubicBezTo>
                    <a:pt x="687" y="429"/>
                    <a:pt x="687" y="429"/>
                    <a:pt x="686" y="429"/>
                  </a:cubicBezTo>
                  <a:cubicBezTo>
                    <a:pt x="686" y="430"/>
                    <a:pt x="686" y="429"/>
                    <a:pt x="686" y="429"/>
                  </a:cubicBezTo>
                  <a:cubicBezTo>
                    <a:pt x="685" y="430"/>
                    <a:pt x="685" y="429"/>
                    <a:pt x="685" y="429"/>
                  </a:cubicBezTo>
                  <a:cubicBezTo>
                    <a:pt x="685" y="429"/>
                    <a:pt x="686" y="428"/>
                    <a:pt x="685" y="428"/>
                  </a:cubicBezTo>
                  <a:cubicBezTo>
                    <a:pt x="685" y="429"/>
                    <a:pt x="685" y="429"/>
                    <a:pt x="685" y="430"/>
                  </a:cubicBezTo>
                  <a:cubicBezTo>
                    <a:pt x="685" y="430"/>
                    <a:pt x="685" y="430"/>
                    <a:pt x="685" y="430"/>
                  </a:cubicBezTo>
                  <a:cubicBezTo>
                    <a:pt x="685" y="430"/>
                    <a:pt x="685" y="431"/>
                    <a:pt x="684" y="431"/>
                  </a:cubicBezTo>
                  <a:cubicBezTo>
                    <a:pt x="684" y="431"/>
                    <a:pt x="684" y="431"/>
                    <a:pt x="684" y="431"/>
                  </a:cubicBezTo>
                  <a:cubicBezTo>
                    <a:pt x="684" y="432"/>
                    <a:pt x="684" y="432"/>
                    <a:pt x="684" y="432"/>
                  </a:cubicBezTo>
                  <a:cubicBezTo>
                    <a:pt x="683" y="432"/>
                    <a:pt x="683" y="432"/>
                    <a:pt x="683" y="433"/>
                  </a:cubicBezTo>
                  <a:cubicBezTo>
                    <a:pt x="683" y="433"/>
                    <a:pt x="683" y="433"/>
                    <a:pt x="683" y="433"/>
                  </a:cubicBezTo>
                  <a:cubicBezTo>
                    <a:pt x="682" y="433"/>
                    <a:pt x="682" y="433"/>
                    <a:pt x="681" y="433"/>
                  </a:cubicBezTo>
                  <a:cubicBezTo>
                    <a:pt x="681" y="432"/>
                    <a:pt x="681" y="432"/>
                    <a:pt x="681" y="431"/>
                  </a:cubicBezTo>
                  <a:cubicBezTo>
                    <a:pt x="681" y="431"/>
                    <a:pt x="681" y="431"/>
                    <a:pt x="681" y="431"/>
                  </a:cubicBezTo>
                  <a:cubicBezTo>
                    <a:pt x="681" y="430"/>
                    <a:pt x="681" y="430"/>
                    <a:pt x="681" y="429"/>
                  </a:cubicBezTo>
                  <a:cubicBezTo>
                    <a:pt x="681" y="429"/>
                    <a:pt x="681" y="428"/>
                    <a:pt x="681" y="428"/>
                  </a:cubicBezTo>
                  <a:cubicBezTo>
                    <a:pt x="681" y="428"/>
                    <a:pt x="681" y="428"/>
                    <a:pt x="681" y="428"/>
                  </a:cubicBezTo>
                  <a:cubicBezTo>
                    <a:pt x="682" y="428"/>
                    <a:pt x="682" y="428"/>
                    <a:pt x="682" y="428"/>
                  </a:cubicBezTo>
                  <a:cubicBezTo>
                    <a:pt x="682" y="428"/>
                    <a:pt x="682" y="428"/>
                    <a:pt x="682" y="428"/>
                  </a:cubicBezTo>
                  <a:cubicBezTo>
                    <a:pt x="681" y="427"/>
                    <a:pt x="681" y="427"/>
                    <a:pt x="682" y="427"/>
                  </a:cubicBezTo>
                  <a:cubicBezTo>
                    <a:pt x="682" y="427"/>
                    <a:pt x="682" y="427"/>
                    <a:pt x="682" y="426"/>
                  </a:cubicBezTo>
                  <a:cubicBezTo>
                    <a:pt x="683" y="426"/>
                    <a:pt x="683" y="426"/>
                    <a:pt x="683" y="426"/>
                  </a:cubicBezTo>
                  <a:cubicBezTo>
                    <a:pt x="683" y="426"/>
                    <a:pt x="683" y="426"/>
                    <a:pt x="682" y="426"/>
                  </a:cubicBezTo>
                  <a:cubicBezTo>
                    <a:pt x="682" y="426"/>
                    <a:pt x="682" y="425"/>
                    <a:pt x="682" y="425"/>
                  </a:cubicBezTo>
                  <a:cubicBezTo>
                    <a:pt x="682" y="424"/>
                    <a:pt x="682" y="424"/>
                    <a:pt x="682" y="425"/>
                  </a:cubicBezTo>
                  <a:cubicBezTo>
                    <a:pt x="683" y="425"/>
                    <a:pt x="683" y="425"/>
                    <a:pt x="684" y="425"/>
                  </a:cubicBezTo>
                  <a:cubicBezTo>
                    <a:pt x="684" y="425"/>
                    <a:pt x="684" y="425"/>
                    <a:pt x="684" y="426"/>
                  </a:cubicBezTo>
                  <a:cubicBezTo>
                    <a:pt x="684" y="426"/>
                    <a:pt x="684" y="426"/>
                    <a:pt x="685" y="426"/>
                  </a:cubicBezTo>
                  <a:cubicBezTo>
                    <a:pt x="685" y="426"/>
                    <a:pt x="685" y="425"/>
                    <a:pt x="684" y="425"/>
                  </a:cubicBezTo>
                  <a:cubicBezTo>
                    <a:pt x="684" y="425"/>
                    <a:pt x="684" y="425"/>
                    <a:pt x="683" y="425"/>
                  </a:cubicBezTo>
                  <a:cubicBezTo>
                    <a:pt x="683" y="425"/>
                    <a:pt x="683" y="425"/>
                    <a:pt x="683" y="425"/>
                  </a:cubicBezTo>
                  <a:cubicBezTo>
                    <a:pt x="683" y="424"/>
                    <a:pt x="683" y="424"/>
                    <a:pt x="683" y="424"/>
                  </a:cubicBezTo>
                  <a:cubicBezTo>
                    <a:pt x="682" y="424"/>
                    <a:pt x="682" y="423"/>
                    <a:pt x="682" y="423"/>
                  </a:cubicBezTo>
                  <a:cubicBezTo>
                    <a:pt x="682" y="423"/>
                    <a:pt x="682" y="423"/>
                    <a:pt x="682" y="422"/>
                  </a:cubicBezTo>
                  <a:cubicBezTo>
                    <a:pt x="682" y="421"/>
                    <a:pt x="681" y="421"/>
                    <a:pt x="681" y="420"/>
                  </a:cubicBezTo>
                  <a:cubicBezTo>
                    <a:pt x="680" y="419"/>
                    <a:pt x="680" y="419"/>
                    <a:pt x="680" y="418"/>
                  </a:cubicBezTo>
                  <a:cubicBezTo>
                    <a:pt x="680" y="418"/>
                    <a:pt x="680" y="418"/>
                    <a:pt x="680" y="418"/>
                  </a:cubicBezTo>
                  <a:cubicBezTo>
                    <a:pt x="679" y="417"/>
                    <a:pt x="681" y="415"/>
                    <a:pt x="680" y="414"/>
                  </a:cubicBezTo>
                  <a:cubicBezTo>
                    <a:pt x="679" y="412"/>
                    <a:pt x="680" y="411"/>
                    <a:pt x="679" y="410"/>
                  </a:cubicBezTo>
                  <a:cubicBezTo>
                    <a:pt x="679" y="409"/>
                    <a:pt x="679" y="409"/>
                    <a:pt x="679" y="409"/>
                  </a:cubicBezTo>
                  <a:cubicBezTo>
                    <a:pt x="679" y="408"/>
                    <a:pt x="679" y="408"/>
                    <a:pt x="679" y="407"/>
                  </a:cubicBezTo>
                  <a:cubicBezTo>
                    <a:pt x="679" y="408"/>
                    <a:pt x="679" y="408"/>
                    <a:pt x="679" y="408"/>
                  </a:cubicBezTo>
                  <a:cubicBezTo>
                    <a:pt x="679" y="408"/>
                    <a:pt x="679" y="407"/>
                    <a:pt x="679" y="407"/>
                  </a:cubicBezTo>
                  <a:cubicBezTo>
                    <a:pt x="678" y="407"/>
                    <a:pt x="678" y="406"/>
                    <a:pt x="678" y="406"/>
                  </a:cubicBezTo>
                  <a:cubicBezTo>
                    <a:pt x="678" y="405"/>
                    <a:pt x="677" y="405"/>
                    <a:pt x="678" y="405"/>
                  </a:cubicBezTo>
                  <a:cubicBezTo>
                    <a:pt x="678" y="405"/>
                    <a:pt x="678" y="405"/>
                    <a:pt x="678" y="404"/>
                  </a:cubicBezTo>
                  <a:cubicBezTo>
                    <a:pt x="678" y="405"/>
                    <a:pt x="677" y="405"/>
                    <a:pt x="677" y="404"/>
                  </a:cubicBezTo>
                  <a:cubicBezTo>
                    <a:pt x="677" y="403"/>
                    <a:pt x="677" y="402"/>
                    <a:pt x="677" y="401"/>
                  </a:cubicBezTo>
                  <a:cubicBezTo>
                    <a:pt x="677" y="401"/>
                    <a:pt x="677" y="401"/>
                    <a:pt x="677" y="401"/>
                  </a:cubicBezTo>
                  <a:cubicBezTo>
                    <a:pt x="677" y="401"/>
                    <a:pt x="677" y="401"/>
                    <a:pt x="677" y="401"/>
                  </a:cubicBezTo>
                  <a:cubicBezTo>
                    <a:pt x="678" y="402"/>
                    <a:pt x="678" y="402"/>
                    <a:pt x="679" y="403"/>
                  </a:cubicBezTo>
                  <a:cubicBezTo>
                    <a:pt x="679" y="403"/>
                    <a:pt x="679" y="404"/>
                    <a:pt x="680" y="404"/>
                  </a:cubicBezTo>
                  <a:cubicBezTo>
                    <a:pt x="680" y="405"/>
                    <a:pt x="680" y="405"/>
                    <a:pt x="680" y="406"/>
                  </a:cubicBezTo>
                  <a:cubicBezTo>
                    <a:pt x="680" y="407"/>
                    <a:pt x="680" y="407"/>
                    <a:pt x="681" y="407"/>
                  </a:cubicBezTo>
                  <a:cubicBezTo>
                    <a:pt x="681" y="406"/>
                    <a:pt x="681" y="406"/>
                    <a:pt x="682" y="406"/>
                  </a:cubicBezTo>
                  <a:cubicBezTo>
                    <a:pt x="682" y="406"/>
                    <a:pt x="682" y="406"/>
                    <a:pt x="682" y="406"/>
                  </a:cubicBezTo>
                  <a:cubicBezTo>
                    <a:pt x="683" y="407"/>
                    <a:pt x="683" y="406"/>
                    <a:pt x="684" y="407"/>
                  </a:cubicBezTo>
                  <a:cubicBezTo>
                    <a:pt x="684" y="407"/>
                    <a:pt x="685" y="407"/>
                    <a:pt x="686" y="407"/>
                  </a:cubicBezTo>
                  <a:cubicBezTo>
                    <a:pt x="686" y="407"/>
                    <a:pt x="686" y="407"/>
                    <a:pt x="687" y="407"/>
                  </a:cubicBezTo>
                  <a:cubicBezTo>
                    <a:pt x="687" y="407"/>
                    <a:pt x="687" y="407"/>
                    <a:pt x="686" y="408"/>
                  </a:cubicBezTo>
                  <a:cubicBezTo>
                    <a:pt x="686" y="408"/>
                    <a:pt x="686" y="408"/>
                    <a:pt x="687" y="409"/>
                  </a:cubicBezTo>
                  <a:cubicBezTo>
                    <a:pt x="687" y="409"/>
                    <a:pt x="688" y="410"/>
                    <a:pt x="688" y="411"/>
                  </a:cubicBezTo>
                  <a:cubicBezTo>
                    <a:pt x="688" y="411"/>
                    <a:pt x="688" y="411"/>
                    <a:pt x="688" y="411"/>
                  </a:cubicBezTo>
                  <a:cubicBezTo>
                    <a:pt x="689" y="412"/>
                    <a:pt x="689" y="412"/>
                    <a:pt x="689" y="413"/>
                  </a:cubicBezTo>
                  <a:cubicBezTo>
                    <a:pt x="689" y="414"/>
                    <a:pt x="690" y="414"/>
                    <a:pt x="690" y="414"/>
                  </a:cubicBezTo>
                  <a:cubicBezTo>
                    <a:pt x="690" y="415"/>
                    <a:pt x="690" y="415"/>
                    <a:pt x="690" y="415"/>
                  </a:cubicBezTo>
                  <a:cubicBezTo>
                    <a:pt x="690" y="416"/>
                    <a:pt x="690" y="416"/>
                    <a:pt x="690" y="416"/>
                  </a:cubicBezTo>
                  <a:cubicBezTo>
                    <a:pt x="690" y="417"/>
                    <a:pt x="690" y="417"/>
                    <a:pt x="690" y="417"/>
                  </a:cubicBezTo>
                  <a:cubicBezTo>
                    <a:pt x="690" y="418"/>
                    <a:pt x="690" y="418"/>
                    <a:pt x="691" y="419"/>
                  </a:cubicBezTo>
                  <a:cubicBezTo>
                    <a:pt x="691" y="419"/>
                    <a:pt x="691" y="420"/>
                    <a:pt x="691" y="420"/>
                  </a:cubicBezTo>
                  <a:close/>
                  <a:moveTo>
                    <a:pt x="687" y="415"/>
                  </a:moveTo>
                  <a:cubicBezTo>
                    <a:pt x="687" y="416"/>
                    <a:pt x="687" y="416"/>
                    <a:pt x="688" y="416"/>
                  </a:cubicBezTo>
                  <a:cubicBezTo>
                    <a:pt x="688" y="416"/>
                    <a:pt x="688" y="415"/>
                    <a:pt x="688" y="415"/>
                  </a:cubicBezTo>
                  <a:cubicBezTo>
                    <a:pt x="687" y="415"/>
                    <a:pt x="687" y="414"/>
                    <a:pt x="687" y="414"/>
                  </a:cubicBezTo>
                  <a:cubicBezTo>
                    <a:pt x="687" y="414"/>
                    <a:pt x="687" y="414"/>
                    <a:pt x="686" y="413"/>
                  </a:cubicBezTo>
                  <a:cubicBezTo>
                    <a:pt x="687" y="414"/>
                    <a:pt x="687" y="414"/>
                    <a:pt x="687" y="414"/>
                  </a:cubicBezTo>
                  <a:cubicBezTo>
                    <a:pt x="686" y="415"/>
                    <a:pt x="687" y="415"/>
                    <a:pt x="687" y="415"/>
                  </a:cubicBezTo>
                  <a:close/>
                  <a:moveTo>
                    <a:pt x="686" y="412"/>
                  </a:moveTo>
                  <a:cubicBezTo>
                    <a:pt x="686" y="412"/>
                    <a:pt x="686" y="412"/>
                    <a:pt x="686" y="412"/>
                  </a:cubicBezTo>
                  <a:cubicBezTo>
                    <a:pt x="686" y="412"/>
                    <a:pt x="686" y="412"/>
                    <a:pt x="685" y="412"/>
                  </a:cubicBezTo>
                  <a:cubicBezTo>
                    <a:pt x="686" y="412"/>
                    <a:pt x="686" y="412"/>
                    <a:pt x="686" y="412"/>
                  </a:cubicBezTo>
                  <a:cubicBezTo>
                    <a:pt x="686" y="412"/>
                    <a:pt x="686" y="412"/>
                    <a:pt x="686" y="413"/>
                  </a:cubicBezTo>
                  <a:cubicBezTo>
                    <a:pt x="686" y="413"/>
                    <a:pt x="686" y="412"/>
                    <a:pt x="686" y="412"/>
                  </a:cubicBezTo>
                  <a:close/>
                  <a:moveTo>
                    <a:pt x="686" y="413"/>
                  </a:moveTo>
                  <a:cubicBezTo>
                    <a:pt x="687" y="413"/>
                    <a:pt x="687" y="413"/>
                    <a:pt x="686" y="413"/>
                  </a:cubicBezTo>
                  <a:cubicBezTo>
                    <a:pt x="686" y="413"/>
                    <a:pt x="686" y="413"/>
                    <a:pt x="686" y="413"/>
                  </a:cubicBezTo>
                  <a:cubicBezTo>
                    <a:pt x="686" y="413"/>
                    <a:pt x="686" y="413"/>
                    <a:pt x="686" y="413"/>
                  </a:cubicBezTo>
                  <a:close/>
                  <a:moveTo>
                    <a:pt x="721" y="475"/>
                  </a:moveTo>
                  <a:cubicBezTo>
                    <a:pt x="721" y="475"/>
                    <a:pt x="721" y="475"/>
                    <a:pt x="721" y="475"/>
                  </a:cubicBezTo>
                  <a:cubicBezTo>
                    <a:pt x="720" y="475"/>
                    <a:pt x="720" y="475"/>
                    <a:pt x="720" y="476"/>
                  </a:cubicBezTo>
                  <a:cubicBezTo>
                    <a:pt x="720" y="476"/>
                    <a:pt x="720" y="476"/>
                    <a:pt x="720" y="476"/>
                  </a:cubicBezTo>
                  <a:cubicBezTo>
                    <a:pt x="720" y="477"/>
                    <a:pt x="720" y="477"/>
                    <a:pt x="720" y="478"/>
                  </a:cubicBezTo>
                  <a:cubicBezTo>
                    <a:pt x="720" y="478"/>
                    <a:pt x="719" y="478"/>
                    <a:pt x="719" y="479"/>
                  </a:cubicBezTo>
                  <a:cubicBezTo>
                    <a:pt x="719" y="479"/>
                    <a:pt x="719" y="480"/>
                    <a:pt x="720" y="480"/>
                  </a:cubicBezTo>
                  <a:cubicBezTo>
                    <a:pt x="720" y="480"/>
                    <a:pt x="720" y="480"/>
                    <a:pt x="720" y="480"/>
                  </a:cubicBezTo>
                  <a:cubicBezTo>
                    <a:pt x="720" y="480"/>
                    <a:pt x="720" y="480"/>
                    <a:pt x="720" y="480"/>
                  </a:cubicBezTo>
                  <a:cubicBezTo>
                    <a:pt x="720" y="480"/>
                    <a:pt x="720" y="479"/>
                    <a:pt x="721" y="479"/>
                  </a:cubicBezTo>
                  <a:cubicBezTo>
                    <a:pt x="721" y="479"/>
                    <a:pt x="721" y="479"/>
                    <a:pt x="721" y="479"/>
                  </a:cubicBezTo>
                  <a:cubicBezTo>
                    <a:pt x="721" y="480"/>
                    <a:pt x="722" y="480"/>
                    <a:pt x="722" y="480"/>
                  </a:cubicBezTo>
                  <a:cubicBezTo>
                    <a:pt x="722" y="479"/>
                    <a:pt x="723" y="479"/>
                    <a:pt x="723" y="479"/>
                  </a:cubicBezTo>
                  <a:cubicBezTo>
                    <a:pt x="723" y="479"/>
                    <a:pt x="722" y="479"/>
                    <a:pt x="722" y="479"/>
                  </a:cubicBezTo>
                  <a:cubicBezTo>
                    <a:pt x="722" y="479"/>
                    <a:pt x="723" y="478"/>
                    <a:pt x="723" y="478"/>
                  </a:cubicBezTo>
                  <a:cubicBezTo>
                    <a:pt x="723" y="478"/>
                    <a:pt x="722" y="478"/>
                    <a:pt x="722" y="478"/>
                  </a:cubicBezTo>
                  <a:cubicBezTo>
                    <a:pt x="722" y="477"/>
                    <a:pt x="722" y="477"/>
                    <a:pt x="722" y="477"/>
                  </a:cubicBezTo>
                  <a:cubicBezTo>
                    <a:pt x="722" y="476"/>
                    <a:pt x="722" y="476"/>
                    <a:pt x="722" y="476"/>
                  </a:cubicBezTo>
                  <a:cubicBezTo>
                    <a:pt x="722" y="476"/>
                    <a:pt x="722" y="476"/>
                    <a:pt x="722" y="476"/>
                  </a:cubicBezTo>
                  <a:cubicBezTo>
                    <a:pt x="722" y="476"/>
                    <a:pt x="721" y="476"/>
                    <a:pt x="721" y="475"/>
                  </a:cubicBezTo>
                  <a:cubicBezTo>
                    <a:pt x="721" y="475"/>
                    <a:pt x="721" y="475"/>
                    <a:pt x="721" y="475"/>
                  </a:cubicBezTo>
                  <a:close/>
                  <a:moveTo>
                    <a:pt x="722" y="483"/>
                  </a:moveTo>
                  <a:cubicBezTo>
                    <a:pt x="722" y="483"/>
                    <a:pt x="723" y="483"/>
                    <a:pt x="723" y="483"/>
                  </a:cubicBezTo>
                  <a:cubicBezTo>
                    <a:pt x="723" y="483"/>
                    <a:pt x="723" y="483"/>
                    <a:pt x="723" y="483"/>
                  </a:cubicBezTo>
                  <a:cubicBezTo>
                    <a:pt x="723" y="483"/>
                    <a:pt x="723" y="483"/>
                    <a:pt x="724" y="483"/>
                  </a:cubicBezTo>
                  <a:cubicBezTo>
                    <a:pt x="724" y="483"/>
                    <a:pt x="724" y="483"/>
                    <a:pt x="724" y="483"/>
                  </a:cubicBezTo>
                  <a:cubicBezTo>
                    <a:pt x="724" y="483"/>
                    <a:pt x="724" y="483"/>
                    <a:pt x="724" y="483"/>
                  </a:cubicBezTo>
                  <a:cubicBezTo>
                    <a:pt x="724" y="483"/>
                    <a:pt x="724" y="483"/>
                    <a:pt x="724" y="483"/>
                  </a:cubicBezTo>
                  <a:cubicBezTo>
                    <a:pt x="724" y="482"/>
                    <a:pt x="724" y="482"/>
                    <a:pt x="724" y="482"/>
                  </a:cubicBezTo>
                  <a:cubicBezTo>
                    <a:pt x="724" y="481"/>
                    <a:pt x="724" y="481"/>
                    <a:pt x="724" y="481"/>
                  </a:cubicBezTo>
                  <a:cubicBezTo>
                    <a:pt x="724" y="481"/>
                    <a:pt x="724" y="481"/>
                    <a:pt x="724" y="481"/>
                  </a:cubicBezTo>
                  <a:cubicBezTo>
                    <a:pt x="724" y="481"/>
                    <a:pt x="724" y="481"/>
                    <a:pt x="723" y="481"/>
                  </a:cubicBezTo>
                  <a:cubicBezTo>
                    <a:pt x="723" y="481"/>
                    <a:pt x="723" y="481"/>
                    <a:pt x="723" y="481"/>
                  </a:cubicBezTo>
                  <a:cubicBezTo>
                    <a:pt x="723" y="481"/>
                    <a:pt x="723" y="481"/>
                    <a:pt x="723" y="481"/>
                  </a:cubicBezTo>
                  <a:cubicBezTo>
                    <a:pt x="723" y="481"/>
                    <a:pt x="722" y="481"/>
                    <a:pt x="722" y="481"/>
                  </a:cubicBezTo>
                  <a:cubicBezTo>
                    <a:pt x="722" y="481"/>
                    <a:pt x="722" y="481"/>
                    <a:pt x="722" y="482"/>
                  </a:cubicBezTo>
                  <a:cubicBezTo>
                    <a:pt x="722" y="482"/>
                    <a:pt x="722" y="482"/>
                    <a:pt x="722" y="482"/>
                  </a:cubicBezTo>
                  <a:cubicBezTo>
                    <a:pt x="722" y="482"/>
                    <a:pt x="722" y="482"/>
                    <a:pt x="722" y="483"/>
                  </a:cubicBezTo>
                  <a:close/>
                  <a:moveTo>
                    <a:pt x="740" y="458"/>
                  </a:moveTo>
                  <a:cubicBezTo>
                    <a:pt x="740" y="458"/>
                    <a:pt x="739" y="455"/>
                    <a:pt x="739" y="455"/>
                  </a:cubicBezTo>
                  <a:cubicBezTo>
                    <a:pt x="738" y="455"/>
                    <a:pt x="738" y="455"/>
                    <a:pt x="738" y="455"/>
                  </a:cubicBezTo>
                  <a:cubicBezTo>
                    <a:pt x="736" y="455"/>
                    <a:pt x="736" y="455"/>
                    <a:pt x="736" y="455"/>
                  </a:cubicBezTo>
                  <a:cubicBezTo>
                    <a:pt x="735" y="454"/>
                    <a:pt x="735" y="454"/>
                    <a:pt x="735" y="454"/>
                  </a:cubicBezTo>
                  <a:cubicBezTo>
                    <a:pt x="734" y="452"/>
                    <a:pt x="734" y="452"/>
                    <a:pt x="734" y="452"/>
                  </a:cubicBezTo>
                  <a:cubicBezTo>
                    <a:pt x="734" y="452"/>
                    <a:pt x="733" y="451"/>
                    <a:pt x="733" y="451"/>
                  </a:cubicBezTo>
                  <a:cubicBezTo>
                    <a:pt x="732" y="451"/>
                    <a:pt x="730" y="449"/>
                    <a:pt x="730" y="449"/>
                  </a:cubicBezTo>
                  <a:cubicBezTo>
                    <a:pt x="728" y="448"/>
                    <a:pt x="728" y="448"/>
                    <a:pt x="728" y="448"/>
                  </a:cubicBezTo>
                  <a:cubicBezTo>
                    <a:pt x="726" y="448"/>
                    <a:pt x="726" y="448"/>
                    <a:pt x="726" y="448"/>
                  </a:cubicBezTo>
                  <a:cubicBezTo>
                    <a:pt x="726" y="448"/>
                    <a:pt x="720" y="443"/>
                    <a:pt x="720" y="443"/>
                  </a:cubicBezTo>
                  <a:cubicBezTo>
                    <a:pt x="720" y="443"/>
                    <a:pt x="716" y="443"/>
                    <a:pt x="716" y="443"/>
                  </a:cubicBezTo>
                  <a:cubicBezTo>
                    <a:pt x="716" y="439"/>
                    <a:pt x="716" y="439"/>
                    <a:pt x="716" y="439"/>
                  </a:cubicBezTo>
                  <a:cubicBezTo>
                    <a:pt x="713" y="437"/>
                    <a:pt x="713" y="437"/>
                    <a:pt x="713" y="437"/>
                  </a:cubicBezTo>
                  <a:cubicBezTo>
                    <a:pt x="713" y="435"/>
                    <a:pt x="713" y="435"/>
                    <a:pt x="713" y="435"/>
                  </a:cubicBezTo>
                  <a:cubicBezTo>
                    <a:pt x="714" y="434"/>
                    <a:pt x="714" y="434"/>
                    <a:pt x="714" y="434"/>
                  </a:cubicBezTo>
                  <a:cubicBezTo>
                    <a:pt x="714" y="432"/>
                    <a:pt x="714" y="432"/>
                    <a:pt x="714" y="432"/>
                  </a:cubicBezTo>
                  <a:cubicBezTo>
                    <a:pt x="710" y="432"/>
                    <a:pt x="710" y="432"/>
                    <a:pt x="710" y="432"/>
                  </a:cubicBezTo>
                  <a:cubicBezTo>
                    <a:pt x="710" y="432"/>
                    <a:pt x="710" y="430"/>
                    <a:pt x="710" y="430"/>
                  </a:cubicBezTo>
                  <a:cubicBezTo>
                    <a:pt x="711" y="430"/>
                    <a:pt x="711" y="429"/>
                    <a:pt x="711" y="429"/>
                  </a:cubicBezTo>
                  <a:cubicBezTo>
                    <a:pt x="696" y="401"/>
                    <a:pt x="696" y="401"/>
                    <a:pt x="696" y="401"/>
                  </a:cubicBezTo>
                  <a:cubicBezTo>
                    <a:pt x="697" y="399"/>
                    <a:pt x="697" y="399"/>
                    <a:pt x="697" y="399"/>
                  </a:cubicBezTo>
                  <a:cubicBezTo>
                    <a:pt x="691" y="392"/>
                    <a:pt x="691" y="392"/>
                    <a:pt x="691" y="392"/>
                  </a:cubicBezTo>
                  <a:cubicBezTo>
                    <a:pt x="686" y="389"/>
                    <a:pt x="686" y="389"/>
                    <a:pt x="686" y="389"/>
                  </a:cubicBezTo>
                  <a:cubicBezTo>
                    <a:pt x="685" y="388"/>
                    <a:pt x="685" y="388"/>
                    <a:pt x="685" y="388"/>
                  </a:cubicBezTo>
                  <a:cubicBezTo>
                    <a:pt x="684" y="386"/>
                    <a:pt x="684" y="386"/>
                    <a:pt x="684" y="386"/>
                  </a:cubicBezTo>
                  <a:cubicBezTo>
                    <a:pt x="684" y="384"/>
                    <a:pt x="684" y="384"/>
                    <a:pt x="684" y="384"/>
                  </a:cubicBezTo>
                  <a:cubicBezTo>
                    <a:pt x="680" y="380"/>
                    <a:pt x="680" y="380"/>
                    <a:pt x="680" y="380"/>
                  </a:cubicBezTo>
                  <a:cubicBezTo>
                    <a:pt x="680" y="379"/>
                    <a:pt x="680" y="379"/>
                    <a:pt x="680" y="379"/>
                  </a:cubicBezTo>
                  <a:cubicBezTo>
                    <a:pt x="676" y="377"/>
                    <a:pt x="676" y="377"/>
                    <a:pt x="676" y="377"/>
                  </a:cubicBezTo>
                  <a:cubicBezTo>
                    <a:pt x="676" y="375"/>
                    <a:pt x="676" y="375"/>
                    <a:pt x="676" y="375"/>
                  </a:cubicBezTo>
                  <a:cubicBezTo>
                    <a:pt x="675" y="375"/>
                    <a:pt x="675" y="375"/>
                    <a:pt x="675" y="375"/>
                  </a:cubicBezTo>
                  <a:cubicBezTo>
                    <a:pt x="675" y="373"/>
                    <a:pt x="675" y="373"/>
                    <a:pt x="675" y="373"/>
                  </a:cubicBezTo>
                  <a:cubicBezTo>
                    <a:pt x="675" y="373"/>
                    <a:pt x="675" y="373"/>
                    <a:pt x="675" y="373"/>
                  </a:cubicBezTo>
                  <a:cubicBezTo>
                    <a:pt x="675" y="371"/>
                    <a:pt x="675" y="371"/>
                    <a:pt x="675" y="371"/>
                  </a:cubicBezTo>
                  <a:cubicBezTo>
                    <a:pt x="670" y="365"/>
                    <a:pt x="670" y="365"/>
                    <a:pt x="670" y="365"/>
                  </a:cubicBezTo>
                  <a:cubicBezTo>
                    <a:pt x="669" y="365"/>
                    <a:pt x="669" y="365"/>
                    <a:pt x="669" y="365"/>
                  </a:cubicBezTo>
                  <a:cubicBezTo>
                    <a:pt x="662" y="369"/>
                    <a:pt x="662" y="369"/>
                    <a:pt x="662" y="369"/>
                  </a:cubicBezTo>
                  <a:cubicBezTo>
                    <a:pt x="658" y="370"/>
                    <a:pt x="658" y="370"/>
                    <a:pt x="658" y="370"/>
                  </a:cubicBezTo>
                  <a:cubicBezTo>
                    <a:pt x="659" y="370"/>
                    <a:pt x="659" y="370"/>
                    <a:pt x="659" y="370"/>
                  </a:cubicBezTo>
                  <a:cubicBezTo>
                    <a:pt x="660" y="371"/>
                    <a:pt x="660" y="371"/>
                    <a:pt x="660" y="371"/>
                  </a:cubicBezTo>
                  <a:cubicBezTo>
                    <a:pt x="660" y="371"/>
                    <a:pt x="660" y="372"/>
                    <a:pt x="660" y="372"/>
                  </a:cubicBezTo>
                  <a:cubicBezTo>
                    <a:pt x="660" y="372"/>
                    <a:pt x="659" y="374"/>
                    <a:pt x="659" y="374"/>
                  </a:cubicBezTo>
                  <a:cubicBezTo>
                    <a:pt x="657" y="374"/>
                    <a:pt x="657" y="374"/>
                    <a:pt x="657" y="374"/>
                  </a:cubicBezTo>
                  <a:cubicBezTo>
                    <a:pt x="657" y="378"/>
                    <a:pt x="657" y="378"/>
                    <a:pt x="657" y="378"/>
                  </a:cubicBezTo>
                  <a:cubicBezTo>
                    <a:pt x="656" y="381"/>
                    <a:pt x="656" y="381"/>
                    <a:pt x="656" y="381"/>
                  </a:cubicBezTo>
                  <a:cubicBezTo>
                    <a:pt x="652" y="381"/>
                    <a:pt x="652" y="381"/>
                    <a:pt x="652" y="381"/>
                  </a:cubicBezTo>
                  <a:cubicBezTo>
                    <a:pt x="643" y="388"/>
                    <a:pt x="643" y="388"/>
                    <a:pt x="643" y="388"/>
                  </a:cubicBezTo>
                  <a:cubicBezTo>
                    <a:pt x="642" y="379"/>
                    <a:pt x="642" y="379"/>
                    <a:pt x="642" y="379"/>
                  </a:cubicBezTo>
                  <a:cubicBezTo>
                    <a:pt x="629" y="365"/>
                    <a:pt x="629" y="365"/>
                    <a:pt x="629" y="365"/>
                  </a:cubicBezTo>
                  <a:cubicBezTo>
                    <a:pt x="629" y="364"/>
                    <a:pt x="629" y="364"/>
                    <a:pt x="629" y="364"/>
                  </a:cubicBezTo>
                  <a:cubicBezTo>
                    <a:pt x="628" y="362"/>
                    <a:pt x="628" y="362"/>
                    <a:pt x="628" y="362"/>
                  </a:cubicBezTo>
                  <a:cubicBezTo>
                    <a:pt x="624" y="360"/>
                    <a:pt x="624" y="360"/>
                    <a:pt x="624" y="360"/>
                  </a:cubicBezTo>
                  <a:cubicBezTo>
                    <a:pt x="622" y="358"/>
                    <a:pt x="622" y="358"/>
                    <a:pt x="622" y="358"/>
                  </a:cubicBezTo>
                  <a:cubicBezTo>
                    <a:pt x="622" y="358"/>
                    <a:pt x="622" y="356"/>
                    <a:pt x="622" y="356"/>
                  </a:cubicBezTo>
                  <a:cubicBezTo>
                    <a:pt x="622" y="356"/>
                    <a:pt x="623" y="353"/>
                    <a:pt x="623" y="353"/>
                  </a:cubicBezTo>
                  <a:cubicBezTo>
                    <a:pt x="623" y="353"/>
                    <a:pt x="623" y="351"/>
                    <a:pt x="623" y="351"/>
                  </a:cubicBezTo>
                  <a:cubicBezTo>
                    <a:pt x="615" y="351"/>
                    <a:pt x="615" y="351"/>
                    <a:pt x="615" y="351"/>
                  </a:cubicBezTo>
                  <a:cubicBezTo>
                    <a:pt x="612" y="355"/>
                    <a:pt x="612" y="355"/>
                    <a:pt x="612" y="355"/>
                  </a:cubicBezTo>
                  <a:cubicBezTo>
                    <a:pt x="612" y="355"/>
                    <a:pt x="606" y="351"/>
                    <a:pt x="606" y="352"/>
                  </a:cubicBezTo>
                  <a:cubicBezTo>
                    <a:pt x="606" y="352"/>
                    <a:pt x="605" y="354"/>
                    <a:pt x="605" y="354"/>
                  </a:cubicBezTo>
                  <a:cubicBezTo>
                    <a:pt x="599" y="352"/>
                    <a:pt x="599" y="352"/>
                    <a:pt x="599" y="352"/>
                  </a:cubicBezTo>
                  <a:cubicBezTo>
                    <a:pt x="599" y="64"/>
                    <a:pt x="599" y="64"/>
                    <a:pt x="599" y="64"/>
                  </a:cubicBezTo>
                  <a:cubicBezTo>
                    <a:pt x="598" y="64"/>
                    <a:pt x="598" y="64"/>
                    <a:pt x="598" y="64"/>
                  </a:cubicBezTo>
                  <a:cubicBezTo>
                    <a:pt x="597" y="64"/>
                    <a:pt x="597" y="63"/>
                    <a:pt x="597" y="64"/>
                  </a:cubicBezTo>
                  <a:cubicBezTo>
                    <a:pt x="596" y="64"/>
                    <a:pt x="596" y="65"/>
                    <a:pt x="595" y="65"/>
                  </a:cubicBezTo>
                  <a:cubicBezTo>
                    <a:pt x="595" y="65"/>
                    <a:pt x="594" y="65"/>
                    <a:pt x="594" y="64"/>
                  </a:cubicBezTo>
                  <a:cubicBezTo>
                    <a:pt x="593" y="63"/>
                    <a:pt x="592" y="63"/>
                    <a:pt x="591" y="62"/>
                  </a:cubicBezTo>
                  <a:cubicBezTo>
                    <a:pt x="591" y="62"/>
                    <a:pt x="591" y="61"/>
                    <a:pt x="590" y="60"/>
                  </a:cubicBezTo>
                  <a:cubicBezTo>
                    <a:pt x="590" y="61"/>
                    <a:pt x="589" y="61"/>
                    <a:pt x="588" y="61"/>
                  </a:cubicBezTo>
                  <a:cubicBezTo>
                    <a:pt x="589" y="61"/>
                    <a:pt x="589" y="60"/>
                    <a:pt x="590" y="60"/>
                  </a:cubicBezTo>
                  <a:cubicBezTo>
                    <a:pt x="588" y="60"/>
                    <a:pt x="587" y="59"/>
                    <a:pt x="586" y="59"/>
                  </a:cubicBezTo>
                  <a:cubicBezTo>
                    <a:pt x="586" y="59"/>
                    <a:pt x="585" y="59"/>
                    <a:pt x="585" y="59"/>
                  </a:cubicBezTo>
                  <a:cubicBezTo>
                    <a:pt x="585" y="58"/>
                    <a:pt x="585" y="58"/>
                    <a:pt x="585" y="58"/>
                  </a:cubicBezTo>
                  <a:cubicBezTo>
                    <a:pt x="586" y="58"/>
                    <a:pt x="585" y="57"/>
                    <a:pt x="584" y="57"/>
                  </a:cubicBezTo>
                  <a:cubicBezTo>
                    <a:pt x="584" y="57"/>
                    <a:pt x="583" y="57"/>
                    <a:pt x="583" y="57"/>
                  </a:cubicBezTo>
                  <a:cubicBezTo>
                    <a:pt x="583" y="57"/>
                    <a:pt x="583" y="56"/>
                    <a:pt x="583" y="56"/>
                  </a:cubicBezTo>
                  <a:cubicBezTo>
                    <a:pt x="583" y="56"/>
                    <a:pt x="582" y="56"/>
                    <a:pt x="582" y="55"/>
                  </a:cubicBezTo>
                  <a:cubicBezTo>
                    <a:pt x="581" y="55"/>
                    <a:pt x="581" y="54"/>
                    <a:pt x="581" y="54"/>
                  </a:cubicBezTo>
                  <a:cubicBezTo>
                    <a:pt x="581" y="54"/>
                    <a:pt x="580" y="54"/>
                    <a:pt x="580" y="54"/>
                  </a:cubicBezTo>
                  <a:cubicBezTo>
                    <a:pt x="579" y="53"/>
                    <a:pt x="579" y="53"/>
                    <a:pt x="579" y="53"/>
                  </a:cubicBezTo>
                  <a:cubicBezTo>
                    <a:pt x="579" y="52"/>
                    <a:pt x="579" y="52"/>
                    <a:pt x="579" y="51"/>
                  </a:cubicBezTo>
                  <a:cubicBezTo>
                    <a:pt x="579" y="51"/>
                    <a:pt x="579" y="51"/>
                    <a:pt x="578" y="51"/>
                  </a:cubicBezTo>
                  <a:cubicBezTo>
                    <a:pt x="578" y="51"/>
                    <a:pt x="577" y="50"/>
                    <a:pt x="576" y="50"/>
                  </a:cubicBezTo>
                  <a:cubicBezTo>
                    <a:pt x="576" y="49"/>
                    <a:pt x="576" y="49"/>
                    <a:pt x="575" y="49"/>
                  </a:cubicBezTo>
                  <a:cubicBezTo>
                    <a:pt x="574" y="49"/>
                    <a:pt x="573" y="49"/>
                    <a:pt x="573" y="48"/>
                  </a:cubicBezTo>
                  <a:cubicBezTo>
                    <a:pt x="572" y="48"/>
                    <a:pt x="572" y="48"/>
                    <a:pt x="572" y="48"/>
                  </a:cubicBezTo>
                  <a:cubicBezTo>
                    <a:pt x="571" y="48"/>
                    <a:pt x="571" y="48"/>
                    <a:pt x="571" y="48"/>
                  </a:cubicBezTo>
                  <a:cubicBezTo>
                    <a:pt x="570" y="48"/>
                    <a:pt x="570" y="48"/>
                    <a:pt x="570" y="48"/>
                  </a:cubicBezTo>
                  <a:cubicBezTo>
                    <a:pt x="569" y="49"/>
                    <a:pt x="568" y="48"/>
                    <a:pt x="568" y="48"/>
                  </a:cubicBezTo>
                  <a:cubicBezTo>
                    <a:pt x="567" y="48"/>
                    <a:pt x="566" y="49"/>
                    <a:pt x="565" y="48"/>
                  </a:cubicBezTo>
                  <a:cubicBezTo>
                    <a:pt x="565" y="48"/>
                    <a:pt x="565" y="47"/>
                    <a:pt x="565" y="46"/>
                  </a:cubicBezTo>
                  <a:cubicBezTo>
                    <a:pt x="565" y="46"/>
                    <a:pt x="564" y="46"/>
                    <a:pt x="564" y="47"/>
                  </a:cubicBezTo>
                  <a:cubicBezTo>
                    <a:pt x="564" y="47"/>
                    <a:pt x="564" y="48"/>
                    <a:pt x="564" y="48"/>
                  </a:cubicBezTo>
                  <a:cubicBezTo>
                    <a:pt x="564" y="48"/>
                    <a:pt x="563" y="48"/>
                    <a:pt x="563" y="49"/>
                  </a:cubicBezTo>
                  <a:cubicBezTo>
                    <a:pt x="562" y="49"/>
                    <a:pt x="561" y="49"/>
                    <a:pt x="561" y="49"/>
                  </a:cubicBezTo>
                  <a:cubicBezTo>
                    <a:pt x="560" y="49"/>
                    <a:pt x="560" y="50"/>
                    <a:pt x="559" y="50"/>
                  </a:cubicBezTo>
                  <a:cubicBezTo>
                    <a:pt x="558" y="50"/>
                    <a:pt x="557" y="50"/>
                    <a:pt x="557" y="51"/>
                  </a:cubicBezTo>
                  <a:cubicBezTo>
                    <a:pt x="556" y="51"/>
                    <a:pt x="556" y="52"/>
                    <a:pt x="555" y="52"/>
                  </a:cubicBezTo>
                  <a:cubicBezTo>
                    <a:pt x="555" y="52"/>
                    <a:pt x="555" y="51"/>
                    <a:pt x="555" y="51"/>
                  </a:cubicBezTo>
                  <a:cubicBezTo>
                    <a:pt x="554" y="51"/>
                    <a:pt x="554" y="51"/>
                    <a:pt x="554" y="52"/>
                  </a:cubicBezTo>
                  <a:cubicBezTo>
                    <a:pt x="552" y="52"/>
                    <a:pt x="551" y="52"/>
                    <a:pt x="549" y="53"/>
                  </a:cubicBezTo>
                  <a:cubicBezTo>
                    <a:pt x="549" y="53"/>
                    <a:pt x="548" y="53"/>
                    <a:pt x="548" y="53"/>
                  </a:cubicBezTo>
                  <a:cubicBezTo>
                    <a:pt x="548" y="53"/>
                    <a:pt x="548" y="52"/>
                    <a:pt x="548" y="52"/>
                  </a:cubicBezTo>
                  <a:cubicBezTo>
                    <a:pt x="546" y="52"/>
                    <a:pt x="545" y="52"/>
                    <a:pt x="543" y="51"/>
                  </a:cubicBezTo>
                  <a:cubicBezTo>
                    <a:pt x="543" y="51"/>
                    <a:pt x="543" y="50"/>
                    <a:pt x="542" y="50"/>
                  </a:cubicBezTo>
                  <a:cubicBezTo>
                    <a:pt x="541" y="50"/>
                    <a:pt x="541" y="50"/>
                    <a:pt x="540" y="50"/>
                  </a:cubicBezTo>
                  <a:cubicBezTo>
                    <a:pt x="540" y="49"/>
                    <a:pt x="540" y="49"/>
                    <a:pt x="540" y="49"/>
                  </a:cubicBezTo>
                  <a:cubicBezTo>
                    <a:pt x="539" y="48"/>
                    <a:pt x="539" y="48"/>
                    <a:pt x="538" y="47"/>
                  </a:cubicBezTo>
                  <a:cubicBezTo>
                    <a:pt x="538" y="47"/>
                    <a:pt x="538" y="47"/>
                    <a:pt x="538" y="47"/>
                  </a:cubicBezTo>
                  <a:cubicBezTo>
                    <a:pt x="538" y="47"/>
                    <a:pt x="538" y="47"/>
                    <a:pt x="537" y="47"/>
                  </a:cubicBezTo>
                  <a:cubicBezTo>
                    <a:pt x="536" y="48"/>
                    <a:pt x="535" y="48"/>
                    <a:pt x="534" y="49"/>
                  </a:cubicBezTo>
                  <a:cubicBezTo>
                    <a:pt x="534" y="48"/>
                    <a:pt x="535" y="48"/>
                    <a:pt x="535" y="48"/>
                  </a:cubicBezTo>
                  <a:cubicBezTo>
                    <a:pt x="535" y="48"/>
                    <a:pt x="535" y="48"/>
                    <a:pt x="536" y="47"/>
                  </a:cubicBezTo>
                  <a:cubicBezTo>
                    <a:pt x="536" y="47"/>
                    <a:pt x="535" y="47"/>
                    <a:pt x="535" y="47"/>
                  </a:cubicBezTo>
                  <a:cubicBezTo>
                    <a:pt x="533" y="45"/>
                    <a:pt x="532" y="45"/>
                    <a:pt x="530" y="45"/>
                  </a:cubicBezTo>
                  <a:cubicBezTo>
                    <a:pt x="528" y="45"/>
                    <a:pt x="526" y="45"/>
                    <a:pt x="523" y="45"/>
                  </a:cubicBezTo>
                  <a:cubicBezTo>
                    <a:pt x="522" y="46"/>
                    <a:pt x="521" y="46"/>
                    <a:pt x="520" y="46"/>
                  </a:cubicBezTo>
                  <a:cubicBezTo>
                    <a:pt x="519" y="46"/>
                    <a:pt x="519" y="45"/>
                    <a:pt x="518" y="45"/>
                  </a:cubicBezTo>
                  <a:cubicBezTo>
                    <a:pt x="518" y="46"/>
                    <a:pt x="518" y="47"/>
                    <a:pt x="518" y="48"/>
                  </a:cubicBezTo>
                  <a:cubicBezTo>
                    <a:pt x="518" y="48"/>
                    <a:pt x="518" y="47"/>
                    <a:pt x="518" y="46"/>
                  </a:cubicBezTo>
                  <a:cubicBezTo>
                    <a:pt x="518" y="45"/>
                    <a:pt x="517" y="45"/>
                    <a:pt x="516" y="45"/>
                  </a:cubicBezTo>
                  <a:cubicBezTo>
                    <a:pt x="515" y="45"/>
                    <a:pt x="514" y="45"/>
                    <a:pt x="514" y="44"/>
                  </a:cubicBezTo>
                  <a:cubicBezTo>
                    <a:pt x="513" y="44"/>
                    <a:pt x="512" y="43"/>
                    <a:pt x="510" y="43"/>
                  </a:cubicBezTo>
                  <a:cubicBezTo>
                    <a:pt x="510" y="43"/>
                    <a:pt x="509" y="44"/>
                    <a:pt x="509" y="44"/>
                  </a:cubicBezTo>
                  <a:cubicBezTo>
                    <a:pt x="508" y="46"/>
                    <a:pt x="507" y="47"/>
                    <a:pt x="505" y="49"/>
                  </a:cubicBezTo>
                  <a:cubicBezTo>
                    <a:pt x="504" y="50"/>
                    <a:pt x="503" y="51"/>
                    <a:pt x="502" y="52"/>
                  </a:cubicBezTo>
                  <a:cubicBezTo>
                    <a:pt x="502" y="52"/>
                    <a:pt x="501" y="53"/>
                    <a:pt x="500" y="54"/>
                  </a:cubicBezTo>
                  <a:cubicBezTo>
                    <a:pt x="499" y="55"/>
                    <a:pt x="500" y="57"/>
                    <a:pt x="500" y="59"/>
                  </a:cubicBezTo>
                  <a:cubicBezTo>
                    <a:pt x="500" y="60"/>
                    <a:pt x="500" y="61"/>
                    <a:pt x="501" y="62"/>
                  </a:cubicBezTo>
                  <a:cubicBezTo>
                    <a:pt x="501" y="65"/>
                    <a:pt x="502" y="67"/>
                    <a:pt x="503" y="70"/>
                  </a:cubicBezTo>
                  <a:cubicBezTo>
                    <a:pt x="503" y="70"/>
                    <a:pt x="504" y="71"/>
                    <a:pt x="504" y="72"/>
                  </a:cubicBezTo>
                  <a:cubicBezTo>
                    <a:pt x="504" y="72"/>
                    <a:pt x="504" y="72"/>
                    <a:pt x="504" y="73"/>
                  </a:cubicBezTo>
                  <a:cubicBezTo>
                    <a:pt x="504" y="73"/>
                    <a:pt x="505" y="73"/>
                    <a:pt x="505" y="74"/>
                  </a:cubicBezTo>
                  <a:cubicBezTo>
                    <a:pt x="505" y="74"/>
                    <a:pt x="505" y="74"/>
                    <a:pt x="504" y="73"/>
                  </a:cubicBezTo>
                  <a:cubicBezTo>
                    <a:pt x="504" y="73"/>
                    <a:pt x="504" y="73"/>
                    <a:pt x="504" y="72"/>
                  </a:cubicBezTo>
                  <a:cubicBezTo>
                    <a:pt x="504" y="72"/>
                    <a:pt x="503" y="71"/>
                    <a:pt x="503" y="71"/>
                  </a:cubicBezTo>
                  <a:cubicBezTo>
                    <a:pt x="502" y="70"/>
                    <a:pt x="502" y="70"/>
                    <a:pt x="502" y="69"/>
                  </a:cubicBezTo>
                  <a:cubicBezTo>
                    <a:pt x="502" y="68"/>
                    <a:pt x="501" y="68"/>
                    <a:pt x="501" y="67"/>
                  </a:cubicBezTo>
                  <a:cubicBezTo>
                    <a:pt x="500" y="63"/>
                    <a:pt x="499" y="60"/>
                    <a:pt x="499" y="56"/>
                  </a:cubicBezTo>
                  <a:cubicBezTo>
                    <a:pt x="499" y="55"/>
                    <a:pt x="500" y="53"/>
                    <a:pt x="500" y="51"/>
                  </a:cubicBezTo>
                  <a:cubicBezTo>
                    <a:pt x="501" y="50"/>
                    <a:pt x="502" y="48"/>
                    <a:pt x="502" y="47"/>
                  </a:cubicBezTo>
                  <a:cubicBezTo>
                    <a:pt x="503" y="46"/>
                    <a:pt x="503" y="44"/>
                    <a:pt x="504" y="44"/>
                  </a:cubicBezTo>
                  <a:cubicBezTo>
                    <a:pt x="504" y="43"/>
                    <a:pt x="505" y="43"/>
                    <a:pt x="505" y="43"/>
                  </a:cubicBezTo>
                  <a:cubicBezTo>
                    <a:pt x="505" y="42"/>
                    <a:pt x="506" y="41"/>
                    <a:pt x="506" y="40"/>
                  </a:cubicBezTo>
                  <a:cubicBezTo>
                    <a:pt x="506" y="40"/>
                    <a:pt x="506" y="39"/>
                    <a:pt x="505" y="39"/>
                  </a:cubicBezTo>
                  <a:cubicBezTo>
                    <a:pt x="505" y="40"/>
                    <a:pt x="505" y="40"/>
                    <a:pt x="504" y="40"/>
                  </a:cubicBezTo>
                  <a:cubicBezTo>
                    <a:pt x="504" y="40"/>
                    <a:pt x="504" y="40"/>
                    <a:pt x="503" y="40"/>
                  </a:cubicBezTo>
                  <a:cubicBezTo>
                    <a:pt x="503" y="40"/>
                    <a:pt x="502" y="40"/>
                    <a:pt x="502" y="40"/>
                  </a:cubicBezTo>
                  <a:cubicBezTo>
                    <a:pt x="502" y="40"/>
                    <a:pt x="503" y="39"/>
                    <a:pt x="503" y="39"/>
                  </a:cubicBezTo>
                  <a:cubicBezTo>
                    <a:pt x="503" y="38"/>
                    <a:pt x="503" y="38"/>
                    <a:pt x="503" y="38"/>
                  </a:cubicBezTo>
                  <a:cubicBezTo>
                    <a:pt x="503" y="37"/>
                    <a:pt x="503" y="37"/>
                    <a:pt x="502" y="37"/>
                  </a:cubicBezTo>
                  <a:cubicBezTo>
                    <a:pt x="502" y="37"/>
                    <a:pt x="502" y="37"/>
                    <a:pt x="501" y="37"/>
                  </a:cubicBezTo>
                  <a:cubicBezTo>
                    <a:pt x="501" y="36"/>
                    <a:pt x="500" y="36"/>
                    <a:pt x="500" y="36"/>
                  </a:cubicBezTo>
                  <a:cubicBezTo>
                    <a:pt x="499" y="36"/>
                    <a:pt x="499" y="36"/>
                    <a:pt x="498" y="37"/>
                  </a:cubicBezTo>
                  <a:cubicBezTo>
                    <a:pt x="498" y="37"/>
                    <a:pt x="498" y="37"/>
                    <a:pt x="497" y="37"/>
                  </a:cubicBezTo>
                  <a:cubicBezTo>
                    <a:pt x="497" y="38"/>
                    <a:pt x="497" y="39"/>
                    <a:pt x="497" y="41"/>
                  </a:cubicBezTo>
                  <a:cubicBezTo>
                    <a:pt x="497" y="42"/>
                    <a:pt x="496" y="43"/>
                    <a:pt x="496" y="44"/>
                  </a:cubicBezTo>
                  <a:cubicBezTo>
                    <a:pt x="496" y="45"/>
                    <a:pt x="496" y="46"/>
                    <a:pt x="495" y="47"/>
                  </a:cubicBezTo>
                  <a:cubicBezTo>
                    <a:pt x="494" y="48"/>
                    <a:pt x="494" y="48"/>
                    <a:pt x="493" y="49"/>
                  </a:cubicBezTo>
                  <a:cubicBezTo>
                    <a:pt x="493" y="49"/>
                    <a:pt x="493" y="50"/>
                    <a:pt x="492" y="50"/>
                  </a:cubicBezTo>
                  <a:cubicBezTo>
                    <a:pt x="492" y="50"/>
                    <a:pt x="491" y="50"/>
                    <a:pt x="491" y="50"/>
                  </a:cubicBezTo>
                  <a:cubicBezTo>
                    <a:pt x="491" y="50"/>
                    <a:pt x="491" y="50"/>
                    <a:pt x="491" y="50"/>
                  </a:cubicBezTo>
                  <a:cubicBezTo>
                    <a:pt x="492" y="49"/>
                    <a:pt x="493" y="48"/>
                    <a:pt x="493" y="47"/>
                  </a:cubicBezTo>
                  <a:cubicBezTo>
                    <a:pt x="494" y="46"/>
                    <a:pt x="495" y="45"/>
                    <a:pt x="495" y="44"/>
                  </a:cubicBezTo>
                  <a:cubicBezTo>
                    <a:pt x="495" y="43"/>
                    <a:pt x="496" y="42"/>
                    <a:pt x="496" y="41"/>
                  </a:cubicBezTo>
                  <a:cubicBezTo>
                    <a:pt x="496" y="40"/>
                    <a:pt x="495" y="39"/>
                    <a:pt x="496" y="39"/>
                  </a:cubicBezTo>
                  <a:cubicBezTo>
                    <a:pt x="496" y="38"/>
                    <a:pt x="496" y="38"/>
                    <a:pt x="496" y="38"/>
                  </a:cubicBezTo>
                  <a:cubicBezTo>
                    <a:pt x="496" y="37"/>
                    <a:pt x="496" y="36"/>
                    <a:pt x="496" y="36"/>
                  </a:cubicBezTo>
                  <a:cubicBezTo>
                    <a:pt x="496" y="35"/>
                    <a:pt x="496" y="35"/>
                    <a:pt x="496" y="35"/>
                  </a:cubicBezTo>
                  <a:cubicBezTo>
                    <a:pt x="496" y="35"/>
                    <a:pt x="496" y="35"/>
                    <a:pt x="496" y="35"/>
                  </a:cubicBezTo>
                  <a:cubicBezTo>
                    <a:pt x="495" y="34"/>
                    <a:pt x="495" y="34"/>
                    <a:pt x="494" y="33"/>
                  </a:cubicBezTo>
                  <a:cubicBezTo>
                    <a:pt x="492" y="33"/>
                    <a:pt x="489" y="32"/>
                    <a:pt x="487" y="33"/>
                  </a:cubicBezTo>
                  <a:cubicBezTo>
                    <a:pt x="486" y="33"/>
                    <a:pt x="486" y="33"/>
                    <a:pt x="485" y="32"/>
                  </a:cubicBezTo>
                  <a:cubicBezTo>
                    <a:pt x="485" y="32"/>
                    <a:pt x="485" y="32"/>
                    <a:pt x="485" y="32"/>
                  </a:cubicBezTo>
                  <a:cubicBezTo>
                    <a:pt x="485" y="32"/>
                    <a:pt x="485" y="32"/>
                    <a:pt x="484" y="32"/>
                  </a:cubicBezTo>
                  <a:cubicBezTo>
                    <a:pt x="484" y="33"/>
                    <a:pt x="483" y="33"/>
                    <a:pt x="483" y="34"/>
                  </a:cubicBezTo>
                  <a:cubicBezTo>
                    <a:pt x="483" y="34"/>
                    <a:pt x="482" y="35"/>
                    <a:pt x="482" y="35"/>
                  </a:cubicBezTo>
                  <a:cubicBezTo>
                    <a:pt x="481" y="35"/>
                    <a:pt x="481" y="35"/>
                    <a:pt x="480" y="35"/>
                  </a:cubicBezTo>
                  <a:cubicBezTo>
                    <a:pt x="479" y="36"/>
                    <a:pt x="478" y="37"/>
                    <a:pt x="477" y="37"/>
                  </a:cubicBezTo>
                  <a:cubicBezTo>
                    <a:pt x="476" y="38"/>
                    <a:pt x="475" y="38"/>
                    <a:pt x="475" y="39"/>
                  </a:cubicBezTo>
                  <a:cubicBezTo>
                    <a:pt x="474" y="39"/>
                    <a:pt x="474" y="40"/>
                    <a:pt x="474" y="40"/>
                  </a:cubicBezTo>
                  <a:cubicBezTo>
                    <a:pt x="474" y="41"/>
                    <a:pt x="474" y="41"/>
                    <a:pt x="473" y="42"/>
                  </a:cubicBezTo>
                  <a:cubicBezTo>
                    <a:pt x="473" y="42"/>
                    <a:pt x="472" y="42"/>
                    <a:pt x="472" y="41"/>
                  </a:cubicBezTo>
                  <a:cubicBezTo>
                    <a:pt x="472" y="41"/>
                    <a:pt x="472" y="40"/>
                    <a:pt x="472" y="40"/>
                  </a:cubicBezTo>
                  <a:cubicBezTo>
                    <a:pt x="472" y="40"/>
                    <a:pt x="473" y="39"/>
                    <a:pt x="473" y="39"/>
                  </a:cubicBezTo>
                  <a:cubicBezTo>
                    <a:pt x="473" y="38"/>
                    <a:pt x="473" y="38"/>
                    <a:pt x="473" y="37"/>
                  </a:cubicBezTo>
                  <a:cubicBezTo>
                    <a:pt x="473" y="37"/>
                    <a:pt x="474" y="36"/>
                    <a:pt x="474" y="36"/>
                  </a:cubicBezTo>
                  <a:cubicBezTo>
                    <a:pt x="475" y="35"/>
                    <a:pt x="474" y="34"/>
                    <a:pt x="474" y="34"/>
                  </a:cubicBezTo>
                  <a:cubicBezTo>
                    <a:pt x="475" y="34"/>
                    <a:pt x="475" y="34"/>
                    <a:pt x="476" y="33"/>
                  </a:cubicBezTo>
                  <a:cubicBezTo>
                    <a:pt x="476" y="33"/>
                    <a:pt x="476" y="33"/>
                    <a:pt x="475" y="32"/>
                  </a:cubicBezTo>
                  <a:cubicBezTo>
                    <a:pt x="475" y="32"/>
                    <a:pt x="475" y="32"/>
                    <a:pt x="475" y="32"/>
                  </a:cubicBezTo>
                  <a:cubicBezTo>
                    <a:pt x="474" y="33"/>
                    <a:pt x="474" y="33"/>
                    <a:pt x="473" y="33"/>
                  </a:cubicBezTo>
                  <a:cubicBezTo>
                    <a:pt x="473" y="34"/>
                    <a:pt x="472" y="34"/>
                    <a:pt x="472" y="34"/>
                  </a:cubicBezTo>
                  <a:cubicBezTo>
                    <a:pt x="471" y="34"/>
                    <a:pt x="470" y="35"/>
                    <a:pt x="470" y="36"/>
                  </a:cubicBezTo>
                  <a:cubicBezTo>
                    <a:pt x="470" y="36"/>
                    <a:pt x="470" y="36"/>
                    <a:pt x="470" y="37"/>
                  </a:cubicBezTo>
                  <a:cubicBezTo>
                    <a:pt x="469" y="37"/>
                    <a:pt x="469" y="37"/>
                    <a:pt x="468" y="37"/>
                  </a:cubicBezTo>
                  <a:cubicBezTo>
                    <a:pt x="468" y="37"/>
                    <a:pt x="468" y="37"/>
                    <a:pt x="468" y="37"/>
                  </a:cubicBezTo>
                  <a:cubicBezTo>
                    <a:pt x="468" y="37"/>
                    <a:pt x="467" y="37"/>
                    <a:pt x="467" y="37"/>
                  </a:cubicBezTo>
                  <a:cubicBezTo>
                    <a:pt x="466" y="36"/>
                    <a:pt x="466" y="36"/>
                    <a:pt x="465" y="36"/>
                  </a:cubicBezTo>
                  <a:cubicBezTo>
                    <a:pt x="464" y="35"/>
                    <a:pt x="463" y="35"/>
                    <a:pt x="462" y="35"/>
                  </a:cubicBezTo>
                  <a:cubicBezTo>
                    <a:pt x="461" y="35"/>
                    <a:pt x="460" y="35"/>
                    <a:pt x="458" y="35"/>
                  </a:cubicBezTo>
                  <a:cubicBezTo>
                    <a:pt x="458" y="34"/>
                    <a:pt x="459" y="34"/>
                    <a:pt x="459" y="34"/>
                  </a:cubicBezTo>
                  <a:cubicBezTo>
                    <a:pt x="460" y="33"/>
                    <a:pt x="461" y="32"/>
                    <a:pt x="460" y="31"/>
                  </a:cubicBezTo>
                  <a:cubicBezTo>
                    <a:pt x="460" y="30"/>
                    <a:pt x="459" y="30"/>
                    <a:pt x="458" y="30"/>
                  </a:cubicBezTo>
                  <a:cubicBezTo>
                    <a:pt x="457" y="30"/>
                    <a:pt x="456" y="31"/>
                    <a:pt x="455" y="31"/>
                  </a:cubicBezTo>
                  <a:cubicBezTo>
                    <a:pt x="453" y="31"/>
                    <a:pt x="452" y="31"/>
                    <a:pt x="450" y="30"/>
                  </a:cubicBezTo>
                  <a:cubicBezTo>
                    <a:pt x="451" y="30"/>
                    <a:pt x="452" y="30"/>
                    <a:pt x="453" y="30"/>
                  </a:cubicBezTo>
                  <a:cubicBezTo>
                    <a:pt x="454" y="30"/>
                    <a:pt x="454" y="30"/>
                    <a:pt x="455" y="30"/>
                  </a:cubicBezTo>
                  <a:cubicBezTo>
                    <a:pt x="456" y="30"/>
                    <a:pt x="456" y="30"/>
                    <a:pt x="456" y="29"/>
                  </a:cubicBezTo>
                  <a:cubicBezTo>
                    <a:pt x="455" y="29"/>
                    <a:pt x="455" y="29"/>
                    <a:pt x="454" y="29"/>
                  </a:cubicBezTo>
                  <a:cubicBezTo>
                    <a:pt x="454" y="28"/>
                    <a:pt x="454" y="28"/>
                    <a:pt x="453" y="28"/>
                  </a:cubicBezTo>
                  <a:cubicBezTo>
                    <a:pt x="452" y="28"/>
                    <a:pt x="451" y="27"/>
                    <a:pt x="451" y="26"/>
                  </a:cubicBezTo>
                  <a:cubicBezTo>
                    <a:pt x="451" y="26"/>
                    <a:pt x="452" y="25"/>
                    <a:pt x="452" y="24"/>
                  </a:cubicBezTo>
                  <a:cubicBezTo>
                    <a:pt x="453" y="23"/>
                    <a:pt x="453" y="22"/>
                    <a:pt x="454" y="21"/>
                  </a:cubicBezTo>
                  <a:cubicBezTo>
                    <a:pt x="454" y="21"/>
                    <a:pt x="455" y="20"/>
                    <a:pt x="454" y="20"/>
                  </a:cubicBezTo>
                  <a:cubicBezTo>
                    <a:pt x="454" y="20"/>
                    <a:pt x="454" y="20"/>
                    <a:pt x="454" y="20"/>
                  </a:cubicBezTo>
                  <a:cubicBezTo>
                    <a:pt x="452" y="19"/>
                    <a:pt x="450" y="18"/>
                    <a:pt x="448" y="18"/>
                  </a:cubicBezTo>
                  <a:cubicBezTo>
                    <a:pt x="449" y="18"/>
                    <a:pt x="449" y="19"/>
                    <a:pt x="448" y="20"/>
                  </a:cubicBezTo>
                  <a:cubicBezTo>
                    <a:pt x="448" y="20"/>
                    <a:pt x="447" y="19"/>
                    <a:pt x="448" y="18"/>
                  </a:cubicBezTo>
                  <a:cubicBezTo>
                    <a:pt x="447" y="19"/>
                    <a:pt x="446" y="18"/>
                    <a:pt x="445" y="17"/>
                  </a:cubicBezTo>
                  <a:cubicBezTo>
                    <a:pt x="444" y="16"/>
                    <a:pt x="443" y="16"/>
                    <a:pt x="441" y="16"/>
                  </a:cubicBezTo>
                  <a:cubicBezTo>
                    <a:pt x="441" y="16"/>
                    <a:pt x="440" y="17"/>
                    <a:pt x="439" y="17"/>
                  </a:cubicBezTo>
                  <a:cubicBezTo>
                    <a:pt x="437" y="18"/>
                    <a:pt x="434" y="17"/>
                    <a:pt x="432" y="18"/>
                  </a:cubicBezTo>
                  <a:cubicBezTo>
                    <a:pt x="433" y="19"/>
                    <a:pt x="432" y="20"/>
                    <a:pt x="431" y="21"/>
                  </a:cubicBezTo>
                  <a:cubicBezTo>
                    <a:pt x="430" y="21"/>
                    <a:pt x="430" y="21"/>
                    <a:pt x="430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29" y="21"/>
                    <a:pt x="428" y="21"/>
                    <a:pt x="427" y="22"/>
                  </a:cubicBezTo>
                  <a:cubicBezTo>
                    <a:pt x="427" y="22"/>
                    <a:pt x="427" y="23"/>
                    <a:pt x="426" y="24"/>
                  </a:cubicBezTo>
                  <a:cubicBezTo>
                    <a:pt x="426" y="24"/>
                    <a:pt x="425" y="24"/>
                    <a:pt x="425" y="24"/>
                  </a:cubicBezTo>
                  <a:cubicBezTo>
                    <a:pt x="424" y="24"/>
                    <a:pt x="424" y="23"/>
                    <a:pt x="425" y="23"/>
                  </a:cubicBezTo>
                  <a:cubicBezTo>
                    <a:pt x="424" y="23"/>
                    <a:pt x="424" y="23"/>
                    <a:pt x="423" y="22"/>
                  </a:cubicBezTo>
                  <a:cubicBezTo>
                    <a:pt x="423" y="22"/>
                    <a:pt x="424" y="22"/>
                    <a:pt x="424" y="21"/>
                  </a:cubicBezTo>
                  <a:cubicBezTo>
                    <a:pt x="424" y="21"/>
                    <a:pt x="425" y="21"/>
                    <a:pt x="424" y="2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3" y="19"/>
                    <a:pt x="423" y="18"/>
                    <a:pt x="424" y="18"/>
                  </a:cubicBezTo>
                  <a:cubicBezTo>
                    <a:pt x="423" y="18"/>
                    <a:pt x="423" y="18"/>
                    <a:pt x="423" y="17"/>
                  </a:cubicBezTo>
                  <a:cubicBezTo>
                    <a:pt x="423" y="17"/>
                    <a:pt x="424" y="16"/>
                    <a:pt x="424" y="15"/>
                  </a:cubicBezTo>
                  <a:cubicBezTo>
                    <a:pt x="424" y="14"/>
                    <a:pt x="424" y="12"/>
                    <a:pt x="423" y="12"/>
                  </a:cubicBezTo>
                  <a:cubicBezTo>
                    <a:pt x="423" y="12"/>
                    <a:pt x="423" y="12"/>
                    <a:pt x="423" y="11"/>
                  </a:cubicBezTo>
                  <a:cubicBezTo>
                    <a:pt x="422" y="11"/>
                    <a:pt x="422" y="11"/>
                    <a:pt x="422" y="11"/>
                  </a:cubicBezTo>
                  <a:cubicBezTo>
                    <a:pt x="422" y="10"/>
                    <a:pt x="421" y="10"/>
                    <a:pt x="420" y="9"/>
                  </a:cubicBezTo>
                  <a:cubicBezTo>
                    <a:pt x="419" y="9"/>
                    <a:pt x="418" y="8"/>
                    <a:pt x="418" y="8"/>
                  </a:cubicBezTo>
                  <a:cubicBezTo>
                    <a:pt x="418" y="7"/>
                    <a:pt x="417" y="8"/>
                    <a:pt x="418" y="8"/>
                  </a:cubicBezTo>
                  <a:cubicBezTo>
                    <a:pt x="418" y="9"/>
                    <a:pt x="418" y="9"/>
                    <a:pt x="418" y="9"/>
                  </a:cubicBezTo>
                  <a:cubicBezTo>
                    <a:pt x="419" y="10"/>
                    <a:pt x="419" y="10"/>
                    <a:pt x="418" y="11"/>
                  </a:cubicBezTo>
                  <a:cubicBezTo>
                    <a:pt x="418" y="11"/>
                    <a:pt x="417" y="10"/>
                    <a:pt x="417" y="10"/>
                  </a:cubicBezTo>
                  <a:cubicBezTo>
                    <a:pt x="417" y="9"/>
                    <a:pt x="416" y="9"/>
                    <a:pt x="416" y="9"/>
                  </a:cubicBezTo>
                  <a:cubicBezTo>
                    <a:pt x="416" y="9"/>
                    <a:pt x="415" y="9"/>
                    <a:pt x="415" y="10"/>
                  </a:cubicBezTo>
                  <a:cubicBezTo>
                    <a:pt x="416" y="10"/>
                    <a:pt x="416" y="10"/>
                    <a:pt x="416" y="11"/>
                  </a:cubicBezTo>
                  <a:cubicBezTo>
                    <a:pt x="416" y="11"/>
                    <a:pt x="417" y="12"/>
                    <a:pt x="417" y="12"/>
                  </a:cubicBezTo>
                  <a:cubicBezTo>
                    <a:pt x="417" y="13"/>
                    <a:pt x="416" y="14"/>
                    <a:pt x="415" y="14"/>
                  </a:cubicBezTo>
                  <a:cubicBezTo>
                    <a:pt x="416" y="13"/>
                    <a:pt x="415" y="13"/>
                    <a:pt x="415" y="12"/>
                  </a:cubicBezTo>
                  <a:cubicBezTo>
                    <a:pt x="414" y="13"/>
                    <a:pt x="413" y="14"/>
                    <a:pt x="413" y="16"/>
                  </a:cubicBezTo>
                  <a:cubicBezTo>
                    <a:pt x="412" y="17"/>
                    <a:pt x="412" y="17"/>
                    <a:pt x="412" y="18"/>
                  </a:cubicBezTo>
                  <a:cubicBezTo>
                    <a:pt x="412" y="19"/>
                    <a:pt x="411" y="19"/>
                    <a:pt x="411" y="20"/>
                  </a:cubicBezTo>
                  <a:cubicBezTo>
                    <a:pt x="410" y="20"/>
                    <a:pt x="410" y="20"/>
                    <a:pt x="409" y="19"/>
                  </a:cubicBezTo>
                  <a:cubicBezTo>
                    <a:pt x="408" y="19"/>
                    <a:pt x="408" y="20"/>
                    <a:pt x="407" y="20"/>
                  </a:cubicBezTo>
                  <a:cubicBezTo>
                    <a:pt x="407" y="20"/>
                    <a:pt x="406" y="21"/>
                    <a:pt x="406" y="20"/>
                  </a:cubicBezTo>
                  <a:cubicBezTo>
                    <a:pt x="406" y="20"/>
                    <a:pt x="406" y="20"/>
                    <a:pt x="406" y="20"/>
                  </a:cubicBezTo>
                  <a:cubicBezTo>
                    <a:pt x="406" y="19"/>
                    <a:pt x="407" y="19"/>
                    <a:pt x="407" y="19"/>
                  </a:cubicBezTo>
                  <a:cubicBezTo>
                    <a:pt x="406" y="19"/>
                    <a:pt x="406" y="19"/>
                    <a:pt x="406" y="19"/>
                  </a:cubicBezTo>
                  <a:cubicBezTo>
                    <a:pt x="405" y="19"/>
                    <a:pt x="404" y="19"/>
                    <a:pt x="404" y="18"/>
                  </a:cubicBezTo>
                  <a:cubicBezTo>
                    <a:pt x="404" y="18"/>
                    <a:pt x="404" y="18"/>
                    <a:pt x="404" y="18"/>
                  </a:cubicBezTo>
                  <a:cubicBezTo>
                    <a:pt x="404" y="18"/>
                    <a:pt x="404" y="18"/>
                    <a:pt x="404" y="18"/>
                  </a:cubicBezTo>
                  <a:cubicBezTo>
                    <a:pt x="404" y="18"/>
                    <a:pt x="404" y="18"/>
                    <a:pt x="405" y="18"/>
                  </a:cubicBezTo>
                  <a:cubicBezTo>
                    <a:pt x="405" y="18"/>
                    <a:pt x="406" y="18"/>
                    <a:pt x="406" y="17"/>
                  </a:cubicBezTo>
                  <a:cubicBezTo>
                    <a:pt x="406" y="17"/>
                    <a:pt x="406" y="17"/>
                    <a:pt x="406" y="17"/>
                  </a:cubicBezTo>
                  <a:cubicBezTo>
                    <a:pt x="406" y="17"/>
                    <a:pt x="406" y="17"/>
                    <a:pt x="406" y="17"/>
                  </a:cubicBezTo>
                  <a:cubicBezTo>
                    <a:pt x="406" y="16"/>
                    <a:pt x="405" y="17"/>
                    <a:pt x="405" y="17"/>
                  </a:cubicBezTo>
                  <a:cubicBezTo>
                    <a:pt x="405" y="17"/>
                    <a:pt x="404" y="16"/>
                    <a:pt x="404" y="16"/>
                  </a:cubicBezTo>
                  <a:cubicBezTo>
                    <a:pt x="404" y="16"/>
                    <a:pt x="404" y="16"/>
                    <a:pt x="404" y="16"/>
                  </a:cubicBezTo>
                  <a:cubicBezTo>
                    <a:pt x="405" y="16"/>
                    <a:pt x="405" y="16"/>
                    <a:pt x="405" y="16"/>
                  </a:cubicBezTo>
                  <a:cubicBezTo>
                    <a:pt x="406" y="16"/>
                    <a:pt x="406" y="15"/>
                    <a:pt x="406" y="15"/>
                  </a:cubicBezTo>
                  <a:cubicBezTo>
                    <a:pt x="406" y="15"/>
                    <a:pt x="407" y="15"/>
                    <a:pt x="408" y="14"/>
                  </a:cubicBezTo>
                  <a:cubicBezTo>
                    <a:pt x="408" y="14"/>
                    <a:pt x="409" y="14"/>
                    <a:pt x="409" y="14"/>
                  </a:cubicBezTo>
                  <a:cubicBezTo>
                    <a:pt x="409" y="13"/>
                    <a:pt x="409" y="13"/>
                    <a:pt x="409" y="13"/>
                  </a:cubicBezTo>
                  <a:cubicBezTo>
                    <a:pt x="410" y="12"/>
                    <a:pt x="410" y="12"/>
                    <a:pt x="410" y="12"/>
                  </a:cubicBezTo>
                  <a:cubicBezTo>
                    <a:pt x="410" y="12"/>
                    <a:pt x="411" y="11"/>
                    <a:pt x="411" y="11"/>
                  </a:cubicBezTo>
                  <a:cubicBezTo>
                    <a:pt x="411" y="10"/>
                    <a:pt x="412" y="10"/>
                    <a:pt x="412" y="10"/>
                  </a:cubicBezTo>
                  <a:cubicBezTo>
                    <a:pt x="412" y="10"/>
                    <a:pt x="412" y="10"/>
                    <a:pt x="412" y="9"/>
                  </a:cubicBezTo>
                  <a:cubicBezTo>
                    <a:pt x="412" y="9"/>
                    <a:pt x="412" y="9"/>
                    <a:pt x="412" y="9"/>
                  </a:cubicBezTo>
                  <a:cubicBezTo>
                    <a:pt x="412" y="9"/>
                    <a:pt x="411" y="8"/>
                    <a:pt x="411" y="7"/>
                  </a:cubicBezTo>
                  <a:cubicBezTo>
                    <a:pt x="411" y="7"/>
                    <a:pt x="411" y="7"/>
                    <a:pt x="411" y="7"/>
                  </a:cubicBezTo>
                  <a:cubicBezTo>
                    <a:pt x="411" y="6"/>
                    <a:pt x="411" y="6"/>
                    <a:pt x="411" y="6"/>
                  </a:cubicBezTo>
                  <a:cubicBezTo>
                    <a:pt x="410" y="6"/>
                    <a:pt x="410" y="6"/>
                    <a:pt x="410" y="6"/>
                  </a:cubicBezTo>
                  <a:cubicBezTo>
                    <a:pt x="409" y="5"/>
                    <a:pt x="408" y="5"/>
                    <a:pt x="407" y="5"/>
                  </a:cubicBezTo>
                  <a:cubicBezTo>
                    <a:pt x="407" y="5"/>
                    <a:pt x="407" y="5"/>
                    <a:pt x="406" y="6"/>
                  </a:cubicBezTo>
                  <a:cubicBezTo>
                    <a:pt x="406" y="6"/>
                    <a:pt x="405" y="6"/>
                    <a:pt x="405" y="6"/>
                  </a:cubicBezTo>
                  <a:cubicBezTo>
                    <a:pt x="405" y="5"/>
                    <a:pt x="405" y="5"/>
                    <a:pt x="405" y="5"/>
                  </a:cubicBezTo>
                  <a:cubicBezTo>
                    <a:pt x="406" y="5"/>
                    <a:pt x="405" y="4"/>
                    <a:pt x="405" y="4"/>
                  </a:cubicBezTo>
                  <a:cubicBezTo>
                    <a:pt x="405" y="4"/>
                    <a:pt x="404" y="3"/>
                    <a:pt x="404" y="3"/>
                  </a:cubicBezTo>
                  <a:cubicBezTo>
                    <a:pt x="404" y="3"/>
                    <a:pt x="404" y="3"/>
                    <a:pt x="404" y="3"/>
                  </a:cubicBezTo>
                  <a:cubicBezTo>
                    <a:pt x="403" y="2"/>
                    <a:pt x="403" y="2"/>
                    <a:pt x="403" y="2"/>
                  </a:cubicBezTo>
                  <a:cubicBezTo>
                    <a:pt x="402" y="2"/>
                    <a:pt x="401" y="2"/>
                    <a:pt x="400" y="2"/>
                  </a:cubicBezTo>
                  <a:cubicBezTo>
                    <a:pt x="399" y="2"/>
                    <a:pt x="399" y="1"/>
                    <a:pt x="398" y="1"/>
                  </a:cubicBezTo>
                  <a:cubicBezTo>
                    <a:pt x="398" y="1"/>
                    <a:pt x="397" y="0"/>
                    <a:pt x="398" y="0"/>
                  </a:cubicBezTo>
                  <a:cubicBezTo>
                    <a:pt x="394" y="3"/>
                    <a:pt x="393" y="7"/>
                    <a:pt x="390" y="11"/>
                  </a:cubicBezTo>
                  <a:cubicBezTo>
                    <a:pt x="388" y="14"/>
                    <a:pt x="385" y="18"/>
                    <a:pt x="380" y="19"/>
                  </a:cubicBezTo>
                  <a:cubicBezTo>
                    <a:pt x="379" y="19"/>
                    <a:pt x="378" y="19"/>
                    <a:pt x="376" y="20"/>
                  </a:cubicBezTo>
                  <a:cubicBezTo>
                    <a:pt x="376" y="20"/>
                    <a:pt x="375" y="21"/>
                    <a:pt x="375" y="21"/>
                  </a:cubicBezTo>
                  <a:cubicBezTo>
                    <a:pt x="375" y="21"/>
                    <a:pt x="374" y="21"/>
                    <a:pt x="374" y="21"/>
                  </a:cubicBezTo>
                  <a:cubicBezTo>
                    <a:pt x="373" y="20"/>
                    <a:pt x="372" y="22"/>
                    <a:pt x="371" y="22"/>
                  </a:cubicBezTo>
                  <a:cubicBezTo>
                    <a:pt x="370" y="22"/>
                    <a:pt x="369" y="21"/>
                    <a:pt x="368" y="21"/>
                  </a:cubicBezTo>
                  <a:cubicBezTo>
                    <a:pt x="368" y="21"/>
                    <a:pt x="368" y="22"/>
                    <a:pt x="367" y="22"/>
                  </a:cubicBezTo>
                  <a:cubicBezTo>
                    <a:pt x="367" y="22"/>
                    <a:pt x="366" y="22"/>
                    <a:pt x="366" y="22"/>
                  </a:cubicBezTo>
                  <a:cubicBezTo>
                    <a:pt x="365" y="22"/>
                    <a:pt x="364" y="22"/>
                    <a:pt x="364" y="23"/>
                  </a:cubicBezTo>
                  <a:cubicBezTo>
                    <a:pt x="364" y="23"/>
                    <a:pt x="364" y="24"/>
                    <a:pt x="365" y="24"/>
                  </a:cubicBezTo>
                  <a:cubicBezTo>
                    <a:pt x="365" y="25"/>
                    <a:pt x="365" y="25"/>
                    <a:pt x="365" y="26"/>
                  </a:cubicBezTo>
                  <a:cubicBezTo>
                    <a:pt x="364" y="25"/>
                    <a:pt x="363" y="24"/>
                    <a:pt x="363" y="23"/>
                  </a:cubicBezTo>
                  <a:cubicBezTo>
                    <a:pt x="363" y="22"/>
                    <a:pt x="363" y="21"/>
                    <a:pt x="362" y="21"/>
                  </a:cubicBezTo>
                  <a:cubicBezTo>
                    <a:pt x="364" y="21"/>
                    <a:pt x="365" y="20"/>
                    <a:pt x="365" y="19"/>
                  </a:cubicBezTo>
                  <a:cubicBezTo>
                    <a:pt x="364" y="19"/>
                    <a:pt x="362" y="19"/>
                    <a:pt x="360" y="20"/>
                  </a:cubicBezTo>
                  <a:cubicBezTo>
                    <a:pt x="359" y="21"/>
                    <a:pt x="358" y="23"/>
                    <a:pt x="356" y="24"/>
                  </a:cubicBezTo>
                  <a:cubicBezTo>
                    <a:pt x="356" y="24"/>
                    <a:pt x="355" y="25"/>
                    <a:pt x="355" y="26"/>
                  </a:cubicBezTo>
                  <a:cubicBezTo>
                    <a:pt x="354" y="26"/>
                    <a:pt x="354" y="26"/>
                    <a:pt x="354" y="27"/>
                  </a:cubicBezTo>
                  <a:cubicBezTo>
                    <a:pt x="354" y="27"/>
                    <a:pt x="354" y="28"/>
                    <a:pt x="354" y="28"/>
                  </a:cubicBezTo>
                  <a:cubicBezTo>
                    <a:pt x="354" y="28"/>
                    <a:pt x="355" y="28"/>
                    <a:pt x="356" y="29"/>
                  </a:cubicBezTo>
                  <a:cubicBezTo>
                    <a:pt x="356" y="30"/>
                    <a:pt x="356" y="31"/>
                    <a:pt x="357" y="32"/>
                  </a:cubicBezTo>
                  <a:cubicBezTo>
                    <a:pt x="357" y="32"/>
                    <a:pt x="358" y="33"/>
                    <a:pt x="359" y="33"/>
                  </a:cubicBezTo>
                  <a:cubicBezTo>
                    <a:pt x="359" y="33"/>
                    <a:pt x="360" y="33"/>
                    <a:pt x="360" y="32"/>
                  </a:cubicBezTo>
                  <a:cubicBezTo>
                    <a:pt x="361" y="32"/>
                    <a:pt x="362" y="32"/>
                    <a:pt x="364" y="32"/>
                  </a:cubicBezTo>
                  <a:cubicBezTo>
                    <a:pt x="363" y="33"/>
                    <a:pt x="362" y="33"/>
                    <a:pt x="361" y="33"/>
                  </a:cubicBezTo>
                  <a:cubicBezTo>
                    <a:pt x="360" y="33"/>
                    <a:pt x="360" y="33"/>
                    <a:pt x="359" y="34"/>
                  </a:cubicBezTo>
                  <a:cubicBezTo>
                    <a:pt x="359" y="34"/>
                    <a:pt x="358" y="34"/>
                    <a:pt x="357" y="34"/>
                  </a:cubicBezTo>
                  <a:cubicBezTo>
                    <a:pt x="357" y="34"/>
                    <a:pt x="356" y="35"/>
                    <a:pt x="356" y="36"/>
                  </a:cubicBezTo>
                  <a:cubicBezTo>
                    <a:pt x="356" y="37"/>
                    <a:pt x="356" y="38"/>
                    <a:pt x="356" y="39"/>
                  </a:cubicBezTo>
                  <a:cubicBezTo>
                    <a:pt x="357" y="40"/>
                    <a:pt x="357" y="41"/>
                    <a:pt x="356" y="42"/>
                  </a:cubicBezTo>
                  <a:cubicBezTo>
                    <a:pt x="355" y="41"/>
                    <a:pt x="355" y="39"/>
                    <a:pt x="355" y="37"/>
                  </a:cubicBezTo>
                  <a:cubicBezTo>
                    <a:pt x="354" y="38"/>
                    <a:pt x="353" y="39"/>
                    <a:pt x="352" y="39"/>
                  </a:cubicBezTo>
                  <a:cubicBezTo>
                    <a:pt x="354" y="37"/>
                    <a:pt x="355" y="35"/>
                    <a:pt x="355" y="33"/>
                  </a:cubicBezTo>
                  <a:cubicBezTo>
                    <a:pt x="355" y="33"/>
                    <a:pt x="354" y="34"/>
                    <a:pt x="353" y="33"/>
                  </a:cubicBezTo>
                  <a:cubicBezTo>
                    <a:pt x="354" y="33"/>
                    <a:pt x="354" y="33"/>
                    <a:pt x="355" y="32"/>
                  </a:cubicBezTo>
                  <a:cubicBezTo>
                    <a:pt x="356" y="31"/>
                    <a:pt x="356" y="30"/>
                    <a:pt x="355" y="30"/>
                  </a:cubicBezTo>
                  <a:cubicBezTo>
                    <a:pt x="354" y="30"/>
                    <a:pt x="354" y="30"/>
                    <a:pt x="354" y="30"/>
                  </a:cubicBezTo>
                  <a:cubicBezTo>
                    <a:pt x="353" y="30"/>
                    <a:pt x="353" y="30"/>
                    <a:pt x="352" y="30"/>
                  </a:cubicBezTo>
                  <a:cubicBezTo>
                    <a:pt x="352" y="30"/>
                    <a:pt x="352" y="30"/>
                    <a:pt x="351" y="30"/>
                  </a:cubicBezTo>
                  <a:cubicBezTo>
                    <a:pt x="349" y="32"/>
                    <a:pt x="347" y="36"/>
                    <a:pt x="345" y="38"/>
                  </a:cubicBezTo>
                  <a:cubicBezTo>
                    <a:pt x="343" y="39"/>
                    <a:pt x="342" y="39"/>
                    <a:pt x="340" y="40"/>
                  </a:cubicBezTo>
                  <a:cubicBezTo>
                    <a:pt x="339" y="41"/>
                    <a:pt x="338" y="42"/>
                    <a:pt x="336" y="43"/>
                  </a:cubicBezTo>
                  <a:cubicBezTo>
                    <a:pt x="335" y="43"/>
                    <a:pt x="333" y="42"/>
                    <a:pt x="333" y="43"/>
                  </a:cubicBezTo>
                  <a:cubicBezTo>
                    <a:pt x="332" y="44"/>
                    <a:pt x="332" y="45"/>
                    <a:pt x="331" y="44"/>
                  </a:cubicBezTo>
                  <a:cubicBezTo>
                    <a:pt x="330" y="44"/>
                    <a:pt x="330" y="44"/>
                    <a:pt x="330" y="43"/>
                  </a:cubicBezTo>
                  <a:cubicBezTo>
                    <a:pt x="331" y="43"/>
                    <a:pt x="331" y="42"/>
                    <a:pt x="332" y="42"/>
                  </a:cubicBezTo>
                  <a:cubicBezTo>
                    <a:pt x="332" y="42"/>
                    <a:pt x="332" y="42"/>
                    <a:pt x="332" y="42"/>
                  </a:cubicBezTo>
                  <a:cubicBezTo>
                    <a:pt x="333" y="42"/>
                    <a:pt x="333" y="42"/>
                    <a:pt x="333" y="42"/>
                  </a:cubicBezTo>
                  <a:cubicBezTo>
                    <a:pt x="332" y="42"/>
                    <a:pt x="330" y="41"/>
                    <a:pt x="330" y="40"/>
                  </a:cubicBezTo>
                  <a:cubicBezTo>
                    <a:pt x="329" y="43"/>
                    <a:pt x="327" y="45"/>
                    <a:pt x="325" y="46"/>
                  </a:cubicBezTo>
                  <a:cubicBezTo>
                    <a:pt x="325" y="47"/>
                    <a:pt x="324" y="48"/>
                    <a:pt x="324" y="49"/>
                  </a:cubicBezTo>
                  <a:cubicBezTo>
                    <a:pt x="324" y="49"/>
                    <a:pt x="325" y="49"/>
                    <a:pt x="325" y="50"/>
                  </a:cubicBezTo>
                  <a:cubicBezTo>
                    <a:pt x="327" y="51"/>
                    <a:pt x="328" y="52"/>
                    <a:pt x="329" y="54"/>
                  </a:cubicBezTo>
                  <a:cubicBezTo>
                    <a:pt x="327" y="53"/>
                    <a:pt x="326" y="51"/>
                    <a:pt x="324" y="50"/>
                  </a:cubicBezTo>
                  <a:cubicBezTo>
                    <a:pt x="324" y="50"/>
                    <a:pt x="324" y="50"/>
                    <a:pt x="324" y="50"/>
                  </a:cubicBezTo>
                  <a:cubicBezTo>
                    <a:pt x="323" y="50"/>
                    <a:pt x="323" y="50"/>
                    <a:pt x="323" y="50"/>
                  </a:cubicBezTo>
                  <a:cubicBezTo>
                    <a:pt x="323" y="52"/>
                    <a:pt x="321" y="54"/>
                    <a:pt x="320" y="56"/>
                  </a:cubicBezTo>
                  <a:cubicBezTo>
                    <a:pt x="320" y="56"/>
                    <a:pt x="320" y="56"/>
                    <a:pt x="319" y="57"/>
                  </a:cubicBezTo>
                  <a:cubicBezTo>
                    <a:pt x="319" y="57"/>
                    <a:pt x="319" y="58"/>
                    <a:pt x="318" y="58"/>
                  </a:cubicBezTo>
                  <a:cubicBezTo>
                    <a:pt x="318" y="59"/>
                    <a:pt x="317" y="60"/>
                    <a:pt x="316" y="60"/>
                  </a:cubicBezTo>
                  <a:cubicBezTo>
                    <a:pt x="316" y="61"/>
                    <a:pt x="316" y="61"/>
                    <a:pt x="315" y="61"/>
                  </a:cubicBezTo>
                  <a:cubicBezTo>
                    <a:pt x="315" y="61"/>
                    <a:pt x="315" y="61"/>
                    <a:pt x="316" y="62"/>
                  </a:cubicBezTo>
                  <a:cubicBezTo>
                    <a:pt x="316" y="62"/>
                    <a:pt x="316" y="62"/>
                    <a:pt x="316" y="62"/>
                  </a:cubicBezTo>
                  <a:cubicBezTo>
                    <a:pt x="316" y="62"/>
                    <a:pt x="316" y="62"/>
                    <a:pt x="317" y="63"/>
                  </a:cubicBezTo>
                  <a:cubicBezTo>
                    <a:pt x="317" y="63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5"/>
                  </a:cubicBezTo>
                  <a:cubicBezTo>
                    <a:pt x="316" y="65"/>
                    <a:pt x="316" y="65"/>
                    <a:pt x="316" y="65"/>
                  </a:cubicBezTo>
                  <a:cubicBezTo>
                    <a:pt x="316" y="65"/>
                    <a:pt x="315" y="65"/>
                    <a:pt x="315" y="65"/>
                  </a:cubicBezTo>
                  <a:cubicBezTo>
                    <a:pt x="315" y="65"/>
                    <a:pt x="315" y="65"/>
                    <a:pt x="315" y="66"/>
                  </a:cubicBezTo>
                  <a:cubicBezTo>
                    <a:pt x="315" y="66"/>
                    <a:pt x="315" y="66"/>
                    <a:pt x="315" y="67"/>
                  </a:cubicBezTo>
                  <a:cubicBezTo>
                    <a:pt x="315" y="67"/>
                    <a:pt x="315" y="67"/>
                    <a:pt x="315" y="67"/>
                  </a:cubicBezTo>
                  <a:cubicBezTo>
                    <a:pt x="315" y="67"/>
                    <a:pt x="315" y="67"/>
                    <a:pt x="315" y="68"/>
                  </a:cubicBezTo>
                  <a:cubicBezTo>
                    <a:pt x="316" y="68"/>
                    <a:pt x="315" y="69"/>
                    <a:pt x="315" y="69"/>
                  </a:cubicBezTo>
                  <a:cubicBezTo>
                    <a:pt x="316" y="70"/>
                    <a:pt x="316" y="70"/>
                    <a:pt x="316" y="70"/>
                  </a:cubicBezTo>
                  <a:cubicBezTo>
                    <a:pt x="315" y="70"/>
                    <a:pt x="315" y="70"/>
                    <a:pt x="315" y="71"/>
                  </a:cubicBezTo>
                  <a:cubicBezTo>
                    <a:pt x="315" y="71"/>
                    <a:pt x="315" y="71"/>
                    <a:pt x="315" y="71"/>
                  </a:cubicBezTo>
                  <a:cubicBezTo>
                    <a:pt x="315" y="71"/>
                    <a:pt x="315" y="71"/>
                    <a:pt x="315" y="71"/>
                  </a:cubicBezTo>
                  <a:cubicBezTo>
                    <a:pt x="315" y="71"/>
                    <a:pt x="315" y="71"/>
                    <a:pt x="315" y="71"/>
                  </a:cubicBezTo>
                  <a:cubicBezTo>
                    <a:pt x="315" y="71"/>
                    <a:pt x="315" y="72"/>
                    <a:pt x="315" y="72"/>
                  </a:cubicBezTo>
                  <a:cubicBezTo>
                    <a:pt x="315" y="73"/>
                    <a:pt x="314" y="75"/>
                    <a:pt x="314" y="76"/>
                  </a:cubicBezTo>
                  <a:cubicBezTo>
                    <a:pt x="313" y="77"/>
                    <a:pt x="313" y="78"/>
                    <a:pt x="312" y="79"/>
                  </a:cubicBezTo>
                  <a:cubicBezTo>
                    <a:pt x="310" y="82"/>
                    <a:pt x="308" y="85"/>
                    <a:pt x="305" y="87"/>
                  </a:cubicBezTo>
                  <a:cubicBezTo>
                    <a:pt x="302" y="89"/>
                    <a:pt x="299" y="91"/>
                    <a:pt x="295" y="91"/>
                  </a:cubicBezTo>
                  <a:cubicBezTo>
                    <a:pt x="296" y="92"/>
                    <a:pt x="296" y="92"/>
                    <a:pt x="296" y="93"/>
                  </a:cubicBezTo>
                  <a:cubicBezTo>
                    <a:pt x="293" y="91"/>
                    <a:pt x="290" y="92"/>
                    <a:pt x="287" y="93"/>
                  </a:cubicBezTo>
                  <a:cubicBezTo>
                    <a:pt x="283" y="94"/>
                    <a:pt x="279" y="94"/>
                    <a:pt x="275" y="93"/>
                  </a:cubicBezTo>
                  <a:cubicBezTo>
                    <a:pt x="275" y="92"/>
                    <a:pt x="274" y="92"/>
                    <a:pt x="274" y="93"/>
                  </a:cubicBezTo>
                  <a:cubicBezTo>
                    <a:pt x="274" y="93"/>
                    <a:pt x="274" y="93"/>
                    <a:pt x="274" y="94"/>
                  </a:cubicBezTo>
                  <a:cubicBezTo>
                    <a:pt x="275" y="97"/>
                    <a:pt x="275" y="100"/>
                    <a:pt x="274" y="103"/>
                  </a:cubicBezTo>
                  <a:cubicBezTo>
                    <a:pt x="273" y="106"/>
                    <a:pt x="272" y="109"/>
                    <a:pt x="270" y="111"/>
                  </a:cubicBezTo>
                  <a:cubicBezTo>
                    <a:pt x="270" y="111"/>
                    <a:pt x="269" y="111"/>
                    <a:pt x="268" y="112"/>
                  </a:cubicBezTo>
                  <a:cubicBezTo>
                    <a:pt x="271" y="111"/>
                    <a:pt x="273" y="112"/>
                    <a:pt x="275" y="114"/>
                  </a:cubicBezTo>
                  <a:cubicBezTo>
                    <a:pt x="276" y="116"/>
                    <a:pt x="277" y="119"/>
                    <a:pt x="279" y="120"/>
                  </a:cubicBezTo>
                  <a:cubicBezTo>
                    <a:pt x="280" y="121"/>
                    <a:pt x="281" y="121"/>
                    <a:pt x="283" y="121"/>
                  </a:cubicBezTo>
                  <a:cubicBezTo>
                    <a:pt x="285" y="122"/>
                    <a:pt x="287" y="124"/>
                    <a:pt x="289" y="126"/>
                  </a:cubicBezTo>
                  <a:cubicBezTo>
                    <a:pt x="290" y="127"/>
                    <a:pt x="292" y="129"/>
                    <a:pt x="294" y="130"/>
                  </a:cubicBezTo>
                  <a:cubicBezTo>
                    <a:pt x="294" y="131"/>
                    <a:pt x="295" y="131"/>
                    <a:pt x="295" y="131"/>
                  </a:cubicBezTo>
                  <a:cubicBezTo>
                    <a:pt x="296" y="132"/>
                    <a:pt x="296" y="132"/>
                    <a:pt x="296" y="133"/>
                  </a:cubicBezTo>
                  <a:cubicBezTo>
                    <a:pt x="297" y="134"/>
                    <a:pt x="300" y="134"/>
                    <a:pt x="301" y="136"/>
                  </a:cubicBezTo>
                  <a:cubicBezTo>
                    <a:pt x="302" y="137"/>
                    <a:pt x="302" y="139"/>
                    <a:pt x="303" y="140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4" y="141"/>
                    <a:pt x="303" y="141"/>
                    <a:pt x="303" y="142"/>
                  </a:cubicBezTo>
                  <a:cubicBezTo>
                    <a:pt x="303" y="142"/>
                    <a:pt x="304" y="143"/>
                    <a:pt x="304" y="143"/>
                  </a:cubicBezTo>
                  <a:cubicBezTo>
                    <a:pt x="305" y="143"/>
                    <a:pt x="306" y="143"/>
                    <a:pt x="306" y="144"/>
                  </a:cubicBezTo>
                  <a:cubicBezTo>
                    <a:pt x="306" y="144"/>
                    <a:pt x="306" y="144"/>
                    <a:pt x="305" y="145"/>
                  </a:cubicBezTo>
                  <a:cubicBezTo>
                    <a:pt x="305" y="146"/>
                    <a:pt x="306" y="148"/>
                    <a:pt x="306" y="149"/>
                  </a:cubicBezTo>
                  <a:cubicBezTo>
                    <a:pt x="306" y="149"/>
                    <a:pt x="306" y="150"/>
                    <a:pt x="306" y="150"/>
                  </a:cubicBezTo>
                  <a:cubicBezTo>
                    <a:pt x="306" y="151"/>
                    <a:pt x="306" y="151"/>
                    <a:pt x="306" y="151"/>
                  </a:cubicBezTo>
                  <a:cubicBezTo>
                    <a:pt x="306" y="151"/>
                    <a:pt x="306" y="151"/>
                    <a:pt x="307" y="151"/>
                  </a:cubicBezTo>
                  <a:cubicBezTo>
                    <a:pt x="307" y="151"/>
                    <a:pt x="308" y="152"/>
                    <a:pt x="308" y="152"/>
                  </a:cubicBezTo>
                  <a:cubicBezTo>
                    <a:pt x="309" y="152"/>
                    <a:pt x="309" y="152"/>
                    <a:pt x="309" y="152"/>
                  </a:cubicBezTo>
                  <a:cubicBezTo>
                    <a:pt x="310" y="153"/>
                    <a:pt x="309" y="153"/>
                    <a:pt x="309" y="153"/>
                  </a:cubicBezTo>
                  <a:cubicBezTo>
                    <a:pt x="309" y="153"/>
                    <a:pt x="309" y="153"/>
                    <a:pt x="308" y="153"/>
                  </a:cubicBezTo>
                  <a:cubicBezTo>
                    <a:pt x="308" y="153"/>
                    <a:pt x="307" y="153"/>
                    <a:pt x="307" y="153"/>
                  </a:cubicBezTo>
                  <a:cubicBezTo>
                    <a:pt x="307" y="153"/>
                    <a:pt x="307" y="154"/>
                    <a:pt x="307" y="154"/>
                  </a:cubicBezTo>
                  <a:cubicBezTo>
                    <a:pt x="308" y="154"/>
                    <a:pt x="308" y="154"/>
                    <a:pt x="309" y="154"/>
                  </a:cubicBezTo>
                  <a:cubicBezTo>
                    <a:pt x="309" y="155"/>
                    <a:pt x="310" y="154"/>
                    <a:pt x="311" y="155"/>
                  </a:cubicBezTo>
                  <a:cubicBezTo>
                    <a:pt x="312" y="155"/>
                    <a:pt x="313" y="156"/>
                    <a:pt x="313" y="156"/>
                  </a:cubicBezTo>
                  <a:cubicBezTo>
                    <a:pt x="314" y="156"/>
                    <a:pt x="314" y="156"/>
                    <a:pt x="315" y="156"/>
                  </a:cubicBezTo>
                  <a:cubicBezTo>
                    <a:pt x="315" y="156"/>
                    <a:pt x="315" y="156"/>
                    <a:pt x="316" y="156"/>
                  </a:cubicBezTo>
                  <a:cubicBezTo>
                    <a:pt x="316" y="156"/>
                    <a:pt x="317" y="156"/>
                    <a:pt x="317" y="156"/>
                  </a:cubicBezTo>
                  <a:cubicBezTo>
                    <a:pt x="318" y="155"/>
                    <a:pt x="319" y="155"/>
                    <a:pt x="319" y="156"/>
                  </a:cubicBezTo>
                  <a:cubicBezTo>
                    <a:pt x="320" y="156"/>
                    <a:pt x="320" y="157"/>
                    <a:pt x="321" y="157"/>
                  </a:cubicBezTo>
                  <a:cubicBezTo>
                    <a:pt x="321" y="156"/>
                    <a:pt x="322" y="156"/>
                    <a:pt x="322" y="155"/>
                  </a:cubicBezTo>
                  <a:cubicBezTo>
                    <a:pt x="323" y="155"/>
                    <a:pt x="323" y="154"/>
                    <a:pt x="323" y="153"/>
                  </a:cubicBezTo>
                  <a:cubicBezTo>
                    <a:pt x="322" y="152"/>
                    <a:pt x="321" y="153"/>
                    <a:pt x="320" y="152"/>
                  </a:cubicBezTo>
                  <a:cubicBezTo>
                    <a:pt x="320" y="151"/>
                    <a:pt x="321" y="151"/>
                    <a:pt x="322" y="150"/>
                  </a:cubicBezTo>
                  <a:cubicBezTo>
                    <a:pt x="322" y="151"/>
                    <a:pt x="321" y="151"/>
                    <a:pt x="321" y="152"/>
                  </a:cubicBezTo>
                  <a:cubicBezTo>
                    <a:pt x="321" y="152"/>
                    <a:pt x="321" y="152"/>
                    <a:pt x="322" y="152"/>
                  </a:cubicBezTo>
                  <a:cubicBezTo>
                    <a:pt x="322" y="152"/>
                    <a:pt x="323" y="152"/>
                    <a:pt x="324" y="153"/>
                  </a:cubicBezTo>
                  <a:cubicBezTo>
                    <a:pt x="324" y="154"/>
                    <a:pt x="323" y="154"/>
                    <a:pt x="323" y="155"/>
                  </a:cubicBezTo>
                  <a:cubicBezTo>
                    <a:pt x="322" y="156"/>
                    <a:pt x="322" y="157"/>
                    <a:pt x="323" y="158"/>
                  </a:cubicBezTo>
                  <a:cubicBezTo>
                    <a:pt x="325" y="158"/>
                    <a:pt x="328" y="156"/>
                    <a:pt x="330" y="156"/>
                  </a:cubicBezTo>
                  <a:cubicBezTo>
                    <a:pt x="331" y="156"/>
                    <a:pt x="332" y="156"/>
                    <a:pt x="332" y="157"/>
                  </a:cubicBezTo>
                  <a:cubicBezTo>
                    <a:pt x="333" y="157"/>
                    <a:pt x="334" y="157"/>
                    <a:pt x="334" y="158"/>
                  </a:cubicBezTo>
                  <a:cubicBezTo>
                    <a:pt x="335" y="159"/>
                    <a:pt x="335" y="160"/>
                    <a:pt x="334" y="160"/>
                  </a:cubicBezTo>
                  <a:cubicBezTo>
                    <a:pt x="333" y="160"/>
                    <a:pt x="333" y="159"/>
                    <a:pt x="333" y="159"/>
                  </a:cubicBezTo>
                  <a:cubicBezTo>
                    <a:pt x="332" y="160"/>
                    <a:pt x="332" y="161"/>
                    <a:pt x="331" y="162"/>
                  </a:cubicBezTo>
                  <a:cubicBezTo>
                    <a:pt x="331" y="163"/>
                    <a:pt x="331" y="164"/>
                    <a:pt x="331" y="165"/>
                  </a:cubicBezTo>
                  <a:cubicBezTo>
                    <a:pt x="330" y="165"/>
                    <a:pt x="330" y="166"/>
                    <a:pt x="330" y="166"/>
                  </a:cubicBezTo>
                  <a:cubicBezTo>
                    <a:pt x="330" y="166"/>
                    <a:pt x="331" y="167"/>
                    <a:pt x="331" y="167"/>
                  </a:cubicBezTo>
                  <a:cubicBezTo>
                    <a:pt x="332" y="169"/>
                    <a:pt x="333" y="170"/>
                    <a:pt x="335" y="170"/>
                  </a:cubicBezTo>
                  <a:cubicBezTo>
                    <a:pt x="335" y="170"/>
                    <a:pt x="334" y="170"/>
                    <a:pt x="334" y="171"/>
                  </a:cubicBezTo>
                  <a:cubicBezTo>
                    <a:pt x="335" y="171"/>
                    <a:pt x="335" y="171"/>
                    <a:pt x="336" y="171"/>
                  </a:cubicBezTo>
                  <a:cubicBezTo>
                    <a:pt x="336" y="172"/>
                    <a:pt x="336" y="172"/>
                    <a:pt x="335" y="173"/>
                  </a:cubicBezTo>
                  <a:cubicBezTo>
                    <a:pt x="336" y="173"/>
                    <a:pt x="336" y="173"/>
                    <a:pt x="337" y="173"/>
                  </a:cubicBezTo>
                  <a:cubicBezTo>
                    <a:pt x="337" y="173"/>
                    <a:pt x="338" y="172"/>
                    <a:pt x="338" y="171"/>
                  </a:cubicBezTo>
                  <a:cubicBezTo>
                    <a:pt x="338" y="170"/>
                    <a:pt x="339" y="169"/>
                    <a:pt x="341" y="169"/>
                  </a:cubicBezTo>
                  <a:cubicBezTo>
                    <a:pt x="341" y="169"/>
                    <a:pt x="342" y="169"/>
                    <a:pt x="342" y="168"/>
                  </a:cubicBezTo>
                  <a:cubicBezTo>
                    <a:pt x="343" y="168"/>
                    <a:pt x="343" y="168"/>
                    <a:pt x="343" y="168"/>
                  </a:cubicBezTo>
                  <a:cubicBezTo>
                    <a:pt x="343" y="168"/>
                    <a:pt x="344" y="169"/>
                    <a:pt x="344" y="169"/>
                  </a:cubicBezTo>
                  <a:cubicBezTo>
                    <a:pt x="345" y="170"/>
                    <a:pt x="347" y="170"/>
                    <a:pt x="348" y="170"/>
                  </a:cubicBezTo>
                  <a:cubicBezTo>
                    <a:pt x="349" y="170"/>
                    <a:pt x="351" y="169"/>
                    <a:pt x="352" y="168"/>
                  </a:cubicBezTo>
                  <a:cubicBezTo>
                    <a:pt x="353" y="168"/>
                    <a:pt x="355" y="168"/>
                    <a:pt x="355" y="169"/>
                  </a:cubicBezTo>
                  <a:cubicBezTo>
                    <a:pt x="355" y="169"/>
                    <a:pt x="356" y="168"/>
                    <a:pt x="356" y="168"/>
                  </a:cubicBezTo>
                  <a:cubicBezTo>
                    <a:pt x="357" y="168"/>
                    <a:pt x="358" y="168"/>
                    <a:pt x="358" y="168"/>
                  </a:cubicBezTo>
                  <a:cubicBezTo>
                    <a:pt x="358" y="169"/>
                    <a:pt x="358" y="170"/>
                    <a:pt x="357" y="169"/>
                  </a:cubicBezTo>
                  <a:cubicBezTo>
                    <a:pt x="357" y="169"/>
                    <a:pt x="357" y="169"/>
                    <a:pt x="357" y="169"/>
                  </a:cubicBezTo>
                  <a:cubicBezTo>
                    <a:pt x="356" y="169"/>
                    <a:pt x="356" y="170"/>
                    <a:pt x="356" y="170"/>
                  </a:cubicBezTo>
                  <a:cubicBezTo>
                    <a:pt x="355" y="171"/>
                    <a:pt x="355" y="171"/>
                    <a:pt x="354" y="170"/>
                  </a:cubicBezTo>
                  <a:cubicBezTo>
                    <a:pt x="354" y="170"/>
                    <a:pt x="354" y="169"/>
                    <a:pt x="354" y="169"/>
                  </a:cubicBezTo>
                  <a:cubicBezTo>
                    <a:pt x="352" y="169"/>
                    <a:pt x="351" y="170"/>
                    <a:pt x="351" y="171"/>
                  </a:cubicBezTo>
                  <a:cubicBezTo>
                    <a:pt x="352" y="172"/>
                    <a:pt x="352" y="173"/>
                    <a:pt x="352" y="174"/>
                  </a:cubicBezTo>
                  <a:cubicBezTo>
                    <a:pt x="352" y="175"/>
                    <a:pt x="351" y="176"/>
                    <a:pt x="351" y="177"/>
                  </a:cubicBezTo>
                  <a:cubicBezTo>
                    <a:pt x="350" y="177"/>
                    <a:pt x="350" y="177"/>
                    <a:pt x="349" y="178"/>
                  </a:cubicBezTo>
                  <a:cubicBezTo>
                    <a:pt x="347" y="178"/>
                    <a:pt x="344" y="178"/>
                    <a:pt x="343" y="176"/>
                  </a:cubicBezTo>
                  <a:cubicBezTo>
                    <a:pt x="342" y="175"/>
                    <a:pt x="341" y="173"/>
                    <a:pt x="339" y="173"/>
                  </a:cubicBezTo>
                  <a:cubicBezTo>
                    <a:pt x="338" y="173"/>
                    <a:pt x="337" y="174"/>
                    <a:pt x="336" y="174"/>
                  </a:cubicBezTo>
                  <a:cubicBezTo>
                    <a:pt x="336" y="175"/>
                    <a:pt x="335" y="175"/>
                    <a:pt x="334" y="175"/>
                  </a:cubicBezTo>
                  <a:cubicBezTo>
                    <a:pt x="332" y="175"/>
                    <a:pt x="332" y="174"/>
                    <a:pt x="331" y="173"/>
                  </a:cubicBezTo>
                  <a:cubicBezTo>
                    <a:pt x="330" y="172"/>
                    <a:pt x="330" y="172"/>
                    <a:pt x="330" y="172"/>
                  </a:cubicBezTo>
                  <a:cubicBezTo>
                    <a:pt x="330" y="172"/>
                    <a:pt x="330" y="171"/>
                    <a:pt x="330" y="171"/>
                  </a:cubicBezTo>
                  <a:cubicBezTo>
                    <a:pt x="329" y="170"/>
                    <a:pt x="329" y="170"/>
                    <a:pt x="328" y="169"/>
                  </a:cubicBezTo>
                  <a:cubicBezTo>
                    <a:pt x="328" y="169"/>
                    <a:pt x="328" y="169"/>
                    <a:pt x="327" y="169"/>
                  </a:cubicBezTo>
                  <a:cubicBezTo>
                    <a:pt x="327" y="168"/>
                    <a:pt x="327" y="168"/>
                    <a:pt x="327" y="167"/>
                  </a:cubicBezTo>
                  <a:cubicBezTo>
                    <a:pt x="328" y="167"/>
                    <a:pt x="328" y="166"/>
                    <a:pt x="328" y="166"/>
                  </a:cubicBezTo>
                  <a:cubicBezTo>
                    <a:pt x="329" y="166"/>
                    <a:pt x="329" y="165"/>
                    <a:pt x="329" y="165"/>
                  </a:cubicBezTo>
                  <a:cubicBezTo>
                    <a:pt x="328" y="164"/>
                    <a:pt x="328" y="164"/>
                    <a:pt x="327" y="164"/>
                  </a:cubicBezTo>
                  <a:cubicBezTo>
                    <a:pt x="327" y="164"/>
                    <a:pt x="327" y="163"/>
                    <a:pt x="326" y="163"/>
                  </a:cubicBezTo>
                  <a:cubicBezTo>
                    <a:pt x="326" y="162"/>
                    <a:pt x="325" y="161"/>
                    <a:pt x="325" y="160"/>
                  </a:cubicBezTo>
                  <a:cubicBezTo>
                    <a:pt x="325" y="160"/>
                    <a:pt x="325" y="159"/>
                    <a:pt x="324" y="159"/>
                  </a:cubicBezTo>
                  <a:cubicBezTo>
                    <a:pt x="324" y="159"/>
                    <a:pt x="324" y="159"/>
                    <a:pt x="324" y="159"/>
                  </a:cubicBezTo>
                  <a:cubicBezTo>
                    <a:pt x="324" y="159"/>
                    <a:pt x="323" y="159"/>
                    <a:pt x="323" y="159"/>
                  </a:cubicBezTo>
                  <a:cubicBezTo>
                    <a:pt x="322" y="159"/>
                    <a:pt x="322" y="159"/>
                    <a:pt x="322" y="159"/>
                  </a:cubicBezTo>
                  <a:cubicBezTo>
                    <a:pt x="322" y="159"/>
                    <a:pt x="322" y="160"/>
                    <a:pt x="322" y="160"/>
                  </a:cubicBezTo>
                  <a:cubicBezTo>
                    <a:pt x="322" y="160"/>
                    <a:pt x="321" y="161"/>
                    <a:pt x="321" y="161"/>
                  </a:cubicBezTo>
                  <a:cubicBezTo>
                    <a:pt x="321" y="161"/>
                    <a:pt x="321" y="162"/>
                    <a:pt x="321" y="162"/>
                  </a:cubicBezTo>
                  <a:cubicBezTo>
                    <a:pt x="321" y="162"/>
                    <a:pt x="321" y="162"/>
                    <a:pt x="321" y="163"/>
                  </a:cubicBezTo>
                  <a:cubicBezTo>
                    <a:pt x="321" y="163"/>
                    <a:pt x="322" y="164"/>
                    <a:pt x="322" y="164"/>
                  </a:cubicBezTo>
                  <a:cubicBezTo>
                    <a:pt x="322" y="165"/>
                    <a:pt x="322" y="165"/>
                    <a:pt x="322" y="165"/>
                  </a:cubicBezTo>
                  <a:cubicBezTo>
                    <a:pt x="323" y="165"/>
                    <a:pt x="323" y="166"/>
                    <a:pt x="323" y="166"/>
                  </a:cubicBezTo>
                  <a:cubicBezTo>
                    <a:pt x="324" y="166"/>
                    <a:pt x="326" y="167"/>
                    <a:pt x="326" y="168"/>
                  </a:cubicBezTo>
                  <a:cubicBezTo>
                    <a:pt x="327" y="168"/>
                    <a:pt x="327" y="169"/>
                    <a:pt x="328" y="170"/>
                  </a:cubicBezTo>
                  <a:cubicBezTo>
                    <a:pt x="328" y="170"/>
                    <a:pt x="329" y="171"/>
                    <a:pt x="329" y="171"/>
                  </a:cubicBezTo>
                  <a:cubicBezTo>
                    <a:pt x="329" y="172"/>
                    <a:pt x="330" y="173"/>
                    <a:pt x="330" y="173"/>
                  </a:cubicBezTo>
                  <a:cubicBezTo>
                    <a:pt x="330" y="174"/>
                    <a:pt x="330" y="175"/>
                    <a:pt x="330" y="176"/>
                  </a:cubicBezTo>
                  <a:cubicBezTo>
                    <a:pt x="330" y="176"/>
                    <a:pt x="330" y="178"/>
                    <a:pt x="330" y="178"/>
                  </a:cubicBezTo>
                  <a:cubicBezTo>
                    <a:pt x="331" y="178"/>
                    <a:pt x="331" y="177"/>
                    <a:pt x="332" y="177"/>
                  </a:cubicBezTo>
                  <a:cubicBezTo>
                    <a:pt x="332" y="177"/>
                    <a:pt x="333" y="176"/>
                    <a:pt x="334" y="177"/>
                  </a:cubicBezTo>
                  <a:cubicBezTo>
                    <a:pt x="337" y="177"/>
                    <a:pt x="340" y="179"/>
                    <a:pt x="341" y="181"/>
                  </a:cubicBezTo>
                  <a:cubicBezTo>
                    <a:pt x="341" y="181"/>
                    <a:pt x="341" y="182"/>
                    <a:pt x="341" y="182"/>
                  </a:cubicBezTo>
                  <a:cubicBezTo>
                    <a:pt x="341" y="182"/>
                    <a:pt x="341" y="182"/>
                    <a:pt x="341" y="183"/>
                  </a:cubicBezTo>
                  <a:cubicBezTo>
                    <a:pt x="341" y="183"/>
                    <a:pt x="341" y="184"/>
                    <a:pt x="340" y="185"/>
                  </a:cubicBezTo>
                  <a:cubicBezTo>
                    <a:pt x="339" y="185"/>
                    <a:pt x="340" y="184"/>
                    <a:pt x="340" y="183"/>
                  </a:cubicBezTo>
                  <a:cubicBezTo>
                    <a:pt x="340" y="183"/>
                    <a:pt x="340" y="182"/>
                    <a:pt x="340" y="182"/>
                  </a:cubicBezTo>
                  <a:cubicBezTo>
                    <a:pt x="340" y="183"/>
                    <a:pt x="339" y="183"/>
                    <a:pt x="338" y="183"/>
                  </a:cubicBezTo>
                  <a:cubicBezTo>
                    <a:pt x="338" y="182"/>
                    <a:pt x="338" y="182"/>
                    <a:pt x="337" y="182"/>
                  </a:cubicBezTo>
                  <a:cubicBezTo>
                    <a:pt x="337" y="181"/>
                    <a:pt x="336" y="181"/>
                    <a:pt x="336" y="181"/>
                  </a:cubicBezTo>
                  <a:cubicBezTo>
                    <a:pt x="335" y="181"/>
                    <a:pt x="335" y="182"/>
                    <a:pt x="335" y="182"/>
                  </a:cubicBezTo>
                  <a:cubicBezTo>
                    <a:pt x="333" y="185"/>
                    <a:pt x="332" y="187"/>
                    <a:pt x="331" y="190"/>
                  </a:cubicBezTo>
                  <a:cubicBezTo>
                    <a:pt x="330" y="190"/>
                    <a:pt x="330" y="190"/>
                    <a:pt x="330" y="190"/>
                  </a:cubicBezTo>
                  <a:cubicBezTo>
                    <a:pt x="330" y="189"/>
                    <a:pt x="330" y="189"/>
                    <a:pt x="330" y="189"/>
                  </a:cubicBezTo>
                  <a:cubicBezTo>
                    <a:pt x="329" y="189"/>
                    <a:pt x="329" y="187"/>
                    <a:pt x="328" y="187"/>
                  </a:cubicBezTo>
                  <a:cubicBezTo>
                    <a:pt x="327" y="187"/>
                    <a:pt x="326" y="188"/>
                    <a:pt x="324" y="188"/>
                  </a:cubicBezTo>
                  <a:cubicBezTo>
                    <a:pt x="323" y="189"/>
                    <a:pt x="321" y="187"/>
                    <a:pt x="320" y="188"/>
                  </a:cubicBezTo>
                  <a:cubicBezTo>
                    <a:pt x="320" y="188"/>
                    <a:pt x="320" y="187"/>
                    <a:pt x="319" y="187"/>
                  </a:cubicBezTo>
                  <a:cubicBezTo>
                    <a:pt x="318" y="187"/>
                    <a:pt x="318" y="187"/>
                    <a:pt x="317" y="187"/>
                  </a:cubicBezTo>
                  <a:cubicBezTo>
                    <a:pt x="316" y="187"/>
                    <a:pt x="315" y="187"/>
                    <a:pt x="313" y="187"/>
                  </a:cubicBezTo>
                  <a:cubicBezTo>
                    <a:pt x="311" y="187"/>
                    <a:pt x="308" y="187"/>
                    <a:pt x="305" y="188"/>
                  </a:cubicBezTo>
                  <a:cubicBezTo>
                    <a:pt x="305" y="187"/>
                    <a:pt x="305" y="187"/>
                    <a:pt x="305" y="186"/>
                  </a:cubicBezTo>
                  <a:cubicBezTo>
                    <a:pt x="305" y="186"/>
                    <a:pt x="305" y="185"/>
                    <a:pt x="305" y="184"/>
                  </a:cubicBezTo>
                  <a:cubicBezTo>
                    <a:pt x="304" y="184"/>
                    <a:pt x="304" y="183"/>
                    <a:pt x="303" y="183"/>
                  </a:cubicBezTo>
                  <a:cubicBezTo>
                    <a:pt x="303" y="184"/>
                    <a:pt x="302" y="184"/>
                    <a:pt x="302" y="183"/>
                  </a:cubicBezTo>
                  <a:cubicBezTo>
                    <a:pt x="302" y="182"/>
                    <a:pt x="304" y="182"/>
                    <a:pt x="304" y="182"/>
                  </a:cubicBezTo>
                  <a:cubicBezTo>
                    <a:pt x="305" y="181"/>
                    <a:pt x="305" y="179"/>
                    <a:pt x="305" y="178"/>
                  </a:cubicBezTo>
                  <a:cubicBezTo>
                    <a:pt x="305" y="177"/>
                    <a:pt x="305" y="175"/>
                    <a:pt x="307" y="174"/>
                  </a:cubicBezTo>
                  <a:cubicBezTo>
                    <a:pt x="306" y="174"/>
                    <a:pt x="306" y="173"/>
                    <a:pt x="306" y="172"/>
                  </a:cubicBezTo>
                  <a:cubicBezTo>
                    <a:pt x="305" y="171"/>
                    <a:pt x="305" y="171"/>
                    <a:pt x="304" y="171"/>
                  </a:cubicBezTo>
                  <a:cubicBezTo>
                    <a:pt x="305" y="171"/>
                    <a:pt x="305" y="171"/>
                    <a:pt x="306" y="170"/>
                  </a:cubicBezTo>
                  <a:cubicBezTo>
                    <a:pt x="304" y="170"/>
                    <a:pt x="302" y="170"/>
                    <a:pt x="300" y="170"/>
                  </a:cubicBezTo>
                  <a:cubicBezTo>
                    <a:pt x="298" y="170"/>
                    <a:pt x="297" y="171"/>
                    <a:pt x="295" y="171"/>
                  </a:cubicBezTo>
                  <a:cubicBezTo>
                    <a:pt x="294" y="172"/>
                    <a:pt x="293" y="173"/>
                    <a:pt x="292" y="174"/>
                  </a:cubicBezTo>
                  <a:cubicBezTo>
                    <a:pt x="291" y="175"/>
                    <a:pt x="291" y="175"/>
                    <a:pt x="291" y="176"/>
                  </a:cubicBezTo>
                  <a:cubicBezTo>
                    <a:pt x="290" y="176"/>
                    <a:pt x="290" y="176"/>
                    <a:pt x="290" y="177"/>
                  </a:cubicBezTo>
                  <a:cubicBezTo>
                    <a:pt x="290" y="177"/>
                    <a:pt x="290" y="177"/>
                    <a:pt x="289" y="177"/>
                  </a:cubicBezTo>
                  <a:cubicBezTo>
                    <a:pt x="289" y="177"/>
                    <a:pt x="289" y="176"/>
                    <a:pt x="289" y="175"/>
                  </a:cubicBezTo>
                  <a:cubicBezTo>
                    <a:pt x="288" y="176"/>
                    <a:pt x="288" y="176"/>
                    <a:pt x="287" y="176"/>
                  </a:cubicBezTo>
                  <a:cubicBezTo>
                    <a:pt x="288" y="175"/>
                    <a:pt x="288" y="175"/>
                    <a:pt x="288" y="175"/>
                  </a:cubicBezTo>
                  <a:cubicBezTo>
                    <a:pt x="288" y="174"/>
                    <a:pt x="287" y="174"/>
                    <a:pt x="287" y="175"/>
                  </a:cubicBezTo>
                  <a:cubicBezTo>
                    <a:pt x="286" y="175"/>
                    <a:pt x="285" y="177"/>
                    <a:pt x="283" y="177"/>
                  </a:cubicBezTo>
                  <a:cubicBezTo>
                    <a:pt x="282" y="177"/>
                    <a:pt x="282" y="177"/>
                    <a:pt x="281" y="178"/>
                  </a:cubicBezTo>
                  <a:cubicBezTo>
                    <a:pt x="281" y="178"/>
                    <a:pt x="281" y="178"/>
                    <a:pt x="281" y="179"/>
                  </a:cubicBezTo>
                  <a:cubicBezTo>
                    <a:pt x="281" y="179"/>
                    <a:pt x="280" y="179"/>
                    <a:pt x="280" y="180"/>
                  </a:cubicBezTo>
                  <a:cubicBezTo>
                    <a:pt x="279" y="180"/>
                    <a:pt x="279" y="180"/>
                    <a:pt x="279" y="181"/>
                  </a:cubicBezTo>
                  <a:cubicBezTo>
                    <a:pt x="279" y="181"/>
                    <a:pt x="279" y="182"/>
                    <a:pt x="279" y="182"/>
                  </a:cubicBezTo>
                  <a:cubicBezTo>
                    <a:pt x="279" y="182"/>
                    <a:pt x="279" y="182"/>
                    <a:pt x="279" y="182"/>
                  </a:cubicBezTo>
                  <a:cubicBezTo>
                    <a:pt x="279" y="182"/>
                    <a:pt x="279" y="183"/>
                    <a:pt x="280" y="183"/>
                  </a:cubicBezTo>
                  <a:cubicBezTo>
                    <a:pt x="280" y="183"/>
                    <a:pt x="280" y="183"/>
                    <a:pt x="280" y="183"/>
                  </a:cubicBezTo>
                  <a:cubicBezTo>
                    <a:pt x="281" y="183"/>
                    <a:pt x="282" y="184"/>
                    <a:pt x="283" y="184"/>
                  </a:cubicBezTo>
                  <a:cubicBezTo>
                    <a:pt x="283" y="185"/>
                    <a:pt x="283" y="185"/>
                    <a:pt x="283" y="185"/>
                  </a:cubicBezTo>
                  <a:cubicBezTo>
                    <a:pt x="283" y="185"/>
                    <a:pt x="283" y="185"/>
                    <a:pt x="283" y="185"/>
                  </a:cubicBezTo>
                  <a:cubicBezTo>
                    <a:pt x="282" y="186"/>
                    <a:pt x="281" y="186"/>
                    <a:pt x="280" y="186"/>
                  </a:cubicBezTo>
                  <a:cubicBezTo>
                    <a:pt x="279" y="186"/>
                    <a:pt x="278" y="186"/>
                    <a:pt x="277" y="186"/>
                  </a:cubicBezTo>
                  <a:cubicBezTo>
                    <a:pt x="276" y="186"/>
                    <a:pt x="276" y="185"/>
                    <a:pt x="275" y="185"/>
                  </a:cubicBezTo>
                  <a:cubicBezTo>
                    <a:pt x="275" y="185"/>
                    <a:pt x="275" y="184"/>
                    <a:pt x="275" y="184"/>
                  </a:cubicBezTo>
                  <a:cubicBezTo>
                    <a:pt x="272" y="185"/>
                    <a:pt x="271" y="186"/>
                    <a:pt x="268" y="187"/>
                  </a:cubicBezTo>
                  <a:cubicBezTo>
                    <a:pt x="268" y="187"/>
                    <a:pt x="268" y="188"/>
                    <a:pt x="267" y="188"/>
                  </a:cubicBezTo>
                  <a:cubicBezTo>
                    <a:pt x="267" y="188"/>
                    <a:pt x="267" y="188"/>
                    <a:pt x="267" y="189"/>
                  </a:cubicBezTo>
                  <a:cubicBezTo>
                    <a:pt x="267" y="189"/>
                    <a:pt x="267" y="189"/>
                    <a:pt x="267" y="189"/>
                  </a:cubicBezTo>
                  <a:cubicBezTo>
                    <a:pt x="267" y="190"/>
                    <a:pt x="266" y="190"/>
                    <a:pt x="266" y="190"/>
                  </a:cubicBezTo>
                  <a:cubicBezTo>
                    <a:pt x="266" y="190"/>
                    <a:pt x="265" y="190"/>
                    <a:pt x="265" y="190"/>
                  </a:cubicBezTo>
                  <a:cubicBezTo>
                    <a:pt x="264" y="190"/>
                    <a:pt x="265" y="190"/>
                    <a:pt x="265" y="191"/>
                  </a:cubicBezTo>
                  <a:cubicBezTo>
                    <a:pt x="265" y="191"/>
                    <a:pt x="265" y="191"/>
                    <a:pt x="265" y="192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64" y="193"/>
                    <a:pt x="263" y="194"/>
                    <a:pt x="262" y="194"/>
                  </a:cubicBezTo>
                  <a:cubicBezTo>
                    <a:pt x="261" y="194"/>
                    <a:pt x="261" y="194"/>
                    <a:pt x="261" y="193"/>
                  </a:cubicBezTo>
                  <a:cubicBezTo>
                    <a:pt x="260" y="194"/>
                    <a:pt x="259" y="194"/>
                    <a:pt x="258" y="195"/>
                  </a:cubicBezTo>
                  <a:cubicBezTo>
                    <a:pt x="257" y="195"/>
                    <a:pt x="257" y="195"/>
                    <a:pt x="257" y="195"/>
                  </a:cubicBezTo>
                  <a:cubicBezTo>
                    <a:pt x="257" y="195"/>
                    <a:pt x="258" y="195"/>
                    <a:pt x="258" y="195"/>
                  </a:cubicBezTo>
                  <a:cubicBezTo>
                    <a:pt x="257" y="196"/>
                    <a:pt x="257" y="196"/>
                    <a:pt x="257" y="196"/>
                  </a:cubicBezTo>
                  <a:cubicBezTo>
                    <a:pt x="257" y="196"/>
                    <a:pt x="258" y="196"/>
                    <a:pt x="258" y="197"/>
                  </a:cubicBezTo>
                  <a:cubicBezTo>
                    <a:pt x="258" y="197"/>
                    <a:pt x="258" y="197"/>
                    <a:pt x="258" y="198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56" y="198"/>
                    <a:pt x="256" y="199"/>
                    <a:pt x="256" y="199"/>
                  </a:cubicBezTo>
                  <a:cubicBezTo>
                    <a:pt x="255" y="199"/>
                    <a:pt x="255" y="199"/>
                    <a:pt x="254" y="199"/>
                  </a:cubicBezTo>
                  <a:cubicBezTo>
                    <a:pt x="253" y="199"/>
                    <a:pt x="253" y="201"/>
                    <a:pt x="252" y="201"/>
                  </a:cubicBezTo>
                  <a:cubicBezTo>
                    <a:pt x="252" y="201"/>
                    <a:pt x="251" y="201"/>
                    <a:pt x="251" y="200"/>
                  </a:cubicBezTo>
                  <a:cubicBezTo>
                    <a:pt x="251" y="200"/>
                    <a:pt x="251" y="200"/>
                    <a:pt x="251" y="200"/>
                  </a:cubicBezTo>
                  <a:cubicBezTo>
                    <a:pt x="251" y="200"/>
                    <a:pt x="251" y="199"/>
                    <a:pt x="251" y="199"/>
                  </a:cubicBezTo>
                  <a:cubicBezTo>
                    <a:pt x="252" y="198"/>
                    <a:pt x="253" y="198"/>
                    <a:pt x="253" y="198"/>
                  </a:cubicBezTo>
                  <a:cubicBezTo>
                    <a:pt x="254" y="197"/>
                    <a:pt x="255" y="197"/>
                    <a:pt x="255" y="196"/>
                  </a:cubicBezTo>
                  <a:cubicBezTo>
                    <a:pt x="255" y="196"/>
                    <a:pt x="255" y="196"/>
                    <a:pt x="255" y="196"/>
                  </a:cubicBezTo>
                  <a:cubicBezTo>
                    <a:pt x="255" y="196"/>
                    <a:pt x="255" y="196"/>
                    <a:pt x="255" y="196"/>
                  </a:cubicBezTo>
                  <a:cubicBezTo>
                    <a:pt x="254" y="196"/>
                    <a:pt x="253" y="197"/>
                    <a:pt x="252" y="198"/>
                  </a:cubicBezTo>
                  <a:cubicBezTo>
                    <a:pt x="251" y="198"/>
                    <a:pt x="251" y="198"/>
                    <a:pt x="250" y="199"/>
                  </a:cubicBezTo>
                  <a:cubicBezTo>
                    <a:pt x="250" y="200"/>
                    <a:pt x="250" y="200"/>
                    <a:pt x="250" y="201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4" y="205"/>
                    <a:pt x="255" y="206"/>
                    <a:pt x="256" y="207"/>
                  </a:cubicBezTo>
                  <a:cubicBezTo>
                    <a:pt x="257" y="208"/>
                    <a:pt x="259" y="208"/>
                    <a:pt x="260" y="208"/>
                  </a:cubicBezTo>
                  <a:cubicBezTo>
                    <a:pt x="262" y="209"/>
                    <a:pt x="263" y="209"/>
                    <a:pt x="265" y="209"/>
                  </a:cubicBezTo>
                  <a:cubicBezTo>
                    <a:pt x="266" y="209"/>
                    <a:pt x="268" y="209"/>
                    <a:pt x="269" y="210"/>
                  </a:cubicBezTo>
                  <a:cubicBezTo>
                    <a:pt x="271" y="211"/>
                    <a:pt x="273" y="211"/>
                    <a:pt x="275" y="212"/>
                  </a:cubicBezTo>
                  <a:cubicBezTo>
                    <a:pt x="275" y="212"/>
                    <a:pt x="276" y="213"/>
                    <a:pt x="277" y="213"/>
                  </a:cubicBezTo>
                  <a:cubicBezTo>
                    <a:pt x="277" y="214"/>
                    <a:pt x="277" y="214"/>
                    <a:pt x="277" y="215"/>
                  </a:cubicBezTo>
                  <a:cubicBezTo>
                    <a:pt x="278" y="215"/>
                    <a:pt x="278" y="215"/>
                    <a:pt x="279" y="215"/>
                  </a:cubicBezTo>
                  <a:cubicBezTo>
                    <a:pt x="280" y="215"/>
                    <a:pt x="280" y="215"/>
                    <a:pt x="280" y="215"/>
                  </a:cubicBezTo>
                  <a:cubicBezTo>
                    <a:pt x="281" y="215"/>
                    <a:pt x="281" y="214"/>
                    <a:pt x="280" y="214"/>
                  </a:cubicBezTo>
                  <a:cubicBezTo>
                    <a:pt x="280" y="213"/>
                    <a:pt x="279" y="213"/>
                    <a:pt x="279" y="212"/>
                  </a:cubicBezTo>
                  <a:cubicBezTo>
                    <a:pt x="279" y="212"/>
                    <a:pt x="280" y="211"/>
                    <a:pt x="280" y="211"/>
                  </a:cubicBezTo>
                  <a:cubicBezTo>
                    <a:pt x="280" y="212"/>
                    <a:pt x="280" y="213"/>
                    <a:pt x="281" y="213"/>
                  </a:cubicBezTo>
                  <a:cubicBezTo>
                    <a:pt x="281" y="214"/>
                    <a:pt x="282" y="214"/>
                    <a:pt x="282" y="215"/>
                  </a:cubicBezTo>
                  <a:cubicBezTo>
                    <a:pt x="283" y="215"/>
                    <a:pt x="284" y="215"/>
                    <a:pt x="284" y="215"/>
                  </a:cubicBezTo>
                  <a:cubicBezTo>
                    <a:pt x="284" y="215"/>
                    <a:pt x="284" y="214"/>
                    <a:pt x="284" y="214"/>
                  </a:cubicBezTo>
                  <a:cubicBezTo>
                    <a:pt x="285" y="214"/>
                    <a:pt x="285" y="214"/>
                    <a:pt x="285" y="215"/>
                  </a:cubicBezTo>
                  <a:cubicBezTo>
                    <a:pt x="285" y="215"/>
                    <a:pt x="285" y="216"/>
                    <a:pt x="285" y="216"/>
                  </a:cubicBezTo>
                  <a:cubicBezTo>
                    <a:pt x="284" y="217"/>
                    <a:pt x="283" y="218"/>
                    <a:pt x="282" y="219"/>
                  </a:cubicBezTo>
                  <a:cubicBezTo>
                    <a:pt x="281" y="219"/>
                    <a:pt x="281" y="219"/>
                    <a:pt x="281" y="219"/>
                  </a:cubicBezTo>
                  <a:cubicBezTo>
                    <a:pt x="281" y="219"/>
                    <a:pt x="281" y="219"/>
                    <a:pt x="281" y="219"/>
                  </a:cubicBezTo>
                  <a:cubicBezTo>
                    <a:pt x="280" y="218"/>
                    <a:pt x="279" y="217"/>
                    <a:pt x="278" y="217"/>
                  </a:cubicBezTo>
                  <a:cubicBezTo>
                    <a:pt x="278" y="216"/>
                    <a:pt x="277" y="215"/>
                    <a:pt x="276" y="215"/>
                  </a:cubicBezTo>
                  <a:cubicBezTo>
                    <a:pt x="276" y="215"/>
                    <a:pt x="276" y="214"/>
                    <a:pt x="276" y="214"/>
                  </a:cubicBezTo>
                  <a:cubicBezTo>
                    <a:pt x="276" y="213"/>
                    <a:pt x="275" y="213"/>
                    <a:pt x="274" y="213"/>
                  </a:cubicBezTo>
                  <a:cubicBezTo>
                    <a:pt x="273" y="212"/>
                    <a:pt x="272" y="212"/>
                    <a:pt x="272" y="213"/>
                  </a:cubicBezTo>
                  <a:cubicBezTo>
                    <a:pt x="271" y="214"/>
                    <a:pt x="271" y="215"/>
                    <a:pt x="270" y="216"/>
                  </a:cubicBezTo>
                  <a:cubicBezTo>
                    <a:pt x="269" y="217"/>
                    <a:pt x="267" y="217"/>
                    <a:pt x="266" y="216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66" y="216"/>
                    <a:pt x="265" y="217"/>
                    <a:pt x="266" y="217"/>
                  </a:cubicBezTo>
                  <a:cubicBezTo>
                    <a:pt x="266" y="217"/>
                    <a:pt x="266" y="218"/>
                    <a:pt x="266" y="218"/>
                  </a:cubicBezTo>
                  <a:cubicBezTo>
                    <a:pt x="267" y="218"/>
                    <a:pt x="268" y="219"/>
                    <a:pt x="268" y="219"/>
                  </a:cubicBezTo>
                  <a:cubicBezTo>
                    <a:pt x="268" y="220"/>
                    <a:pt x="268" y="220"/>
                    <a:pt x="268" y="221"/>
                  </a:cubicBezTo>
                  <a:cubicBezTo>
                    <a:pt x="269" y="222"/>
                    <a:pt x="271" y="222"/>
                    <a:pt x="272" y="224"/>
                  </a:cubicBezTo>
                  <a:cubicBezTo>
                    <a:pt x="272" y="225"/>
                    <a:pt x="272" y="225"/>
                    <a:pt x="272" y="225"/>
                  </a:cubicBezTo>
                  <a:cubicBezTo>
                    <a:pt x="272" y="226"/>
                    <a:pt x="272" y="226"/>
                    <a:pt x="273" y="226"/>
                  </a:cubicBezTo>
                  <a:cubicBezTo>
                    <a:pt x="272" y="227"/>
                    <a:pt x="271" y="226"/>
                    <a:pt x="271" y="227"/>
                  </a:cubicBezTo>
                  <a:cubicBezTo>
                    <a:pt x="270" y="227"/>
                    <a:pt x="270" y="227"/>
                    <a:pt x="271" y="227"/>
                  </a:cubicBezTo>
                  <a:cubicBezTo>
                    <a:pt x="271" y="230"/>
                    <a:pt x="272" y="232"/>
                    <a:pt x="274" y="233"/>
                  </a:cubicBezTo>
                  <a:cubicBezTo>
                    <a:pt x="275" y="233"/>
                    <a:pt x="277" y="234"/>
                    <a:pt x="278" y="234"/>
                  </a:cubicBezTo>
                  <a:cubicBezTo>
                    <a:pt x="282" y="235"/>
                    <a:pt x="286" y="235"/>
                    <a:pt x="289" y="238"/>
                  </a:cubicBezTo>
                  <a:cubicBezTo>
                    <a:pt x="290" y="238"/>
                    <a:pt x="291" y="237"/>
                    <a:pt x="291" y="236"/>
                  </a:cubicBezTo>
                  <a:cubicBezTo>
                    <a:pt x="292" y="236"/>
                    <a:pt x="293" y="235"/>
                    <a:pt x="293" y="235"/>
                  </a:cubicBezTo>
                  <a:cubicBezTo>
                    <a:pt x="294" y="235"/>
                    <a:pt x="294" y="235"/>
                    <a:pt x="294" y="235"/>
                  </a:cubicBezTo>
                  <a:cubicBezTo>
                    <a:pt x="295" y="236"/>
                    <a:pt x="296" y="235"/>
                    <a:pt x="297" y="235"/>
                  </a:cubicBezTo>
                  <a:cubicBezTo>
                    <a:pt x="297" y="234"/>
                    <a:pt x="298" y="233"/>
                    <a:pt x="299" y="233"/>
                  </a:cubicBezTo>
                  <a:cubicBezTo>
                    <a:pt x="300" y="233"/>
                    <a:pt x="301" y="234"/>
                    <a:pt x="302" y="234"/>
                  </a:cubicBezTo>
                  <a:cubicBezTo>
                    <a:pt x="304" y="234"/>
                    <a:pt x="305" y="233"/>
                    <a:pt x="307" y="233"/>
                  </a:cubicBezTo>
                  <a:cubicBezTo>
                    <a:pt x="309" y="233"/>
                    <a:pt x="311" y="235"/>
                    <a:pt x="313" y="237"/>
                  </a:cubicBezTo>
                  <a:cubicBezTo>
                    <a:pt x="313" y="238"/>
                    <a:pt x="313" y="238"/>
                    <a:pt x="313" y="238"/>
                  </a:cubicBezTo>
                  <a:cubicBezTo>
                    <a:pt x="314" y="238"/>
                    <a:pt x="315" y="237"/>
                    <a:pt x="315" y="236"/>
                  </a:cubicBezTo>
                  <a:cubicBezTo>
                    <a:pt x="315" y="236"/>
                    <a:pt x="314" y="235"/>
                    <a:pt x="313" y="235"/>
                  </a:cubicBezTo>
                  <a:cubicBezTo>
                    <a:pt x="312" y="234"/>
                    <a:pt x="311" y="234"/>
                    <a:pt x="311" y="233"/>
                  </a:cubicBezTo>
                  <a:cubicBezTo>
                    <a:pt x="311" y="233"/>
                    <a:pt x="311" y="232"/>
                    <a:pt x="311" y="232"/>
                  </a:cubicBezTo>
                  <a:cubicBezTo>
                    <a:pt x="311" y="231"/>
                    <a:pt x="312" y="231"/>
                    <a:pt x="313" y="231"/>
                  </a:cubicBezTo>
                  <a:cubicBezTo>
                    <a:pt x="313" y="231"/>
                    <a:pt x="314" y="232"/>
                    <a:pt x="314" y="232"/>
                  </a:cubicBezTo>
                  <a:cubicBezTo>
                    <a:pt x="315" y="233"/>
                    <a:pt x="316" y="234"/>
                    <a:pt x="317" y="235"/>
                  </a:cubicBezTo>
                  <a:cubicBezTo>
                    <a:pt x="317" y="237"/>
                    <a:pt x="318" y="238"/>
                    <a:pt x="318" y="239"/>
                  </a:cubicBezTo>
                  <a:cubicBezTo>
                    <a:pt x="318" y="239"/>
                    <a:pt x="318" y="240"/>
                    <a:pt x="318" y="240"/>
                  </a:cubicBezTo>
                  <a:cubicBezTo>
                    <a:pt x="319" y="241"/>
                    <a:pt x="320" y="240"/>
                    <a:pt x="320" y="240"/>
                  </a:cubicBezTo>
                  <a:cubicBezTo>
                    <a:pt x="321" y="239"/>
                    <a:pt x="321" y="239"/>
                    <a:pt x="321" y="238"/>
                  </a:cubicBezTo>
                  <a:cubicBezTo>
                    <a:pt x="321" y="237"/>
                    <a:pt x="321" y="237"/>
                    <a:pt x="321" y="236"/>
                  </a:cubicBezTo>
                  <a:cubicBezTo>
                    <a:pt x="321" y="236"/>
                    <a:pt x="322" y="235"/>
                    <a:pt x="322" y="235"/>
                  </a:cubicBezTo>
                  <a:cubicBezTo>
                    <a:pt x="323" y="234"/>
                    <a:pt x="324" y="233"/>
                    <a:pt x="325" y="232"/>
                  </a:cubicBezTo>
                  <a:cubicBezTo>
                    <a:pt x="326" y="231"/>
                    <a:pt x="327" y="230"/>
                    <a:pt x="328" y="229"/>
                  </a:cubicBezTo>
                  <a:cubicBezTo>
                    <a:pt x="327" y="229"/>
                    <a:pt x="327" y="229"/>
                    <a:pt x="327" y="228"/>
                  </a:cubicBezTo>
                  <a:cubicBezTo>
                    <a:pt x="327" y="228"/>
                    <a:pt x="327" y="227"/>
                    <a:pt x="328" y="228"/>
                  </a:cubicBezTo>
                  <a:cubicBezTo>
                    <a:pt x="328" y="228"/>
                    <a:pt x="328" y="228"/>
                    <a:pt x="328" y="228"/>
                  </a:cubicBezTo>
                  <a:cubicBezTo>
                    <a:pt x="328" y="228"/>
                    <a:pt x="328" y="229"/>
                    <a:pt x="329" y="229"/>
                  </a:cubicBezTo>
                  <a:cubicBezTo>
                    <a:pt x="330" y="229"/>
                    <a:pt x="330" y="228"/>
                    <a:pt x="331" y="228"/>
                  </a:cubicBezTo>
                  <a:cubicBezTo>
                    <a:pt x="331" y="228"/>
                    <a:pt x="332" y="227"/>
                    <a:pt x="332" y="227"/>
                  </a:cubicBezTo>
                  <a:cubicBezTo>
                    <a:pt x="332" y="227"/>
                    <a:pt x="332" y="227"/>
                    <a:pt x="331" y="227"/>
                  </a:cubicBezTo>
                  <a:cubicBezTo>
                    <a:pt x="331" y="226"/>
                    <a:pt x="332" y="226"/>
                    <a:pt x="332" y="226"/>
                  </a:cubicBezTo>
                  <a:cubicBezTo>
                    <a:pt x="332" y="226"/>
                    <a:pt x="332" y="226"/>
                    <a:pt x="333" y="227"/>
                  </a:cubicBezTo>
                  <a:cubicBezTo>
                    <a:pt x="333" y="228"/>
                    <a:pt x="335" y="228"/>
                    <a:pt x="336" y="227"/>
                  </a:cubicBezTo>
                  <a:cubicBezTo>
                    <a:pt x="336" y="227"/>
                    <a:pt x="337" y="226"/>
                    <a:pt x="337" y="226"/>
                  </a:cubicBezTo>
                  <a:cubicBezTo>
                    <a:pt x="338" y="225"/>
                    <a:pt x="338" y="224"/>
                    <a:pt x="339" y="222"/>
                  </a:cubicBezTo>
                  <a:cubicBezTo>
                    <a:pt x="340" y="225"/>
                    <a:pt x="342" y="227"/>
                    <a:pt x="344" y="229"/>
                  </a:cubicBezTo>
                  <a:cubicBezTo>
                    <a:pt x="345" y="230"/>
                    <a:pt x="345" y="231"/>
                    <a:pt x="344" y="232"/>
                  </a:cubicBezTo>
                  <a:cubicBezTo>
                    <a:pt x="343" y="233"/>
                    <a:pt x="342" y="233"/>
                    <a:pt x="342" y="234"/>
                  </a:cubicBezTo>
                  <a:cubicBezTo>
                    <a:pt x="342" y="234"/>
                    <a:pt x="342" y="235"/>
                    <a:pt x="342" y="235"/>
                  </a:cubicBezTo>
                  <a:cubicBezTo>
                    <a:pt x="341" y="235"/>
                    <a:pt x="341" y="235"/>
                    <a:pt x="341" y="235"/>
                  </a:cubicBezTo>
                  <a:cubicBezTo>
                    <a:pt x="340" y="235"/>
                    <a:pt x="339" y="235"/>
                    <a:pt x="338" y="235"/>
                  </a:cubicBezTo>
                  <a:cubicBezTo>
                    <a:pt x="338" y="235"/>
                    <a:pt x="337" y="235"/>
                    <a:pt x="337" y="235"/>
                  </a:cubicBezTo>
                  <a:cubicBezTo>
                    <a:pt x="337" y="235"/>
                    <a:pt x="337" y="234"/>
                    <a:pt x="337" y="234"/>
                  </a:cubicBezTo>
                  <a:cubicBezTo>
                    <a:pt x="337" y="234"/>
                    <a:pt x="337" y="234"/>
                    <a:pt x="336" y="234"/>
                  </a:cubicBezTo>
                  <a:cubicBezTo>
                    <a:pt x="336" y="235"/>
                    <a:pt x="336" y="235"/>
                    <a:pt x="335" y="236"/>
                  </a:cubicBezTo>
                  <a:cubicBezTo>
                    <a:pt x="335" y="236"/>
                    <a:pt x="336" y="237"/>
                    <a:pt x="335" y="238"/>
                  </a:cubicBezTo>
                  <a:cubicBezTo>
                    <a:pt x="335" y="238"/>
                    <a:pt x="334" y="238"/>
                    <a:pt x="334" y="238"/>
                  </a:cubicBezTo>
                  <a:cubicBezTo>
                    <a:pt x="335" y="239"/>
                    <a:pt x="335" y="238"/>
                    <a:pt x="336" y="238"/>
                  </a:cubicBezTo>
                  <a:cubicBezTo>
                    <a:pt x="336" y="238"/>
                    <a:pt x="336" y="237"/>
                    <a:pt x="337" y="237"/>
                  </a:cubicBezTo>
                  <a:cubicBezTo>
                    <a:pt x="337" y="237"/>
                    <a:pt x="337" y="237"/>
                    <a:pt x="337" y="237"/>
                  </a:cubicBezTo>
                  <a:cubicBezTo>
                    <a:pt x="337" y="237"/>
                    <a:pt x="337" y="237"/>
                    <a:pt x="337" y="237"/>
                  </a:cubicBezTo>
                  <a:cubicBezTo>
                    <a:pt x="337" y="238"/>
                    <a:pt x="338" y="239"/>
                    <a:pt x="338" y="239"/>
                  </a:cubicBezTo>
                  <a:cubicBezTo>
                    <a:pt x="339" y="240"/>
                    <a:pt x="340" y="242"/>
                    <a:pt x="341" y="243"/>
                  </a:cubicBezTo>
                  <a:cubicBezTo>
                    <a:pt x="341" y="243"/>
                    <a:pt x="342" y="244"/>
                    <a:pt x="342" y="244"/>
                  </a:cubicBezTo>
                  <a:cubicBezTo>
                    <a:pt x="342" y="245"/>
                    <a:pt x="342" y="246"/>
                    <a:pt x="342" y="247"/>
                  </a:cubicBezTo>
                  <a:cubicBezTo>
                    <a:pt x="342" y="248"/>
                    <a:pt x="342" y="249"/>
                    <a:pt x="342" y="249"/>
                  </a:cubicBezTo>
                  <a:cubicBezTo>
                    <a:pt x="343" y="249"/>
                    <a:pt x="343" y="250"/>
                    <a:pt x="343" y="250"/>
                  </a:cubicBezTo>
                  <a:cubicBezTo>
                    <a:pt x="343" y="251"/>
                    <a:pt x="344" y="252"/>
                    <a:pt x="344" y="253"/>
                  </a:cubicBezTo>
                  <a:cubicBezTo>
                    <a:pt x="344" y="253"/>
                    <a:pt x="344" y="254"/>
                    <a:pt x="345" y="254"/>
                  </a:cubicBezTo>
                  <a:cubicBezTo>
                    <a:pt x="345" y="254"/>
                    <a:pt x="345" y="254"/>
                    <a:pt x="345" y="254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44" y="255"/>
                    <a:pt x="345" y="256"/>
                    <a:pt x="345" y="256"/>
                  </a:cubicBezTo>
                  <a:cubicBezTo>
                    <a:pt x="345" y="257"/>
                    <a:pt x="344" y="257"/>
                    <a:pt x="344" y="258"/>
                  </a:cubicBezTo>
                  <a:cubicBezTo>
                    <a:pt x="344" y="259"/>
                    <a:pt x="343" y="260"/>
                    <a:pt x="342" y="261"/>
                  </a:cubicBezTo>
                  <a:cubicBezTo>
                    <a:pt x="342" y="262"/>
                    <a:pt x="341" y="263"/>
                    <a:pt x="340" y="264"/>
                  </a:cubicBezTo>
                  <a:cubicBezTo>
                    <a:pt x="339" y="265"/>
                    <a:pt x="338" y="266"/>
                    <a:pt x="336" y="266"/>
                  </a:cubicBezTo>
                  <a:cubicBezTo>
                    <a:pt x="336" y="266"/>
                    <a:pt x="335" y="266"/>
                    <a:pt x="335" y="266"/>
                  </a:cubicBezTo>
                  <a:cubicBezTo>
                    <a:pt x="334" y="266"/>
                    <a:pt x="334" y="267"/>
                    <a:pt x="333" y="266"/>
                  </a:cubicBezTo>
                  <a:cubicBezTo>
                    <a:pt x="333" y="266"/>
                    <a:pt x="333" y="266"/>
                    <a:pt x="333" y="266"/>
                  </a:cubicBezTo>
                  <a:cubicBezTo>
                    <a:pt x="333" y="266"/>
                    <a:pt x="332" y="266"/>
                    <a:pt x="332" y="266"/>
                  </a:cubicBezTo>
                  <a:cubicBezTo>
                    <a:pt x="330" y="267"/>
                    <a:pt x="329" y="267"/>
                    <a:pt x="328" y="266"/>
                  </a:cubicBezTo>
                  <a:cubicBezTo>
                    <a:pt x="328" y="266"/>
                    <a:pt x="328" y="265"/>
                    <a:pt x="329" y="265"/>
                  </a:cubicBezTo>
                  <a:cubicBezTo>
                    <a:pt x="328" y="265"/>
                    <a:pt x="327" y="265"/>
                    <a:pt x="327" y="265"/>
                  </a:cubicBezTo>
                  <a:cubicBezTo>
                    <a:pt x="326" y="264"/>
                    <a:pt x="326" y="264"/>
                    <a:pt x="325" y="265"/>
                  </a:cubicBezTo>
                  <a:cubicBezTo>
                    <a:pt x="325" y="265"/>
                    <a:pt x="325" y="265"/>
                    <a:pt x="325" y="265"/>
                  </a:cubicBezTo>
                  <a:cubicBezTo>
                    <a:pt x="325" y="266"/>
                    <a:pt x="324" y="267"/>
                    <a:pt x="324" y="267"/>
                  </a:cubicBezTo>
                  <a:cubicBezTo>
                    <a:pt x="323" y="267"/>
                    <a:pt x="323" y="268"/>
                    <a:pt x="323" y="268"/>
                  </a:cubicBezTo>
                  <a:cubicBezTo>
                    <a:pt x="323" y="268"/>
                    <a:pt x="323" y="269"/>
                    <a:pt x="323" y="269"/>
                  </a:cubicBezTo>
                  <a:cubicBezTo>
                    <a:pt x="323" y="269"/>
                    <a:pt x="323" y="269"/>
                    <a:pt x="323" y="269"/>
                  </a:cubicBezTo>
                  <a:cubicBezTo>
                    <a:pt x="323" y="269"/>
                    <a:pt x="323" y="270"/>
                    <a:pt x="322" y="270"/>
                  </a:cubicBezTo>
                  <a:cubicBezTo>
                    <a:pt x="322" y="270"/>
                    <a:pt x="322" y="270"/>
                    <a:pt x="321" y="271"/>
                  </a:cubicBezTo>
                  <a:cubicBezTo>
                    <a:pt x="319" y="273"/>
                    <a:pt x="318" y="275"/>
                    <a:pt x="316" y="276"/>
                  </a:cubicBezTo>
                  <a:cubicBezTo>
                    <a:pt x="316" y="277"/>
                    <a:pt x="315" y="277"/>
                    <a:pt x="315" y="277"/>
                  </a:cubicBezTo>
                  <a:cubicBezTo>
                    <a:pt x="315" y="277"/>
                    <a:pt x="314" y="278"/>
                    <a:pt x="314" y="278"/>
                  </a:cubicBezTo>
                  <a:cubicBezTo>
                    <a:pt x="313" y="278"/>
                    <a:pt x="312" y="278"/>
                    <a:pt x="311" y="278"/>
                  </a:cubicBezTo>
                  <a:cubicBezTo>
                    <a:pt x="311" y="277"/>
                    <a:pt x="311" y="277"/>
                    <a:pt x="311" y="277"/>
                  </a:cubicBezTo>
                  <a:cubicBezTo>
                    <a:pt x="310" y="277"/>
                    <a:pt x="310" y="277"/>
                    <a:pt x="310" y="277"/>
                  </a:cubicBezTo>
                  <a:cubicBezTo>
                    <a:pt x="310" y="278"/>
                    <a:pt x="310" y="278"/>
                    <a:pt x="310" y="278"/>
                  </a:cubicBezTo>
                  <a:cubicBezTo>
                    <a:pt x="309" y="278"/>
                    <a:pt x="309" y="278"/>
                    <a:pt x="309" y="278"/>
                  </a:cubicBezTo>
                  <a:cubicBezTo>
                    <a:pt x="309" y="278"/>
                    <a:pt x="308" y="278"/>
                    <a:pt x="307" y="278"/>
                  </a:cubicBezTo>
                  <a:cubicBezTo>
                    <a:pt x="307" y="278"/>
                    <a:pt x="307" y="278"/>
                    <a:pt x="307" y="278"/>
                  </a:cubicBezTo>
                  <a:cubicBezTo>
                    <a:pt x="307" y="277"/>
                    <a:pt x="308" y="277"/>
                    <a:pt x="308" y="277"/>
                  </a:cubicBezTo>
                  <a:cubicBezTo>
                    <a:pt x="308" y="276"/>
                    <a:pt x="309" y="276"/>
                    <a:pt x="309" y="275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5"/>
                    <a:pt x="308" y="275"/>
                    <a:pt x="308" y="275"/>
                  </a:cubicBezTo>
                  <a:cubicBezTo>
                    <a:pt x="308" y="275"/>
                    <a:pt x="307" y="275"/>
                    <a:pt x="307" y="275"/>
                  </a:cubicBezTo>
                  <a:cubicBezTo>
                    <a:pt x="306" y="275"/>
                    <a:pt x="306" y="274"/>
                    <a:pt x="306" y="274"/>
                  </a:cubicBezTo>
                  <a:cubicBezTo>
                    <a:pt x="306" y="274"/>
                    <a:pt x="306" y="275"/>
                    <a:pt x="306" y="275"/>
                  </a:cubicBezTo>
                  <a:cubicBezTo>
                    <a:pt x="306" y="275"/>
                    <a:pt x="306" y="275"/>
                    <a:pt x="306" y="275"/>
                  </a:cubicBezTo>
                  <a:cubicBezTo>
                    <a:pt x="306" y="276"/>
                    <a:pt x="306" y="276"/>
                    <a:pt x="306" y="276"/>
                  </a:cubicBezTo>
                  <a:cubicBezTo>
                    <a:pt x="306" y="277"/>
                    <a:pt x="305" y="277"/>
                    <a:pt x="305" y="277"/>
                  </a:cubicBezTo>
                  <a:cubicBezTo>
                    <a:pt x="304" y="277"/>
                    <a:pt x="304" y="277"/>
                    <a:pt x="304" y="276"/>
                  </a:cubicBezTo>
                  <a:cubicBezTo>
                    <a:pt x="304" y="276"/>
                    <a:pt x="304" y="276"/>
                    <a:pt x="304" y="276"/>
                  </a:cubicBezTo>
                  <a:cubicBezTo>
                    <a:pt x="304" y="276"/>
                    <a:pt x="305" y="275"/>
                    <a:pt x="305" y="275"/>
                  </a:cubicBezTo>
                  <a:cubicBezTo>
                    <a:pt x="305" y="275"/>
                    <a:pt x="305" y="274"/>
                    <a:pt x="305" y="274"/>
                  </a:cubicBezTo>
                  <a:cubicBezTo>
                    <a:pt x="304" y="273"/>
                    <a:pt x="303" y="272"/>
                    <a:pt x="302" y="272"/>
                  </a:cubicBezTo>
                  <a:cubicBezTo>
                    <a:pt x="302" y="272"/>
                    <a:pt x="301" y="272"/>
                    <a:pt x="301" y="272"/>
                  </a:cubicBezTo>
                  <a:cubicBezTo>
                    <a:pt x="299" y="272"/>
                    <a:pt x="297" y="273"/>
                    <a:pt x="295" y="275"/>
                  </a:cubicBezTo>
                  <a:cubicBezTo>
                    <a:pt x="296" y="275"/>
                    <a:pt x="296" y="275"/>
                    <a:pt x="297" y="275"/>
                  </a:cubicBezTo>
                  <a:cubicBezTo>
                    <a:pt x="297" y="275"/>
                    <a:pt x="296" y="276"/>
                    <a:pt x="296" y="276"/>
                  </a:cubicBezTo>
                  <a:cubicBezTo>
                    <a:pt x="296" y="277"/>
                    <a:pt x="297" y="276"/>
                    <a:pt x="297" y="276"/>
                  </a:cubicBezTo>
                  <a:cubicBezTo>
                    <a:pt x="297" y="277"/>
                    <a:pt x="297" y="277"/>
                    <a:pt x="298" y="277"/>
                  </a:cubicBezTo>
                  <a:cubicBezTo>
                    <a:pt x="298" y="278"/>
                    <a:pt x="299" y="278"/>
                    <a:pt x="300" y="278"/>
                  </a:cubicBezTo>
                  <a:cubicBezTo>
                    <a:pt x="301" y="278"/>
                    <a:pt x="302" y="279"/>
                    <a:pt x="302" y="280"/>
                  </a:cubicBezTo>
                  <a:cubicBezTo>
                    <a:pt x="302" y="281"/>
                    <a:pt x="302" y="281"/>
                    <a:pt x="302" y="281"/>
                  </a:cubicBezTo>
                  <a:cubicBezTo>
                    <a:pt x="302" y="281"/>
                    <a:pt x="303" y="281"/>
                    <a:pt x="303" y="281"/>
                  </a:cubicBezTo>
                  <a:cubicBezTo>
                    <a:pt x="304" y="281"/>
                    <a:pt x="304" y="281"/>
                    <a:pt x="305" y="281"/>
                  </a:cubicBezTo>
                  <a:cubicBezTo>
                    <a:pt x="305" y="282"/>
                    <a:pt x="304" y="283"/>
                    <a:pt x="304" y="283"/>
                  </a:cubicBezTo>
                  <a:cubicBezTo>
                    <a:pt x="304" y="283"/>
                    <a:pt x="303" y="283"/>
                    <a:pt x="303" y="283"/>
                  </a:cubicBezTo>
                  <a:cubicBezTo>
                    <a:pt x="303" y="284"/>
                    <a:pt x="302" y="284"/>
                    <a:pt x="302" y="284"/>
                  </a:cubicBezTo>
                  <a:cubicBezTo>
                    <a:pt x="301" y="284"/>
                    <a:pt x="301" y="283"/>
                    <a:pt x="301" y="283"/>
                  </a:cubicBezTo>
                  <a:cubicBezTo>
                    <a:pt x="301" y="282"/>
                    <a:pt x="301" y="281"/>
                    <a:pt x="300" y="281"/>
                  </a:cubicBezTo>
                  <a:cubicBezTo>
                    <a:pt x="300" y="281"/>
                    <a:pt x="300" y="281"/>
                    <a:pt x="299" y="281"/>
                  </a:cubicBezTo>
                  <a:cubicBezTo>
                    <a:pt x="299" y="281"/>
                    <a:pt x="298" y="281"/>
                    <a:pt x="298" y="280"/>
                  </a:cubicBezTo>
                  <a:cubicBezTo>
                    <a:pt x="298" y="280"/>
                    <a:pt x="298" y="280"/>
                    <a:pt x="298" y="279"/>
                  </a:cubicBezTo>
                  <a:cubicBezTo>
                    <a:pt x="297" y="280"/>
                    <a:pt x="296" y="279"/>
                    <a:pt x="295" y="278"/>
                  </a:cubicBezTo>
                  <a:cubicBezTo>
                    <a:pt x="294" y="278"/>
                    <a:pt x="294" y="279"/>
                    <a:pt x="293" y="280"/>
                  </a:cubicBezTo>
                  <a:cubicBezTo>
                    <a:pt x="293" y="281"/>
                    <a:pt x="292" y="281"/>
                    <a:pt x="292" y="282"/>
                  </a:cubicBezTo>
                  <a:cubicBezTo>
                    <a:pt x="292" y="283"/>
                    <a:pt x="293" y="283"/>
                    <a:pt x="293" y="284"/>
                  </a:cubicBezTo>
                  <a:cubicBezTo>
                    <a:pt x="293" y="285"/>
                    <a:pt x="293" y="286"/>
                    <a:pt x="292" y="286"/>
                  </a:cubicBezTo>
                  <a:cubicBezTo>
                    <a:pt x="292" y="286"/>
                    <a:pt x="292" y="287"/>
                    <a:pt x="292" y="287"/>
                  </a:cubicBezTo>
                  <a:cubicBezTo>
                    <a:pt x="291" y="287"/>
                    <a:pt x="291" y="287"/>
                    <a:pt x="291" y="288"/>
                  </a:cubicBezTo>
                  <a:cubicBezTo>
                    <a:pt x="292" y="288"/>
                    <a:pt x="292" y="288"/>
                    <a:pt x="292" y="288"/>
                  </a:cubicBezTo>
                  <a:cubicBezTo>
                    <a:pt x="292" y="288"/>
                    <a:pt x="292" y="289"/>
                    <a:pt x="292" y="289"/>
                  </a:cubicBezTo>
                  <a:cubicBezTo>
                    <a:pt x="291" y="289"/>
                    <a:pt x="291" y="290"/>
                    <a:pt x="291" y="290"/>
                  </a:cubicBezTo>
                  <a:cubicBezTo>
                    <a:pt x="291" y="290"/>
                    <a:pt x="292" y="290"/>
                    <a:pt x="293" y="290"/>
                  </a:cubicBezTo>
                  <a:cubicBezTo>
                    <a:pt x="294" y="289"/>
                    <a:pt x="295" y="288"/>
                    <a:pt x="296" y="288"/>
                  </a:cubicBezTo>
                  <a:cubicBezTo>
                    <a:pt x="296" y="288"/>
                    <a:pt x="295" y="289"/>
                    <a:pt x="294" y="290"/>
                  </a:cubicBezTo>
                  <a:cubicBezTo>
                    <a:pt x="294" y="290"/>
                    <a:pt x="293" y="290"/>
                    <a:pt x="293" y="291"/>
                  </a:cubicBezTo>
                  <a:cubicBezTo>
                    <a:pt x="292" y="292"/>
                    <a:pt x="293" y="293"/>
                    <a:pt x="293" y="293"/>
                  </a:cubicBezTo>
                  <a:cubicBezTo>
                    <a:pt x="293" y="294"/>
                    <a:pt x="293" y="294"/>
                    <a:pt x="293" y="294"/>
                  </a:cubicBezTo>
                  <a:cubicBezTo>
                    <a:pt x="293" y="294"/>
                    <a:pt x="293" y="294"/>
                    <a:pt x="293" y="294"/>
                  </a:cubicBezTo>
                  <a:cubicBezTo>
                    <a:pt x="292" y="294"/>
                    <a:pt x="291" y="293"/>
                    <a:pt x="291" y="292"/>
                  </a:cubicBezTo>
                  <a:cubicBezTo>
                    <a:pt x="290" y="292"/>
                    <a:pt x="289" y="292"/>
                    <a:pt x="288" y="293"/>
                  </a:cubicBezTo>
                  <a:cubicBezTo>
                    <a:pt x="288" y="294"/>
                    <a:pt x="287" y="294"/>
                    <a:pt x="287" y="295"/>
                  </a:cubicBezTo>
                  <a:cubicBezTo>
                    <a:pt x="286" y="296"/>
                    <a:pt x="286" y="296"/>
                    <a:pt x="286" y="296"/>
                  </a:cubicBezTo>
                  <a:cubicBezTo>
                    <a:pt x="286" y="297"/>
                    <a:pt x="286" y="297"/>
                    <a:pt x="286" y="297"/>
                  </a:cubicBezTo>
                  <a:cubicBezTo>
                    <a:pt x="283" y="300"/>
                    <a:pt x="281" y="303"/>
                    <a:pt x="280" y="306"/>
                  </a:cubicBezTo>
                  <a:cubicBezTo>
                    <a:pt x="280" y="307"/>
                    <a:pt x="280" y="307"/>
                    <a:pt x="280" y="308"/>
                  </a:cubicBezTo>
                  <a:cubicBezTo>
                    <a:pt x="281" y="309"/>
                    <a:pt x="281" y="310"/>
                    <a:pt x="282" y="310"/>
                  </a:cubicBezTo>
                  <a:cubicBezTo>
                    <a:pt x="282" y="311"/>
                    <a:pt x="282" y="311"/>
                    <a:pt x="282" y="311"/>
                  </a:cubicBezTo>
                  <a:cubicBezTo>
                    <a:pt x="282" y="311"/>
                    <a:pt x="281" y="311"/>
                    <a:pt x="281" y="311"/>
                  </a:cubicBezTo>
                  <a:cubicBezTo>
                    <a:pt x="281" y="311"/>
                    <a:pt x="280" y="311"/>
                    <a:pt x="280" y="311"/>
                  </a:cubicBezTo>
                  <a:cubicBezTo>
                    <a:pt x="280" y="312"/>
                    <a:pt x="280" y="312"/>
                    <a:pt x="280" y="312"/>
                  </a:cubicBezTo>
                  <a:cubicBezTo>
                    <a:pt x="280" y="312"/>
                    <a:pt x="279" y="312"/>
                    <a:pt x="279" y="312"/>
                  </a:cubicBezTo>
                  <a:cubicBezTo>
                    <a:pt x="278" y="312"/>
                    <a:pt x="277" y="312"/>
                    <a:pt x="276" y="312"/>
                  </a:cubicBezTo>
                  <a:cubicBezTo>
                    <a:pt x="276" y="312"/>
                    <a:pt x="276" y="313"/>
                    <a:pt x="276" y="313"/>
                  </a:cubicBezTo>
                  <a:cubicBezTo>
                    <a:pt x="276" y="313"/>
                    <a:pt x="277" y="313"/>
                    <a:pt x="277" y="313"/>
                  </a:cubicBezTo>
                  <a:cubicBezTo>
                    <a:pt x="277" y="313"/>
                    <a:pt x="277" y="314"/>
                    <a:pt x="277" y="314"/>
                  </a:cubicBezTo>
                  <a:cubicBezTo>
                    <a:pt x="277" y="314"/>
                    <a:pt x="278" y="315"/>
                    <a:pt x="278" y="315"/>
                  </a:cubicBezTo>
                  <a:cubicBezTo>
                    <a:pt x="279" y="316"/>
                    <a:pt x="279" y="316"/>
                    <a:pt x="279" y="316"/>
                  </a:cubicBezTo>
                  <a:cubicBezTo>
                    <a:pt x="279" y="316"/>
                    <a:pt x="279" y="316"/>
                    <a:pt x="278" y="316"/>
                  </a:cubicBezTo>
                  <a:cubicBezTo>
                    <a:pt x="278" y="316"/>
                    <a:pt x="277" y="317"/>
                    <a:pt x="276" y="317"/>
                  </a:cubicBezTo>
                  <a:cubicBezTo>
                    <a:pt x="276" y="317"/>
                    <a:pt x="276" y="316"/>
                    <a:pt x="275" y="317"/>
                  </a:cubicBezTo>
                  <a:cubicBezTo>
                    <a:pt x="275" y="317"/>
                    <a:pt x="275" y="317"/>
                    <a:pt x="275" y="318"/>
                  </a:cubicBezTo>
                  <a:cubicBezTo>
                    <a:pt x="275" y="318"/>
                    <a:pt x="275" y="318"/>
                    <a:pt x="275" y="319"/>
                  </a:cubicBezTo>
                  <a:cubicBezTo>
                    <a:pt x="275" y="319"/>
                    <a:pt x="275" y="319"/>
                    <a:pt x="275" y="319"/>
                  </a:cubicBezTo>
                  <a:cubicBezTo>
                    <a:pt x="275" y="319"/>
                    <a:pt x="275" y="320"/>
                    <a:pt x="275" y="320"/>
                  </a:cubicBezTo>
                  <a:cubicBezTo>
                    <a:pt x="275" y="320"/>
                    <a:pt x="275" y="320"/>
                    <a:pt x="276" y="320"/>
                  </a:cubicBezTo>
                  <a:cubicBezTo>
                    <a:pt x="276" y="320"/>
                    <a:pt x="276" y="320"/>
                    <a:pt x="276" y="320"/>
                  </a:cubicBezTo>
                  <a:cubicBezTo>
                    <a:pt x="276" y="320"/>
                    <a:pt x="277" y="320"/>
                    <a:pt x="277" y="319"/>
                  </a:cubicBezTo>
                  <a:cubicBezTo>
                    <a:pt x="277" y="319"/>
                    <a:pt x="278" y="319"/>
                    <a:pt x="278" y="319"/>
                  </a:cubicBezTo>
                  <a:cubicBezTo>
                    <a:pt x="278" y="319"/>
                    <a:pt x="278" y="319"/>
                    <a:pt x="278" y="320"/>
                  </a:cubicBezTo>
                  <a:cubicBezTo>
                    <a:pt x="278" y="320"/>
                    <a:pt x="279" y="320"/>
                    <a:pt x="279" y="320"/>
                  </a:cubicBezTo>
                  <a:cubicBezTo>
                    <a:pt x="279" y="320"/>
                    <a:pt x="280" y="320"/>
                    <a:pt x="280" y="320"/>
                  </a:cubicBezTo>
                  <a:cubicBezTo>
                    <a:pt x="280" y="321"/>
                    <a:pt x="280" y="321"/>
                    <a:pt x="280" y="321"/>
                  </a:cubicBezTo>
                  <a:cubicBezTo>
                    <a:pt x="280" y="322"/>
                    <a:pt x="279" y="322"/>
                    <a:pt x="279" y="323"/>
                  </a:cubicBezTo>
                  <a:cubicBezTo>
                    <a:pt x="278" y="323"/>
                    <a:pt x="278" y="323"/>
                    <a:pt x="278" y="324"/>
                  </a:cubicBezTo>
                  <a:cubicBezTo>
                    <a:pt x="278" y="324"/>
                    <a:pt x="278" y="324"/>
                    <a:pt x="278" y="324"/>
                  </a:cubicBezTo>
                  <a:cubicBezTo>
                    <a:pt x="278" y="325"/>
                    <a:pt x="278" y="325"/>
                    <a:pt x="278" y="325"/>
                  </a:cubicBezTo>
                  <a:cubicBezTo>
                    <a:pt x="278" y="325"/>
                    <a:pt x="278" y="325"/>
                    <a:pt x="279" y="325"/>
                  </a:cubicBezTo>
                  <a:cubicBezTo>
                    <a:pt x="279" y="326"/>
                    <a:pt x="279" y="326"/>
                    <a:pt x="279" y="326"/>
                  </a:cubicBezTo>
                  <a:cubicBezTo>
                    <a:pt x="279" y="326"/>
                    <a:pt x="280" y="326"/>
                    <a:pt x="280" y="326"/>
                  </a:cubicBezTo>
                  <a:cubicBezTo>
                    <a:pt x="280" y="326"/>
                    <a:pt x="281" y="326"/>
                    <a:pt x="281" y="327"/>
                  </a:cubicBezTo>
                  <a:cubicBezTo>
                    <a:pt x="282" y="328"/>
                    <a:pt x="281" y="330"/>
                    <a:pt x="282" y="331"/>
                  </a:cubicBezTo>
                  <a:cubicBezTo>
                    <a:pt x="283" y="331"/>
                    <a:pt x="283" y="331"/>
                    <a:pt x="283" y="332"/>
                  </a:cubicBezTo>
                  <a:cubicBezTo>
                    <a:pt x="284" y="332"/>
                    <a:pt x="285" y="332"/>
                    <a:pt x="285" y="331"/>
                  </a:cubicBezTo>
                  <a:cubicBezTo>
                    <a:pt x="286" y="331"/>
                    <a:pt x="285" y="330"/>
                    <a:pt x="285" y="328"/>
                  </a:cubicBezTo>
                  <a:cubicBezTo>
                    <a:pt x="284" y="327"/>
                    <a:pt x="286" y="327"/>
                    <a:pt x="287" y="327"/>
                  </a:cubicBezTo>
                  <a:cubicBezTo>
                    <a:pt x="286" y="328"/>
                    <a:pt x="286" y="328"/>
                    <a:pt x="286" y="328"/>
                  </a:cubicBezTo>
                  <a:cubicBezTo>
                    <a:pt x="286" y="329"/>
                    <a:pt x="286" y="329"/>
                    <a:pt x="286" y="329"/>
                  </a:cubicBezTo>
                  <a:cubicBezTo>
                    <a:pt x="286" y="329"/>
                    <a:pt x="286" y="329"/>
                    <a:pt x="286" y="329"/>
                  </a:cubicBezTo>
                  <a:cubicBezTo>
                    <a:pt x="286" y="329"/>
                    <a:pt x="287" y="330"/>
                    <a:pt x="286" y="330"/>
                  </a:cubicBezTo>
                  <a:cubicBezTo>
                    <a:pt x="287" y="330"/>
                    <a:pt x="288" y="330"/>
                    <a:pt x="288" y="330"/>
                  </a:cubicBezTo>
                  <a:cubicBezTo>
                    <a:pt x="288" y="330"/>
                    <a:pt x="288" y="331"/>
                    <a:pt x="288" y="332"/>
                  </a:cubicBezTo>
                  <a:cubicBezTo>
                    <a:pt x="288" y="332"/>
                    <a:pt x="289" y="333"/>
                    <a:pt x="290" y="332"/>
                  </a:cubicBezTo>
                  <a:cubicBezTo>
                    <a:pt x="290" y="332"/>
                    <a:pt x="290" y="331"/>
                    <a:pt x="291" y="331"/>
                  </a:cubicBezTo>
                  <a:cubicBezTo>
                    <a:pt x="291" y="331"/>
                    <a:pt x="291" y="331"/>
                    <a:pt x="291" y="331"/>
                  </a:cubicBezTo>
                  <a:cubicBezTo>
                    <a:pt x="292" y="331"/>
                    <a:pt x="292" y="331"/>
                    <a:pt x="292" y="331"/>
                  </a:cubicBezTo>
                  <a:cubicBezTo>
                    <a:pt x="292" y="332"/>
                    <a:pt x="293" y="332"/>
                    <a:pt x="294" y="333"/>
                  </a:cubicBezTo>
                  <a:cubicBezTo>
                    <a:pt x="293" y="333"/>
                    <a:pt x="293" y="333"/>
                    <a:pt x="292" y="333"/>
                  </a:cubicBezTo>
                  <a:cubicBezTo>
                    <a:pt x="291" y="333"/>
                    <a:pt x="291" y="333"/>
                    <a:pt x="290" y="333"/>
                  </a:cubicBezTo>
                  <a:cubicBezTo>
                    <a:pt x="290" y="333"/>
                    <a:pt x="290" y="333"/>
                    <a:pt x="289" y="334"/>
                  </a:cubicBezTo>
                  <a:cubicBezTo>
                    <a:pt x="289" y="334"/>
                    <a:pt x="290" y="334"/>
                    <a:pt x="290" y="335"/>
                  </a:cubicBezTo>
                  <a:cubicBezTo>
                    <a:pt x="290" y="335"/>
                    <a:pt x="289" y="335"/>
                    <a:pt x="289" y="335"/>
                  </a:cubicBezTo>
                  <a:cubicBezTo>
                    <a:pt x="289" y="334"/>
                    <a:pt x="288" y="334"/>
                    <a:pt x="288" y="334"/>
                  </a:cubicBezTo>
                  <a:cubicBezTo>
                    <a:pt x="287" y="334"/>
                    <a:pt x="288" y="335"/>
                    <a:pt x="288" y="335"/>
                  </a:cubicBezTo>
                  <a:cubicBezTo>
                    <a:pt x="288" y="335"/>
                    <a:pt x="288" y="336"/>
                    <a:pt x="288" y="336"/>
                  </a:cubicBezTo>
                  <a:cubicBezTo>
                    <a:pt x="289" y="337"/>
                    <a:pt x="290" y="335"/>
                    <a:pt x="291" y="336"/>
                  </a:cubicBezTo>
                  <a:cubicBezTo>
                    <a:pt x="292" y="336"/>
                    <a:pt x="292" y="336"/>
                    <a:pt x="292" y="336"/>
                  </a:cubicBezTo>
                  <a:cubicBezTo>
                    <a:pt x="293" y="336"/>
                    <a:pt x="293" y="336"/>
                    <a:pt x="294" y="336"/>
                  </a:cubicBezTo>
                  <a:cubicBezTo>
                    <a:pt x="294" y="336"/>
                    <a:pt x="294" y="336"/>
                    <a:pt x="295" y="337"/>
                  </a:cubicBezTo>
                  <a:cubicBezTo>
                    <a:pt x="295" y="337"/>
                    <a:pt x="295" y="337"/>
                    <a:pt x="295" y="337"/>
                  </a:cubicBezTo>
                  <a:cubicBezTo>
                    <a:pt x="295" y="338"/>
                    <a:pt x="296" y="338"/>
                    <a:pt x="296" y="338"/>
                  </a:cubicBezTo>
                  <a:cubicBezTo>
                    <a:pt x="297" y="338"/>
                    <a:pt x="297" y="337"/>
                    <a:pt x="298" y="337"/>
                  </a:cubicBezTo>
                  <a:cubicBezTo>
                    <a:pt x="298" y="337"/>
                    <a:pt x="299" y="338"/>
                    <a:pt x="299" y="338"/>
                  </a:cubicBezTo>
                  <a:cubicBezTo>
                    <a:pt x="300" y="338"/>
                    <a:pt x="301" y="338"/>
                    <a:pt x="301" y="337"/>
                  </a:cubicBezTo>
                  <a:cubicBezTo>
                    <a:pt x="301" y="337"/>
                    <a:pt x="301" y="336"/>
                    <a:pt x="301" y="336"/>
                  </a:cubicBezTo>
                  <a:cubicBezTo>
                    <a:pt x="301" y="335"/>
                    <a:pt x="302" y="335"/>
                    <a:pt x="302" y="334"/>
                  </a:cubicBezTo>
                  <a:cubicBezTo>
                    <a:pt x="302" y="334"/>
                    <a:pt x="302" y="334"/>
                    <a:pt x="302" y="333"/>
                  </a:cubicBezTo>
                  <a:cubicBezTo>
                    <a:pt x="302" y="333"/>
                    <a:pt x="302" y="333"/>
                    <a:pt x="302" y="333"/>
                  </a:cubicBezTo>
                  <a:cubicBezTo>
                    <a:pt x="303" y="333"/>
                    <a:pt x="303" y="333"/>
                    <a:pt x="303" y="334"/>
                  </a:cubicBezTo>
                  <a:cubicBezTo>
                    <a:pt x="303" y="334"/>
                    <a:pt x="303" y="334"/>
                    <a:pt x="303" y="335"/>
                  </a:cubicBezTo>
                  <a:cubicBezTo>
                    <a:pt x="303" y="335"/>
                    <a:pt x="304" y="336"/>
                    <a:pt x="304" y="336"/>
                  </a:cubicBezTo>
                  <a:cubicBezTo>
                    <a:pt x="303" y="337"/>
                    <a:pt x="302" y="337"/>
                    <a:pt x="302" y="337"/>
                  </a:cubicBezTo>
                  <a:cubicBezTo>
                    <a:pt x="302" y="338"/>
                    <a:pt x="303" y="338"/>
                    <a:pt x="303" y="338"/>
                  </a:cubicBezTo>
                  <a:cubicBezTo>
                    <a:pt x="304" y="338"/>
                    <a:pt x="304" y="337"/>
                    <a:pt x="304" y="337"/>
                  </a:cubicBezTo>
                  <a:cubicBezTo>
                    <a:pt x="305" y="336"/>
                    <a:pt x="306" y="335"/>
                    <a:pt x="307" y="334"/>
                  </a:cubicBezTo>
                  <a:cubicBezTo>
                    <a:pt x="307" y="335"/>
                    <a:pt x="307" y="335"/>
                    <a:pt x="306" y="336"/>
                  </a:cubicBezTo>
                  <a:cubicBezTo>
                    <a:pt x="306" y="336"/>
                    <a:pt x="305" y="337"/>
                    <a:pt x="305" y="337"/>
                  </a:cubicBezTo>
                  <a:cubicBezTo>
                    <a:pt x="306" y="338"/>
                    <a:pt x="306" y="338"/>
                    <a:pt x="307" y="338"/>
                  </a:cubicBezTo>
                  <a:cubicBezTo>
                    <a:pt x="308" y="339"/>
                    <a:pt x="308" y="339"/>
                    <a:pt x="308" y="339"/>
                  </a:cubicBezTo>
                  <a:cubicBezTo>
                    <a:pt x="308" y="338"/>
                    <a:pt x="308" y="338"/>
                    <a:pt x="308" y="338"/>
                  </a:cubicBezTo>
                  <a:cubicBezTo>
                    <a:pt x="309" y="338"/>
                    <a:pt x="309" y="337"/>
                    <a:pt x="309" y="337"/>
                  </a:cubicBezTo>
                  <a:cubicBezTo>
                    <a:pt x="310" y="337"/>
                    <a:pt x="310" y="337"/>
                    <a:pt x="310" y="338"/>
                  </a:cubicBezTo>
                  <a:cubicBezTo>
                    <a:pt x="311" y="338"/>
                    <a:pt x="311" y="338"/>
                    <a:pt x="311" y="338"/>
                  </a:cubicBezTo>
                  <a:cubicBezTo>
                    <a:pt x="311" y="339"/>
                    <a:pt x="310" y="339"/>
                    <a:pt x="310" y="339"/>
                  </a:cubicBezTo>
                  <a:cubicBezTo>
                    <a:pt x="309" y="339"/>
                    <a:pt x="309" y="340"/>
                    <a:pt x="309" y="340"/>
                  </a:cubicBezTo>
                  <a:cubicBezTo>
                    <a:pt x="310" y="340"/>
                    <a:pt x="310" y="340"/>
                    <a:pt x="310" y="341"/>
                  </a:cubicBezTo>
                  <a:cubicBezTo>
                    <a:pt x="310" y="341"/>
                    <a:pt x="310" y="341"/>
                    <a:pt x="310" y="342"/>
                  </a:cubicBezTo>
                  <a:cubicBezTo>
                    <a:pt x="310" y="342"/>
                    <a:pt x="310" y="343"/>
                    <a:pt x="309" y="343"/>
                  </a:cubicBezTo>
                  <a:cubicBezTo>
                    <a:pt x="309" y="344"/>
                    <a:pt x="308" y="344"/>
                    <a:pt x="308" y="345"/>
                  </a:cubicBezTo>
                  <a:cubicBezTo>
                    <a:pt x="307" y="345"/>
                    <a:pt x="307" y="345"/>
                    <a:pt x="307" y="345"/>
                  </a:cubicBezTo>
                  <a:cubicBezTo>
                    <a:pt x="306" y="345"/>
                    <a:pt x="305" y="345"/>
                    <a:pt x="305" y="344"/>
                  </a:cubicBezTo>
                  <a:cubicBezTo>
                    <a:pt x="305" y="344"/>
                    <a:pt x="305" y="343"/>
                    <a:pt x="305" y="342"/>
                  </a:cubicBezTo>
                  <a:cubicBezTo>
                    <a:pt x="306" y="342"/>
                    <a:pt x="306" y="342"/>
                    <a:pt x="306" y="342"/>
                  </a:cubicBezTo>
                  <a:cubicBezTo>
                    <a:pt x="306" y="342"/>
                    <a:pt x="306" y="341"/>
                    <a:pt x="305" y="341"/>
                  </a:cubicBezTo>
                  <a:cubicBezTo>
                    <a:pt x="305" y="341"/>
                    <a:pt x="305" y="340"/>
                    <a:pt x="304" y="340"/>
                  </a:cubicBezTo>
                  <a:cubicBezTo>
                    <a:pt x="303" y="340"/>
                    <a:pt x="302" y="341"/>
                    <a:pt x="302" y="341"/>
                  </a:cubicBezTo>
                  <a:cubicBezTo>
                    <a:pt x="302" y="342"/>
                    <a:pt x="301" y="342"/>
                    <a:pt x="301" y="342"/>
                  </a:cubicBezTo>
                  <a:cubicBezTo>
                    <a:pt x="301" y="343"/>
                    <a:pt x="301" y="343"/>
                    <a:pt x="301" y="343"/>
                  </a:cubicBezTo>
                  <a:cubicBezTo>
                    <a:pt x="300" y="343"/>
                    <a:pt x="300" y="343"/>
                    <a:pt x="300" y="343"/>
                  </a:cubicBezTo>
                  <a:cubicBezTo>
                    <a:pt x="299" y="344"/>
                    <a:pt x="299" y="345"/>
                    <a:pt x="298" y="345"/>
                  </a:cubicBezTo>
                  <a:cubicBezTo>
                    <a:pt x="298" y="344"/>
                    <a:pt x="299" y="344"/>
                    <a:pt x="299" y="343"/>
                  </a:cubicBezTo>
                  <a:cubicBezTo>
                    <a:pt x="300" y="342"/>
                    <a:pt x="300" y="341"/>
                    <a:pt x="299" y="340"/>
                  </a:cubicBezTo>
                  <a:cubicBezTo>
                    <a:pt x="299" y="340"/>
                    <a:pt x="299" y="340"/>
                    <a:pt x="299" y="340"/>
                  </a:cubicBezTo>
                  <a:cubicBezTo>
                    <a:pt x="299" y="340"/>
                    <a:pt x="299" y="340"/>
                    <a:pt x="299" y="340"/>
                  </a:cubicBezTo>
                  <a:cubicBezTo>
                    <a:pt x="297" y="339"/>
                    <a:pt x="295" y="339"/>
                    <a:pt x="294" y="338"/>
                  </a:cubicBezTo>
                  <a:cubicBezTo>
                    <a:pt x="294" y="338"/>
                    <a:pt x="294" y="337"/>
                    <a:pt x="294" y="337"/>
                  </a:cubicBezTo>
                  <a:cubicBezTo>
                    <a:pt x="293" y="337"/>
                    <a:pt x="293" y="337"/>
                    <a:pt x="292" y="337"/>
                  </a:cubicBezTo>
                  <a:cubicBezTo>
                    <a:pt x="292" y="337"/>
                    <a:pt x="292" y="337"/>
                    <a:pt x="291" y="337"/>
                  </a:cubicBezTo>
                  <a:cubicBezTo>
                    <a:pt x="291" y="338"/>
                    <a:pt x="291" y="338"/>
                    <a:pt x="290" y="339"/>
                  </a:cubicBezTo>
                  <a:cubicBezTo>
                    <a:pt x="291" y="338"/>
                    <a:pt x="291" y="338"/>
                    <a:pt x="292" y="338"/>
                  </a:cubicBezTo>
                  <a:cubicBezTo>
                    <a:pt x="292" y="339"/>
                    <a:pt x="290" y="339"/>
                    <a:pt x="290" y="340"/>
                  </a:cubicBezTo>
                  <a:cubicBezTo>
                    <a:pt x="290" y="341"/>
                    <a:pt x="290" y="341"/>
                    <a:pt x="290" y="342"/>
                  </a:cubicBezTo>
                  <a:cubicBezTo>
                    <a:pt x="290" y="342"/>
                    <a:pt x="289" y="342"/>
                    <a:pt x="289" y="343"/>
                  </a:cubicBezTo>
                  <a:cubicBezTo>
                    <a:pt x="288" y="343"/>
                    <a:pt x="288" y="343"/>
                    <a:pt x="287" y="344"/>
                  </a:cubicBezTo>
                  <a:cubicBezTo>
                    <a:pt x="287" y="344"/>
                    <a:pt x="287" y="345"/>
                    <a:pt x="286" y="345"/>
                  </a:cubicBezTo>
                  <a:cubicBezTo>
                    <a:pt x="286" y="345"/>
                    <a:pt x="286" y="345"/>
                    <a:pt x="285" y="345"/>
                  </a:cubicBezTo>
                  <a:cubicBezTo>
                    <a:pt x="285" y="345"/>
                    <a:pt x="285" y="346"/>
                    <a:pt x="285" y="346"/>
                  </a:cubicBezTo>
                  <a:cubicBezTo>
                    <a:pt x="285" y="347"/>
                    <a:pt x="286" y="347"/>
                    <a:pt x="286" y="347"/>
                  </a:cubicBezTo>
                  <a:cubicBezTo>
                    <a:pt x="287" y="348"/>
                    <a:pt x="288" y="347"/>
                    <a:pt x="288" y="347"/>
                  </a:cubicBezTo>
                  <a:cubicBezTo>
                    <a:pt x="289" y="346"/>
                    <a:pt x="290" y="346"/>
                    <a:pt x="290" y="347"/>
                  </a:cubicBezTo>
                  <a:cubicBezTo>
                    <a:pt x="291" y="347"/>
                    <a:pt x="290" y="347"/>
                    <a:pt x="290" y="348"/>
                  </a:cubicBezTo>
                  <a:cubicBezTo>
                    <a:pt x="289" y="348"/>
                    <a:pt x="289" y="348"/>
                    <a:pt x="289" y="349"/>
                  </a:cubicBezTo>
                  <a:cubicBezTo>
                    <a:pt x="289" y="349"/>
                    <a:pt x="289" y="350"/>
                    <a:pt x="289" y="350"/>
                  </a:cubicBezTo>
                  <a:cubicBezTo>
                    <a:pt x="292" y="353"/>
                    <a:pt x="296" y="354"/>
                    <a:pt x="297" y="357"/>
                  </a:cubicBezTo>
                  <a:cubicBezTo>
                    <a:pt x="298" y="358"/>
                    <a:pt x="298" y="359"/>
                    <a:pt x="298" y="359"/>
                  </a:cubicBezTo>
                  <a:cubicBezTo>
                    <a:pt x="299" y="359"/>
                    <a:pt x="299" y="359"/>
                    <a:pt x="299" y="359"/>
                  </a:cubicBezTo>
                  <a:cubicBezTo>
                    <a:pt x="300" y="359"/>
                    <a:pt x="300" y="360"/>
                    <a:pt x="301" y="360"/>
                  </a:cubicBezTo>
                  <a:cubicBezTo>
                    <a:pt x="301" y="360"/>
                    <a:pt x="301" y="361"/>
                    <a:pt x="301" y="361"/>
                  </a:cubicBezTo>
                  <a:cubicBezTo>
                    <a:pt x="301" y="361"/>
                    <a:pt x="301" y="361"/>
                    <a:pt x="300" y="361"/>
                  </a:cubicBezTo>
                  <a:cubicBezTo>
                    <a:pt x="300" y="361"/>
                    <a:pt x="300" y="362"/>
                    <a:pt x="300" y="362"/>
                  </a:cubicBezTo>
                  <a:cubicBezTo>
                    <a:pt x="301" y="362"/>
                    <a:pt x="301" y="363"/>
                    <a:pt x="301" y="363"/>
                  </a:cubicBezTo>
                  <a:cubicBezTo>
                    <a:pt x="301" y="364"/>
                    <a:pt x="301" y="364"/>
                    <a:pt x="301" y="364"/>
                  </a:cubicBezTo>
                  <a:cubicBezTo>
                    <a:pt x="302" y="364"/>
                    <a:pt x="302" y="365"/>
                    <a:pt x="302" y="365"/>
                  </a:cubicBezTo>
                  <a:cubicBezTo>
                    <a:pt x="308" y="367"/>
                    <a:pt x="315" y="365"/>
                    <a:pt x="319" y="360"/>
                  </a:cubicBezTo>
                  <a:cubicBezTo>
                    <a:pt x="319" y="361"/>
                    <a:pt x="320" y="361"/>
                    <a:pt x="321" y="361"/>
                  </a:cubicBezTo>
                  <a:cubicBezTo>
                    <a:pt x="322" y="360"/>
                    <a:pt x="322" y="359"/>
                    <a:pt x="322" y="359"/>
                  </a:cubicBezTo>
                  <a:cubicBezTo>
                    <a:pt x="323" y="357"/>
                    <a:pt x="323" y="356"/>
                    <a:pt x="322" y="355"/>
                  </a:cubicBezTo>
                  <a:cubicBezTo>
                    <a:pt x="321" y="354"/>
                    <a:pt x="320" y="354"/>
                    <a:pt x="320" y="354"/>
                  </a:cubicBezTo>
                  <a:cubicBezTo>
                    <a:pt x="320" y="352"/>
                    <a:pt x="322" y="351"/>
                    <a:pt x="322" y="350"/>
                  </a:cubicBezTo>
                  <a:cubicBezTo>
                    <a:pt x="323" y="349"/>
                    <a:pt x="323" y="348"/>
                    <a:pt x="323" y="347"/>
                  </a:cubicBezTo>
                  <a:cubicBezTo>
                    <a:pt x="324" y="347"/>
                    <a:pt x="324" y="346"/>
                    <a:pt x="324" y="345"/>
                  </a:cubicBezTo>
                  <a:cubicBezTo>
                    <a:pt x="324" y="345"/>
                    <a:pt x="324" y="344"/>
                    <a:pt x="325" y="344"/>
                  </a:cubicBezTo>
                  <a:cubicBezTo>
                    <a:pt x="325" y="344"/>
                    <a:pt x="326" y="344"/>
                    <a:pt x="326" y="343"/>
                  </a:cubicBezTo>
                  <a:cubicBezTo>
                    <a:pt x="326" y="343"/>
                    <a:pt x="327" y="343"/>
                    <a:pt x="327" y="342"/>
                  </a:cubicBezTo>
                  <a:cubicBezTo>
                    <a:pt x="327" y="342"/>
                    <a:pt x="327" y="342"/>
                    <a:pt x="327" y="342"/>
                  </a:cubicBezTo>
                  <a:cubicBezTo>
                    <a:pt x="327" y="342"/>
                    <a:pt x="328" y="343"/>
                    <a:pt x="328" y="342"/>
                  </a:cubicBezTo>
                  <a:cubicBezTo>
                    <a:pt x="329" y="342"/>
                    <a:pt x="329" y="342"/>
                    <a:pt x="330" y="342"/>
                  </a:cubicBezTo>
                  <a:cubicBezTo>
                    <a:pt x="329" y="344"/>
                    <a:pt x="327" y="345"/>
                    <a:pt x="326" y="346"/>
                  </a:cubicBezTo>
                  <a:cubicBezTo>
                    <a:pt x="325" y="348"/>
                    <a:pt x="325" y="349"/>
                    <a:pt x="324" y="350"/>
                  </a:cubicBezTo>
                  <a:cubicBezTo>
                    <a:pt x="324" y="351"/>
                    <a:pt x="323" y="352"/>
                    <a:pt x="323" y="353"/>
                  </a:cubicBezTo>
                  <a:cubicBezTo>
                    <a:pt x="324" y="354"/>
                    <a:pt x="325" y="354"/>
                    <a:pt x="326" y="355"/>
                  </a:cubicBezTo>
                  <a:cubicBezTo>
                    <a:pt x="327" y="357"/>
                    <a:pt x="325" y="359"/>
                    <a:pt x="326" y="361"/>
                  </a:cubicBezTo>
                  <a:cubicBezTo>
                    <a:pt x="326" y="361"/>
                    <a:pt x="327" y="361"/>
                    <a:pt x="327" y="362"/>
                  </a:cubicBezTo>
                  <a:cubicBezTo>
                    <a:pt x="327" y="362"/>
                    <a:pt x="327" y="362"/>
                    <a:pt x="327" y="363"/>
                  </a:cubicBezTo>
                  <a:cubicBezTo>
                    <a:pt x="329" y="366"/>
                    <a:pt x="330" y="369"/>
                    <a:pt x="332" y="372"/>
                  </a:cubicBezTo>
                  <a:cubicBezTo>
                    <a:pt x="332" y="372"/>
                    <a:pt x="332" y="373"/>
                    <a:pt x="332" y="374"/>
                  </a:cubicBezTo>
                  <a:cubicBezTo>
                    <a:pt x="332" y="374"/>
                    <a:pt x="331" y="374"/>
                    <a:pt x="331" y="374"/>
                  </a:cubicBezTo>
                  <a:cubicBezTo>
                    <a:pt x="331" y="374"/>
                    <a:pt x="331" y="375"/>
                    <a:pt x="331" y="375"/>
                  </a:cubicBezTo>
                  <a:cubicBezTo>
                    <a:pt x="330" y="375"/>
                    <a:pt x="330" y="375"/>
                    <a:pt x="329" y="376"/>
                  </a:cubicBezTo>
                  <a:cubicBezTo>
                    <a:pt x="329" y="376"/>
                    <a:pt x="329" y="377"/>
                    <a:pt x="329" y="377"/>
                  </a:cubicBezTo>
                  <a:cubicBezTo>
                    <a:pt x="329" y="378"/>
                    <a:pt x="329" y="379"/>
                    <a:pt x="329" y="379"/>
                  </a:cubicBezTo>
                  <a:cubicBezTo>
                    <a:pt x="329" y="380"/>
                    <a:pt x="329" y="380"/>
                    <a:pt x="328" y="380"/>
                  </a:cubicBezTo>
                  <a:cubicBezTo>
                    <a:pt x="328" y="381"/>
                    <a:pt x="328" y="381"/>
                    <a:pt x="328" y="381"/>
                  </a:cubicBezTo>
                  <a:cubicBezTo>
                    <a:pt x="329" y="381"/>
                    <a:pt x="329" y="381"/>
                    <a:pt x="329" y="382"/>
                  </a:cubicBezTo>
                  <a:cubicBezTo>
                    <a:pt x="329" y="382"/>
                    <a:pt x="329" y="383"/>
                    <a:pt x="329" y="383"/>
                  </a:cubicBezTo>
                  <a:cubicBezTo>
                    <a:pt x="329" y="384"/>
                    <a:pt x="330" y="383"/>
                    <a:pt x="330" y="383"/>
                  </a:cubicBezTo>
                  <a:cubicBezTo>
                    <a:pt x="330" y="383"/>
                    <a:pt x="331" y="383"/>
                    <a:pt x="331" y="383"/>
                  </a:cubicBezTo>
                  <a:cubicBezTo>
                    <a:pt x="331" y="383"/>
                    <a:pt x="332" y="383"/>
                    <a:pt x="332" y="383"/>
                  </a:cubicBezTo>
                  <a:cubicBezTo>
                    <a:pt x="333" y="383"/>
                    <a:pt x="333" y="383"/>
                    <a:pt x="334" y="383"/>
                  </a:cubicBezTo>
                  <a:cubicBezTo>
                    <a:pt x="334" y="384"/>
                    <a:pt x="333" y="384"/>
                    <a:pt x="333" y="385"/>
                  </a:cubicBezTo>
                  <a:cubicBezTo>
                    <a:pt x="332" y="385"/>
                    <a:pt x="332" y="385"/>
                    <a:pt x="332" y="385"/>
                  </a:cubicBezTo>
                  <a:cubicBezTo>
                    <a:pt x="332" y="385"/>
                    <a:pt x="332" y="385"/>
                    <a:pt x="331" y="385"/>
                  </a:cubicBezTo>
                  <a:cubicBezTo>
                    <a:pt x="331" y="385"/>
                    <a:pt x="331" y="385"/>
                    <a:pt x="331" y="386"/>
                  </a:cubicBezTo>
                  <a:cubicBezTo>
                    <a:pt x="331" y="386"/>
                    <a:pt x="331" y="387"/>
                    <a:pt x="331" y="388"/>
                  </a:cubicBezTo>
                  <a:cubicBezTo>
                    <a:pt x="331" y="388"/>
                    <a:pt x="331" y="389"/>
                    <a:pt x="331" y="389"/>
                  </a:cubicBezTo>
                  <a:cubicBezTo>
                    <a:pt x="331" y="389"/>
                    <a:pt x="331" y="389"/>
                    <a:pt x="331" y="390"/>
                  </a:cubicBezTo>
                  <a:cubicBezTo>
                    <a:pt x="331" y="390"/>
                    <a:pt x="332" y="390"/>
                    <a:pt x="332" y="390"/>
                  </a:cubicBezTo>
                  <a:cubicBezTo>
                    <a:pt x="332" y="390"/>
                    <a:pt x="332" y="390"/>
                    <a:pt x="332" y="390"/>
                  </a:cubicBezTo>
                  <a:cubicBezTo>
                    <a:pt x="332" y="390"/>
                    <a:pt x="332" y="390"/>
                    <a:pt x="333" y="390"/>
                  </a:cubicBezTo>
                  <a:cubicBezTo>
                    <a:pt x="333" y="389"/>
                    <a:pt x="333" y="389"/>
                    <a:pt x="334" y="389"/>
                  </a:cubicBezTo>
                  <a:cubicBezTo>
                    <a:pt x="334" y="389"/>
                    <a:pt x="334" y="389"/>
                    <a:pt x="334" y="390"/>
                  </a:cubicBezTo>
                  <a:cubicBezTo>
                    <a:pt x="334" y="390"/>
                    <a:pt x="334" y="390"/>
                    <a:pt x="334" y="390"/>
                  </a:cubicBezTo>
                  <a:cubicBezTo>
                    <a:pt x="333" y="390"/>
                    <a:pt x="333" y="390"/>
                    <a:pt x="333" y="390"/>
                  </a:cubicBezTo>
                  <a:cubicBezTo>
                    <a:pt x="333" y="391"/>
                    <a:pt x="333" y="391"/>
                    <a:pt x="333" y="391"/>
                  </a:cubicBezTo>
                  <a:cubicBezTo>
                    <a:pt x="333" y="391"/>
                    <a:pt x="332" y="391"/>
                    <a:pt x="332" y="392"/>
                  </a:cubicBezTo>
                  <a:cubicBezTo>
                    <a:pt x="332" y="392"/>
                    <a:pt x="332" y="392"/>
                    <a:pt x="332" y="392"/>
                  </a:cubicBezTo>
                  <a:cubicBezTo>
                    <a:pt x="332" y="392"/>
                    <a:pt x="332" y="392"/>
                    <a:pt x="331" y="392"/>
                  </a:cubicBezTo>
                  <a:cubicBezTo>
                    <a:pt x="331" y="392"/>
                    <a:pt x="330" y="392"/>
                    <a:pt x="330" y="393"/>
                  </a:cubicBezTo>
                  <a:cubicBezTo>
                    <a:pt x="331" y="393"/>
                    <a:pt x="331" y="393"/>
                    <a:pt x="331" y="393"/>
                  </a:cubicBezTo>
                  <a:cubicBezTo>
                    <a:pt x="331" y="394"/>
                    <a:pt x="331" y="394"/>
                    <a:pt x="330" y="394"/>
                  </a:cubicBezTo>
                  <a:cubicBezTo>
                    <a:pt x="330" y="394"/>
                    <a:pt x="330" y="394"/>
                    <a:pt x="329" y="394"/>
                  </a:cubicBezTo>
                  <a:cubicBezTo>
                    <a:pt x="329" y="394"/>
                    <a:pt x="329" y="394"/>
                    <a:pt x="329" y="394"/>
                  </a:cubicBezTo>
                  <a:cubicBezTo>
                    <a:pt x="328" y="394"/>
                    <a:pt x="328" y="394"/>
                    <a:pt x="327" y="394"/>
                  </a:cubicBezTo>
                  <a:cubicBezTo>
                    <a:pt x="327" y="394"/>
                    <a:pt x="327" y="394"/>
                    <a:pt x="327" y="394"/>
                  </a:cubicBezTo>
                  <a:cubicBezTo>
                    <a:pt x="327" y="394"/>
                    <a:pt x="327" y="395"/>
                    <a:pt x="328" y="395"/>
                  </a:cubicBezTo>
                  <a:cubicBezTo>
                    <a:pt x="329" y="395"/>
                    <a:pt x="330" y="395"/>
                    <a:pt x="330" y="395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95"/>
                    <a:pt x="331" y="396"/>
                    <a:pt x="331" y="396"/>
                  </a:cubicBezTo>
                  <a:cubicBezTo>
                    <a:pt x="331" y="396"/>
                    <a:pt x="331" y="396"/>
                    <a:pt x="332" y="397"/>
                  </a:cubicBezTo>
                  <a:cubicBezTo>
                    <a:pt x="332" y="397"/>
                    <a:pt x="332" y="396"/>
                    <a:pt x="333" y="396"/>
                  </a:cubicBezTo>
                  <a:cubicBezTo>
                    <a:pt x="334" y="395"/>
                    <a:pt x="336" y="395"/>
                    <a:pt x="336" y="394"/>
                  </a:cubicBezTo>
                  <a:cubicBezTo>
                    <a:pt x="337" y="393"/>
                    <a:pt x="337" y="393"/>
                    <a:pt x="337" y="392"/>
                  </a:cubicBezTo>
                  <a:cubicBezTo>
                    <a:pt x="338" y="392"/>
                    <a:pt x="338" y="391"/>
                    <a:pt x="339" y="390"/>
                  </a:cubicBezTo>
                  <a:cubicBezTo>
                    <a:pt x="339" y="390"/>
                    <a:pt x="339" y="390"/>
                    <a:pt x="339" y="390"/>
                  </a:cubicBezTo>
                  <a:cubicBezTo>
                    <a:pt x="340" y="390"/>
                    <a:pt x="340" y="390"/>
                    <a:pt x="340" y="390"/>
                  </a:cubicBezTo>
                  <a:cubicBezTo>
                    <a:pt x="340" y="391"/>
                    <a:pt x="341" y="390"/>
                    <a:pt x="341" y="390"/>
                  </a:cubicBezTo>
                  <a:cubicBezTo>
                    <a:pt x="342" y="389"/>
                    <a:pt x="342" y="389"/>
                    <a:pt x="343" y="389"/>
                  </a:cubicBezTo>
                  <a:cubicBezTo>
                    <a:pt x="343" y="389"/>
                    <a:pt x="343" y="389"/>
                    <a:pt x="343" y="389"/>
                  </a:cubicBezTo>
                  <a:cubicBezTo>
                    <a:pt x="343" y="389"/>
                    <a:pt x="344" y="389"/>
                    <a:pt x="344" y="389"/>
                  </a:cubicBezTo>
                  <a:cubicBezTo>
                    <a:pt x="346" y="387"/>
                    <a:pt x="348" y="386"/>
                    <a:pt x="350" y="384"/>
                  </a:cubicBezTo>
                  <a:cubicBezTo>
                    <a:pt x="350" y="385"/>
                    <a:pt x="350" y="385"/>
                    <a:pt x="351" y="386"/>
                  </a:cubicBezTo>
                  <a:cubicBezTo>
                    <a:pt x="350" y="386"/>
                    <a:pt x="350" y="386"/>
                    <a:pt x="350" y="387"/>
                  </a:cubicBezTo>
                  <a:cubicBezTo>
                    <a:pt x="350" y="387"/>
                    <a:pt x="350" y="387"/>
                    <a:pt x="351" y="387"/>
                  </a:cubicBezTo>
                  <a:cubicBezTo>
                    <a:pt x="351" y="387"/>
                    <a:pt x="351" y="388"/>
                    <a:pt x="351" y="388"/>
                  </a:cubicBezTo>
                  <a:cubicBezTo>
                    <a:pt x="352" y="388"/>
                    <a:pt x="352" y="388"/>
                    <a:pt x="352" y="388"/>
                  </a:cubicBezTo>
                  <a:cubicBezTo>
                    <a:pt x="352" y="388"/>
                    <a:pt x="353" y="389"/>
                    <a:pt x="353" y="389"/>
                  </a:cubicBezTo>
                  <a:cubicBezTo>
                    <a:pt x="353" y="389"/>
                    <a:pt x="354" y="389"/>
                    <a:pt x="354" y="389"/>
                  </a:cubicBezTo>
                  <a:cubicBezTo>
                    <a:pt x="354" y="388"/>
                    <a:pt x="354" y="388"/>
                    <a:pt x="355" y="388"/>
                  </a:cubicBezTo>
                  <a:cubicBezTo>
                    <a:pt x="355" y="389"/>
                    <a:pt x="355" y="389"/>
                    <a:pt x="355" y="389"/>
                  </a:cubicBezTo>
                  <a:cubicBezTo>
                    <a:pt x="355" y="389"/>
                    <a:pt x="355" y="390"/>
                    <a:pt x="355" y="390"/>
                  </a:cubicBezTo>
                  <a:cubicBezTo>
                    <a:pt x="355" y="391"/>
                    <a:pt x="356" y="391"/>
                    <a:pt x="356" y="391"/>
                  </a:cubicBezTo>
                  <a:cubicBezTo>
                    <a:pt x="356" y="391"/>
                    <a:pt x="356" y="390"/>
                    <a:pt x="356" y="390"/>
                  </a:cubicBezTo>
                  <a:cubicBezTo>
                    <a:pt x="357" y="389"/>
                    <a:pt x="357" y="389"/>
                    <a:pt x="357" y="388"/>
                  </a:cubicBezTo>
                  <a:cubicBezTo>
                    <a:pt x="358" y="388"/>
                    <a:pt x="357" y="388"/>
                    <a:pt x="357" y="388"/>
                  </a:cubicBezTo>
                  <a:cubicBezTo>
                    <a:pt x="357" y="387"/>
                    <a:pt x="358" y="387"/>
                    <a:pt x="359" y="387"/>
                  </a:cubicBezTo>
                  <a:cubicBezTo>
                    <a:pt x="359" y="387"/>
                    <a:pt x="360" y="388"/>
                    <a:pt x="359" y="388"/>
                  </a:cubicBezTo>
                  <a:cubicBezTo>
                    <a:pt x="359" y="388"/>
                    <a:pt x="359" y="389"/>
                    <a:pt x="359" y="389"/>
                  </a:cubicBezTo>
                  <a:cubicBezTo>
                    <a:pt x="359" y="390"/>
                    <a:pt x="360" y="390"/>
                    <a:pt x="360" y="390"/>
                  </a:cubicBezTo>
                  <a:cubicBezTo>
                    <a:pt x="361" y="390"/>
                    <a:pt x="361" y="390"/>
                    <a:pt x="362" y="391"/>
                  </a:cubicBezTo>
                  <a:cubicBezTo>
                    <a:pt x="363" y="391"/>
                    <a:pt x="363" y="394"/>
                    <a:pt x="364" y="395"/>
                  </a:cubicBezTo>
                  <a:cubicBezTo>
                    <a:pt x="365" y="396"/>
                    <a:pt x="365" y="397"/>
                    <a:pt x="366" y="398"/>
                  </a:cubicBezTo>
                  <a:cubicBezTo>
                    <a:pt x="366" y="399"/>
                    <a:pt x="366" y="399"/>
                    <a:pt x="366" y="399"/>
                  </a:cubicBezTo>
                  <a:cubicBezTo>
                    <a:pt x="367" y="400"/>
                    <a:pt x="368" y="400"/>
                    <a:pt x="368" y="400"/>
                  </a:cubicBezTo>
                  <a:cubicBezTo>
                    <a:pt x="369" y="400"/>
                    <a:pt x="370" y="400"/>
                    <a:pt x="370" y="399"/>
                  </a:cubicBezTo>
                  <a:cubicBezTo>
                    <a:pt x="371" y="399"/>
                    <a:pt x="371" y="399"/>
                    <a:pt x="371" y="399"/>
                  </a:cubicBezTo>
                  <a:cubicBezTo>
                    <a:pt x="371" y="399"/>
                    <a:pt x="371" y="398"/>
                    <a:pt x="371" y="398"/>
                  </a:cubicBezTo>
                  <a:cubicBezTo>
                    <a:pt x="370" y="397"/>
                    <a:pt x="370" y="396"/>
                    <a:pt x="370" y="396"/>
                  </a:cubicBezTo>
                  <a:cubicBezTo>
                    <a:pt x="369" y="395"/>
                    <a:pt x="368" y="394"/>
                    <a:pt x="369" y="393"/>
                  </a:cubicBezTo>
                  <a:cubicBezTo>
                    <a:pt x="369" y="393"/>
                    <a:pt x="369" y="392"/>
                    <a:pt x="370" y="392"/>
                  </a:cubicBezTo>
                  <a:cubicBezTo>
                    <a:pt x="370" y="391"/>
                    <a:pt x="370" y="390"/>
                    <a:pt x="370" y="389"/>
                  </a:cubicBezTo>
                  <a:cubicBezTo>
                    <a:pt x="370" y="389"/>
                    <a:pt x="371" y="389"/>
                    <a:pt x="371" y="389"/>
                  </a:cubicBezTo>
                  <a:cubicBezTo>
                    <a:pt x="372" y="388"/>
                    <a:pt x="373" y="387"/>
                    <a:pt x="374" y="385"/>
                  </a:cubicBezTo>
                  <a:cubicBezTo>
                    <a:pt x="374" y="385"/>
                    <a:pt x="374" y="385"/>
                    <a:pt x="374" y="384"/>
                  </a:cubicBezTo>
                  <a:cubicBezTo>
                    <a:pt x="375" y="384"/>
                    <a:pt x="375" y="384"/>
                    <a:pt x="375" y="384"/>
                  </a:cubicBezTo>
                  <a:cubicBezTo>
                    <a:pt x="376" y="384"/>
                    <a:pt x="376" y="384"/>
                    <a:pt x="376" y="385"/>
                  </a:cubicBezTo>
                  <a:cubicBezTo>
                    <a:pt x="377" y="385"/>
                    <a:pt x="377" y="385"/>
                    <a:pt x="378" y="385"/>
                  </a:cubicBezTo>
                  <a:cubicBezTo>
                    <a:pt x="378" y="385"/>
                    <a:pt x="379" y="386"/>
                    <a:pt x="379" y="386"/>
                  </a:cubicBezTo>
                  <a:cubicBezTo>
                    <a:pt x="379" y="387"/>
                    <a:pt x="380" y="387"/>
                    <a:pt x="381" y="387"/>
                  </a:cubicBezTo>
                  <a:cubicBezTo>
                    <a:pt x="381" y="387"/>
                    <a:pt x="381" y="388"/>
                    <a:pt x="380" y="388"/>
                  </a:cubicBezTo>
                  <a:cubicBezTo>
                    <a:pt x="380" y="388"/>
                    <a:pt x="380" y="388"/>
                    <a:pt x="380" y="388"/>
                  </a:cubicBezTo>
                  <a:cubicBezTo>
                    <a:pt x="380" y="389"/>
                    <a:pt x="380" y="389"/>
                    <a:pt x="380" y="389"/>
                  </a:cubicBezTo>
                  <a:cubicBezTo>
                    <a:pt x="380" y="389"/>
                    <a:pt x="380" y="389"/>
                    <a:pt x="380" y="388"/>
                  </a:cubicBezTo>
                  <a:cubicBezTo>
                    <a:pt x="379" y="388"/>
                    <a:pt x="379" y="387"/>
                    <a:pt x="378" y="386"/>
                  </a:cubicBezTo>
                  <a:cubicBezTo>
                    <a:pt x="378" y="386"/>
                    <a:pt x="377" y="385"/>
                    <a:pt x="376" y="385"/>
                  </a:cubicBezTo>
                  <a:cubicBezTo>
                    <a:pt x="376" y="385"/>
                    <a:pt x="375" y="385"/>
                    <a:pt x="374" y="386"/>
                  </a:cubicBezTo>
                  <a:cubicBezTo>
                    <a:pt x="374" y="386"/>
                    <a:pt x="374" y="387"/>
                    <a:pt x="374" y="388"/>
                  </a:cubicBezTo>
                  <a:cubicBezTo>
                    <a:pt x="374" y="388"/>
                    <a:pt x="373" y="389"/>
                    <a:pt x="373" y="389"/>
                  </a:cubicBezTo>
                  <a:cubicBezTo>
                    <a:pt x="373" y="390"/>
                    <a:pt x="373" y="390"/>
                    <a:pt x="373" y="391"/>
                  </a:cubicBezTo>
                  <a:cubicBezTo>
                    <a:pt x="373" y="391"/>
                    <a:pt x="374" y="391"/>
                    <a:pt x="374" y="391"/>
                  </a:cubicBezTo>
                  <a:cubicBezTo>
                    <a:pt x="374" y="391"/>
                    <a:pt x="374" y="391"/>
                    <a:pt x="374" y="391"/>
                  </a:cubicBezTo>
                  <a:cubicBezTo>
                    <a:pt x="375" y="392"/>
                    <a:pt x="376" y="392"/>
                    <a:pt x="376" y="393"/>
                  </a:cubicBezTo>
                  <a:cubicBezTo>
                    <a:pt x="376" y="393"/>
                    <a:pt x="375" y="394"/>
                    <a:pt x="375" y="394"/>
                  </a:cubicBezTo>
                  <a:cubicBezTo>
                    <a:pt x="376" y="394"/>
                    <a:pt x="376" y="394"/>
                    <a:pt x="376" y="394"/>
                  </a:cubicBezTo>
                  <a:cubicBezTo>
                    <a:pt x="376" y="394"/>
                    <a:pt x="376" y="395"/>
                    <a:pt x="377" y="395"/>
                  </a:cubicBezTo>
                  <a:cubicBezTo>
                    <a:pt x="377" y="395"/>
                    <a:pt x="377" y="395"/>
                    <a:pt x="377" y="395"/>
                  </a:cubicBezTo>
                  <a:cubicBezTo>
                    <a:pt x="379" y="395"/>
                    <a:pt x="381" y="394"/>
                    <a:pt x="382" y="394"/>
                  </a:cubicBezTo>
                  <a:cubicBezTo>
                    <a:pt x="384" y="392"/>
                    <a:pt x="386" y="391"/>
                    <a:pt x="388" y="390"/>
                  </a:cubicBezTo>
                  <a:cubicBezTo>
                    <a:pt x="389" y="390"/>
                    <a:pt x="389" y="390"/>
                    <a:pt x="390" y="390"/>
                  </a:cubicBezTo>
                  <a:cubicBezTo>
                    <a:pt x="390" y="389"/>
                    <a:pt x="391" y="389"/>
                    <a:pt x="392" y="389"/>
                  </a:cubicBezTo>
                  <a:cubicBezTo>
                    <a:pt x="392" y="389"/>
                    <a:pt x="392" y="389"/>
                    <a:pt x="392" y="389"/>
                  </a:cubicBezTo>
                  <a:cubicBezTo>
                    <a:pt x="392" y="388"/>
                    <a:pt x="393" y="388"/>
                    <a:pt x="393" y="388"/>
                  </a:cubicBezTo>
                  <a:cubicBezTo>
                    <a:pt x="393" y="389"/>
                    <a:pt x="393" y="390"/>
                    <a:pt x="393" y="391"/>
                  </a:cubicBezTo>
                  <a:cubicBezTo>
                    <a:pt x="392" y="391"/>
                    <a:pt x="392" y="391"/>
                    <a:pt x="392" y="391"/>
                  </a:cubicBezTo>
                  <a:cubicBezTo>
                    <a:pt x="392" y="391"/>
                    <a:pt x="392" y="392"/>
                    <a:pt x="392" y="392"/>
                  </a:cubicBezTo>
                  <a:cubicBezTo>
                    <a:pt x="392" y="392"/>
                    <a:pt x="393" y="392"/>
                    <a:pt x="393" y="393"/>
                  </a:cubicBezTo>
                  <a:cubicBezTo>
                    <a:pt x="392" y="393"/>
                    <a:pt x="391" y="393"/>
                    <a:pt x="391" y="394"/>
                  </a:cubicBezTo>
                  <a:cubicBezTo>
                    <a:pt x="390" y="395"/>
                    <a:pt x="390" y="396"/>
                    <a:pt x="389" y="396"/>
                  </a:cubicBezTo>
                  <a:cubicBezTo>
                    <a:pt x="388" y="397"/>
                    <a:pt x="387" y="398"/>
                    <a:pt x="386" y="400"/>
                  </a:cubicBezTo>
                  <a:cubicBezTo>
                    <a:pt x="386" y="401"/>
                    <a:pt x="387" y="403"/>
                    <a:pt x="386" y="404"/>
                  </a:cubicBezTo>
                  <a:cubicBezTo>
                    <a:pt x="386" y="404"/>
                    <a:pt x="386" y="404"/>
                    <a:pt x="387" y="404"/>
                  </a:cubicBezTo>
                  <a:cubicBezTo>
                    <a:pt x="387" y="404"/>
                    <a:pt x="387" y="404"/>
                    <a:pt x="388" y="405"/>
                  </a:cubicBezTo>
                  <a:cubicBezTo>
                    <a:pt x="388" y="404"/>
                    <a:pt x="389" y="404"/>
                    <a:pt x="390" y="405"/>
                  </a:cubicBezTo>
                  <a:cubicBezTo>
                    <a:pt x="388" y="405"/>
                    <a:pt x="387" y="406"/>
                    <a:pt x="386" y="407"/>
                  </a:cubicBezTo>
                  <a:cubicBezTo>
                    <a:pt x="385" y="407"/>
                    <a:pt x="385" y="408"/>
                    <a:pt x="385" y="408"/>
                  </a:cubicBezTo>
                  <a:cubicBezTo>
                    <a:pt x="385" y="409"/>
                    <a:pt x="386" y="410"/>
                    <a:pt x="385" y="411"/>
                  </a:cubicBezTo>
                  <a:cubicBezTo>
                    <a:pt x="385" y="411"/>
                    <a:pt x="385" y="411"/>
                    <a:pt x="385" y="411"/>
                  </a:cubicBezTo>
                  <a:cubicBezTo>
                    <a:pt x="384" y="412"/>
                    <a:pt x="385" y="413"/>
                    <a:pt x="385" y="414"/>
                  </a:cubicBezTo>
                  <a:cubicBezTo>
                    <a:pt x="385" y="415"/>
                    <a:pt x="384" y="415"/>
                    <a:pt x="384" y="416"/>
                  </a:cubicBezTo>
                  <a:cubicBezTo>
                    <a:pt x="383" y="417"/>
                    <a:pt x="383" y="418"/>
                    <a:pt x="384" y="419"/>
                  </a:cubicBezTo>
                  <a:cubicBezTo>
                    <a:pt x="384" y="419"/>
                    <a:pt x="385" y="420"/>
                    <a:pt x="385" y="419"/>
                  </a:cubicBezTo>
                  <a:cubicBezTo>
                    <a:pt x="385" y="419"/>
                    <a:pt x="385" y="419"/>
                    <a:pt x="385" y="418"/>
                  </a:cubicBezTo>
                  <a:cubicBezTo>
                    <a:pt x="385" y="418"/>
                    <a:pt x="386" y="418"/>
                    <a:pt x="386" y="418"/>
                  </a:cubicBezTo>
                  <a:cubicBezTo>
                    <a:pt x="386" y="418"/>
                    <a:pt x="386" y="418"/>
                    <a:pt x="386" y="418"/>
                  </a:cubicBezTo>
                  <a:cubicBezTo>
                    <a:pt x="386" y="419"/>
                    <a:pt x="386" y="420"/>
                    <a:pt x="386" y="421"/>
                  </a:cubicBezTo>
                  <a:cubicBezTo>
                    <a:pt x="386" y="422"/>
                    <a:pt x="386" y="422"/>
                    <a:pt x="385" y="422"/>
                  </a:cubicBezTo>
                  <a:cubicBezTo>
                    <a:pt x="385" y="422"/>
                    <a:pt x="385" y="422"/>
                    <a:pt x="385" y="422"/>
                  </a:cubicBezTo>
                  <a:cubicBezTo>
                    <a:pt x="384" y="422"/>
                    <a:pt x="383" y="422"/>
                    <a:pt x="383" y="421"/>
                  </a:cubicBezTo>
                  <a:cubicBezTo>
                    <a:pt x="382" y="422"/>
                    <a:pt x="381" y="423"/>
                    <a:pt x="380" y="425"/>
                  </a:cubicBezTo>
                  <a:cubicBezTo>
                    <a:pt x="380" y="425"/>
                    <a:pt x="380" y="426"/>
                    <a:pt x="379" y="426"/>
                  </a:cubicBezTo>
                  <a:cubicBezTo>
                    <a:pt x="379" y="427"/>
                    <a:pt x="378" y="427"/>
                    <a:pt x="378" y="427"/>
                  </a:cubicBezTo>
                  <a:cubicBezTo>
                    <a:pt x="378" y="427"/>
                    <a:pt x="378" y="427"/>
                    <a:pt x="377" y="427"/>
                  </a:cubicBezTo>
                  <a:cubicBezTo>
                    <a:pt x="377" y="427"/>
                    <a:pt x="377" y="427"/>
                    <a:pt x="377" y="427"/>
                  </a:cubicBezTo>
                  <a:cubicBezTo>
                    <a:pt x="377" y="428"/>
                    <a:pt x="376" y="428"/>
                    <a:pt x="376" y="428"/>
                  </a:cubicBezTo>
                  <a:cubicBezTo>
                    <a:pt x="375" y="429"/>
                    <a:pt x="374" y="430"/>
                    <a:pt x="374" y="431"/>
                  </a:cubicBezTo>
                  <a:cubicBezTo>
                    <a:pt x="373" y="432"/>
                    <a:pt x="372" y="433"/>
                    <a:pt x="372" y="433"/>
                  </a:cubicBezTo>
                  <a:cubicBezTo>
                    <a:pt x="371" y="434"/>
                    <a:pt x="371" y="436"/>
                    <a:pt x="372" y="437"/>
                  </a:cubicBezTo>
                  <a:cubicBezTo>
                    <a:pt x="372" y="437"/>
                    <a:pt x="372" y="438"/>
                    <a:pt x="371" y="439"/>
                  </a:cubicBezTo>
                  <a:cubicBezTo>
                    <a:pt x="371" y="439"/>
                    <a:pt x="370" y="439"/>
                    <a:pt x="370" y="439"/>
                  </a:cubicBezTo>
                  <a:cubicBezTo>
                    <a:pt x="369" y="439"/>
                    <a:pt x="369" y="439"/>
                    <a:pt x="368" y="439"/>
                  </a:cubicBezTo>
                  <a:cubicBezTo>
                    <a:pt x="368" y="439"/>
                    <a:pt x="367" y="438"/>
                    <a:pt x="367" y="439"/>
                  </a:cubicBezTo>
                  <a:cubicBezTo>
                    <a:pt x="367" y="439"/>
                    <a:pt x="367" y="439"/>
                    <a:pt x="366" y="439"/>
                  </a:cubicBezTo>
                  <a:cubicBezTo>
                    <a:pt x="365" y="440"/>
                    <a:pt x="364" y="442"/>
                    <a:pt x="362" y="443"/>
                  </a:cubicBezTo>
                  <a:cubicBezTo>
                    <a:pt x="361" y="443"/>
                    <a:pt x="360" y="443"/>
                    <a:pt x="359" y="444"/>
                  </a:cubicBezTo>
                  <a:cubicBezTo>
                    <a:pt x="358" y="444"/>
                    <a:pt x="356" y="445"/>
                    <a:pt x="355" y="446"/>
                  </a:cubicBezTo>
                  <a:cubicBezTo>
                    <a:pt x="353" y="448"/>
                    <a:pt x="351" y="449"/>
                    <a:pt x="350" y="451"/>
                  </a:cubicBezTo>
                  <a:cubicBezTo>
                    <a:pt x="351" y="451"/>
                    <a:pt x="351" y="451"/>
                    <a:pt x="352" y="451"/>
                  </a:cubicBezTo>
                  <a:cubicBezTo>
                    <a:pt x="352" y="452"/>
                    <a:pt x="352" y="452"/>
                    <a:pt x="351" y="452"/>
                  </a:cubicBezTo>
                  <a:cubicBezTo>
                    <a:pt x="351" y="452"/>
                    <a:pt x="351" y="452"/>
                    <a:pt x="351" y="452"/>
                  </a:cubicBezTo>
                  <a:cubicBezTo>
                    <a:pt x="350" y="452"/>
                    <a:pt x="349" y="452"/>
                    <a:pt x="349" y="453"/>
                  </a:cubicBezTo>
                  <a:cubicBezTo>
                    <a:pt x="348" y="454"/>
                    <a:pt x="348" y="454"/>
                    <a:pt x="348" y="455"/>
                  </a:cubicBezTo>
                  <a:cubicBezTo>
                    <a:pt x="349" y="455"/>
                    <a:pt x="348" y="456"/>
                    <a:pt x="348" y="456"/>
                  </a:cubicBezTo>
                  <a:cubicBezTo>
                    <a:pt x="348" y="456"/>
                    <a:pt x="347" y="457"/>
                    <a:pt x="347" y="457"/>
                  </a:cubicBezTo>
                  <a:cubicBezTo>
                    <a:pt x="347" y="457"/>
                    <a:pt x="347" y="457"/>
                    <a:pt x="347" y="457"/>
                  </a:cubicBezTo>
                  <a:cubicBezTo>
                    <a:pt x="348" y="459"/>
                    <a:pt x="349" y="460"/>
                    <a:pt x="350" y="461"/>
                  </a:cubicBezTo>
                  <a:cubicBezTo>
                    <a:pt x="351" y="461"/>
                    <a:pt x="351" y="461"/>
                    <a:pt x="351" y="462"/>
                  </a:cubicBezTo>
                  <a:cubicBezTo>
                    <a:pt x="351" y="462"/>
                    <a:pt x="350" y="462"/>
                    <a:pt x="350" y="462"/>
                  </a:cubicBezTo>
                  <a:cubicBezTo>
                    <a:pt x="349" y="462"/>
                    <a:pt x="349" y="462"/>
                    <a:pt x="348" y="462"/>
                  </a:cubicBezTo>
                  <a:cubicBezTo>
                    <a:pt x="349" y="462"/>
                    <a:pt x="348" y="461"/>
                    <a:pt x="348" y="461"/>
                  </a:cubicBezTo>
                  <a:cubicBezTo>
                    <a:pt x="347" y="460"/>
                    <a:pt x="347" y="461"/>
                    <a:pt x="346" y="461"/>
                  </a:cubicBezTo>
                  <a:cubicBezTo>
                    <a:pt x="346" y="461"/>
                    <a:pt x="345" y="460"/>
                    <a:pt x="344" y="460"/>
                  </a:cubicBezTo>
                  <a:cubicBezTo>
                    <a:pt x="344" y="460"/>
                    <a:pt x="344" y="461"/>
                    <a:pt x="344" y="461"/>
                  </a:cubicBezTo>
                  <a:cubicBezTo>
                    <a:pt x="344" y="461"/>
                    <a:pt x="345" y="461"/>
                    <a:pt x="345" y="462"/>
                  </a:cubicBezTo>
                  <a:cubicBezTo>
                    <a:pt x="345" y="462"/>
                    <a:pt x="345" y="463"/>
                    <a:pt x="345" y="464"/>
                  </a:cubicBezTo>
                  <a:cubicBezTo>
                    <a:pt x="344" y="464"/>
                    <a:pt x="343" y="463"/>
                    <a:pt x="343" y="462"/>
                  </a:cubicBezTo>
                  <a:cubicBezTo>
                    <a:pt x="342" y="461"/>
                    <a:pt x="342" y="460"/>
                    <a:pt x="341" y="459"/>
                  </a:cubicBezTo>
                  <a:cubicBezTo>
                    <a:pt x="341" y="459"/>
                    <a:pt x="341" y="459"/>
                    <a:pt x="340" y="458"/>
                  </a:cubicBezTo>
                  <a:cubicBezTo>
                    <a:pt x="340" y="458"/>
                    <a:pt x="338" y="459"/>
                    <a:pt x="338" y="458"/>
                  </a:cubicBezTo>
                  <a:cubicBezTo>
                    <a:pt x="337" y="459"/>
                    <a:pt x="336" y="458"/>
                    <a:pt x="335" y="459"/>
                  </a:cubicBezTo>
                  <a:cubicBezTo>
                    <a:pt x="334" y="459"/>
                    <a:pt x="334" y="459"/>
                    <a:pt x="333" y="459"/>
                  </a:cubicBezTo>
                  <a:cubicBezTo>
                    <a:pt x="329" y="462"/>
                    <a:pt x="324" y="465"/>
                    <a:pt x="321" y="470"/>
                  </a:cubicBezTo>
                  <a:cubicBezTo>
                    <a:pt x="322" y="470"/>
                    <a:pt x="322" y="470"/>
                    <a:pt x="322" y="471"/>
                  </a:cubicBezTo>
                  <a:cubicBezTo>
                    <a:pt x="322" y="471"/>
                    <a:pt x="321" y="472"/>
                    <a:pt x="321" y="472"/>
                  </a:cubicBezTo>
                  <a:cubicBezTo>
                    <a:pt x="320" y="472"/>
                    <a:pt x="320" y="472"/>
                    <a:pt x="319" y="473"/>
                  </a:cubicBezTo>
                  <a:cubicBezTo>
                    <a:pt x="319" y="473"/>
                    <a:pt x="318" y="474"/>
                    <a:pt x="318" y="474"/>
                  </a:cubicBezTo>
                  <a:cubicBezTo>
                    <a:pt x="318" y="475"/>
                    <a:pt x="318" y="475"/>
                    <a:pt x="317" y="475"/>
                  </a:cubicBezTo>
                  <a:cubicBezTo>
                    <a:pt x="317" y="476"/>
                    <a:pt x="317" y="476"/>
                    <a:pt x="317" y="476"/>
                  </a:cubicBezTo>
                  <a:cubicBezTo>
                    <a:pt x="316" y="476"/>
                    <a:pt x="315" y="476"/>
                    <a:pt x="314" y="476"/>
                  </a:cubicBezTo>
                  <a:cubicBezTo>
                    <a:pt x="314" y="476"/>
                    <a:pt x="314" y="476"/>
                    <a:pt x="313" y="476"/>
                  </a:cubicBezTo>
                  <a:cubicBezTo>
                    <a:pt x="313" y="477"/>
                    <a:pt x="312" y="478"/>
                    <a:pt x="312" y="478"/>
                  </a:cubicBezTo>
                  <a:cubicBezTo>
                    <a:pt x="312" y="479"/>
                    <a:pt x="312" y="480"/>
                    <a:pt x="312" y="481"/>
                  </a:cubicBezTo>
                  <a:cubicBezTo>
                    <a:pt x="312" y="482"/>
                    <a:pt x="311" y="482"/>
                    <a:pt x="311" y="483"/>
                  </a:cubicBezTo>
                  <a:cubicBezTo>
                    <a:pt x="311" y="483"/>
                    <a:pt x="311" y="484"/>
                    <a:pt x="311" y="485"/>
                  </a:cubicBezTo>
                  <a:cubicBezTo>
                    <a:pt x="312" y="484"/>
                    <a:pt x="313" y="483"/>
                    <a:pt x="314" y="482"/>
                  </a:cubicBezTo>
                  <a:cubicBezTo>
                    <a:pt x="314" y="482"/>
                    <a:pt x="314" y="482"/>
                    <a:pt x="315" y="482"/>
                  </a:cubicBezTo>
                  <a:cubicBezTo>
                    <a:pt x="315" y="481"/>
                    <a:pt x="314" y="480"/>
                    <a:pt x="313" y="480"/>
                  </a:cubicBezTo>
                  <a:cubicBezTo>
                    <a:pt x="313" y="479"/>
                    <a:pt x="314" y="478"/>
                    <a:pt x="315" y="478"/>
                  </a:cubicBezTo>
                  <a:cubicBezTo>
                    <a:pt x="315" y="478"/>
                    <a:pt x="316" y="479"/>
                    <a:pt x="316" y="479"/>
                  </a:cubicBezTo>
                  <a:cubicBezTo>
                    <a:pt x="316" y="480"/>
                    <a:pt x="316" y="480"/>
                    <a:pt x="316" y="481"/>
                  </a:cubicBezTo>
                  <a:cubicBezTo>
                    <a:pt x="317" y="481"/>
                    <a:pt x="318" y="482"/>
                    <a:pt x="318" y="481"/>
                  </a:cubicBezTo>
                  <a:cubicBezTo>
                    <a:pt x="319" y="481"/>
                    <a:pt x="320" y="481"/>
                    <a:pt x="320" y="480"/>
                  </a:cubicBezTo>
                  <a:cubicBezTo>
                    <a:pt x="321" y="480"/>
                    <a:pt x="321" y="480"/>
                    <a:pt x="321" y="479"/>
                  </a:cubicBezTo>
                  <a:cubicBezTo>
                    <a:pt x="321" y="478"/>
                    <a:pt x="320" y="478"/>
                    <a:pt x="321" y="477"/>
                  </a:cubicBezTo>
                  <a:cubicBezTo>
                    <a:pt x="321" y="477"/>
                    <a:pt x="320" y="476"/>
                    <a:pt x="320" y="475"/>
                  </a:cubicBezTo>
                  <a:cubicBezTo>
                    <a:pt x="320" y="475"/>
                    <a:pt x="320" y="475"/>
                    <a:pt x="320" y="475"/>
                  </a:cubicBezTo>
                  <a:cubicBezTo>
                    <a:pt x="319" y="475"/>
                    <a:pt x="320" y="474"/>
                    <a:pt x="320" y="474"/>
                  </a:cubicBezTo>
                  <a:cubicBezTo>
                    <a:pt x="321" y="474"/>
                    <a:pt x="322" y="475"/>
                    <a:pt x="322" y="476"/>
                  </a:cubicBezTo>
                  <a:cubicBezTo>
                    <a:pt x="322" y="476"/>
                    <a:pt x="322" y="476"/>
                    <a:pt x="322" y="476"/>
                  </a:cubicBezTo>
                  <a:cubicBezTo>
                    <a:pt x="322" y="477"/>
                    <a:pt x="322" y="477"/>
                    <a:pt x="323" y="477"/>
                  </a:cubicBezTo>
                  <a:cubicBezTo>
                    <a:pt x="322" y="477"/>
                    <a:pt x="322" y="477"/>
                    <a:pt x="322" y="478"/>
                  </a:cubicBezTo>
                  <a:cubicBezTo>
                    <a:pt x="322" y="478"/>
                    <a:pt x="322" y="478"/>
                    <a:pt x="322" y="478"/>
                  </a:cubicBezTo>
                  <a:cubicBezTo>
                    <a:pt x="322" y="478"/>
                    <a:pt x="322" y="478"/>
                    <a:pt x="323" y="479"/>
                  </a:cubicBezTo>
                  <a:cubicBezTo>
                    <a:pt x="323" y="479"/>
                    <a:pt x="323" y="479"/>
                    <a:pt x="323" y="479"/>
                  </a:cubicBezTo>
                  <a:cubicBezTo>
                    <a:pt x="323" y="479"/>
                    <a:pt x="323" y="479"/>
                    <a:pt x="323" y="479"/>
                  </a:cubicBezTo>
                  <a:cubicBezTo>
                    <a:pt x="324" y="479"/>
                    <a:pt x="325" y="479"/>
                    <a:pt x="325" y="479"/>
                  </a:cubicBezTo>
                  <a:cubicBezTo>
                    <a:pt x="325" y="478"/>
                    <a:pt x="326" y="477"/>
                    <a:pt x="327" y="477"/>
                  </a:cubicBezTo>
                  <a:cubicBezTo>
                    <a:pt x="327" y="477"/>
                    <a:pt x="327" y="476"/>
                    <a:pt x="327" y="477"/>
                  </a:cubicBezTo>
                  <a:cubicBezTo>
                    <a:pt x="327" y="477"/>
                    <a:pt x="327" y="477"/>
                    <a:pt x="327" y="477"/>
                  </a:cubicBezTo>
                  <a:cubicBezTo>
                    <a:pt x="327" y="478"/>
                    <a:pt x="327" y="478"/>
                    <a:pt x="328" y="479"/>
                  </a:cubicBezTo>
                  <a:cubicBezTo>
                    <a:pt x="328" y="479"/>
                    <a:pt x="329" y="478"/>
                    <a:pt x="329" y="478"/>
                  </a:cubicBezTo>
                  <a:cubicBezTo>
                    <a:pt x="329" y="477"/>
                    <a:pt x="329" y="476"/>
                    <a:pt x="329" y="476"/>
                  </a:cubicBezTo>
                  <a:cubicBezTo>
                    <a:pt x="328" y="476"/>
                    <a:pt x="328" y="475"/>
                    <a:pt x="329" y="475"/>
                  </a:cubicBezTo>
                  <a:cubicBezTo>
                    <a:pt x="329" y="475"/>
                    <a:pt x="329" y="475"/>
                    <a:pt x="329" y="475"/>
                  </a:cubicBezTo>
                  <a:cubicBezTo>
                    <a:pt x="329" y="475"/>
                    <a:pt x="330" y="475"/>
                    <a:pt x="330" y="475"/>
                  </a:cubicBezTo>
                  <a:cubicBezTo>
                    <a:pt x="330" y="475"/>
                    <a:pt x="330" y="475"/>
                    <a:pt x="330" y="475"/>
                  </a:cubicBezTo>
                  <a:cubicBezTo>
                    <a:pt x="331" y="474"/>
                    <a:pt x="331" y="474"/>
                    <a:pt x="331" y="473"/>
                  </a:cubicBezTo>
                  <a:cubicBezTo>
                    <a:pt x="332" y="472"/>
                    <a:pt x="332" y="471"/>
                    <a:pt x="332" y="470"/>
                  </a:cubicBezTo>
                  <a:cubicBezTo>
                    <a:pt x="333" y="469"/>
                    <a:pt x="333" y="469"/>
                    <a:pt x="333" y="468"/>
                  </a:cubicBezTo>
                  <a:cubicBezTo>
                    <a:pt x="333" y="468"/>
                    <a:pt x="334" y="467"/>
                    <a:pt x="334" y="466"/>
                  </a:cubicBezTo>
                  <a:cubicBezTo>
                    <a:pt x="335" y="466"/>
                    <a:pt x="335" y="466"/>
                    <a:pt x="336" y="466"/>
                  </a:cubicBezTo>
                  <a:cubicBezTo>
                    <a:pt x="336" y="466"/>
                    <a:pt x="336" y="466"/>
                    <a:pt x="337" y="466"/>
                  </a:cubicBezTo>
                  <a:cubicBezTo>
                    <a:pt x="338" y="467"/>
                    <a:pt x="338" y="468"/>
                    <a:pt x="339" y="468"/>
                  </a:cubicBezTo>
                  <a:cubicBezTo>
                    <a:pt x="339" y="469"/>
                    <a:pt x="338" y="469"/>
                    <a:pt x="338" y="468"/>
                  </a:cubicBezTo>
                  <a:cubicBezTo>
                    <a:pt x="338" y="468"/>
                    <a:pt x="337" y="468"/>
                    <a:pt x="337" y="468"/>
                  </a:cubicBezTo>
                  <a:cubicBezTo>
                    <a:pt x="337" y="468"/>
                    <a:pt x="337" y="468"/>
                    <a:pt x="336" y="468"/>
                  </a:cubicBezTo>
                  <a:cubicBezTo>
                    <a:pt x="336" y="468"/>
                    <a:pt x="336" y="469"/>
                    <a:pt x="336" y="469"/>
                  </a:cubicBezTo>
                  <a:cubicBezTo>
                    <a:pt x="335" y="470"/>
                    <a:pt x="335" y="471"/>
                    <a:pt x="335" y="472"/>
                  </a:cubicBezTo>
                  <a:cubicBezTo>
                    <a:pt x="338" y="472"/>
                    <a:pt x="340" y="472"/>
                    <a:pt x="342" y="470"/>
                  </a:cubicBezTo>
                  <a:cubicBezTo>
                    <a:pt x="342" y="469"/>
                    <a:pt x="343" y="468"/>
                    <a:pt x="344" y="469"/>
                  </a:cubicBezTo>
                  <a:cubicBezTo>
                    <a:pt x="344" y="469"/>
                    <a:pt x="344" y="470"/>
                    <a:pt x="345" y="470"/>
                  </a:cubicBezTo>
                  <a:cubicBezTo>
                    <a:pt x="345" y="470"/>
                    <a:pt x="346" y="470"/>
                    <a:pt x="346" y="469"/>
                  </a:cubicBezTo>
                  <a:cubicBezTo>
                    <a:pt x="346" y="469"/>
                    <a:pt x="345" y="469"/>
                    <a:pt x="345" y="469"/>
                  </a:cubicBezTo>
                  <a:cubicBezTo>
                    <a:pt x="345" y="468"/>
                    <a:pt x="345" y="468"/>
                    <a:pt x="345" y="468"/>
                  </a:cubicBezTo>
                  <a:cubicBezTo>
                    <a:pt x="345" y="468"/>
                    <a:pt x="345" y="468"/>
                    <a:pt x="345" y="468"/>
                  </a:cubicBezTo>
                  <a:cubicBezTo>
                    <a:pt x="345" y="467"/>
                    <a:pt x="346" y="467"/>
                    <a:pt x="347" y="468"/>
                  </a:cubicBezTo>
                  <a:cubicBezTo>
                    <a:pt x="347" y="468"/>
                    <a:pt x="347" y="468"/>
                    <a:pt x="347" y="469"/>
                  </a:cubicBezTo>
                  <a:cubicBezTo>
                    <a:pt x="347" y="469"/>
                    <a:pt x="347" y="469"/>
                    <a:pt x="348" y="469"/>
                  </a:cubicBezTo>
                  <a:cubicBezTo>
                    <a:pt x="348" y="469"/>
                    <a:pt x="348" y="469"/>
                    <a:pt x="348" y="469"/>
                  </a:cubicBezTo>
                  <a:cubicBezTo>
                    <a:pt x="348" y="468"/>
                    <a:pt x="348" y="468"/>
                    <a:pt x="349" y="467"/>
                  </a:cubicBezTo>
                  <a:cubicBezTo>
                    <a:pt x="349" y="467"/>
                    <a:pt x="349" y="466"/>
                    <a:pt x="350" y="46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66"/>
                    <a:pt x="351" y="466"/>
                    <a:pt x="351" y="466"/>
                  </a:cubicBezTo>
                  <a:cubicBezTo>
                    <a:pt x="351" y="465"/>
                    <a:pt x="352" y="465"/>
                    <a:pt x="352" y="465"/>
                  </a:cubicBezTo>
                  <a:cubicBezTo>
                    <a:pt x="352" y="465"/>
                    <a:pt x="353" y="465"/>
                    <a:pt x="353" y="465"/>
                  </a:cubicBezTo>
                  <a:cubicBezTo>
                    <a:pt x="354" y="464"/>
                    <a:pt x="354" y="463"/>
                    <a:pt x="355" y="462"/>
                  </a:cubicBezTo>
                  <a:cubicBezTo>
                    <a:pt x="356" y="462"/>
                    <a:pt x="357" y="462"/>
                    <a:pt x="357" y="461"/>
                  </a:cubicBezTo>
                  <a:cubicBezTo>
                    <a:pt x="358" y="461"/>
                    <a:pt x="358" y="461"/>
                    <a:pt x="359" y="462"/>
                  </a:cubicBezTo>
                  <a:cubicBezTo>
                    <a:pt x="359" y="462"/>
                    <a:pt x="359" y="462"/>
                    <a:pt x="359" y="462"/>
                  </a:cubicBezTo>
                  <a:cubicBezTo>
                    <a:pt x="359" y="462"/>
                    <a:pt x="359" y="462"/>
                    <a:pt x="359" y="462"/>
                  </a:cubicBezTo>
                  <a:cubicBezTo>
                    <a:pt x="358" y="463"/>
                    <a:pt x="358" y="465"/>
                    <a:pt x="359" y="466"/>
                  </a:cubicBezTo>
                  <a:cubicBezTo>
                    <a:pt x="359" y="466"/>
                    <a:pt x="359" y="466"/>
                    <a:pt x="359" y="466"/>
                  </a:cubicBezTo>
                  <a:cubicBezTo>
                    <a:pt x="359" y="466"/>
                    <a:pt x="359" y="467"/>
                    <a:pt x="358" y="467"/>
                  </a:cubicBezTo>
                  <a:cubicBezTo>
                    <a:pt x="358" y="467"/>
                    <a:pt x="358" y="467"/>
                    <a:pt x="358" y="467"/>
                  </a:cubicBezTo>
                  <a:cubicBezTo>
                    <a:pt x="359" y="467"/>
                    <a:pt x="360" y="466"/>
                    <a:pt x="360" y="465"/>
                  </a:cubicBezTo>
                  <a:cubicBezTo>
                    <a:pt x="360" y="464"/>
                    <a:pt x="360" y="462"/>
                    <a:pt x="361" y="462"/>
                  </a:cubicBezTo>
                  <a:cubicBezTo>
                    <a:pt x="361" y="462"/>
                    <a:pt x="362" y="462"/>
                    <a:pt x="362" y="462"/>
                  </a:cubicBezTo>
                  <a:cubicBezTo>
                    <a:pt x="362" y="461"/>
                    <a:pt x="362" y="461"/>
                    <a:pt x="363" y="461"/>
                  </a:cubicBezTo>
                  <a:cubicBezTo>
                    <a:pt x="364" y="460"/>
                    <a:pt x="366" y="459"/>
                    <a:pt x="367" y="459"/>
                  </a:cubicBezTo>
                  <a:cubicBezTo>
                    <a:pt x="367" y="459"/>
                    <a:pt x="368" y="459"/>
                    <a:pt x="368" y="459"/>
                  </a:cubicBezTo>
                  <a:cubicBezTo>
                    <a:pt x="368" y="459"/>
                    <a:pt x="369" y="458"/>
                    <a:pt x="369" y="458"/>
                  </a:cubicBezTo>
                  <a:cubicBezTo>
                    <a:pt x="369" y="458"/>
                    <a:pt x="370" y="458"/>
                    <a:pt x="371" y="458"/>
                  </a:cubicBezTo>
                  <a:cubicBezTo>
                    <a:pt x="371" y="457"/>
                    <a:pt x="372" y="456"/>
                    <a:pt x="372" y="455"/>
                  </a:cubicBezTo>
                  <a:cubicBezTo>
                    <a:pt x="372" y="454"/>
                    <a:pt x="372" y="454"/>
                    <a:pt x="373" y="453"/>
                  </a:cubicBezTo>
                  <a:cubicBezTo>
                    <a:pt x="373" y="453"/>
                    <a:pt x="374" y="453"/>
                    <a:pt x="374" y="453"/>
                  </a:cubicBezTo>
                  <a:cubicBezTo>
                    <a:pt x="373" y="454"/>
                    <a:pt x="373" y="455"/>
                    <a:pt x="373" y="457"/>
                  </a:cubicBezTo>
                  <a:cubicBezTo>
                    <a:pt x="373" y="457"/>
                    <a:pt x="373" y="457"/>
                    <a:pt x="373" y="457"/>
                  </a:cubicBezTo>
                  <a:cubicBezTo>
                    <a:pt x="373" y="458"/>
                    <a:pt x="374" y="457"/>
                    <a:pt x="374" y="457"/>
                  </a:cubicBezTo>
                  <a:cubicBezTo>
                    <a:pt x="374" y="456"/>
                    <a:pt x="374" y="456"/>
                    <a:pt x="374" y="455"/>
                  </a:cubicBezTo>
                  <a:cubicBezTo>
                    <a:pt x="375" y="455"/>
                    <a:pt x="375" y="454"/>
                    <a:pt x="376" y="453"/>
                  </a:cubicBezTo>
                  <a:cubicBezTo>
                    <a:pt x="376" y="453"/>
                    <a:pt x="376" y="451"/>
                    <a:pt x="377" y="451"/>
                  </a:cubicBezTo>
                  <a:cubicBezTo>
                    <a:pt x="377" y="451"/>
                    <a:pt x="377" y="450"/>
                    <a:pt x="377" y="450"/>
                  </a:cubicBezTo>
                  <a:cubicBezTo>
                    <a:pt x="376" y="450"/>
                    <a:pt x="376" y="450"/>
                    <a:pt x="376" y="450"/>
                  </a:cubicBezTo>
                  <a:cubicBezTo>
                    <a:pt x="376" y="450"/>
                    <a:pt x="376" y="450"/>
                    <a:pt x="375" y="450"/>
                  </a:cubicBezTo>
                  <a:cubicBezTo>
                    <a:pt x="375" y="451"/>
                    <a:pt x="374" y="450"/>
                    <a:pt x="374" y="450"/>
                  </a:cubicBezTo>
                  <a:cubicBezTo>
                    <a:pt x="373" y="450"/>
                    <a:pt x="373" y="451"/>
                    <a:pt x="373" y="451"/>
                  </a:cubicBezTo>
                  <a:cubicBezTo>
                    <a:pt x="373" y="451"/>
                    <a:pt x="372" y="452"/>
                    <a:pt x="372" y="451"/>
                  </a:cubicBezTo>
                  <a:cubicBezTo>
                    <a:pt x="372" y="451"/>
                    <a:pt x="372" y="451"/>
                    <a:pt x="372" y="451"/>
                  </a:cubicBezTo>
                  <a:cubicBezTo>
                    <a:pt x="373" y="450"/>
                    <a:pt x="374" y="449"/>
                    <a:pt x="375" y="448"/>
                  </a:cubicBezTo>
                  <a:cubicBezTo>
                    <a:pt x="375" y="448"/>
                    <a:pt x="376" y="447"/>
                    <a:pt x="376" y="447"/>
                  </a:cubicBezTo>
                  <a:cubicBezTo>
                    <a:pt x="377" y="447"/>
                    <a:pt x="377" y="447"/>
                    <a:pt x="378" y="446"/>
                  </a:cubicBezTo>
                  <a:cubicBezTo>
                    <a:pt x="378" y="446"/>
                    <a:pt x="378" y="446"/>
                    <a:pt x="379" y="446"/>
                  </a:cubicBezTo>
                  <a:cubicBezTo>
                    <a:pt x="380" y="444"/>
                    <a:pt x="381" y="443"/>
                    <a:pt x="383" y="442"/>
                  </a:cubicBezTo>
                  <a:cubicBezTo>
                    <a:pt x="384" y="443"/>
                    <a:pt x="385" y="444"/>
                    <a:pt x="386" y="443"/>
                  </a:cubicBezTo>
                  <a:cubicBezTo>
                    <a:pt x="386" y="443"/>
                    <a:pt x="387" y="442"/>
                    <a:pt x="387" y="442"/>
                  </a:cubicBezTo>
                  <a:cubicBezTo>
                    <a:pt x="386" y="442"/>
                    <a:pt x="386" y="442"/>
                    <a:pt x="385" y="442"/>
                  </a:cubicBezTo>
                  <a:cubicBezTo>
                    <a:pt x="386" y="441"/>
                    <a:pt x="386" y="440"/>
                    <a:pt x="387" y="440"/>
                  </a:cubicBezTo>
                  <a:cubicBezTo>
                    <a:pt x="387" y="439"/>
                    <a:pt x="387" y="439"/>
                    <a:pt x="387" y="439"/>
                  </a:cubicBezTo>
                  <a:cubicBezTo>
                    <a:pt x="387" y="439"/>
                    <a:pt x="387" y="438"/>
                    <a:pt x="387" y="438"/>
                  </a:cubicBezTo>
                  <a:cubicBezTo>
                    <a:pt x="388" y="437"/>
                    <a:pt x="388" y="438"/>
                    <a:pt x="389" y="438"/>
                  </a:cubicBezTo>
                  <a:cubicBezTo>
                    <a:pt x="389" y="438"/>
                    <a:pt x="389" y="439"/>
                    <a:pt x="389" y="439"/>
                  </a:cubicBezTo>
                  <a:cubicBezTo>
                    <a:pt x="390" y="439"/>
                    <a:pt x="391" y="439"/>
                    <a:pt x="392" y="438"/>
                  </a:cubicBezTo>
                  <a:cubicBezTo>
                    <a:pt x="392" y="437"/>
                    <a:pt x="393" y="436"/>
                    <a:pt x="394" y="436"/>
                  </a:cubicBezTo>
                  <a:cubicBezTo>
                    <a:pt x="395" y="436"/>
                    <a:pt x="395" y="436"/>
                    <a:pt x="395" y="436"/>
                  </a:cubicBezTo>
                  <a:cubicBezTo>
                    <a:pt x="395" y="436"/>
                    <a:pt x="396" y="436"/>
                    <a:pt x="396" y="435"/>
                  </a:cubicBezTo>
                  <a:cubicBezTo>
                    <a:pt x="396" y="435"/>
                    <a:pt x="396" y="434"/>
                    <a:pt x="396" y="434"/>
                  </a:cubicBezTo>
                  <a:cubicBezTo>
                    <a:pt x="396" y="434"/>
                    <a:pt x="397" y="433"/>
                    <a:pt x="397" y="434"/>
                  </a:cubicBezTo>
                  <a:cubicBezTo>
                    <a:pt x="397" y="434"/>
                    <a:pt x="397" y="435"/>
                    <a:pt x="398" y="435"/>
                  </a:cubicBezTo>
                  <a:cubicBezTo>
                    <a:pt x="398" y="435"/>
                    <a:pt x="399" y="434"/>
                    <a:pt x="399" y="434"/>
                  </a:cubicBezTo>
                  <a:cubicBezTo>
                    <a:pt x="399" y="433"/>
                    <a:pt x="399" y="433"/>
                    <a:pt x="399" y="433"/>
                  </a:cubicBezTo>
                  <a:cubicBezTo>
                    <a:pt x="400" y="432"/>
                    <a:pt x="400" y="431"/>
                    <a:pt x="401" y="431"/>
                  </a:cubicBezTo>
                  <a:cubicBezTo>
                    <a:pt x="401" y="431"/>
                    <a:pt x="401" y="430"/>
                    <a:pt x="401" y="430"/>
                  </a:cubicBezTo>
                  <a:cubicBezTo>
                    <a:pt x="402" y="430"/>
                    <a:pt x="402" y="430"/>
                    <a:pt x="401" y="429"/>
                  </a:cubicBezTo>
                  <a:cubicBezTo>
                    <a:pt x="401" y="429"/>
                    <a:pt x="401" y="429"/>
                    <a:pt x="401" y="429"/>
                  </a:cubicBezTo>
                  <a:cubicBezTo>
                    <a:pt x="401" y="429"/>
                    <a:pt x="401" y="429"/>
                    <a:pt x="401" y="428"/>
                  </a:cubicBezTo>
                  <a:cubicBezTo>
                    <a:pt x="401" y="428"/>
                    <a:pt x="402" y="428"/>
                    <a:pt x="402" y="427"/>
                  </a:cubicBezTo>
                  <a:cubicBezTo>
                    <a:pt x="402" y="427"/>
                    <a:pt x="401" y="427"/>
                    <a:pt x="401" y="426"/>
                  </a:cubicBezTo>
                  <a:cubicBezTo>
                    <a:pt x="401" y="426"/>
                    <a:pt x="400" y="427"/>
                    <a:pt x="400" y="427"/>
                  </a:cubicBezTo>
                  <a:cubicBezTo>
                    <a:pt x="400" y="427"/>
                    <a:pt x="399" y="427"/>
                    <a:pt x="399" y="427"/>
                  </a:cubicBezTo>
                  <a:cubicBezTo>
                    <a:pt x="399" y="427"/>
                    <a:pt x="399" y="426"/>
                    <a:pt x="399" y="426"/>
                  </a:cubicBezTo>
                  <a:cubicBezTo>
                    <a:pt x="400" y="425"/>
                    <a:pt x="401" y="425"/>
                    <a:pt x="402" y="424"/>
                  </a:cubicBezTo>
                  <a:cubicBezTo>
                    <a:pt x="402" y="424"/>
                    <a:pt x="403" y="424"/>
                    <a:pt x="403" y="424"/>
                  </a:cubicBezTo>
                  <a:cubicBezTo>
                    <a:pt x="403" y="424"/>
                    <a:pt x="403" y="423"/>
                    <a:pt x="404" y="423"/>
                  </a:cubicBezTo>
                  <a:cubicBezTo>
                    <a:pt x="404" y="423"/>
                    <a:pt x="404" y="423"/>
                    <a:pt x="404" y="423"/>
                  </a:cubicBezTo>
                  <a:cubicBezTo>
                    <a:pt x="405" y="423"/>
                    <a:pt x="405" y="424"/>
                    <a:pt x="405" y="424"/>
                  </a:cubicBezTo>
                  <a:cubicBezTo>
                    <a:pt x="405" y="424"/>
                    <a:pt x="405" y="423"/>
                    <a:pt x="405" y="423"/>
                  </a:cubicBezTo>
                  <a:cubicBezTo>
                    <a:pt x="405" y="422"/>
                    <a:pt x="406" y="421"/>
                    <a:pt x="407" y="421"/>
                  </a:cubicBezTo>
                  <a:cubicBezTo>
                    <a:pt x="408" y="421"/>
                    <a:pt x="408" y="421"/>
                    <a:pt x="409" y="421"/>
                  </a:cubicBezTo>
                  <a:cubicBezTo>
                    <a:pt x="409" y="421"/>
                    <a:pt x="409" y="420"/>
                    <a:pt x="410" y="419"/>
                  </a:cubicBezTo>
                  <a:cubicBezTo>
                    <a:pt x="410" y="419"/>
                    <a:pt x="410" y="419"/>
                    <a:pt x="411" y="419"/>
                  </a:cubicBezTo>
                  <a:cubicBezTo>
                    <a:pt x="411" y="419"/>
                    <a:pt x="411" y="418"/>
                    <a:pt x="411" y="418"/>
                  </a:cubicBezTo>
                  <a:cubicBezTo>
                    <a:pt x="411" y="418"/>
                    <a:pt x="411" y="418"/>
                    <a:pt x="410" y="418"/>
                  </a:cubicBezTo>
                  <a:cubicBezTo>
                    <a:pt x="410" y="418"/>
                    <a:pt x="410" y="417"/>
                    <a:pt x="410" y="417"/>
                  </a:cubicBezTo>
                  <a:cubicBezTo>
                    <a:pt x="410" y="417"/>
                    <a:pt x="410" y="416"/>
                    <a:pt x="411" y="415"/>
                  </a:cubicBezTo>
                  <a:cubicBezTo>
                    <a:pt x="411" y="415"/>
                    <a:pt x="412" y="415"/>
                    <a:pt x="412" y="416"/>
                  </a:cubicBezTo>
                  <a:cubicBezTo>
                    <a:pt x="412" y="416"/>
                    <a:pt x="412" y="416"/>
                    <a:pt x="412" y="416"/>
                  </a:cubicBezTo>
                  <a:cubicBezTo>
                    <a:pt x="412" y="417"/>
                    <a:pt x="413" y="417"/>
                    <a:pt x="413" y="417"/>
                  </a:cubicBezTo>
                  <a:cubicBezTo>
                    <a:pt x="413" y="417"/>
                    <a:pt x="414" y="417"/>
                    <a:pt x="414" y="417"/>
                  </a:cubicBezTo>
                  <a:cubicBezTo>
                    <a:pt x="414" y="417"/>
                    <a:pt x="414" y="417"/>
                    <a:pt x="414" y="417"/>
                  </a:cubicBezTo>
                  <a:cubicBezTo>
                    <a:pt x="415" y="416"/>
                    <a:pt x="415" y="415"/>
                    <a:pt x="416" y="414"/>
                  </a:cubicBezTo>
                  <a:cubicBezTo>
                    <a:pt x="416" y="414"/>
                    <a:pt x="417" y="414"/>
                    <a:pt x="417" y="414"/>
                  </a:cubicBezTo>
                  <a:cubicBezTo>
                    <a:pt x="417" y="413"/>
                    <a:pt x="418" y="413"/>
                    <a:pt x="418" y="412"/>
                  </a:cubicBezTo>
                  <a:cubicBezTo>
                    <a:pt x="418" y="412"/>
                    <a:pt x="417" y="412"/>
                    <a:pt x="417" y="412"/>
                  </a:cubicBezTo>
                  <a:cubicBezTo>
                    <a:pt x="417" y="412"/>
                    <a:pt x="418" y="411"/>
                    <a:pt x="418" y="411"/>
                  </a:cubicBezTo>
                  <a:cubicBezTo>
                    <a:pt x="418" y="411"/>
                    <a:pt x="418" y="411"/>
                    <a:pt x="418" y="410"/>
                  </a:cubicBezTo>
                  <a:cubicBezTo>
                    <a:pt x="418" y="410"/>
                    <a:pt x="418" y="410"/>
                    <a:pt x="418" y="410"/>
                  </a:cubicBezTo>
                  <a:cubicBezTo>
                    <a:pt x="417" y="410"/>
                    <a:pt x="417" y="410"/>
                    <a:pt x="417" y="410"/>
                  </a:cubicBezTo>
                  <a:cubicBezTo>
                    <a:pt x="418" y="409"/>
                    <a:pt x="418" y="408"/>
                    <a:pt x="418" y="407"/>
                  </a:cubicBezTo>
                  <a:cubicBezTo>
                    <a:pt x="418" y="407"/>
                    <a:pt x="418" y="406"/>
                    <a:pt x="418" y="406"/>
                  </a:cubicBezTo>
                  <a:cubicBezTo>
                    <a:pt x="418" y="406"/>
                    <a:pt x="418" y="406"/>
                    <a:pt x="418" y="406"/>
                  </a:cubicBezTo>
                  <a:cubicBezTo>
                    <a:pt x="419" y="406"/>
                    <a:pt x="419" y="406"/>
                    <a:pt x="419" y="406"/>
                  </a:cubicBezTo>
                  <a:cubicBezTo>
                    <a:pt x="419" y="407"/>
                    <a:pt x="419" y="407"/>
                    <a:pt x="419" y="407"/>
                  </a:cubicBezTo>
                  <a:cubicBezTo>
                    <a:pt x="419" y="408"/>
                    <a:pt x="420" y="408"/>
                    <a:pt x="420" y="408"/>
                  </a:cubicBezTo>
                  <a:cubicBezTo>
                    <a:pt x="420" y="408"/>
                    <a:pt x="419" y="409"/>
                    <a:pt x="419" y="410"/>
                  </a:cubicBezTo>
                  <a:cubicBezTo>
                    <a:pt x="419" y="409"/>
                    <a:pt x="420" y="409"/>
                    <a:pt x="420" y="410"/>
                  </a:cubicBezTo>
                  <a:cubicBezTo>
                    <a:pt x="420" y="410"/>
                    <a:pt x="421" y="410"/>
                    <a:pt x="421" y="410"/>
                  </a:cubicBezTo>
                  <a:cubicBezTo>
                    <a:pt x="421" y="410"/>
                    <a:pt x="422" y="410"/>
                    <a:pt x="422" y="410"/>
                  </a:cubicBezTo>
                  <a:cubicBezTo>
                    <a:pt x="422" y="409"/>
                    <a:pt x="422" y="409"/>
                    <a:pt x="423" y="409"/>
                  </a:cubicBezTo>
                  <a:cubicBezTo>
                    <a:pt x="423" y="409"/>
                    <a:pt x="424" y="409"/>
                    <a:pt x="424" y="409"/>
                  </a:cubicBezTo>
                  <a:cubicBezTo>
                    <a:pt x="424" y="409"/>
                    <a:pt x="424" y="409"/>
                    <a:pt x="424" y="409"/>
                  </a:cubicBezTo>
                  <a:cubicBezTo>
                    <a:pt x="425" y="408"/>
                    <a:pt x="426" y="408"/>
                    <a:pt x="426" y="407"/>
                  </a:cubicBezTo>
                  <a:cubicBezTo>
                    <a:pt x="426" y="408"/>
                    <a:pt x="427" y="408"/>
                    <a:pt x="427" y="408"/>
                  </a:cubicBezTo>
                  <a:cubicBezTo>
                    <a:pt x="427" y="408"/>
                    <a:pt x="428" y="407"/>
                    <a:pt x="428" y="407"/>
                  </a:cubicBezTo>
                  <a:cubicBezTo>
                    <a:pt x="428" y="407"/>
                    <a:pt x="428" y="407"/>
                    <a:pt x="428" y="406"/>
                  </a:cubicBezTo>
                  <a:cubicBezTo>
                    <a:pt x="428" y="406"/>
                    <a:pt x="428" y="406"/>
                    <a:pt x="428" y="406"/>
                  </a:cubicBezTo>
                  <a:cubicBezTo>
                    <a:pt x="428" y="406"/>
                    <a:pt x="429" y="405"/>
                    <a:pt x="429" y="405"/>
                  </a:cubicBezTo>
                  <a:cubicBezTo>
                    <a:pt x="429" y="404"/>
                    <a:pt x="429" y="404"/>
                    <a:pt x="429" y="404"/>
                  </a:cubicBezTo>
                  <a:cubicBezTo>
                    <a:pt x="429" y="404"/>
                    <a:pt x="430" y="403"/>
                    <a:pt x="430" y="403"/>
                  </a:cubicBezTo>
                  <a:cubicBezTo>
                    <a:pt x="429" y="403"/>
                    <a:pt x="427" y="403"/>
                    <a:pt x="426" y="404"/>
                  </a:cubicBezTo>
                  <a:cubicBezTo>
                    <a:pt x="426" y="403"/>
                    <a:pt x="427" y="403"/>
                    <a:pt x="428" y="403"/>
                  </a:cubicBezTo>
                  <a:cubicBezTo>
                    <a:pt x="429" y="402"/>
                    <a:pt x="429" y="402"/>
                    <a:pt x="430" y="402"/>
                  </a:cubicBezTo>
                  <a:cubicBezTo>
                    <a:pt x="430" y="402"/>
                    <a:pt x="430" y="401"/>
                    <a:pt x="431" y="401"/>
                  </a:cubicBezTo>
                  <a:cubicBezTo>
                    <a:pt x="431" y="401"/>
                    <a:pt x="431" y="401"/>
                    <a:pt x="431" y="401"/>
                  </a:cubicBezTo>
                  <a:cubicBezTo>
                    <a:pt x="431" y="400"/>
                    <a:pt x="431" y="400"/>
                    <a:pt x="431" y="400"/>
                  </a:cubicBezTo>
                  <a:cubicBezTo>
                    <a:pt x="430" y="400"/>
                    <a:pt x="430" y="399"/>
                    <a:pt x="431" y="399"/>
                  </a:cubicBezTo>
                  <a:cubicBezTo>
                    <a:pt x="431" y="398"/>
                    <a:pt x="432" y="398"/>
                    <a:pt x="432" y="397"/>
                  </a:cubicBezTo>
                  <a:cubicBezTo>
                    <a:pt x="433" y="397"/>
                    <a:pt x="433" y="396"/>
                    <a:pt x="433" y="395"/>
                  </a:cubicBezTo>
                  <a:cubicBezTo>
                    <a:pt x="433" y="395"/>
                    <a:pt x="434" y="395"/>
                    <a:pt x="435" y="395"/>
                  </a:cubicBezTo>
                  <a:cubicBezTo>
                    <a:pt x="436" y="395"/>
                    <a:pt x="437" y="394"/>
                    <a:pt x="438" y="393"/>
                  </a:cubicBezTo>
                  <a:cubicBezTo>
                    <a:pt x="439" y="392"/>
                    <a:pt x="439" y="391"/>
                    <a:pt x="440" y="390"/>
                  </a:cubicBezTo>
                  <a:cubicBezTo>
                    <a:pt x="440" y="389"/>
                    <a:pt x="440" y="387"/>
                    <a:pt x="439" y="386"/>
                  </a:cubicBezTo>
                  <a:cubicBezTo>
                    <a:pt x="439" y="386"/>
                    <a:pt x="439" y="386"/>
                    <a:pt x="439" y="386"/>
                  </a:cubicBezTo>
                  <a:cubicBezTo>
                    <a:pt x="439" y="386"/>
                    <a:pt x="438" y="386"/>
                    <a:pt x="438" y="386"/>
                  </a:cubicBezTo>
                  <a:cubicBezTo>
                    <a:pt x="438" y="386"/>
                    <a:pt x="437" y="386"/>
                    <a:pt x="436" y="385"/>
                  </a:cubicBezTo>
                  <a:cubicBezTo>
                    <a:pt x="436" y="385"/>
                    <a:pt x="436" y="385"/>
                    <a:pt x="436" y="384"/>
                  </a:cubicBezTo>
                  <a:cubicBezTo>
                    <a:pt x="436" y="384"/>
                    <a:pt x="435" y="384"/>
                    <a:pt x="435" y="384"/>
                  </a:cubicBezTo>
                  <a:cubicBezTo>
                    <a:pt x="435" y="384"/>
                    <a:pt x="434" y="384"/>
                    <a:pt x="434" y="384"/>
                  </a:cubicBezTo>
                  <a:cubicBezTo>
                    <a:pt x="434" y="384"/>
                    <a:pt x="434" y="384"/>
                    <a:pt x="433" y="384"/>
                  </a:cubicBezTo>
                  <a:cubicBezTo>
                    <a:pt x="433" y="384"/>
                    <a:pt x="433" y="384"/>
                    <a:pt x="433" y="384"/>
                  </a:cubicBezTo>
                  <a:cubicBezTo>
                    <a:pt x="432" y="384"/>
                    <a:pt x="432" y="383"/>
                    <a:pt x="431" y="384"/>
                  </a:cubicBezTo>
                  <a:cubicBezTo>
                    <a:pt x="430" y="384"/>
                    <a:pt x="430" y="385"/>
                    <a:pt x="430" y="385"/>
                  </a:cubicBezTo>
                  <a:cubicBezTo>
                    <a:pt x="429" y="385"/>
                    <a:pt x="429" y="385"/>
                    <a:pt x="429" y="385"/>
                  </a:cubicBezTo>
                  <a:cubicBezTo>
                    <a:pt x="429" y="385"/>
                    <a:pt x="429" y="384"/>
                    <a:pt x="429" y="384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29" y="383"/>
                    <a:pt x="429" y="383"/>
                    <a:pt x="429" y="383"/>
                  </a:cubicBezTo>
                  <a:cubicBezTo>
                    <a:pt x="429" y="383"/>
                    <a:pt x="429" y="382"/>
                    <a:pt x="429" y="382"/>
                  </a:cubicBezTo>
                  <a:cubicBezTo>
                    <a:pt x="429" y="382"/>
                    <a:pt x="428" y="382"/>
                    <a:pt x="428" y="382"/>
                  </a:cubicBezTo>
                  <a:cubicBezTo>
                    <a:pt x="428" y="382"/>
                    <a:pt x="428" y="382"/>
                    <a:pt x="429" y="382"/>
                  </a:cubicBezTo>
                  <a:cubicBezTo>
                    <a:pt x="429" y="381"/>
                    <a:pt x="429" y="381"/>
                    <a:pt x="429" y="380"/>
                  </a:cubicBezTo>
                  <a:cubicBezTo>
                    <a:pt x="430" y="380"/>
                    <a:pt x="430" y="379"/>
                    <a:pt x="430" y="378"/>
                  </a:cubicBezTo>
                  <a:cubicBezTo>
                    <a:pt x="430" y="377"/>
                    <a:pt x="431" y="377"/>
                    <a:pt x="432" y="377"/>
                  </a:cubicBezTo>
                  <a:cubicBezTo>
                    <a:pt x="432" y="377"/>
                    <a:pt x="432" y="377"/>
                    <a:pt x="432" y="377"/>
                  </a:cubicBezTo>
                  <a:cubicBezTo>
                    <a:pt x="432" y="376"/>
                    <a:pt x="432" y="376"/>
                    <a:pt x="432" y="376"/>
                  </a:cubicBezTo>
                  <a:cubicBezTo>
                    <a:pt x="431" y="376"/>
                    <a:pt x="431" y="376"/>
                    <a:pt x="431" y="376"/>
                  </a:cubicBezTo>
                  <a:cubicBezTo>
                    <a:pt x="432" y="376"/>
                    <a:pt x="432" y="376"/>
                    <a:pt x="432" y="375"/>
                  </a:cubicBezTo>
                  <a:cubicBezTo>
                    <a:pt x="433" y="375"/>
                    <a:pt x="434" y="375"/>
                    <a:pt x="434" y="375"/>
                  </a:cubicBezTo>
                  <a:cubicBezTo>
                    <a:pt x="435" y="374"/>
                    <a:pt x="435" y="374"/>
                    <a:pt x="435" y="374"/>
                  </a:cubicBezTo>
                  <a:cubicBezTo>
                    <a:pt x="435" y="373"/>
                    <a:pt x="435" y="373"/>
                    <a:pt x="435" y="373"/>
                  </a:cubicBezTo>
                  <a:cubicBezTo>
                    <a:pt x="435" y="373"/>
                    <a:pt x="435" y="373"/>
                    <a:pt x="435" y="373"/>
                  </a:cubicBezTo>
                  <a:cubicBezTo>
                    <a:pt x="435" y="373"/>
                    <a:pt x="435" y="372"/>
                    <a:pt x="435" y="372"/>
                  </a:cubicBezTo>
                  <a:cubicBezTo>
                    <a:pt x="435" y="372"/>
                    <a:pt x="435" y="372"/>
                    <a:pt x="435" y="372"/>
                  </a:cubicBezTo>
                  <a:cubicBezTo>
                    <a:pt x="436" y="372"/>
                    <a:pt x="436" y="372"/>
                    <a:pt x="436" y="372"/>
                  </a:cubicBezTo>
                  <a:cubicBezTo>
                    <a:pt x="437" y="372"/>
                    <a:pt x="437" y="372"/>
                    <a:pt x="437" y="372"/>
                  </a:cubicBezTo>
                  <a:cubicBezTo>
                    <a:pt x="437" y="371"/>
                    <a:pt x="437" y="371"/>
                    <a:pt x="437" y="370"/>
                  </a:cubicBezTo>
                  <a:cubicBezTo>
                    <a:pt x="437" y="370"/>
                    <a:pt x="436" y="370"/>
                    <a:pt x="436" y="370"/>
                  </a:cubicBezTo>
                  <a:cubicBezTo>
                    <a:pt x="436" y="370"/>
                    <a:pt x="436" y="370"/>
                    <a:pt x="436" y="369"/>
                  </a:cubicBezTo>
                  <a:cubicBezTo>
                    <a:pt x="436" y="369"/>
                    <a:pt x="436" y="369"/>
                    <a:pt x="436" y="369"/>
                  </a:cubicBezTo>
                  <a:cubicBezTo>
                    <a:pt x="436" y="369"/>
                    <a:pt x="436" y="369"/>
                    <a:pt x="436" y="369"/>
                  </a:cubicBezTo>
                  <a:cubicBezTo>
                    <a:pt x="436" y="369"/>
                    <a:pt x="436" y="369"/>
                    <a:pt x="437" y="369"/>
                  </a:cubicBezTo>
                  <a:cubicBezTo>
                    <a:pt x="437" y="369"/>
                    <a:pt x="437" y="369"/>
                    <a:pt x="437" y="369"/>
                  </a:cubicBezTo>
                  <a:cubicBezTo>
                    <a:pt x="437" y="370"/>
                    <a:pt x="438" y="370"/>
                    <a:pt x="438" y="369"/>
                  </a:cubicBezTo>
                  <a:cubicBezTo>
                    <a:pt x="438" y="369"/>
                    <a:pt x="438" y="369"/>
                    <a:pt x="438" y="369"/>
                  </a:cubicBezTo>
                  <a:cubicBezTo>
                    <a:pt x="438" y="368"/>
                    <a:pt x="439" y="367"/>
                    <a:pt x="439" y="367"/>
                  </a:cubicBezTo>
                  <a:cubicBezTo>
                    <a:pt x="438" y="366"/>
                    <a:pt x="438" y="366"/>
                    <a:pt x="438" y="366"/>
                  </a:cubicBezTo>
                  <a:cubicBezTo>
                    <a:pt x="438" y="366"/>
                    <a:pt x="439" y="365"/>
                    <a:pt x="439" y="365"/>
                  </a:cubicBezTo>
                  <a:cubicBezTo>
                    <a:pt x="439" y="365"/>
                    <a:pt x="439" y="366"/>
                    <a:pt x="439" y="366"/>
                  </a:cubicBezTo>
                  <a:cubicBezTo>
                    <a:pt x="440" y="366"/>
                    <a:pt x="440" y="366"/>
                    <a:pt x="440" y="367"/>
                  </a:cubicBezTo>
                  <a:cubicBezTo>
                    <a:pt x="440" y="367"/>
                    <a:pt x="439" y="368"/>
                    <a:pt x="439" y="368"/>
                  </a:cubicBezTo>
                  <a:cubicBezTo>
                    <a:pt x="439" y="369"/>
                    <a:pt x="439" y="369"/>
                    <a:pt x="439" y="369"/>
                  </a:cubicBezTo>
                  <a:cubicBezTo>
                    <a:pt x="439" y="369"/>
                    <a:pt x="439" y="370"/>
                    <a:pt x="439" y="370"/>
                  </a:cubicBezTo>
                  <a:cubicBezTo>
                    <a:pt x="439" y="370"/>
                    <a:pt x="440" y="370"/>
                    <a:pt x="440" y="370"/>
                  </a:cubicBezTo>
                  <a:cubicBezTo>
                    <a:pt x="441" y="370"/>
                    <a:pt x="441" y="370"/>
                    <a:pt x="441" y="369"/>
                  </a:cubicBezTo>
                  <a:cubicBezTo>
                    <a:pt x="442" y="369"/>
                    <a:pt x="442" y="369"/>
                    <a:pt x="442" y="369"/>
                  </a:cubicBezTo>
                  <a:cubicBezTo>
                    <a:pt x="443" y="369"/>
                    <a:pt x="443" y="368"/>
                    <a:pt x="443" y="368"/>
                  </a:cubicBezTo>
                  <a:cubicBezTo>
                    <a:pt x="443" y="367"/>
                    <a:pt x="445" y="365"/>
                    <a:pt x="444" y="364"/>
                  </a:cubicBezTo>
                  <a:cubicBezTo>
                    <a:pt x="444" y="364"/>
                    <a:pt x="444" y="364"/>
                    <a:pt x="444" y="364"/>
                  </a:cubicBezTo>
                  <a:cubicBezTo>
                    <a:pt x="443" y="364"/>
                    <a:pt x="443" y="364"/>
                    <a:pt x="442" y="364"/>
                  </a:cubicBezTo>
                  <a:cubicBezTo>
                    <a:pt x="442" y="364"/>
                    <a:pt x="442" y="364"/>
                    <a:pt x="442" y="364"/>
                  </a:cubicBezTo>
                  <a:cubicBezTo>
                    <a:pt x="442" y="364"/>
                    <a:pt x="441" y="364"/>
                    <a:pt x="442" y="364"/>
                  </a:cubicBezTo>
                  <a:cubicBezTo>
                    <a:pt x="443" y="363"/>
                    <a:pt x="445" y="364"/>
                    <a:pt x="446" y="363"/>
                  </a:cubicBezTo>
                  <a:cubicBezTo>
                    <a:pt x="447" y="363"/>
                    <a:pt x="447" y="363"/>
                    <a:pt x="448" y="363"/>
                  </a:cubicBezTo>
                  <a:cubicBezTo>
                    <a:pt x="448" y="363"/>
                    <a:pt x="448" y="362"/>
                    <a:pt x="448" y="362"/>
                  </a:cubicBezTo>
                  <a:cubicBezTo>
                    <a:pt x="449" y="361"/>
                    <a:pt x="449" y="361"/>
                    <a:pt x="449" y="360"/>
                  </a:cubicBezTo>
                  <a:cubicBezTo>
                    <a:pt x="449" y="360"/>
                    <a:pt x="449" y="359"/>
                    <a:pt x="449" y="359"/>
                  </a:cubicBezTo>
                  <a:cubicBezTo>
                    <a:pt x="449" y="358"/>
                    <a:pt x="449" y="358"/>
                    <a:pt x="449" y="357"/>
                  </a:cubicBezTo>
                  <a:cubicBezTo>
                    <a:pt x="448" y="357"/>
                    <a:pt x="448" y="356"/>
                    <a:pt x="447" y="355"/>
                  </a:cubicBezTo>
                  <a:cubicBezTo>
                    <a:pt x="447" y="355"/>
                    <a:pt x="446" y="355"/>
                    <a:pt x="446" y="354"/>
                  </a:cubicBezTo>
                  <a:cubicBezTo>
                    <a:pt x="445" y="354"/>
                    <a:pt x="445" y="354"/>
                    <a:pt x="445" y="354"/>
                  </a:cubicBezTo>
                  <a:cubicBezTo>
                    <a:pt x="445" y="353"/>
                    <a:pt x="446" y="353"/>
                    <a:pt x="446" y="353"/>
                  </a:cubicBezTo>
                  <a:cubicBezTo>
                    <a:pt x="446" y="353"/>
                    <a:pt x="447" y="354"/>
                    <a:pt x="447" y="354"/>
                  </a:cubicBezTo>
                  <a:cubicBezTo>
                    <a:pt x="447" y="354"/>
                    <a:pt x="447" y="354"/>
                    <a:pt x="448" y="355"/>
                  </a:cubicBezTo>
                  <a:cubicBezTo>
                    <a:pt x="448" y="355"/>
                    <a:pt x="448" y="354"/>
                    <a:pt x="449" y="354"/>
                  </a:cubicBezTo>
                  <a:cubicBezTo>
                    <a:pt x="449" y="354"/>
                    <a:pt x="449" y="354"/>
                    <a:pt x="449" y="354"/>
                  </a:cubicBezTo>
                  <a:cubicBezTo>
                    <a:pt x="450" y="355"/>
                    <a:pt x="450" y="354"/>
                    <a:pt x="451" y="354"/>
                  </a:cubicBezTo>
                  <a:cubicBezTo>
                    <a:pt x="451" y="354"/>
                    <a:pt x="452" y="353"/>
                    <a:pt x="452" y="352"/>
                  </a:cubicBezTo>
                  <a:cubicBezTo>
                    <a:pt x="452" y="352"/>
                    <a:pt x="452" y="352"/>
                    <a:pt x="453" y="352"/>
                  </a:cubicBezTo>
                  <a:cubicBezTo>
                    <a:pt x="453" y="351"/>
                    <a:pt x="453" y="351"/>
                    <a:pt x="454" y="351"/>
                  </a:cubicBezTo>
                  <a:cubicBezTo>
                    <a:pt x="454" y="350"/>
                    <a:pt x="454" y="350"/>
                    <a:pt x="454" y="349"/>
                  </a:cubicBezTo>
                  <a:cubicBezTo>
                    <a:pt x="454" y="349"/>
                    <a:pt x="453" y="349"/>
                    <a:pt x="453" y="349"/>
                  </a:cubicBezTo>
                  <a:cubicBezTo>
                    <a:pt x="453" y="349"/>
                    <a:pt x="453" y="348"/>
                    <a:pt x="453" y="348"/>
                  </a:cubicBezTo>
                  <a:cubicBezTo>
                    <a:pt x="453" y="348"/>
                    <a:pt x="453" y="347"/>
                    <a:pt x="454" y="347"/>
                  </a:cubicBezTo>
                  <a:cubicBezTo>
                    <a:pt x="455" y="346"/>
                    <a:pt x="456" y="344"/>
                    <a:pt x="457" y="342"/>
                  </a:cubicBezTo>
                  <a:cubicBezTo>
                    <a:pt x="458" y="342"/>
                    <a:pt x="458" y="341"/>
                    <a:pt x="459" y="341"/>
                  </a:cubicBezTo>
                  <a:cubicBezTo>
                    <a:pt x="459" y="341"/>
                    <a:pt x="460" y="342"/>
                    <a:pt x="461" y="342"/>
                  </a:cubicBezTo>
                  <a:cubicBezTo>
                    <a:pt x="461" y="341"/>
                    <a:pt x="461" y="341"/>
                    <a:pt x="461" y="340"/>
                  </a:cubicBezTo>
                  <a:cubicBezTo>
                    <a:pt x="461" y="339"/>
                    <a:pt x="460" y="339"/>
                    <a:pt x="460" y="338"/>
                  </a:cubicBezTo>
                  <a:cubicBezTo>
                    <a:pt x="460" y="337"/>
                    <a:pt x="461" y="336"/>
                    <a:pt x="462" y="335"/>
                  </a:cubicBezTo>
                  <a:cubicBezTo>
                    <a:pt x="464" y="334"/>
                    <a:pt x="465" y="334"/>
                    <a:pt x="466" y="333"/>
                  </a:cubicBezTo>
                  <a:cubicBezTo>
                    <a:pt x="467" y="333"/>
                    <a:pt x="468" y="331"/>
                    <a:pt x="469" y="330"/>
                  </a:cubicBezTo>
                  <a:cubicBezTo>
                    <a:pt x="471" y="329"/>
                    <a:pt x="473" y="328"/>
                    <a:pt x="474" y="326"/>
                  </a:cubicBezTo>
                  <a:cubicBezTo>
                    <a:pt x="475" y="325"/>
                    <a:pt x="475" y="324"/>
                    <a:pt x="475" y="322"/>
                  </a:cubicBezTo>
                  <a:cubicBezTo>
                    <a:pt x="475" y="321"/>
                    <a:pt x="475" y="321"/>
                    <a:pt x="476" y="320"/>
                  </a:cubicBezTo>
                  <a:cubicBezTo>
                    <a:pt x="476" y="321"/>
                    <a:pt x="477" y="322"/>
                    <a:pt x="476" y="322"/>
                  </a:cubicBezTo>
                  <a:cubicBezTo>
                    <a:pt x="476" y="323"/>
                    <a:pt x="476" y="324"/>
                    <a:pt x="476" y="325"/>
                  </a:cubicBezTo>
                  <a:cubicBezTo>
                    <a:pt x="476" y="326"/>
                    <a:pt x="476" y="326"/>
                    <a:pt x="476" y="326"/>
                  </a:cubicBezTo>
                  <a:cubicBezTo>
                    <a:pt x="477" y="327"/>
                    <a:pt x="477" y="327"/>
                    <a:pt x="478" y="327"/>
                  </a:cubicBezTo>
                  <a:cubicBezTo>
                    <a:pt x="479" y="327"/>
                    <a:pt x="479" y="327"/>
                    <a:pt x="480" y="327"/>
                  </a:cubicBezTo>
                  <a:cubicBezTo>
                    <a:pt x="481" y="327"/>
                    <a:pt x="482" y="328"/>
                    <a:pt x="483" y="328"/>
                  </a:cubicBezTo>
                  <a:cubicBezTo>
                    <a:pt x="484" y="327"/>
                    <a:pt x="484" y="326"/>
                    <a:pt x="484" y="326"/>
                  </a:cubicBezTo>
                  <a:cubicBezTo>
                    <a:pt x="484" y="324"/>
                    <a:pt x="485" y="323"/>
                    <a:pt x="486" y="322"/>
                  </a:cubicBezTo>
                  <a:cubicBezTo>
                    <a:pt x="487" y="321"/>
                    <a:pt x="488" y="321"/>
                    <a:pt x="489" y="321"/>
                  </a:cubicBezTo>
                  <a:cubicBezTo>
                    <a:pt x="490" y="321"/>
                    <a:pt x="491" y="321"/>
                    <a:pt x="492" y="320"/>
                  </a:cubicBezTo>
                  <a:cubicBezTo>
                    <a:pt x="493" y="320"/>
                    <a:pt x="494" y="320"/>
                    <a:pt x="494" y="320"/>
                  </a:cubicBezTo>
                  <a:cubicBezTo>
                    <a:pt x="492" y="322"/>
                    <a:pt x="488" y="323"/>
                    <a:pt x="486" y="325"/>
                  </a:cubicBezTo>
                  <a:cubicBezTo>
                    <a:pt x="485" y="326"/>
                    <a:pt x="485" y="327"/>
                    <a:pt x="484" y="328"/>
                  </a:cubicBezTo>
                  <a:cubicBezTo>
                    <a:pt x="483" y="329"/>
                    <a:pt x="483" y="329"/>
                    <a:pt x="482" y="330"/>
                  </a:cubicBezTo>
                  <a:cubicBezTo>
                    <a:pt x="483" y="330"/>
                    <a:pt x="484" y="331"/>
                    <a:pt x="485" y="332"/>
                  </a:cubicBezTo>
                  <a:cubicBezTo>
                    <a:pt x="485" y="332"/>
                    <a:pt x="485" y="333"/>
                    <a:pt x="486" y="333"/>
                  </a:cubicBezTo>
                  <a:cubicBezTo>
                    <a:pt x="487" y="333"/>
                    <a:pt x="487" y="333"/>
                    <a:pt x="488" y="334"/>
                  </a:cubicBezTo>
                  <a:cubicBezTo>
                    <a:pt x="489" y="334"/>
                    <a:pt x="491" y="335"/>
                    <a:pt x="492" y="336"/>
                  </a:cubicBezTo>
                  <a:cubicBezTo>
                    <a:pt x="493" y="335"/>
                    <a:pt x="495" y="336"/>
                    <a:pt x="496" y="338"/>
                  </a:cubicBezTo>
                  <a:cubicBezTo>
                    <a:pt x="492" y="337"/>
                    <a:pt x="489" y="335"/>
                    <a:pt x="486" y="335"/>
                  </a:cubicBezTo>
                  <a:cubicBezTo>
                    <a:pt x="485" y="335"/>
                    <a:pt x="483" y="336"/>
                    <a:pt x="482" y="336"/>
                  </a:cubicBezTo>
                  <a:cubicBezTo>
                    <a:pt x="481" y="336"/>
                    <a:pt x="480" y="336"/>
                    <a:pt x="479" y="335"/>
                  </a:cubicBezTo>
                  <a:cubicBezTo>
                    <a:pt x="479" y="334"/>
                    <a:pt x="479" y="334"/>
                    <a:pt x="478" y="333"/>
                  </a:cubicBezTo>
                  <a:cubicBezTo>
                    <a:pt x="478" y="333"/>
                    <a:pt x="477" y="333"/>
                    <a:pt x="477" y="334"/>
                  </a:cubicBezTo>
                  <a:cubicBezTo>
                    <a:pt x="475" y="335"/>
                    <a:pt x="474" y="336"/>
                    <a:pt x="473" y="337"/>
                  </a:cubicBezTo>
                  <a:cubicBezTo>
                    <a:pt x="472" y="337"/>
                    <a:pt x="471" y="338"/>
                    <a:pt x="470" y="339"/>
                  </a:cubicBezTo>
                  <a:cubicBezTo>
                    <a:pt x="469" y="340"/>
                    <a:pt x="467" y="340"/>
                    <a:pt x="466" y="342"/>
                  </a:cubicBezTo>
                  <a:cubicBezTo>
                    <a:pt x="465" y="342"/>
                    <a:pt x="465" y="343"/>
                    <a:pt x="465" y="343"/>
                  </a:cubicBezTo>
                  <a:cubicBezTo>
                    <a:pt x="465" y="343"/>
                    <a:pt x="465" y="344"/>
                    <a:pt x="465" y="344"/>
                  </a:cubicBezTo>
                  <a:cubicBezTo>
                    <a:pt x="466" y="345"/>
                    <a:pt x="466" y="346"/>
                    <a:pt x="467" y="347"/>
                  </a:cubicBezTo>
                  <a:cubicBezTo>
                    <a:pt x="467" y="348"/>
                    <a:pt x="467" y="349"/>
                    <a:pt x="466" y="350"/>
                  </a:cubicBezTo>
                  <a:cubicBezTo>
                    <a:pt x="466" y="350"/>
                    <a:pt x="466" y="350"/>
                    <a:pt x="466" y="351"/>
                  </a:cubicBezTo>
                  <a:cubicBezTo>
                    <a:pt x="465" y="351"/>
                    <a:pt x="465" y="352"/>
                    <a:pt x="465" y="353"/>
                  </a:cubicBezTo>
                  <a:cubicBezTo>
                    <a:pt x="465" y="354"/>
                    <a:pt x="464" y="355"/>
                    <a:pt x="463" y="356"/>
                  </a:cubicBezTo>
                  <a:cubicBezTo>
                    <a:pt x="462" y="358"/>
                    <a:pt x="461" y="359"/>
                    <a:pt x="461" y="361"/>
                  </a:cubicBezTo>
                  <a:cubicBezTo>
                    <a:pt x="461" y="362"/>
                    <a:pt x="460" y="363"/>
                    <a:pt x="460" y="364"/>
                  </a:cubicBezTo>
                  <a:cubicBezTo>
                    <a:pt x="460" y="364"/>
                    <a:pt x="459" y="365"/>
                    <a:pt x="459" y="366"/>
                  </a:cubicBezTo>
                  <a:cubicBezTo>
                    <a:pt x="459" y="366"/>
                    <a:pt x="460" y="367"/>
                    <a:pt x="460" y="368"/>
                  </a:cubicBezTo>
                  <a:cubicBezTo>
                    <a:pt x="461" y="368"/>
                    <a:pt x="462" y="369"/>
                    <a:pt x="462" y="369"/>
                  </a:cubicBezTo>
                  <a:cubicBezTo>
                    <a:pt x="463" y="369"/>
                    <a:pt x="463" y="369"/>
                    <a:pt x="463" y="369"/>
                  </a:cubicBezTo>
                  <a:cubicBezTo>
                    <a:pt x="464" y="369"/>
                    <a:pt x="465" y="369"/>
                    <a:pt x="465" y="369"/>
                  </a:cubicBezTo>
                  <a:cubicBezTo>
                    <a:pt x="466" y="368"/>
                    <a:pt x="467" y="368"/>
                    <a:pt x="468" y="367"/>
                  </a:cubicBezTo>
                  <a:cubicBezTo>
                    <a:pt x="468" y="366"/>
                    <a:pt x="469" y="366"/>
                    <a:pt x="469" y="366"/>
                  </a:cubicBezTo>
                  <a:cubicBezTo>
                    <a:pt x="469" y="366"/>
                    <a:pt x="470" y="366"/>
                    <a:pt x="470" y="366"/>
                  </a:cubicBezTo>
                  <a:cubicBezTo>
                    <a:pt x="469" y="367"/>
                    <a:pt x="469" y="368"/>
                    <a:pt x="468" y="369"/>
                  </a:cubicBezTo>
                  <a:cubicBezTo>
                    <a:pt x="468" y="369"/>
                    <a:pt x="468" y="369"/>
                    <a:pt x="468" y="369"/>
                  </a:cubicBezTo>
                  <a:cubicBezTo>
                    <a:pt x="467" y="369"/>
                    <a:pt x="467" y="369"/>
                    <a:pt x="468" y="370"/>
                  </a:cubicBezTo>
                  <a:cubicBezTo>
                    <a:pt x="468" y="370"/>
                    <a:pt x="468" y="370"/>
                    <a:pt x="468" y="370"/>
                  </a:cubicBezTo>
                  <a:cubicBezTo>
                    <a:pt x="468" y="370"/>
                    <a:pt x="468" y="370"/>
                    <a:pt x="469" y="371"/>
                  </a:cubicBezTo>
                  <a:cubicBezTo>
                    <a:pt x="468" y="371"/>
                    <a:pt x="467" y="371"/>
                    <a:pt x="467" y="371"/>
                  </a:cubicBezTo>
                  <a:cubicBezTo>
                    <a:pt x="467" y="371"/>
                    <a:pt x="466" y="371"/>
                    <a:pt x="466" y="371"/>
                  </a:cubicBezTo>
                  <a:cubicBezTo>
                    <a:pt x="466" y="372"/>
                    <a:pt x="465" y="371"/>
                    <a:pt x="465" y="372"/>
                  </a:cubicBezTo>
                  <a:cubicBezTo>
                    <a:pt x="465" y="372"/>
                    <a:pt x="464" y="372"/>
                    <a:pt x="464" y="372"/>
                  </a:cubicBezTo>
                  <a:cubicBezTo>
                    <a:pt x="464" y="373"/>
                    <a:pt x="465" y="373"/>
                    <a:pt x="465" y="373"/>
                  </a:cubicBezTo>
                  <a:cubicBezTo>
                    <a:pt x="465" y="374"/>
                    <a:pt x="465" y="374"/>
                    <a:pt x="464" y="374"/>
                  </a:cubicBezTo>
                  <a:cubicBezTo>
                    <a:pt x="464" y="374"/>
                    <a:pt x="463" y="374"/>
                    <a:pt x="462" y="374"/>
                  </a:cubicBezTo>
                  <a:cubicBezTo>
                    <a:pt x="462" y="374"/>
                    <a:pt x="461" y="374"/>
                    <a:pt x="461" y="374"/>
                  </a:cubicBezTo>
                  <a:cubicBezTo>
                    <a:pt x="461" y="375"/>
                    <a:pt x="460" y="374"/>
                    <a:pt x="460" y="374"/>
                  </a:cubicBezTo>
                  <a:cubicBezTo>
                    <a:pt x="460" y="374"/>
                    <a:pt x="459" y="375"/>
                    <a:pt x="459" y="375"/>
                  </a:cubicBezTo>
                  <a:cubicBezTo>
                    <a:pt x="459" y="375"/>
                    <a:pt x="459" y="375"/>
                    <a:pt x="459" y="375"/>
                  </a:cubicBezTo>
                  <a:cubicBezTo>
                    <a:pt x="459" y="375"/>
                    <a:pt x="459" y="376"/>
                    <a:pt x="459" y="376"/>
                  </a:cubicBezTo>
                  <a:cubicBezTo>
                    <a:pt x="459" y="376"/>
                    <a:pt x="459" y="376"/>
                    <a:pt x="459" y="376"/>
                  </a:cubicBezTo>
                  <a:cubicBezTo>
                    <a:pt x="459" y="376"/>
                    <a:pt x="459" y="376"/>
                    <a:pt x="459" y="376"/>
                  </a:cubicBezTo>
                  <a:cubicBezTo>
                    <a:pt x="459" y="377"/>
                    <a:pt x="459" y="377"/>
                    <a:pt x="458" y="377"/>
                  </a:cubicBezTo>
                  <a:cubicBezTo>
                    <a:pt x="458" y="377"/>
                    <a:pt x="458" y="377"/>
                    <a:pt x="457" y="377"/>
                  </a:cubicBezTo>
                  <a:cubicBezTo>
                    <a:pt x="457" y="377"/>
                    <a:pt x="457" y="378"/>
                    <a:pt x="457" y="378"/>
                  </a:cubicBezTo>
                  <a:cubicBezTo>
                    <a:pt x="458" y="379"/>
                    <a:pt x="458" y="379"/>
                    <a:pt x="458" y="379"/>
                  </a:cubicBezTo>
                  <a:cubicBezTo>
                    <a:pt x="458" y="380"/>
                    <a:pt x="458" y="380"/>
                    <a:pt x="458" y="380"/>
                  </a:cubicBezTo>
                  <a:cubicBezTo>
                    <a:pt x="458" y="380"/>
                    <a:pt x="459" y="381"/>
                    <a:pt x="460" y="380"/>
                  </a:cubicBezTo>
                  <a:cubicBezTo>
                    <a:pt x="460" y="380"/>
                    <a:pt x="460" y="380"/>
                    <a:pt x="460" y="380"/>
                  </a:cubicBezTo>
                  <a:cubicBezTo>
                    <a:pt x="460" y="381"/>
                    <a:pt x="460" y="381"/>
                    <a:pt x="460" y="381"/>
                  </a:cubicBezTo>
                  <a:cubicBezTo>
                    <a:pt x="460" y="381"/>
                    <a:pt x="461" y="381"/>
                    <a:pt x="461" y="381"/>
                  </a:cubicBezTo>
                  <a:cubicBezTo>
                    <a:pt x="462" y="381"/>
                    <a:pt x="462" y="381"/>
                    <a:pt x="462" y="381"/>
                  </a:cubicBezTo>
                  <a:cubicBezTo>
                    <a:pt x="463" y="381"/>
                    <a:pt x="463" y="380"/>
                    <a:pt x="463" y="380"/>
                  </a:cubicBezTo>
                  <a:cubicBezTo>
                    <a:pt x="463" y="380"/>
                    <a:pt x="463" y="380"/>
                    <a:pt x="463" y="380"/>
                  </a:cubicBezTo>
                  <a:cubicBezTo>
                    <a:pt x="464" y="380"/>
                    <a:pt x="464" y="380"/>
                    <a:pt x="465" y="380"/>
                  </a:cubicBezTo>
                  <a:cubicBezTo>
                    <a:pt x="465" y="379"/>
                    <a:pt x="466" y="380"/>
                    <a:pt x="466" y="380"/>
                  </a:cubicBezTo>
                  <a:cubicBezTo>
                    <a:pt x="466" y="380"/>
                    <a:pt x="467" y="381"/>
                    <a:pt x="467" y="381"/>
                  </a:cubicBezTo>
                  <a:cubicBezTo>
                    <a:pt x="467" y="381"/>
                    <a:pt x="468" y="381"/>
                    <a:pt x="468" y="381"/>
                  </a:cubicBezTo>
                  <a:cubicBezTo>
                    <a:pt x="469" y="380"/>
                    <a:pt x="469" y="380"/>
                    <a:pt x="469" y="379"/>
                  </a:cubicBezTo>
                  <a:cubicBezTo>
                    <a:pt x="469" y="379"/>
                    <a:pt x="469" y="379"/>
                    <a:pt x="469" y="379"/>
                  </a:cubicBezTo>
                  <a:cubicBezTo>
                    <a:pt x="469" y="379"/>
                    <a:pt x="469" y="379"/>
                    <a:pt x="469" y="379"/>
                  </a:cubicBezTo>
                  <a:cubicBezTo>
                    <a:pt x="468" y="379"/>
                    <a:pt x="468" y="378"/>
                    <a:pt x="467" y="378"/>
                  </a:cubicBezTo>
                  <a:cubicBezTo>
                    <a:pt x="467" y="378"/>
                    <a:pt x="467" y="378"/>
                    <a:pt x="466" y="378"/>
                  </a:cubicBezTo>
                  <a:cubicBezTo>
                    <a:pt x="466" y="378"/>
                    <a:pt x="466" y="378"/>
                    <a:pt x="466" y="378"/>
                  </a:cubicBezTo>
                  <a:cubicBezTo>
                    <a:pt x="468" y="378"/>
                    <a:pt x="469" y="378"/>
                    <a:pt x="470" y="379"/>
                  </a:cubicBezTo>
                  <a:cubicBezTo>
                    <a:pt x="470" y="379"/>
                    <a:pt x="470" y="379"/>
                    <a:pt x="470" y="379"/>
                  </a:cubicBezTo>
                  <a:cubicBezTo>
                    <a:pt x="470" y="379"/>
                    <a:pt x="470" y="380"/>
                    <a:pt x="470" y="380"/>
                  </a:cubicBezTo>
                  <a:cubicBezTo>
                    <a:pt x="470" y="380"/>
                    <a:pt x="470" y="380"/>
                    <a:pt x="470" y="380"/>
                  </a:cubicBezTo>
                  <a:cubicBezTo>
                    <a:pt x="471" y="380"/>
                    <a:pt x="471" y="380"/>
                    <a:pt x="471" y="380"/>
                  </a:cubicBezTo>
                  <a:cubicBezTo>
                    <a:pt x="471" y="379"/>
                    <a:pt x="472" y="379"/>
                    <a:pt x="471" y="379"/>
                  </a:cubicBezTo>
                  <a:cubicBezTo>
                    <a:pt x="471" y="378"/>
                    <a:pt x="471" y="378"/>
                    <a:pt x="471" y="378"/>
                  </a:cubicBezTo>
                  <a:cubicBezTo>
                    <a:pt x="471" y="378"/>
                    <a:pt x="471" y="378"/>
                    <a:pt x="471" y="377"/>
                  </a:cubicBezTo>
                  <a:cubicBezTo>
                    <a:pt x="472" y="377"/>
                    <a:pt x="472" y="377"/>
                    <a:pt x="472" y="377"/>
                  </a:cubicBezTo>
                  <a:cubicBezTo>
                    <a:pt x="473" y="377"/>
                    <a:pt x="473" y="376"/>
                    <a:pt x="473" y="376"/>
                  </a:cubicBezTo>
                  <a:cubicBezTo>
                    <a:pt x="473" y="375"/>
                    <a:pt x="473" y="375"/>
                    <a:pt x="474" y="375"/>
                  </a:cubicBezTo>
                  <a:cubicBezTo>
                    <a:pt x="474" y="375"/>
                    <a:pt x="474" y="375"/>
                    <a:pt x="475" y="374"/>
                  </a:cubicBezTo>
                  <a:cubicBezTo>
                    <a:pt x="475" y="374"/>
                    <a:pt x="475" y="374"/>
                    <a:pt x="475" y="373"/>
                  </a:cubicBezTo>
                  <a:cubicBezTo>
                    <a:pt x="475" y="373"/>
                    <a:pt x="475" y="372"/>
                    <a:pt x="475" y="372"/>
                  </a:cubicBezTo>
                  <a:cubicBezTo>
                    <a:pt x="476" y="371"/>
                    <a:pt x="476" y="371"/>
                    <a:pt x="477" y="371"/>
                  </a:cubicBezTo>
                  <a:cubicBezTo>
                    <a:pt x="477" y="372"/>
                    <a:pt x="476" y="372"/>
                    <a:pt x="476" y="372"/>
                  </a:cubicBezTo>
                  <a:cubicBezTo>
                    <a:pt x="476" y="373"/>
                    <a:pt x="477" y="373"/>
                    <a:pt x="477" y="373"/>
                  </a:cubicBezTo>
                  <a:cubicBezTo>
                    <a:pt x="477" y="373"/>
                    <a:pt x="477" y="372"/>
                    <a:pt x="477" y="372"/>
                  </a:cubicBezTo>
                  <a:cubicBezTo>
                    <a:pt x="477" y="372"/>
                    <a:pt x="478" y="371"/>
                    <a:pt x="478" y="371"/>
                  </a:cubicBezTo>
                  <a:cubicBezTo>
                    <a:pt x="479" y="370"/>
                    <a:pt x="479" y="369"/>
                    <a:pt x="479" y="369"/>
                  </a:cubicBezTo>
                  <a:cubicBezTo>
                    <a:pt x="479" y="368"/>
                    <a:pt x="480" y="368"/>
                    <a:pt x="480" y="368"/>
                  </a:cubicBezTo>
                  <a:cubicBezTo>
                    <a:pt x="480" y="370"/>
                    <a:pt x="479" y="371"/>
                    <a:pt x="478" y="373"/>
                  </a:cubicBezTo>
                  <a:cubicBezTo>
                    <a:pt x="478" y="373"/>
                    <a:pt x="478" y="374"/>
                    <a:pt x="478" y="374"/>
                  </a:cubicBezTo>
                  <a:cubicBezTo>
                    <a:pt x="478" y="375"/>
                    <a:pt x="479" y="375"/>
                    <a:pt x="479" y="375"/>
                  </a:cubicBezTo>
                  <a:cubicBezTo>
                    <a:pt x="479" y="375"/>
                    <a:pt x="479" y="374"/>
                    <a:pt x="479" y="373"/>
                  </a:cubicBezTo>
                  <a:cubicBezTo>
                    <a:pt x="479" y="373"/>
                    <a:pt x="479" y="373"/>
                    <a:pt x="480" y="373"/>
                  </a:cubicBezTo>
                  <a:cubicBezTo>
                    <a:pt x="480" y="372"/>
                    <a:pt x="480" y="372"/>
                    <a:pt x="481" y="372"/>
                  </a:cubicBezTo>
                  <a:cubicBezTo>
                    <a:pt x="481" y="372"/>
                    <a:pt x="481" y="372"/>
                    <a:pt x="481" y="371"/>
                  </a:cubicBezTo>
                  <a:cubicBezTo>
                    <a:pt x="481" y="371"/>
                    <a:pt x="481" y="371"/>
                    <a:pt x="481" y="371"/>
                  </a:cubicBezTo>
                  <a:cubicBezTo>
                    <a:pt x="481" y="370"/>
                    <a:pt x="482" y="370"/>
                    <a:pt x="482" y="370"/>
                  </a:cubicBezTo>
                  <a:cubicBezTo>
                    <a:pt x="482" y="369"/>
                    <a:pt x="483" y="369"/>
                    <a:pt x="483" y="369"/>
                  </a:cubicBezTo>
                  <a:cubicBezTo>
                    <a:pt x="483" y="369"/>
                    <a:pt x="484" y="369"/>
                    <a:pt x="484" y="369"/>
                  </a:cubicBezTo>
                  <a:cubicBezTo>
                    <a:pt x="484" y="368"/>
                    <a:pt x="484" y="368"/>
                    <a:pt x="483" y="368"/>
                  </a:cubicBezTo>
                  <a:cubicBezTo>
                    <a:pt x="484" y="368"/>
                    <a:pt x="484" y="367"/>
                    <a:pt x="483" y="367"/>
                  </a:cubicBezTo>
                  <a:cubicBezTo>
                    <a:pt x="483" y="367"/>
                    <a:pt x="483" y="367"/>
                    <a:pt x="483" y="366"/>
                  </a:cubicBezTo>
                  <a:cubicBezTo>
                    <a:pt x="482" y="366"/>
                    <a:pt x="483" y="365"/>
                    <a:pt x="483" y="365"/>
                  </a:cubicBezTo>
                  <a:cubicBezTo>
                    <a:pt x="484" y="365"/>
                    <a:pt x="484" y="366"/>
                    <a:pt x="484" y="366"/>
                  </a:cubicBezTo>
                  <a:cubicBezTo>
                    <a:pt x="484" y="367"/>
                    <a:pt x="485" y="367"/>
                    <a:pt x="485" y="367"/>
                  </a:cubicBezTo>
                  <a:cubicBezTo>
                    <a:pt x="485" y="367"/>
                    <a:pt x="485" y="367"/>
                    <a:pt x="485" y="367"/>
                  </a:cubicBezTo>
                  <a:cubicBezTo>
                    <a:pt x="485" y="368"/>
                    <a:pt x="486" y="368"/>
                    <a:pt x="486" y="367"/>
                  </a:cubicBezTo>
                  <a:cubicBezTo>
                    <a:pt x="487" y="367"/>
                    <a:pt x="486" y="366"/>
                    <a:pt x="486" y="366"/>
                  </a:cubicBezTo>
                  <a:cubicBezTo>
                    <a:pt x="486" y="366"/>
                    <a:pt x="486" y="365"/>
                    <a:pt x="486" y="365"/>
                  </a:cubicBezTo>
                  <a:cubicBezTo>
                    <a:pt x="486" y="365"/>
                    <a:pt x="486" y="365"/>
                    <a:pt x="486" y="365"/>
                  </a:cubicBezTo>
                  <a:cubicBezTo>
                    <a:pt x="486" y="364"/>
                    <a:pt x="486" y="364"/>
                    <a:pt x="486" y="363"/>
                  </a:cubicBezTo>
                  <a:cubicBezTo>
                    <a:pt x="486" y="363"/>
                    <a:pt x="486" y="362"/>
                    <a:pt x="486" y="362"/>
                  </a:cubicBezTo>
                  <a:cubicBezTo>
                    <a:pt x="487" y="361"/>
                    <a:pt x="487" y="362"/>
                    <a:pt x="487" y="362"/>
                  </a:cubicBezTo>
                  <a:cubicBezTo>
                    <a:pt x="487" y="363"/>
                    <a:pt x="487" y="363"/>
                    <a:pt x="487" y="364"/>
                  </a:cubicBezTo>
                  <a:cubicBezTo>
                    <a:pt x="487" y="364"/>
                    <a:pt x="487" y="365"/>
                    <a:pt x="487" y="365"/>
                  </a:cubicBezTo>
                  <a:cubicBezTo>
                    <a:pt x="488" y="366"/>
                    <a:pt x="488" y="366"/>
                    <a:pt x="489" y="366"/>
                  </a:cubicBezTo>
                  <a:cubicBezTo>
                    <a:pt x="489" y="365"/>
                    <a:pt x="488" y="365"/>
                    <a:pt x="488" y="364"/>
                  </a:cubicBezTo>
                  <a:cubicBezTo>
                    <a:pt x="488" y="364"/>
                    <a:pt x="488" y="363"/>
                    <a:pt x="488" y="363"/>
                  </a:cubicBezTo>
                  <a:cubicBezTo>
                    <a:pt x="488" y="363"/>
                    <a:pt x="488" y="363"/>
                    <a:pt x="488" y="362"/>
                  </a:cubicBezTo>
                  <a:cubicBezTo>
                    <a:pt x="488" y="362"/>
                    <a:pt x="489" y="362"/>
                    <a:pt x="489" y="362"/>
                  </a:cubicBezTo>
                  <a:cubicBezTo>
                    <a:pt x="489" y="362"/>
                    <a:pt x="489" y="362"/>
                    <a:pt x="489" y="362"/>
                  </a:cubicBezTo>
                  <a:cubicBezTo>
                    <a:pt x="490" y="362"/>
                    <a:pt x="490" y="362"/>
                    <a:pt x="490" y="361"/>
                  </a:cubicBezTo>
                  <a:cubicBezTo>
                    <a:pt x="490" y="361"/>
                    <a:pt x="490" y="361"/>
                    <a:pt x="490" y="360"/>
                  </a:cubicBezTo>
                  <a:cubicBezTo>
                    <a:pt x="490" y="360"/>
                    <a:pt x="490" y="359"/>
                    <a:pt x="490" y="359"/>
                  </a:cubicBezTo>
                  <a:cubicBezTo>
                    <a:pt x="490" y="358"/>
                    <a:pt x="490" y="358"/>
                    <a:pt x="490" y="358"/>
                  </a:cubicBezTo>
                  <a:cubicBezTo>
                    <a:pt x="490" y="358"/>
                    <a:pt x="491" y="358"/>
                    <a:pt x="491" y="358"/>
                  </a:cubicBezTo>
                  <a:cubicBezTo>
                    <a:pt x="491" y="358"/>
                    <a:pt x="491" y="358"/>
                    <a:pt x="491" y="358"/>
                  </a:cubicBezTo>
                  <a:cubicBezTo>
                    <a:pt x="491" y="359"/>
                    <a:pt x="491" y="360"/>
                    <a:pt x="491" y="361"/>
                  </a:cubicBezTo>
                  <a:cubicBezTo>
                    <a:pt x="491" y="361"/>
                    <a:pt x="491" y="362"/>
                    <a:pt x="492" y="362"/>
                  </a:cubicBezTo>
                  <a:cubicBezTo>
                    <a:pt x="492" y="363"/>
                    <a:pt x="492" y="363"/>
                    <a:pt x="493" y="363"/>
                  </a:cubicBezTo>
                  <a:cubicBezTo>
                    <a:pt x="493" y="362"/>
                    <a:pt x="493" y="361"/>
                    <a:pt x="493" y="360"/>
                  </a:cubicBezTo>
                  <a:cubicBezTo>
                    <a:pt x="493" y="360"/>
                    <a:pt x="493" y="360"/>
                    <a:pt x="493" y="359"/>
                  </a:cubicBezTo>
                  <a:cubicBezTo>
                    <a:pt x="494" y="359"/>
                    <a:pt x="494" y="359"/>
                    <a:pt x="494" y="359"/>
                  </a:cubicBezTo>
                  <a:cubicBezTo>
                    <a:pt x="494" y="360"/>
                    <a:pt x="494" y="360"/>
                    <a:pt x="494" y="361"/>
                  </a:cubicBezTo>
                  <a:cubicBezTo>
                    <a:pt x="494" y="362"/>
                    <a:pt x="496" y="362"/>
                    <a:pt x="497" y="361"/>
                  </a:cubicBezTo>
                  <a:cubicBezTo>
                    <a:pt x="497" y="362"/>
                    <a:pt x="497" y="362"/>
                    <a:pt x="497" y="362"/>
                  </a:cubicBezTo>
                  <a:cubicBezTo>
                    <a:pt x="498" y="362"/>
                    <a:pt x="498" y="362"/>
                    <a:pt x="499" y="362"/>
                  </a:cubicBezTo>
                  <a:cubicBezTo>
                    <a:pt x="499" y="362"/>
                    <a:pt x="499" y="361"/>
                    <a:pt x="499" y="361"/>
                  </a:cubicBezTo>
                  <a:cubicBezTo>
                    <a:pt x="500" y="361"/>
                    <a:pt x="500" y="362"/>
                    <a:pt x="500" y="362"/>
                  </a:cubicBezTo>
                  <a:cubicBezTo>
                    <a:pt x="500" y="363"/>
                    <a:pt x="501" y="362"/>
                    <a:pt x="501" y="362"/>
                  </a:cubicBezTo>
                  <a:cubicBezTo>
                    <a:pt x="501" y="361"/>
                    <a:pt x="501" y="361"/>
                    <a:pt x="501" y="360"/>
                  </a:cubicBezTo>
                  <a:cubicBezTo>
                    <a:pt x="501" y="360"/>
                    <a:pt x="501" y="359"/>
                    <a:pt x="502" y="359"/>
                  </a:cubicBezTo>
                  <a:cubicBezTo>
                    <a:pt x="502" y="360"/>
                    <a:pt x="502" y="360"/>
                    <a:pt x="502" y="361"/>
                  </a:cubicBezTo>
                  <a:cubicBezTo>
                    <a:pt x="502" y="361"/>
                    <a:pt x="502" y="361"/>
                    <a:pt x="502" y="361"/>
                  </a:cubicBezTo>
                  <a:cubicBezTo>
                    <a:pt x="503" y="362"/>
                    <a:pt x="504" y="362"/>
                    <a:pt x="504" y="361"/>
                  </a:cubicBezTo>
                  <a:cubicBezTo>
                    <a:pt x="504" y="360"/>
                    <a:pt x="504" y="360"/>
                    <a:pt x="504" y="359"/>
                  </a:cubicBezTo>
                  <a:cubicBezTo>
                    <a:pt x="503" y="359"/>
                    <a:pt x="503" y="358"/>
                    <a:pt x="503" y="357"/>
                  </a:cubicBezTo>
                  <a:cubicBezTo>
                    <a:pt x="504" y="357"/>
                    <a:pt x="504" y="356"/>
                    <a:pt x="504" y="356"/>
                  </a:cubicBezTo>
                  <a:cubicBezTo>
                    <a:pt x="505" y="357"/>
                    <a:pt x="505" y="357"/>
                    <a:pt x="505" y="358"/>
                  </a:cubicBezTo>
                  <a:cubicBezTo>
                    <a:pt x="505" y="358"/>
                    <a:pt x="506" y="358"/>
                    <a:pt x="506" y="358"/>
                  </a:cubicBezTo>
                  <a:cubicBezTo>
                    <a:pt x="506" y="358"/>
                    <a:pt x="505" y="359"/>
                    <a:pt x="505" y="359"/>
                  </a:cubicBezTo>
                  <a:cubicBezTo>
                    <a:pt x="506" y="359"/>
                    <a:pt x="507" y="359"/>
                    <a:pt x="507" y="360"/>
                  </a:cubicBezTo>
                  <a:cubicBezTo>
                    <a:pt x="507" y="360"/>
                    <a:pt x="507" y="360"/>
                    <a:pt x="507" y="360"/>
                  </a:cubicBezTo>
                  <a:cubicBezTo>
                    <a:pt x="507" y="360"/>
                    <a:pt x="508" y="359"/>
                    <a:pt x="508" y="359"/>
                  </a:cubicBezTo>
                  <a:cubicBezTo>
                    <a:pt x="508" y="359"/>
                    <a:pt x="508" y="358"/>
                    <a:pt x="508" y="358"/>
                  </a:cubicBezTo>
                  <a:cubicBezTo>
                    <a:pt x="509" y="358"/>
                    <a:pt x="509" y="358"/>
                    <a:pt x="510" y="358"/>
                  </a:cubicBezTo>
                  <a:cubicBezTo>
                    <a:pt x="510" y="357"/>
                    <a:pt x="510" y="357"/>
                    <a:pt x="509" y="357"/>
                  </a:cubicBezTo>
                  <a:cubicBezTo>
                    <a:pt x="509" y="357"/>
                    <a:pt x="509" y="357"/>
                    <a:pt x="509" y="357"/>
                  </a:cubicBezTo>
                  <a:cubicBezTo>
                    <a:pt x="509" y="357"/>
                    <a:pt x="508" y="357"/>
                    <a:pt x="508" y="357"/>
                  </a:cubicBezTo>
                  <a:cubicBezTo>
                    <a:pt x="508" y="357"/>
                    <a:pt x="508" y="358"/>
                    <a:pt x="507" y="358"/>
                  </a:cubicBezTo>
                  <a:cubicBezTo>
                    <a:pt x="507" y="358"/>
                    <a:pt x="507" y="357"/>
                    <a:pt x="507" y="357"/>
                  </a:cubicBezTo>
                  <a:cubicBezTo>
                    <a:pt x="507" y="357"/>
                    <a:pt x="507" y="356"/>
                    <a:pt x="507" y="356"/>
                  </a:cubicBezTo>
                  <a:cubicBezTo>
                    <a:pt x="507" y="356"/>
                    <a:pt x="507" y="356"/>
                    <a:pt x="507" y="355"/>
                  </a:cubicBezTo>
                  <a:cubicBezTo>
                    <a:pt x="507" y="355"/>
                    <a:pt x="508" y="355"/>
                    <a:pt x="508" y="355"/>
                  </a:cubicBezTo>
                  <a:cubicBezTo>
                    <a:pt x="508" y="355"/>
                    <a:pt x="507" y="355"/>
                    <a:pt x="507" y="355"/>
                  </a:cubicBezTo>
                  <a:cubicBezTo>
                    <a:pt x="507" y="355"/>
                    <a:pt x="507" y="355"/>
                    <a:pt x="507" y="355"/>
                  </a:cubicBezTo>
                  <a:cubicBezTo>
                    <a:pt x="506" y="355"/>
                    <a:pt x="506" y="354"/>
                    <a:pt x="506" y="354"/>
                  </a:cubicBezTo>
                  <a:cubicBezTo>
                    <a:pt x="505" y="354"/>
                    <a:pt x="505" y="354"/>
                    <a:pt x="505" y="354"/>
                  </a:cubicBezTo>
                  <a:cubicBezTo>
                    <a:pt x="505" y="355"/>
                    <a:pt x="504" y="355"/>
                    <a:pt x="504" y="355"/>
                  </a:cubicBezTo>
                  <a:cubicBezTo>
                    <a:pt x="504" y="355"/>
                    <a:pt x="504" y="354"/>
                    <a:pt x="504" y="354"/>
                  </a:cubicBezTo>
                  <a:cubicBezTo>
                    <a:pt x="505" y="354"/>
                    <a:pt x="505" y="353"/>
                    <a:pt x="504" y="353"/>
                  </a:cubicBezTo>
                  <a:cubicBezTo>
                    <a:pt x="504" y="353"/>
                    <a:pt x="504" y="353"/>
                    <a:pt x="504" y="353"/>
                  </a:cubicBezTo>
                  <a:cubicBezTo>
                    <a:pt x="504" y="353"/>
                    <a:pt x="504" y="353"/>
                    <a:pt x="504" y="353"/>
                  </a:cubicBezTo>
                  <a:cubicBezTo>
                    <a:pt x="504" y="353"/>
                    <a:pt x="505" y="353"/>
                    <a:pt x="506" y="353"/>
                  </a:cubicBezTo>
                  <a:cubicBezTo>
                    <a:pt x="506" y="353"/>
                    <a:pt x="507" y="352"/>
                    <a:pt x="507" y="352"/>
                  </a:cubicBezTo>
                  <a:cubicBezTo>
                    <a:pt x="508" y="351"/>
                    <a:pt x="508" y="351"/>
                    <a:pt x="508" y="351"/>
                  </a:cubicBezTo>
                  <a:cubicBezTo>
                    <a:pt x="508" y="350"/>
                    <a:pt x="509" y="350"/>
                    <a:pt x="509" y="350"/>
                  </a:cubicBezTo>
                  <a:cubicBezTo>
                    <a:pt x="509" y="349"/>
                    <a:pt x="510" y="349"/>
                    <a:pt x="509" y="349"/>
                  </a:cubicBezTo>
                  <a:cubicBezTo>
                    <a:pt x="509" y="348"/>
                    <a:pt x="509" y="348"/>
                    <a:pt x="509" y="348"/>
                  </a:cubicBezTo>
                  <a:cubicBezTo>
                    <a:pt x="509" y="348"/>
                    <a:pt x="509" y="348"/>
                    <a:pt x="509" y="347"/>
                  </a:cubicBezTo>
                  <a:cubicBezTo>
                    <a:pt x="509" y="347"/>
                    <a:pt x="509" y="346"/>
                    <a:pt x="509" y="346"/>
                  </a:cubicBezTo>
                  <a:cubicBezTo>
                    <a:pt x="508" y="346"/>
                    <a:pt x="508" y="346"/>
                    <a:pt x="508" y="346"/>
                  </a:cubicBezTo>
                  <a:cubicBezTo>
                    <a:pt x="508" y="346"/>
                    <a:pt x="508" y="346"/>
                    <a:pt x="508" y="345"/>
                  </a:cubicBezTo>
                  <a:cubicBezTo>
                    <a:pt x="508" y="345"/>
                    <a:pt x="508" y="345"/>
                    <a:pt x="507" y="345"/>
                  </a:cubicBezTo>
                  <a:cubicBezTo>
                    <a:pt x="507" y="345"/>
                    <a:pt x="507" y="345"/>
                    <a:pt x="507" y="346"/>
                  </a:cubicBezTo>
                  <a:cubicBezTo>
                    <a:pt x="507" y="346"/>
                    <a:pt x="507" y="346"/>
                    <a:pt x="506" y="347"/>
                  </a:cubicBezTo>
                  <a:cubicBezTo>
                    <a:pt x="506" y="347"/>
                    <a:pt x="506" y="348"/>
                    <a:pt x="505" y="348"/>
                  </a:cubicBezTo>
                  <a:cubicBezTo>
                    <a:pt x="504" y="348"/>
                    <a:pt x="504" y="347"/>
                    <a:pt x="503" y="347"/>
                  </a:cubicBezTo>
                  <a:cubicBezTo>
                    <a:pt x="503" y="347"/>
                    <a:pt x="503" y="346"/>
                    <a:pt x="502" y="347"/>
                  </a:cubicBezTo>
                  <a:cubicBezTo>
                    <a:pt x="501" y="347"/>
                    <a:pt x="501" y="347"/>
                    <a:pt x="501" y="348"/>
                  </a:cubicBezTo>
                  <a:cubicBezTo>
                    <a:pt x="500" y="348"/>
                    <a:pt x="500" y="349"/>
                    <a:pt x="499" y="349"/>
                  </a:cubicBezTo>
                  <a:cubicBezTo>
                    <a:pt x="499" y="348"/>
                    <a:pt x="499" y="348"/>
                    <a:pt x="500" y="347"/>
                  </a:cubicBezTo>
                  <a:cubicBezTo>
                    <a:pt x="501" y="347"/>
                    <a:pt x="501" y="346"/>
                    <a:pt x="502" y="346"/>
                  </a:cubicBezTo>
                  <a:cubicBezTo>
                    <a:pt x="502" y="345"/>
                    <a:pt x="503" y="345"/>
                    <a:pt x="503" y="345"/>
                  </a:cubicBezTo>
                  <a:cubicBezTo>
                    <a:pt x="503" y="346"/>
                    <a:pt x="503" y="346"/>
                    <a:pt x="504" y="346"/>
                  </a:cubicBezTo>
                  <a:cubicBezTo>
                    <a:pt x="504" y="346"/>
                    <a:pt x="504" y="346"/>
                    <a:pt x="504" y="346"/>
                  </a:cubicBezTo>
                  <a:cubicBezTo>
                    <a:pt x="504" y="346"/>
                    <a:pt x="505" y="346"/>
                    <a:pt x="505" y="345"/>
                  </a:cubicBezTo>
                  <a:cubicBezTo>
                    <a:pt x="505" y="345"/>
                    <a:pt x="505" y="345"/>
                    <a:pt x="505" y="345"/>
                  </a:cubicBezTo>
                  <a:cubicBezTo>
                    <a:pt x="506" y="345"/>
                    <a:pt x="506" y="344"/>
                    <a:pt x="506" y="344"/>
                  </a:cubicBezTo>
                  <a:cubicBezTo>
                    <a:pt x="506" y="344"/>
                    <a:pt x="506" y="344"/>
                    <a:pt x="506" y="343"/>
                  </a:cubicBezTo>
                  <a:cubicBezTo>
                    <a:pt x="506" y="343"/>
                    <a:pt x="506" y="343"/>
                    <a:pt x="505" y="343"/>
                  </a:cubicBezTo>
                  <a:cubicBezTo>
                    <a:pt x="505" y="343"/>
                    <a:pt x="506" y="342"/>
                    <a:pt x="506" y="342"/>
                  </a:cubicBezTo>
                  <a:cubicBezTo>
                    <a:pt x="506" y="342"/>
                    <a:pt x="506" y="342"/>
                    <a:pt x="507" y="343"/>
                  </a:cubicBezTo>
                  <a:cubicBezTo>
                    <a:pt x="507" y="343"/>
                    <a:pt x="507" y="343"/>
                    <a:pt x="507" y="343"/>
                  </a:cubicBezTo>
                  <a:cubicBezTo>
                    <a:pt x="507" y="343"/>
                    <a:pt x="508" y="343"/>
                    <a:pt x="508" y="343"/>
                  </a:cubicBezTo>
                  <a:cubicBezTo>
                    <a:pt x="508" y="343"/>
                    <a:pt x="508" y="343"/>
                    <a:pt x="507" y="342"/>
                  </a:cubicBezTo>
                  <a:cubicBezTo>
                    <a:pt x="507" y="342"/>
                    <a:pt x="507" y="342"/>
                    <a:pt x="507" y="341"/>
                  </a:cubicBezTo>
                  <a:cubicBezTo>
                    <a:pt x="506" y="341"/>
                    <a:pt x="505" y="341"/>
                    <a:pt x="505" y="342"/>
                  </a:cubicBezTo>
                  <a:cubicBezTo>
                    <a:pt x="505" y="342"/>
                    <a:pt x="505" y="343"/>
                    <a:pt x="505" y="343"/>
                  </a:cubicBezTo>
                  <a:cubicBezTo>
                    <a:pt x="505" y="343"/>
                    <a:pt x="504" y="344"/>
                    <a:pt x="504" y="344"/>
                  </a:cubicBezTo>
                  <a:cubicBezTo>
                    <a:pt x="504" y="344"/>
                    <a:pt x="503" y="344"/>
                    <a:pt x="503" y="344"/>
                  </a:cubicBezTo>
                  <a:cubicBezTo>
                    <a:pt x="503" y="343"/>
                    <a:pt x="503" y="343"/>
                    <a:pt x="504" y="343"/>
                  </a:cubicBezTo>
                  <a:cubicBezTo>
                    <a:pt x="504" y="342"/>
                    <a:pt x="504" y="342"/>
                    <a:pt x="504" y="342"/>
                  </a:cubicBezTo>
                  <a:cubicBezTo>
                    <a:pt x="504" y="341"/>
                    <a:pt x="504" y="340"/>
                    <a:pt x="503" y="340"/>
                  </a:cubicBezTo>
                  <a:cubicBezTo>
                    <a:pt x="503" y="340"/>
                    <a:pt x="502" y="341"/>
                    <a:pt x="502" y="341"/>
                  </a:cubicBezTo>
                  <a:cubicBezTo>
                    <a:pt x="502" y="341"/>
                    <a:pt x="501" y="342"/>
                    <a:pt x="501" y="342"/>
                  </a:cubicBezTo>
                  <a:cubicBezTo>
                    <a:pt x="501" y="342"/>
                    <a:pt x="500" y="343"/>
                    <a:pt x="500" y="342"/>
                  </a:cubicBezTo>
                  <a:cubicBezTo>
                    <a:pt x="500" y="342"/>
                    <a:pt x="500" y="342"/>
                    <a:pt x="500" y="342"/>
                  </a:cubicBezTo>
                  <a:cubicBezTo>
                    <a:pt x="500" y="341"/>
                    <a:pt x="500" y="341"/>
                    <a:pt x="500" y="341"/>
                  </a:cubicBezTo>
                  <a:cubicBezTo>
                    <a:pt x="501" y="341"/>
                    <a:pt x="501" y="341"/>
                    <a:pt x="501" y="340"/>
                  </a:cubicBezTo>
                  <a:cubicBezTo>
                    <a:pt x="502" y="340"/>
                    <a:pt x="502" y="340"/>
                    <a:pt x="502" y="339"/>
                  </a:cubicBezTo>
                  <a:cubicBezTo>
                    <a:pt x="502" y="339"/>
                    <a:pt x="502" y="339"/>
                    <a:pt x="502" y="339"/>
                  </a:cubicBezTo>
                  <a:cubicBezTo>
                    <a:pt x="502" y="339"/>
                    <a:pt x="502" y="339"/>
                    <a:pt x="503" y="339"/>
                  </a:cubicBezTo>
                  <a:cubicBezTo>
                    <a:pt x="503" y="338"/>
                    <a:pt x="503" y="338"/>
                    <a:pt x="504" y="338"/>
                  </a:cubicBezTo>
                  <a:cubicBezTo>
                    <a:pt x="504" y="338"/>
                    <a:pt x="504" y="338"/>
                    <a:pt x="505" y="338"/>
                  </a:cubicBezTo>
                  <a:cubicBezTo>
                    <a:pt x="505" y="338"/>
                    <a:pt x="505" y="338"/>
                    <a:pt x="505" y="337"/>
                  </a:cubicBezTo>
                  <a:cubicBezTo>
                    <a:pt x="505" y="337"/>
                    <a:pt x="505" y="336"/>
                    <a:pt x="505" y="335"/>
                  </a:cubicBezTo>
                  <a:cubicBezTo>
                    <a:pt x="506" y="335"/>
                    <a:pt x="506" y="335"/>
                    <a:pt x="506" y="334"/>
                  </a:cubicBezTo>
                  <a:cubicBezTo>
                    <a:pt x="506" y="334"/>
                    <a:pt x="506" y="333"/>
                    <a:pt x="506" y="333"/>
                  </a:cubicBezTo>
                  <a:cubicBezTo>
                    <a:pt x="505" y="333"/>
                    <a:pt x="505" y="333"/>
                    <a:pt x="505" y="333"/>
                  </a:cubicBezTo>
                  <a:cubicBezTo>
                    <a:pt x="504" y="334"/>
                    <a:pt x="504" y="334"/>
                    <a:pt x="504" y="334"/>
                  </a:cubicBezTo>
                  <a:cubicBezTo>
                    <a:pt x="504" y="333"/>
                    <a:pt x="505" y="332"/>
                    <a:pt x="506" y="332"/>
                  </a:cubicBezTo>
                  <a:cubicBezTo>
                    <a:pt x="506" y="332"/>
                    <a:pt x="507" y="332"/>
                    <a:pt x="507" y="332"/>
                  </a:cubicBezTo>
                  <a:cubicBezTo>
                    <a:pt x="507" y="332"/>
                    <a:pt x="507" y="333"/>
                    <a:pt x="507" y="333"/>
                  </a:cubicBezTo>
                  <a:cubicBezTo>
                    <a:pt x="508" y="333"/>
                    <a:pt x="508" y="333"/>
                    <a:pt x="508" y="332"/>
                  </a:cubicBezTo>
                  <a:cubicBezTo>
                    <a:pt x="509" y="331"/>
                    <a:pt x="510" y="329"/>
                    <a:pt x="512" y="328"/>
                  </a:cubicBezTo>
                  <a:cubicBezTo>
                    <a:pt x="512" y="327"/>
                    <a:pt x="512" y="327"/>
                    <a:pt x="513" y="327"/>
                  </a:cubicBezTo>
                  <a:cubicBezTo>
                    <a:pt x="513" y="328"/>
                    <a:pt x="513" y="328"/>
                    <a:pt x="513" y="328"/>
                  </a:cubicBezTo>
                  <a:cubicBezTo>
                    <a:pt x="511" y="329"/>
                    <a:pt x="510" y="332"/>
                    <a:pt x="509" y="334"/>
                  </a:cubicBezTo>
                  <a:cubicBezTo>
                    <a:pt x="509" y="335"/>
                    <a:pt x="509" y="336"/>
                    <a:pt x="509" y="336"/>
                  </a:cubicBezTo>
                  <a:cubicBezTo>
                    <a:pt x="508" y="337"/>
                    <a:pt x="508" y="337"/>
                    <a:pt x="508" y="337"/>
                  </a:cubicBezTo>
                  <a:cubicBezTo>
                    <a:pt x="507" y="338"/>
                    <a:pt x="507" y="338"/>
                    <a:pt x="507" y="339"/>
                  </a:cubicBezTo>
                  <a:cubicBezTo>
                    <a:pt x="507" y="339"/>
                    <a:pt x="508" y="340"/>
                    <a:pt x="508" y="339"/>
                  </a:cubicBezTo>
                  <a:cubicBezTo>
                    <a:pt x="509" y="339"/>
                    <a:pt x="510" y="338"/>
                    <a:pt x="511" y="339"/>
                  </a:cubicBezTo>
                  <a:cubicBezTo>
                    <a:pt x="511" y="339"/>
                    <a:pt x="511" y="339"/>
                    <a:pt x="511" y="339"/>
                  </a:cubicBezTo>
                  <a:cubicBezTo>
                    <a:pt x="511" y="339"/>
                    <a:pt x="511" y="338"/>
                    <a:pt x="511" y="338"/>
                  </a:cubicBezTo>
                  <a:cubicBezTo>
                    <a:pt x="511" y="338"/>
                    <a:pt x="511" y="337"/>
                    <a:pt x="512" y="337"/>
                  </a:cubicBezTo>
                  <a:cubicBezTo>
                    <a:pt x="512" y="337"/>
                    <a:pt x="513" y="336"/>
                    <a:pt x="513" y="337"/>
                  </a:cubicBezTo>
                  <a:cubicBezTo>
                    <a:pt x="513" y="337"/>
                    <a:pt x="512" y="338"/>
                    <a:pt x="513" y="338"/>
                  </a:cubicBezTo>
                  <a:cubicBezTo>
                    <a:pt x="513" y="338"/>
                    <a:pt x="513" y="338"/>
                    <a:pt x="514" y="338"/>
                  </a:cubicBezTo>
                  <a:cubicBezTo>
                    <a:pt x="514" y="338"/>
                    <a:pt x="514" y="337"/>
                    <a:pt x="514" y="337"/>
                  </a:cubicBezTo>
                  <a:cubicBezTo>
                    <a:pt x="514" y="336"/>
                    <a:pt x="515" y="335"/>
                    <a:pt x="516" y="335"/>
                  </a:cubicBezTo>
                  <a:cubicBezTo>
                    <a:pt x="516" y="335"/>
                    <a:pt x="516" y="336"/>
                    <a:pt x="516" y="336"/>
                  </a:cubicBezTo>
                  <a:cubicBezTo>
                    <a:pt x="516" y="337"/>
                    <a:pt x="517" y="337"/>
                    <a:pt x="517" y="337"/>
                  </a:cubicBezTo>
                  <a:cubicBezTo>
                    <a:pt x="518" y="336"/>
                    <a:pt x="518" y="336"/>
                    <a:pt x="518" y="336"/>
                  </a:cubicBezTo>
                  <a:cubicBezTo>
                    <a:pt x="519" y="336"/>
                    <a:pt x="519" y="336"/>
                    <a:pt x="519" y="335"/>
                  </a:cubicBezTo>
                  <a:cubicBezTo>
                    <a:pt x="520" y="335"/>
                    <a:pt x="520" y="334"/>
                    <a:pt x="520" y="334"/>
                  </a:cubicBezTo>
                  <a:cubicBezTo>
                    <a:pt x="520" y="333"/>
                    <a:pt x="521" y="332"/>
                    <a:pt x="521" y="333"/>
                  </a:cubicBezTo>
                  <a:cubicBezTo>
                    <a:pt x="522" y="333"/>
                    <a:pt x="522" y="333"/>
                    <a:pt x="522" y="334"/>
                  </a:cubicBezTo>
                  <a:cubicBezTo>
                    <a:pt x="522" y="334"/>
                    <a:pt x="522" y="335"/>
                    <a:pt x="521" y="335"/>
                  </a:cubicBezTo>
                  <a:cubicBezTo>
                    <a:pt x="522" y="335"/>
                    <a:pt x="522" y="336"/>
                    <a:pt x="523" y="335"/>
                  </a:cubicBezTo>
                  <a:cubicBezTo>
                    <a:pt x="523" y="335"/>
                    <a:pt x="524" y="335"/>
                    <a:pt x="524" y="334"/>
                  </a:cubicBezTo>
                  <a:cubicBezTo>
                    <a:pt x="524" y="333"/>
                    <a:pt x="525" y="332"/>
                    <a:pt x="526" y="332"/>
                  </a:cubicBezTo>
                  <a:cubicBezTo>
                    <a:pt x="526" y="331"/>
                    <a:pt x="527" y="331"/>
                    <a:pt x="527" y="331"/>
                  </a:cubicBezTo>
                  <a:cubicBezTo>
                    <a:pt x="528" y="330"/>
                    <a:pt x="528" y="331"/>
                    <a:pt x="529" y="331"/>
                  </a:cubicBezTo>
                  <a:cubicBezTo>
                    <a:pt x="531" y="331"/>
                    <a:pt x="534" y="332"/>
                    <a:pt x="536" y="333"/>
                  </a:cubicBezTo>
                  <a:cubicBezTo>
                    <a:pt x="535" y="333"/>
                    <a:pt x="534" y="333"/>
                    <a:pt x="533" y="332"/>
                  </a:cubicBezTo>
                  <a:cubicBezTo>
                    <a:pt x="531" y="332"/>
                    <a:pt x="529" y="331"/>
                    <a:pt x="528" y="332"/>
                  </a:cubicBezTo>
                  <a:cubicBezTo>
                    <a:pt x="527" y="332"/>
                    <a:pt x="527" y="332"/>
                    <a:pt x="527" y="332"/>
                  </a:cubicBezTo>
                  <a:cubicBezTo>
                    <a:pt x="527" y="332"/>
                    <a:pt x="527" y="332"/>
                    <a:pt x="527" y="333"/>
                  </a:cubicBezTo>
                  <a:cubicBezTo>
                    <a:pt x="527" y="333"/>
                    <a:pt x="526" y="334"/>
                    <a:pt x="526" y="335"/>
                  </a:cubicBezTo>
                  <a:cubicBezTo>
                    <a:pt x="526" y="335"/>
                    <a:pt x="526" y="335"/>
                    <a:pt x="526" y="335"/>
                  </a:cubicBezTo>
                  <a:cubicBezTo>
                    <a:pt x="526" y="336"/>
                    <a:pt x="526" y="336"/>
                    <a:pt x="526" y="336"/>
                  </a:cubicBezTo>
                  <a:cubicBezTo>
                    <a:pt x="525" y="336"/>
                    <a:pt x="525" y="337"/>
                    <a:pt x="526" y="337"/>
                  </a:cubicBezTo>
                  <a:cubicBezTo>
                    <a:pt x="526" y="338"/>
                    <a:pt x="526" y="338"/>
                    <a:pt x="526" y="338"/>
                  </a:cubicBezTo>
                  <a:cubicBezTo>
                    <a:pt x="527" y="338"/>
                    <a:pt x="527" y="338"/>
                    <a:pt x="527" y="338"/>
                  </a:cubicBezTo>
                  <a:cubicBezTo>
                    <a:pt x="527" y="339"/>
                    <a:pt x="528" y="339"/>
                    <a:pt x="528" y="339"/>
                  </a:cubicBezTo>
                  <a:cubicBezTo>
                    <a:pt x="529" y="339"/>
                    <a:pt x="529" y="339"/>
                    <a:pt x="530" y="338"/>
                  </a:cubicBezTo>
                  <a:cubicBezTo>
                    <a:pt x="531" y="338"/>
                    <a:pt x="531" y="337"/>
                    <a:pt x="532" y="337"/>
                  </a:cubicBezTo>
                  <a:cubicBezTo>
                    <a:pt x="531" y="339"/>
                    <a:pt x="529" y="340"/>
                    <a:pt x="528" y="341"/>
                  </a:cubicBezTo>
                  <a:cubicBezTo>
                    <a:pt x="527" y="341"/>
                    <a:pt x="527" y="341"/>
                    <a:pt x="526" y="341"/>
                  </a:cubicBezTo>
                  <a:cubicBezTo>
                    <a:pt x="526" y="341"/>
                    <a:pt x="526" y="342"/>
                    <a:pt x="526" y="342"/>
                  </a:cubicBezTo>
                  <a:cubicBezTo>
                    <a:pt x="527" y="343"/>
                    <a:pt x="528" y="342"/>
                    <a:pt x="529" y="342"/>
                  </a:cubicBezTo>
                  <a:cubicBezTo>
                    <a:pt x="529" y="342"/>
                    <a:pt x="529" y="342"/>
                    <a:pt x="530" y="341"/>
                  </a:cubicBezTo>
                  <a:cubicBezTo>
                    <a:pt x="530" y="341"/>
                    <a:pt x="531" y="341"/>
                    <a:pt x="531" y="341"/>
                  </a:cubicBezTo>
                  <a:cubicBezTo>
                    <a:pt x="532" y="341"/>
                    <a:pt x="533" y="341"/>
                    <a:pt x="534" y="341"/>
                  </a:cubicBezTo>
                  <a:cubicBezTo>
                    <a:pt x="533" y="341"/>
                    <a:pt x="533" y="342"/>
                    <a:pt x="532" y="342"/>
                  </a:cubicBezTo>
                  <a:cubicBezTo>
                    <a:pt x="532" y="343"/>
                    <a:pt x="532" y="343"/>
                    <a:pt x="532" y="343"/>
                  </a:cubicBezTo>
                  <a:cubicBezTo>
                    <a:pt x="531" y="344"/>
                    <a:pt x="532" y="344"/>
                    <a:pt x="532" y="344"/>
                  </a:cubicBezTo>
                  <a:cubicBezTo>
                    <a:pt x="532" y="344"/>
                    <a:pt x="533" y="344"/>
                    <a:pt x="533" y="343"/>
                  </a:cubicBezTo>
                  <a:cubicBezTo>
                    <a:pt x="533" y="343"/>
                    <a:pt x="534" y="343"/>
                    <a:pt x="534" y="343"/>
                  </a:cubicBezTo>
                  <a:cubicBezTo>
                    <a:pt x="534" y="343"/>
                    <a:pt x="534" y="343"/>
                    <a:pt x="534" y="344"/>
                  </a:cubicBezTo>
                  <a:cubicBezTo>
                    <a:pt x="535" y="343"/>
                    <a:pt x="536" y="343"/>
                    <a:pt x="536" y="344"/>
                  </a:cubicBezTo>
                  <a:cubicBezTo>
                    <a:pt x="536" y="344"/>
                    <a:pt x="537" y="344"/>
                    <a:pt x="537" y="344"/>
                  </a:cubicBezTo>
                  <a:cubicBezTo>
                    <a:pt x="537" y="344"/>
                    <a:pt x="538" y="344"/>
                    <a:pt x="538" y="343"/>
                  </a:cubicBezTo>
                  <a:cubicBezTo>
                    <a:pt x="539" y="342"/>
                    <a:pt x="540" y="341"/>
                    <a:pt x="541" y="340"/>
                  </a:cubicBezTo>
                  <a:cubicBezTo>
                    <a:pt x="541" y="340"/>
                    <a:pt x="541" y="340"/>
                    <a:pt x="541" y="340"/>
                  </a:cubicBezTo>
                  <a:cubicBezTo>
                    <a:pt x="542" y="340"/>
                    <a:pt x="542" y="340"/>
                    <a:pt x="542" y="341"/>
                  </a:cubicBezTo>
                  <a:cubicBezTo>
                    <a:pt x="542" y="341"/>
                    <a:pt x="542" y="341"/>
                    <a:pt x="542" y="341"/>
                  </a:cubicBezTo>
                  <a:cubicBezTo>
                    <a:pt x="541" y="341"/>
                    <a:pt x="541" y="342"/>
                    <a:pt x="541" y="342"/>
                  </a:cubicBezTo>
                  <a:cubicBezTo>
                    <a:pt x="539" y="344"/>
                    <a:pt x="538" y="346"/>
                    <a:pt x="537" y="347"/>
                  </a:cubicBezTo>
                  <a:cubicBezTo>
                    <a:pt x="536" y="347"/>
                    <a:pt x="536" y="347"/>
                    <a:pt x="536" y="348"/>
                  </a:cubicBezTo>
                  <a:cubicBezTo>
                    <a:pt x="536" y="348"/>
                    <a:pt x="536" y="348"/>
                    <a:pt x="536" y="348"/>
                  </a:cubicBezTo>
                  <a:cubicBezTo>
                    <a:pt x="536" y="349"/>
                    <a:pt x="537" y="348"/>
                    <a:pt x="537" y="348"/>
                  </a:cubicBezTo>
                  <a:cubicBezTo>
                    <a:pt x="539" y="347"/>
                    <a:pt x="541" y="350"/>
                    <a:pt x="543" y="349"/>
                  </a:cubicBezTo>
                  <a:cubicBezTo>
                    <a:pt x="543" y="350"/>
                    <a:pt x="543" y="350"/>
                    <a:pt x="542" y="350"/>
                  </a:cubicBezTo>
                  <a:cubicBezTo>
                    <a:pt x="542" y="350"/>
                    <a:pt x="541" y="350"/>
                    <a:pt x="541" y="350"/>
                  </a:cubicBezTo>
                  <a:cubicBezTo>
                    <a:pt x="542" y="350"/>
                    <a:pt x="542" y="351"/>
                    <a:pt x="543" y="351"/>
                  </a:cubicBezTo>
                  <a:cubicBezTo>
                    <a:pt x="543" y="351"/>
                    <a:pt x="544" y="352"/>
                    <a:pt x="544" y="352"/>
                  </a:cubicBezTo>
                  <a:cubicBezTo>
                    <a:pt x="545" y="352"/>
                    <a:pt x="545" y="351"/>
                    <a:pt x="545" y="351"/>
                  </a:cubicBezTo>
                  <a:cubicBezTo>
                    <a:pt x="544" y="351"/>
                    <a:pt x="544" y="351"/>
                    <a:pt x="544" y="350"/>
                  </a:cubicBezTo>
                  <a:cubicBezTo>
                    <a:pt x="544" y="350"/>
                    <a:pt x="545" y="350"/>
                    <a:pt x="545" y="350"/>
                  </a:cubicBezTo>
                  <a:cubicBezTo>
                    <a:pt x="545" y="350"/>
                    <a:pt x="546" y="349"/>
                    <a:pt x="546" y="348"/>
                  </a:cubicBezTo>
                  <a:cubicBezTo>
                    <a:pt x="547" y="347"/>
                    <a:pt x="547" y="346"/>
                    <a:pt x="548" y="346"/>
                  </a:cubicBezTo>
                  <a:cubicBezTo>
                    <a:pt x="548" y="345"/>
                    <a:pt x="549" y="345"/>
                    <a:pt x="549" y="344"/>
                  </a:cubicBezTo>
                  <a:cubicBezTo>
                    <a:pt x="550" y="344"/>
                    <a:pt x="550" y="344"/>
                    <a:pt x="550" y="345"/>
                  </a:cubicBezTo>
                  <a:cubicBezTo>
                    <a:pt x="550" y="345"/>
                    <a:pt x="550" y="346"/>
                    <a:pt x="550" y="346"/>
                  </a:cubicBezTo>
                  <a:cubicBezTo>
                    <a:pt x="550" y="347"/>
                    <a:pt x="550" y="348"/>
                    <a:pt x="550" y="349"/>
                  </a:cubicBezTo>
                  <a:cubicBezTo>
                    <a:pt x="550" y="349"/>
                    <a:pt x="549" y="350"/>
                    <a:pt x="549" y="350"/>
                  </a:cubicBezTo>
                  <a:cubicBezTo>
                    <a:pt x="548" y="351"/>
                    <a:pt x="548" y="352"/>
                    <a:pt x="549" y="352"/>
                  </a:cubicBezTo>
                  <a:cubicBezTo>
                    <a:pt x="549" y="353"/>
                    <a:pt x="550" y="353"/>
                    <a:pt x="551" y="353"/>
                  </a:cubicBezTo>
                  <a:cubicBezTo>
                    <a:pt x="551" y="353"/>
                    <a:pt x="551" y="354"/>
                    <a:pt x="551" y="355"/>
                  </a:cubicBezTo>
                  <a:cubicBezTo>
                    <a:pt x="551" y="355"/>
                    <a:pt x="552" y="355"/>
                    <a:pt x="552" y="355"/>
                  </a:cubicBezTo>
                  <a:cubicBezTo>
                    <a:pt x="553" y="355"/>
                    <a:pt x="554" y="356"/>
                    <a:pt x="554" y="356"/>
                  </a:cubicBezTo>
                  <a:cubicBezTo>
                    <a:pt x="555" y="356"/>
                    <a:pt x="556" y="355"/>
                    <a:pt x="557" y="355"/>
                  </a:cubicBezTo>
                  <a:cubicBezTo>
                    <a:pt x="558" y="355"/>
                    <a:pt x="557" y="356"/>
                    <a:pt x="557" y="356"/>
                  </a:cubicBezTo>
                  <a:cubicBezTo>
                    <a:pt x="557" y="357"/>
                    <a:pt x="557" y="357"/>
                    <a:pt x="557" y="357"/>
                  </a:cubicBezTo>
                  <a:cubicBezTo>
                    <a:pt x="558" y="357"/>
                    <a:pt x="558" y="357"/>
                    <a:pt x="559" y="358"/>
                  </a:cubicBezTo>
                  <a:cubicBezTo>
                    <a:pt x="559" y="358"/>
                    <a:pt x="560" y="359"/>
                    <a:pt x="560" y="359"/>
                  </a:cubicBezTo>
                  <a:cubicBezTo>
                    <a:pt x="560" y="360"/>
                    <a:pt x="561" y="361"/>
                    <a:pt x="562" y="361"/>
                  </a:cubicBezTo>
                  <a:cubicBezTo>
                    <a:pt x="562" y="361"/>
                    <a:pt x="563" y="361"/>
                    <a:pt x="563" y="360"/>
                  </a:cubicBezTo>
                  <a:cubicBezTo>
                    <a:pt x="565" y="359"/>
                    <a:pt x="568" y="358"/>
                    <a:pt x="571" y="358"/>
                  </a:cubicBezTo>
                  <a:cubicBezTo>
                    <a:pt x="575" y="358"/>
                    <a:pt x="579" y="358"/>
                    <a:pt x="582" y="359"/>
                  </a:cubicBezTo>
                  <a:cubicBezTo>
                    <a:pt x="583" y="359"/>
                    <a:pt x="584" y="359"/>
                    <a:pt x="584" y="360"/>
                  </a:cubicBezTo>
                  <a:cubicBezTo>
                    <a:pt x="585" y="360"/>
                    <a:pt x="586" y="360"/>
                    <a:pt x="586" y="360"/>
                  </a:cubicBezTo>
                  <a:cubicBezTo>
                    <a:pt x="587" y="360"/>
                    <a:pt x="588" y="361"/>
                    <a:pt x="589" y="361"/>
                  </a:cubicBezTo>
                  <a:cubicBezTo>
                    <a:pt x="590" y="361"/>
                    <a:pt x="592" y="361"/>
                    <a:pt x="593" y="361"/>
                  </a:cubicBezTo>
                  <a:cubicBezTo>
                    <a:pt x="594" y="360"/>
                    <a:pt x="594" y="359"/>
                    <a:pt x="594" y="359"/>
                  </a:cubicBezTo>
                  <a:cubicBezTo>
                    <a:pt x="593" y="359"/>
                    <a:pt x="593" y="358"/>
                    <a:pt x="593" y="358"/>
                  </a:cubicBezTo>
                  <a:cubicBezTo>
                    <a:pt x="592" y="358"/>
                    <a:pt x="592" y="357"/>
                    <a:pt x="592" y="357"/>
                  </a:cubicBezTo>
                  <a:cubicBezTo>
                    <a:pt x="592" y="356"/>
                    <a:pt x="593" y="356"/>
                    <a:pt x="593" y="356"/>
                  </a:cubicBezTo>
                  <a:cubicBezTo>
                    <a:pt x="594" y="356"/>
                    <a:pt x="594" y="356"/>
                    <a:pt x="594" y="356"/>
                  </a:cubicBezTo>
                  <a:cubicBezTo>
                    <a:pt x="594" y="357"/>
                    <a:pt x="594" y="357"/>
                    <a:pt x="595" y="358"/>
                  </a:cubicBezTo>
                  <a:cubicBezTo>
                    <a:pt x="596" y="357"/>
                    <a:pt x="596" y="356"/>
                    <a:pt x="597" y="357"/>
                  </a:cubicBezTo>
                  <a:cubicBezTo>
                    <a:pt x="597" y="358"/>
                    <a:pt x="596" y="358"/>
                    <a:pt x="595" y="358"/>
                  </a:cubicBezTo>
                  <a:cubicBezTo>
                    <a:pt x="595" y="358"/>
                    <a:pt x="595" y="359"/>
                    <a:pt x="595" y="359"/>
                  </a:cubicBezTo>
                  <a:cubicBezTo>
                    <a:pt x="595" y="359"/>
                    <a:pt x="595" y="359"/>
                    <a:pt x="595" y="359"/>
                  </a:cubicBezTo>
                  <a:cubicBezTo>
                    <a:pt x="596" y="359"/>
                    <a:pt x="596" y="360"/>
                    <a:pt x="596" y="360"/>
                  </a:cubicBezTo>
                  <a:cubicBezTo>
                    <a:pt x="596" y="360"/>
                    <a:pt x="596" y="361"/>
                    <a:pt x="596" y="361"/>
                  </a:cubicBezTo>
                  <a:cubicBezTo>
                    <a:pt x="596" y="361"/>
                    <a:pt x="595" y="362"/>
                    <a:pt x="595" y="362"/>
                  </a:cubicBezTo>
                  <a:cubicBezTo>
                    <a:pt x="594" y="362"/>
                    <a:pt x="594" y="362"/>
                    <a:pt x="594" y="362"/>
                  </a:cubicBezTo>
                  <a:cubicBezTo>
                    <a:pt x="593" y="363"/>
                    <a:pt x="594" y="363"/>
                    <a:pt x="594" y="363"/>
                  </a:cubicBezTo>
                  <a:cubicBezTo>
                    <a:pt x="594" y="364"/>
                    <a:pt x="595" y="364"/>
                    <a:pt x="595" y="364"/>
                  </a:cubicBezTo>
                  <a:cubicBezTo>
                    <a:pt x="596" y="364"/>
                    <a:pt x="597" y="365"/>
                    <a:pt x="597" y="365"/>
                  </a:cubicBezTo>
                  <a:cubicBezTo>
                    <a:pt x="598" y="365"/>
                    <a:pt x="598" y="366"/>
                    <a:pt x="599" y="366"/>
                  </a:cubicBezTo>
                  <a:cubicBezTo>
                    <a:pt x="600" y="367"/>
                    <a:pt x="601" y="367"/>
                    <a:pt x="602" y="367"/>
                  </a:cubicBezTo>
                  <a:cubicBezTo>
                    <a:pt x="604" y="368"/>
                    <a:pt x="606" y="368"/>
                    <a:pt x="608" y="368"/>
                  </a:cubicBezTo>
                  <a:cubicBezTo>
                    <a:pt x="608" y="368"/>
                    <a:pt x="609" y="368"/>
                    <a:pt x="609" y="367"/>
                  </a:cubicBezTo>
                  <a:cubicBezTo>
                    <a:pt x="610" y="367"/>
                    <a:pt x="611" y="366"/>
                    <a:pt x="612" y="366"/>
                  </a:cubicBezTo>
                  <a:cubicBezTo>
                    <a:pt x="612" y="366"/>
                    <a:pt x="612" y="366"/>
                    <a:pt x="613" y="365"/>
                  </a:cubicBezTo>
                  <a:cubicBezTo>
                    <a:pt x="613" y="365"/>
                    <a:pt x="613" y="365"/>
                    <a:pt x="613" y="365"/>
                  </a:cubicBezTo>
                  <a:cubicBezTo>
                    <a:pt x="613" y="365"/>
                    <a:pt x="612" y="365"/>
                    <a:pt x="612" y="364"/>
                  </a:cubicBezTo>
                  <a:cubicBezTo>
                    <a:pt x="612" y="364"/>
                    <a:pt x="612" y="363"/>
                    <a:pt x="613" y="363"/>
                  </a:cubicBezTo>
                  <a:cubicBezTo>
                    <a:pt x="613" y="363"/>
                    <a:pt x="613" y="363"/>
                    <a:pt x="614" y="363"/>
                  </a:cubicBezTo>
                  <a:cubicBezTo>
                    <a:pt x="615" y="363"/>
                    <a:pt x="616" y="362"/>
                    <a:pt x="616" y="361"/>
                  </a:cubicBezTo>
                  <a:cubicBezTo>
                    <a:pt x="617" y="361"/>
                    <a:pt x="617" y="360"/>
                    <a:pt x="617" y="360"/>
                  </a:cubicBezTo>
                  <a:cubicBezTo>
                    <a:pt x="618" y="360"/>
                    <a:pt x="619" y="360"/>
                    <a:pt x="619" y="360"/>
                  </a:cubicBezTo>
                  <a:cubicBezTo>
                    <a:pt x="620" y="361"/>
                    <a:pt x="620" y="361"/>
                    <a:pt x="621" y="362"/>
                  </a:cubicBezTo>
                  <a:cubicBezTo>
                    <a:pt x="621" y="362"/>
                    <a:pt x="621" y="363"/>
                    <a:pt x="622" y="363"/>
                  </a:cubicBezTo>
                  <a:cubicBezTo>
                    <a:pt x="622" y="364"/>
                    <a:pt x="622" y="364"/>
                    <a:pt x="623" y="364"/>
                  </a:cubicBezTo>
                  <a:cubicBezTo>
                    <a:pt x="623" y="364"/>
                    <a:pt x="623" y="364"/>
                    <a:pt x="623" y="364"/>
                  </a:cubicBezTo>
                  <a:cubicBezTo>
                    <a:pt x="623" y="365"/>
                    <a:pt x="623" y="365"/>
                    <a:pt x="623" y="365"/>
                  </a:cubicBezTo>
                  <a:cubicBezTo>
                    <a:pt x="622" y="365"/>
                    <a:pt x="622" y="365"/>
                    <a:pt x="621" y="365"/>
                  </a:cubicBezTo>
                  <a:cubicBezTo>
                    <a:pt x="621" y="366"/>
                    <a:pt x="621" y="367"/>
                    <a:pt x="621" y="368"/>
                  </a:cubicBezTo>
                  <a:cubicBezTo>
                    <a:pt x="621" y="369"/>
                    <a:pt x="621" y="369"/>
                    <a:pt x="621" y="369"/>
                  </a:cubicBezTo>
                  <a:cubicBezTo>
                    <a:pt x="621" y="370"/>
                    <a:pt x="621" y="370"/>
                    <a:pt x="621" y="371"/>
                  </a:cubicBezTo>
                  <a:cubicBezTo>
                    <a:pt x="621" y="371"/>
                    <a:pt x="620" y="371"/>
                    <a:pt x="620" y="370"/>
                  </a:cubicBezTo>
                  <a:cubicBezTo>
                    <a:pt x="621" y="370"/>
                    <a:pt x="621" y="370"/>
                    <a:pt x="620" y="369"/>
                  </a:cubicBezTo>
                  <a:cubicBezTo>
                    <a:pt x="620" y="368"/>
                    <a:pt x="620" y="368"/>
                    <a:pt x="620" y="367"/>
                  </a:cubicBezTo>
                  <a:cubicBezTo>
                    <a:pt x="620" y="367"/>
                    <a:pt x="620" y="367"/>
                    <a:pt x="619" y="367"/>
                  </a:cubicBezTo>
                  <a:cubicBezTo>
                    <a:pt x="619" y="366"/>
                    <a:pt x="620" y="366"/>
                    <a:pt x="620" y="365"/>
                  </a:cubicBezTo>
                  <a:cubicBezTo>
                    <a:pt x="620" y="364"/>
                    <a:pt x="620" y="364"/>
                    <a:pt x="620" y="363"/>
                  </a:cubicBezTo>
                  <a:cubicBezTo>
                    <a:pt x="619" y="362"/>
                    <a:pt x="619" y="362"/>
                    <a:pt x="618" y="361"/>
                  </a:cubicBezTo>
                  <a:cubicBezTo>
                    <a:pt x="618" y="362"/>
                    <a:pt x="617" y="362"/>
                    <a:pt x="617" y="363"/>
                  </a:cubicBezTo>
                  <a:cubicBezTo>
                    <a:pt x="616" y="363"/>
                    <a:pt x="616" y="364"/>
                    <a:pt x="616" y="364"/>
                  </a:cubicBezTo>
                  <a:cubicBezTo>
                    <a:pt x="616" y="364"/>
                    <a:pt x="617" y="365"/>
                    <a:pt x="617" y="365"/>
                  </a:cubicBezTo>
                  <a:cubicBezTo>
                    <a:pt x="617" y="365"/>
                    <a:pt x="618" y="366"/>
                    <a:pt x="617" y="367"/>
                  </a:cubicBezTo>
                  <a:cubicBezTo>
                    <a:pt x="617" y="367"/>
                    <a:pt x="617" y="367"/>
                    <a:pt x="617" y="368"/>
                  </a:cubicBezTo>
                  <a:cubicBezTo>
                    <a:pt x="617" y="368"/>
                    <a:pt x="618" y="368"/>
                    <a:pt x="618" y="368"/>
                  </a:cubicBezTo>
                  <a:cubicBezTo>
                    <a:pt x="618" y="369"/>
                    <a:pt x="618" y="369"/>
                    <a:pt x="617" y="369"/>
                  </a:cubicBezTo>
                  <a:cubicBezTo>
                    <a:pt x="617" y="369"/>
                    <a:pt x="617" y="370"/>
                    <a:pt x="617" y="370"/>
                  </a:cubicBezTo>
                  <a:cubicBezTo>
                    <a:pt x="616" y="371"/>
                    <a:pt x="616" y="370"/>
                    <a:pt x="616" y="370"/>
                  </a:cubicBezTo>
                  <a:cubicBezTo>
                    <a:pt x="616" y="371"/>
                    <a:pt x="615" y="371"/>
                    <a:pt x="615" y="371"/>
                  </a:cubicBezTo>
                  <a:cubicBezTo>
                    <a:pt x="615" y="372"/>
                    <a:pt x="614" y="372"/>
                    <a:pt x="614" y="372"/>
                  </a:cubicBezTo>
                  <a:cubicBezTo>
                    <a:pt x="615" y="373"/>
                    <a:pt x="617" y="374"/>
                    <a:pt x="618" y="375"/>
                  </a:cubicBezTo>
                  <a:cubicBezTo>
                    <a:pt x="619" y="375"/>
                    <a:pt x="619" y="375"/>
                    <a:pt x="619" y="376"/>
                  </a:cubicBezTo>
                  <a:cubicBezTo>
                    <a:pt x="620" y="376"/>
                    <a:pt x="620" y="376"/>
                    <a:pt x="620" y="376"/>
                  </a:cubicBezTo>
                  <a:cubicBezTo>
                    <a:pt x="620" y="376"/>
                    <a:pt x="620" y="376"/>
                    <a:pt x="620" y="376"/>
                  </a:cubicBezTo>
                  <a:cubicBezTo>
                    <a:pt x="622" y="376"/>
                    <a:pt x="623" y="375"/>
                    <a:pt x="625" y="374"/>
                  </a:cubicBezTo>
                  <a:cubicBezTo>
                    <a:pt x="625" y="374"/>
                    <a:pt x="626" y="373"/>
                    <a:pt x="626" y="374"/>
                  </a:cubicBezTo>
                  <a:cubicBezTo>
                    <a:pt x="626" y="374"/>
                    <a:pt x="625" y="375"/>
                    <a:pt x="625" y="375"/>
                  </a:cubicBezTo>
                  <a:cubicBezTo>
                    <a:pt x="625" y="375"/>
                    <a:pt x="624" y="375"/>
                    <a:pt x="624" y="375"/>
                  </a:cubicBezTo>
                  <a:cubicBezTo>
                    <a:pt x="623" y="376"/>
                    <a:pt x="622" y="376"/>
                    <a:pt x="622" y="377"/>
                  </a:cubicBezTo>
                  <a:cubicBezTo>
                    <a:pt x="622" y="377"/>
                    <a:pt x="622" y="377"/>
                    <a:pt x="622" y="377"/>
                  </a:cubicBezTo>
                  <a:cubicBezTo>
                    <a:pt x="622" y="377"/>
                    <a:pt x="622" y="377"/>
                    <a:pt x="622" y="377"/>
                  </a:cubicBezTo>
                  <a:cubicBezTo>
                    <a:pt x="624" y="378"/>
                    <a:pt x="626" y="379"/>
                    <a:pt x="627" y="381"/>
                  </a:cubicBezTo>
                  <a:cubicBezTo>
                    <a:pt x="627" y="381"/>
                    <a:pt x="628" y="382"/>
                    <a:pt x="628" y="382"/>
                  </a:cubicBezTo>
                  <a:cubicBezTo>
                    <a:pt x="628" y="382"/>
                    <a:pt x="629" y="382"/>
                    <a:pt x="629" y="381"/>
                  </a:cubicBezTo>
                  <a:cubicBezTo>
                    <a:pt x="630" y="381"/>
                    <a:pt x="630" y="381"/>
                    <a:pt x="631" y="381"/>
                  </a:cubicBezTo>
                  <a:cubicBezTo>
                    <a:pt x="631" y="381"/>
                    <a:pt x="632" y="381"/>
                    <a:pt x="632" y="381"/>
                  </a:cubicBezTo>
                  <a:cubicBezTo>
                    <a:pt x="631" y="381"/>
                    <a:pt x="631" y="382"/>
                    <a:pt x="630" y="382"/>
                  </a:cubicBezTo>
                  <a:cubicBezTo>
                    <a:pt x="630" y="382"/>
                    <a:pt x="630" y="382"/>
                    <a:pt x="630" y="382"/>
                  </a:cubicBezTo>
                  <a:cubicBezTo>
                    <a:pt x="630" y="382"/>
                    <a:pt x="630" y="383"/>
                    <a:pt x="630" y="383"/>
                  </a:cubicBezTo>
                  <a:cubicBezTo>
                    <a:pt x="631" y="384"/>
                    <a:pt x="634" y="384"/>
                    <a:pt x="635" y="385"/>
                  </a:cubicBezTo>
                  <a:cubicBezTo>
                    <a:pt x="636" y="386"/>
                    <a:pt x="636" y="387"/>
                    <a:pt x="637" y="388"/>
                  </a:cubicBezTo>
                  <a:cubicBezTo>
                    <a:pt x="637" y="388"/>
                    <a:pt x="638" y="388"/>
                    <a:pt x="638" y="388"/>
                  </a:cubicBezTo>
                  <a:cubicBezTo>
                    <a:pt x="639" y="389"/>
                    <a:pt x="638" y="390"/>
                    <a:pt x="639" y="391"/>
                  </a:cubicBezTo>
                  <a:cubicBezTo>
                    <a:pt x="639" y="392"/>
                    <a:pt x="639" y="392"/>
                    <a:pt x="640" y="392"/>
                  </a:cubicBezTo>
                  <a:cubicBezTo>
                    <a:pt x="640" y="393"/>
                    <a:pt x="640" y="393"/>
                    <a:pt x="641" y="394"/>
                  </a:cubicBezTo>
                  <a:cubicBezTo>
                    <a:pt x="641" y="394"/>
                    <a:pt x="642" y="394"/>
                    <a:pt x="642" y="394"/>
                  </a:cubicBezTo>
                  <a:cubicBezTo>
                    <a:pt x="643" y="394"/>
                    <a:pt x="643" y="394"/>
                    <a:pt x="643" y="395"/>
                  </a:cubicBezTo>
                  <a:cubicBezTo>
                    <a:pt x="643" y="395"/>
                    <a:pt x="643" y="396"/>
                    <a:pt x="644" y="397"/>
                  </a:cubicBezTo>
                  <a:cubicBezTo>
                    <a:pt x="646" y="398"/>
                    <a:pt x="648" y="400"/>
                    <a:pt x="650" y="401"/>
                  </a:cubicBezTo>
                  <a:cubicBezTo>
                    <a:pt x="651" y="401"/>
                    <a:pt x="651" y="401"/>
                    <a:pt x="651" y="401"/>
                  </a:cubicBezTo>
                  <a:cubicBezTo>
                    <a:pt x="652" y="401"/>
                    <a:pt x="652" y="402"/>
                    <a:pt x="652" y="402"/>
                  </a:cubicBezTo>
                  <a:cubicBezTo>
                    <a:pt x="652" y="402"/>
                    <a:pt x="652" y="402"/>
                    <a:pt x="653" y="402"/>
                  </a:cubicBezTo>
                  <a:cubicBezTo>
                    <a:pt x="653" y="402"/>
                    <a:pt x="653" y="403"/>
                    <a:pt x="653" y="403"/>
                  </a:cubicBezTo>
                  <a:cubicBezTo>
                    <a:pt x="653" y="403"/>
                    <a:pt x="653" y="404"/>
                    <a:pt x="654" y="404"/>
                  </a:cubicBezTo>
                  <a:cubicBezTo>
                    <a:pt x="654" y="404"/>
                    <a:pt x="655" y="405"/>
                    <a:pt x="655" y="405"/>
                  </a:cubicBezTo>
                  <a:cubicBezTo>
                    <a:pt x="656" y="405"/>
                    <a:pt x="656" y="405"/>
                    <a:pt x="656" y="405"/>
                  </a:cubicBezTo>
                  <a:cubicBezTo>
                    <a:pt x="656" y="404"/>
                    <a:pt x="656" y="404"/>
                    <a:pt x="656" y="403"/>
                  </a:cubicBezTo>
                  <a:cubicBezTo>
                    <a:pt x="656" y="403"/>
                    <a:pt x="656" y="402"/>
                    <a:pt x="656" y="402"/>
                  </a:cubicBezTo>
                  <a:cubicBezTo>
                    <a:pt x="657" y="402"/>
                    <a:pt x="657" y="403"/>
                    <a:pt x="658" y="403"/>
                  </a:cubicBezTo>
                  <a:cubicBezTo>
                    <a:pt x="658" y="402"/>
                    <a:pt x="657" y="402"/>
                    <a:pt x="657" y="402"/>
                  </a:cubicBezTo>
                  <a:cubicBezTo>
                    <a:pt x="657" y="402"/>
                    <a:pt x="657" y="402"/>
                    <a:pt x="657" y="401"/>
                  </a:cubicBezTo>
                  <a:cubicBezTo>
                    <a:pt x="657" y="401"/>
                    <a:pt x="657" y="401"/>
                    <a:pt x="657" y="401"/>
                  </a:cubicBezTo>
                  <a:cubicBezTo>
                    <a:pt x="657" y="402"/>
                    <a:pt x="659" y="402"/>
                    <a:pt x="659" y="401"/>
                  </a:cubicBezTo>
                  <a:cubicBezTo>
                    <a:pt x="659" y="401"/>
                    <a:pt x="660" y="402"/>
                    <a:pt x="660" y="402"/>
                  </a:cubicBezTo>
                  <a:cubicBezTo>
                    <a:pt x="660" y="402"/>
                    <a:pt x="661" y="402"/>
                    <a:pt x="661" y="402"/>
                  </a:cubicBezTo>
                  <a:cubicBezTo>
                    <a:pt x="662" y="402"/>
                    <a:pt x="662" y="402"/>
                    <a:pt x="662" y="402"/>
                  </a:cubicBezTo>
                  <a:cubicBezTo>
                    <a:pt x="662" y="401"/>
                    <a:pt x="662" y="401"/>
                    <a:pt x="662" y="401"/>
                  </a:cubicBezTo>
                  <a:cubicBezTo>
                    <a:pt x="662" y="400"/>
                    <a:pt x="662" y="400"/>
                    <a:pt x="662" y="399"/>
                  </a:cubicBezTo>
                  <a:cubicBezTo>
                    <a:pt x="662" y="399"/>
                    <a:pt x="662" y="398"/>
                    <a:pt x="662" y="398"/>
                  </a:cubicBezTo>
                  <a:cubicBezTo>
                    <a:pt x="662" y="398"/>
                    <a:pt x="661" y="398"/>
                    <a:pt x="661" y="397"/>
                  </a:cubicBezTo>
                  <a:cubicBezTo>
                    <a:pt x="661" y="397"/>
                    <a:pt x="661" y="397"/>
                    <a:pt x="661" y="397"/>
                  </a:cubicBezTo>
                  <a:cubicBezTo>
                    <a:pt x="661" y="396"/>
                    <a:pt x="660" y="395"/>
                    <a:pt x="660" y="394"/>
                  </a:cubicBezTo>
                  <a:cubicBezTo>
                    <a:pt x="659" y="395"/>
                    <a:pt x="658" y="395"/>
                    <a:pt x="657" y="395"/>
                  </a:cubicBezTo>
                  <a:cubicBezTo>
                    <a:pt x="657" y="395"/>
                    <a:pt x="657" y="395"/>
                    <a:pt x="657" y="394"/>
                  </a:cubicBezTo>
                  <a:cubicBezTo>
                    <a:pt x="658" y="394"/>
                    <a:pt x="658" y="394"/>
                    <a:pt x="658" y="393"/>
                  </a:cubicBezTo>
                  <a:cubicBezTo>
                    <a:pt x="658" y="393"/>
                    <a:pt x="658" y="392"/>
                    <a:pt x="657" y="392"/>
                  </a:cubicBezTo>
                  <a:cubicBezTo>
                    <a:pt x="657" y="392"/>
                    <a:pt x="657" y="391"/>
                    <a:pt x="656" y="391"/>
                  </a:cubicBezTo>
                  <a:cubicBezTo>
                    <a:pt x="656" y="391"/>
                    <a:pt x="656" y="391"/>
                    <a:pt x="656" y="390"/>
                  </a:cubicBezTo>
                  <a:cubicBezTo>
                    <a:pt x="656" y="390"/>
                    <a:pt x="656" y="390"/>
                    <a:pt x="655" y="390"/>
                  </a:cubicBezTo>
                  <a:cubicBezTo>
                    <a:pt x="654" y="389"/>
                    <a:pt x="652" y="388"/>
                    <a:pt x="650" y="389"/>
                  </a:cubicBezTo>
                  <a:cubicBezTo>
                    <a:pt x="649" y="389"/>
                    <a:pt x="649" y="389"/>
                    <a:pt x="648" y="389"/>
                  </a:cubicBezTo>
                  <a:cubicBezTo>
                    <a:pt x="649" y="389"/>
                    <a:pt x="649" y="388"/>
                    <a:pt x="650" y="387"/>
                  </a:cubicBezTo>
                  <a:cubicBezTo>
                    <a:pt x="650" y="387"/>
                    <a:pt x="651" y="387"/>
                    <a:pt x="651" y="387"/>
                  </a:cubicBezTo>
                  <a:cubicBezTo>
                    <a:pt x="651" y="386"/>
                    <a:pt x="650" y="385"/>
                    <a:pt x="650" y="384"/>
                  </a:cubicBezTo>
                  <a:cubicBezTo>
                    <a:pt x="651" y="384"/>
                    <a:pt x="652" y="385"/>
                    <a:pt x="652" y="386"/>
                  </a:cubicBezTo>
                  <a:cubicBezTo>
                    <a:pt x="653" y="387"/>
                    <a:pt x="654" y="388"/>
                    <a:pt x="655" y="387"/>
                  </a:cubicBezTo>
                  <a:cubicBezTo>
                    <a:pt x="656" y="387"/>
                    <a:pt x="656" y="386"/>
                    <a:pt x="657" y="386"/>
                  </a:cubicBezTo>
                  <a:cubicBezTo>
                    <a:pt x="657" y="387"/>
                    <a:pt x="657" y="387"/>
                    <a:pt x="657" y="388"/>
                  </a:cubicBezTo>
                  <a:cubicBezTo>
                    <a:pt x="657" y="389"/>
                    <a:pt x="658" y="391"/>
                    <a:pt x="660" y="391"/>
                  </a:cubicBezTo>
                  <a:cubicBezTo>
                    <a:pt x="660" y="391"/>
                    <a:pt x="660" y="392"/>
                    <a:pt x="661" y="391"/>
                  </a:cubicBezTo>
                  <a:cubicBezTo>
                    <a:pt x="661" y="391"/>
                    <a:pt x="661" y="391"/>
                    <a:pt x="661" y="391"/>
                  </a:cubicBezTo>
                  <a:cubicBezTo>
                    <a:pt x="662" y="389"/>
                    <a:pt x="660" y="387"/>
                    <a:pt x="661" y="385"/>
                  </a:cubicBezTo>
                  <a:cubicBezTo>
                    <a:pt x="662" y="386"/>
                    <a:pt x="662" y="387"/>
                    <a:pt x="662" y="388"/>
                  </a:cubicBezTo>
                  <a:cubicBezTo>
                    <a:pt x="662" y="390"/>
                    <a:pt x="663" y="392"/>
                    <a:pt x="663" y="393"/>
                  </a:cubicBezTo>
                  <a:cubicBezTo>
                    <a:pt x="664" y="394"/>
                    <a:pt x="665" y="395"/>
                    <a:pt x="665" y="396"/>
                  </a:cubicBezTo>
                  <a:cubicBezTo>
                    <a:pt x="665" y="397"/>
                    <a:pt x="665" y="398"/>
                    <a:pt x="663" y="398"/>
                  </a:cubicBezTo>
                  <a:cubicBezTo>
                    <a:pt x="664" y="399"/>
                    <a:pt x="664" y="399"/>
                    <a:pt x="664" y="399"/>
                  </a:cubicBezTo>
                  <a:cubicBezTo>
                    <a:pt x="664" y="400"/>
                    <a:pt x="664" y="400"/>
                    <a:pt x="665" y="400"/>
                  </a:cubicBezTo>
                  <a:cubicBezTo>
                    <a:pt x="665" y="401"/>
                    <a:pt x="666" y="401"/>
                    <a:pt x="666" y="400"/>
                  </a:cubicBezTo>
                  <a:cubicBezTo>
                    <a:pt x="667" y="400"/>
                    <a:pt x="667" y="401"/>
                    <a:pt x="668" y="401"/>
                  </a:cubicBezTo>
                  <a:cubicBezTo>
                    <a:pt x="668" y="401"/>
                    <a:pt x="668" y="401"/>
                    <a:pt x="668" y="400"/>
                  </a:cubicBezTo>
                  <a:cubicBezTo>
                    <a:pt x="668" y="400"/>
                    <a:pt x="669" y="400"/>
                    <a:pt x="669" y="400"/>
                  </a:cubicBezTo>
                  <a:cubicBezTo>
                    <a:pt x="669" y="400"/>
                    <a:pt x="669" y="400"/>
                    <a:pt x="669" y="399"/>
                  </a:cubicBezTo>
                  <a:cubicBezTo>
                    <a:pt x="669" y="399"/>
                    <a:pt x="670" y="399"/>
                    <a:pt x="670" y="399"/>
                  </a:cubicBezTo>
                  <a:cubicBezTo>
                    <a:pt x="670" y="399"/>
                    <a:pt x="670" y="399"/>
                    <a:pt x="670" y="400"/>
                  </a:cubicBezTo>
                  <a:cubicBezTo>
                    <a:pt x="670" y="400"/>
                    <a:pt x="671" y="401"/>
                    <a:pt x="671" y="402"/>
                  </a:cubicBezTo>
                  <a:cubicBezTo>
                    <a:pt x="672" y="403"/>
                    <a:pt x="673" y="404"/>
                    <a:pt x="674" y="405"/>
                  </a:cubicBezTo>
                  <a:cubicBezTo>
                    <a:pt x="674" y="405"/>
                    <a:pt x="674" y="405"/>
                    <a:pt x="674" y="405"/>
                  </a:cubicBezTo>
                  <a:cubicBezTo>
                    <a:pt x="674" y="405"/>
                    <a:pt x="675" y="405"/>
                    <a:pt x="675" y="405"/>
                  </a:cubicBezTo>
                  <a:cubicBezTo>
                    <a:pt x="675" y="403"/>
                    <a:pt x="676" y="402"/>
                    <a:pt x="675" y="401"/>
                  </a:cubicBezTo>
                  <a:cubicBezTo>
                    <a:pt x="675" y="400"/>
                    <a:pt x="674" y="398"/>
                    <a:pt x="674" y="397"/>
                  </a:cubicBezTo>
                  <a:cubicBezTo>
                    <a:pt x="673" y="397"/>
                    <a:pt x="673" y="396"/>
                    <a:pt x="673" y="395"/>
                  </a:cubicBezTo>
                  <a:cubicBezTo>
                    <a:pt x="674" y="395"/>
                    <a:pt x="674" y="395"/>
                    <a:pt x="675" y="395"/>
                  </a:cubicBezTo>
                  <a:cubicBezTo>
                    <a:pt x="673" y="393"/>
                    <a:pt x="672" y="391"/>
                    <a:pt x="672" y="388"/>
                  </a:cubicBezTo>
                  <a:cubicBezTo>
                    <a:pt x="672" y="387"/>
                    <a:pt x="672" y="387"/>
                    <a:pt x="672" y="386"/>
                  </a:cubicBezTo>
                  <a:cubicBezTo>
                    <a:pt x="672" y="386"/>
                    <a:pt x="671" y="386"/>
                    <a:pt x="671" y="386"/>
                  </a:cubicBezTo>
                  <a:cubicBezTo>
                    <a:pt x="670" y="386"/>
                    <a:pt x="670" y="385"/>
                    <a:pt x="671" y="385"/>
                  </a:cubicBezTo>
                  <a:cubicBezTo>
                    <a:pt x="671" y="384"/>
                    <a:pt x="671" y="384"/>
                    <a:pt x="671" y="383"/>
                  </a:cubicBezTo>
                  <a:cubicBezTo>
                    <a:pt x="671" y="383"/>
                    <a:pt x="671" y="383"/>
                    <a:pt x="670" y="383"/>
                  </a:cubicBezTo>
                  <a:cubicBezTo>
                    <a:pt x="670" y="383"/>
                    <a:pt x="670" y="382"/>
                    <a:pt x="670" y="382"/>
                  </a:cubicBezTo>
                  <a:cubicBezTo>
                    <a:pt x="670" y="381"/>
                    <a:pt x="669" y="380"/>
                    <a:pt x="668" y="379"/>
                  </a:cubicBezTo>
                  <a:cubicBezTo>
                    <a:pt x="667" y="379"/>
                    <a:pt x="667" y="378"/>
                    <a:pt x="667" y="377"/>
                  </a:cubicBezTo>
                  <a:cubicBezTo>
                    <a:pt x="669" y="379"/>
                    <a:pt x="670" y="380"/>
                    <a:pt x="672" y="382"/>
                  </a:cubicBezTo>
                  <a:cubicBezTo>
                    <a:pt x="672" y="381"/>
                    <a:pt x="670" y="380"/>
                    <a:pt x="670" y="378"/>
                  </a:cubicBezTo>
                  <a:cubicBezTo>
                    <a:pt x="670" y="377"/>
                    <a:pt x="671" y="376"/>
                    <a:pt x="672" y="376"/>
                  </a:cubicBezTo>
                  <a:cubicBezTo>
                    <a:pt x="671" y="377"/>
                    <a:pt x="671" y="378"/>
                    <a:pt x="671" y="378"/>
                  </a:cubicBezTo>
                  <a:cubicBezTo>
                    <a:pt x="672" y="379"/>
                    <a:pt x="672" y="380"/>
                    <a:pt x="672" y="380"/>
                  </a:cubicBezTo>
                  <a:cubicBezTo>
                    <a:pt x="673" y="381"/>
                    <a:pt x="673" y="381"/>
                    <a:pt x="673" y="382"/>
                  </a:cubicBezTo>
                  <a:cubicBezTo>
                    <a:pt x="673" y="382"/>
                    <a:pt x="673" y="382"/>
                    <a:pt x="673" y="383"/>
                  </a:cubicBezTo>
                  <a:cubicBezTo>
                    <a:pt x="673" y="384"/>
                    <a:pt x="674" y="384"/>
                    <a:pt x="673" y="385"/>
                  </a:cubicBezTo>
                  <a:cubicBezTo>
                    <a:pt x="673" y="386"/>
                    <a:pt x="673" y="386"/>
                    <a:pt x="673" y="387"/>
                  </a:cubicBezTo>
                  <a:cubicBezTo>
                    <a:pt x="673" y="387"/>
                    <a:pt x="674" y="387"/>
                    <a:pt x="674" y="387"/>
                  </a:cubicBezTo>
                  <a:cubicBezTo>
                    <a:pt x="674" y="388"/>
                    <a:pt x="673" y="389"/>
                    <a:pt x="674" y="389"/>
                  </a:cubicBezTo>
                  <a:cubicBezTo>
                    <a:pt x="674" y="390"/>
                    <a:pt x="674" y="390"/>
                    <a:pt x="674" y="390"/>
                  </a:cubicBezTo>
                  <a:cubicBezTo>
                    <a:pt x="675" y="390"/>
                    <a:pt x="675" y="390"/>
                    <a:pt x="675" y="391"/>
                  </a:cubicBezTo>
                  <a:cubicBezTo>
                    <a:pt x="675" y="391"/>
                    <a:pt x="675" y="391"/>
                    <a:pt x="676" y="391"/>
                  </a:cubicBezTo>
                  <a:cubicBezTo>
                    <a:pt x="676" y="391"/>
                    <a:pt x="677" y="390"/>
                    <a:pt x="677" y="390"/>
                  </a:cubicBezTo>
                  <a:cubicBezTo>
                    <a:pt x="678" y="391"/>
                    <a:pt x="676" y="393"/>
                    <a:pt x="677" y="394"/>
                  </a:cubicBezTo>
                  <a:cubicBezTo>
                    <a:pt x="677" y="395"/>
                    <a:pt x="678" y="396"/>
                    <a:pt x="678" y="397"/>
                  </a:cubicBezTo>
                  <a:cubicBezTo>
                    <a:pt x="679" y="397"/>
                    <a:pt x="679" y="398"/>
                    <a:pt x="679" y="399"/>
                  </a:cubicBezTo>
                  <a:cubicBezTo>
                    <a:pt x="679" y="399"/>
                    <a:pt x="679" y="400"/>
                    <a:pt x="679" y="400"/>
                  </a:cubicBezTo>
                  <a:cubicBezTo>
                    <a:pt x="680" y="401"/>
                    <a:pt x="680" y="401"/>
                    <a:pt x="681" y="401"/>
                  </a:cubicBezTo>
                  <a:cubicBezTo>
                    <a:pt x="681" y="401"/>
                    <a:pt x="681" y="402"/>
                    <a:pt x="681" y="402"/>
                  </a:cubicBezTo>
                  <a:cubicBezTo>
                    <a:pt x="681" y="402"/>
                    <a:pt x="680" y="403"/>
                    <a:pt x="680" y="403"/>
                  </a:cubicBezTo>
                  <a:cubicBezTo>
                    <a:pt x="680" y="403"/>
                    <a:pt x="681" y="403"/>
                    <a:pt x="681" y="403"/>
                  </a:cubicBezTo>
                  <a:cubicBezTo>
                    <a:pt x="681" y="404"/>
                    <a:pt x="682" y="404"/>
                    <a:pt x="683" y="405"/>
                  </a:cubicBezTo>
                  <a:cubicBezTo>
                    <a:pt x="683" y="405"/>
                    <a:pt x="684" y="405"/>
                    <a:pt x="684" y="405"/>
                  </a:cubicBezTo>
                  <a:cubicBezTo>
                    <a:pt x="685" y="405"/>
                    <a:pt x="685" y="405"/>
                    <a:pt x="685" y="405"/>
                  </a:cubicBezTo>
                  <a:cubicBezTo>
                    <a:pt x="685" y="405"/>
                    <a:pt x="686" y="405"/>
                    <a:pt x="686" y="405"/>
                  </a:cubicBezTo>
                  <a:cubicBezTo>
                    <a:pt x="686" y="405"/>
                    <a:pt x="686" y="405"/>
                    <a:pt x="685" y="404"/>
                  </a:cubicBezTo>
                  <a:cubicBezTo>
                    <a:pt x="685" y="404"/>
                    <a:pt x="685" y="404"/>
                    <a:pt x="684" y="403"/>
                  </a:cubicBezTo>
                  <a:cubicBezTo>
                    <a:pt x="685" y="403"/>
                    <a:pt x="685" y="403"/>
                    <a:pt x="685" y="404"/>
                  </a:cubicBezTo>
                  <a:cubicBezTo>
                    <a:pt x="686" y="404"/>
                    <a:pt x="686" y="405"/>
                    <a:pt x="687" y="405"/>
                  </a:cubicBezTo>
                  <a:cubicBezTo>
                    <a:pt x="687" y="405"/>
                    <a:pt x="687" y="405"/>
                    <a:pt x="687" y="405"/>
                  </a:cubicBezTo>
                  <a:cubicBezTo>
                    <a:pt x="687" y="405"/>
                    <a:pt x="687" y="405"/>
                    <a:pt x="687" y="405"/>
                  </a:cubicBezTo>
                  <a:cubicBezTo>
                    <a:pt x="688" y="404"/>
                    <a:pt x="688" y="403"/>
                    <a:pt x="688" y="403"/>
                  </a:cubicBezTo>
                  <a:cubicBezTo>
                    <a:pt x="688" y="402"/>
                    <a:pt x="688" y="402"/>
                    <a:pt x="688" y="401"/>
                  </a:cubicBezTo>
                  <a:cubicBezTo>
                    <a:pt x="688" y="401"/>
                    <a:pt x="688" y="400"/>
                    <a:pt x="689" y="400"/>
                  </a:cubicBezTo>
                  <a:cubicBezTo>
                    <a:pt x="689" y="400"/>
                    <a:pt x="689" y="399"/>
                    <a:pt x="690" y="399"/>
                  </a:cubicBezTo>
                  <a:cubicBezTo>
                    <a:pt x="690" y="399"/>
                    <a:pt x="690" y="399"/>
                    <a:pt x="690" y="399"/>
                  </a:cubicBezTo>
                  <a:cubicBezTo>
                    <a:pt x="690" y="398"/>
                    <a:pt x="690" y="399"/>
                    <a:pt x="690" y="399"/>
                  </a:cubicBezTo>
                  <a:cubicBezTo>
                    <a:pt x="690" y="399"/>
                    <a:pt x="690" y="400"/>
                    <a:pt x="690" y="400"/>
                  </a:cubicBezTo>
                  <a:cubicBezTo>
                    <a:pt x="689" y="401"/>
                    <a:pt x="689" y="402"/>
                    <a:pt x="689" y="402"/>
                  </a:cubicBezTo>
                  <a:cubicBezTo>
                    <a:pt x="689" y="403"/>
                    <a:pt x="689" y="403"/>
                    <a:pt x="689" y="403"/>
                  </a:cubicBezTo>
                  <a:cubicBezTo>
                    <a:pt x="688" y="404"/>
                    <a:pt x="689" y="404"/>
                    <a:pt x="688" y="405"/>
                  </a:cubicBezTo>
                  <a:cubicBezTo>
                    <a:pt x="688" y="405"/>
                    <a:pt x="688" y="405"/>
                    <a:pt x="688" y="405"/>
                  </a:cubicBezTo>
                  <a:cubicBezTo>
                    <a:pt x="688" y="406"/>
                    <a:pt x="688" y="406"/>
                    <a:pt x="688" y="406"/>
                  </a:cubicBezTo>
                  <a:cubicBezTo>
                    <a:pt x="688" y="406"/>
                    <a:pt x="688" y="406"/>
                    <a:pt x="688" y="406"/>
                  </a:cubicBezTo>
                  <a:cubicBezTo>
                    <a:pt x="688" y="407"/>
                    <a:pt x="688" y="407"/>
                    <a:pt x="688" y="408"/>
                  </a:cubicBezTo>
                  <a:cubicBezTo>
                    <a:pt x="688" y="408"/>
                    <a:pt x="688" y="408"/>
                    <a:pt x="688" y="409"/>
                  </a:cubicBezTo>
                  <a:cubicBezTo>
                    <a:pt x="688" y="409"/>
                    <a:pt x="689" y="410"/>
                    <a:pt x="690" y="410"/>
                  </a:cubicBezTo>
                  <a:cubicBezTo>
                    <a:pt x="690" y="410"/>
                    <a:pt x="690" y="410"/>
                    <a:pt x="690" y="411"/>
                  </a:cubicBezTo>
                  <a:cubicBezTo>
                    <a:pt x="690" y="411"/>
                    <a:pt x="691" y="411"/>
                    <a:pt x="691" y="410"/>
                  </a:cubicBezTo>
                  <a:cubicBezTo>
                    <a:pt x="691" y="410"/>
                    <a:pt x="692" y="410"/>
                    <a:pt x="692" y="410"/>
                  </a:cubicBezTo>
                  <a:cubicBezTo>
                    <a:pt x="692" y="410"/>
                    <a:pt x="692" y="410"/>
                    <a:pt x="692" y="409"/>
                  </a:cubicBezTo>
                  <a:cubicBezTo>
                    <a:pt x="692" y="409"/>
                    <a:pt x="692" y="408"/>
                    <a:pt x="693" y="408"/>
                  </a:cubicBezTo>
                  <a:cubicBezTo>
                    <a:pt x="693" y="407"/>
                    <a:pt x="693" y="408"/>
                    <a:pt x="693" y="408"/>
                  </a:cubicBezTo>
                  <a:cubicBezTo>
                    <a:pt x="693" y="408"/>
                    <a:pt x="693" y="408"/>
                    <a:pt x="693" y="409"/>
                  </a:cubicBezTo>
                  <a:cubicBezTo>
                    <a:pt x="692" y="409"/>
                    <a:pt x="693" y="410"/>
                    <a:pt x="694" y="410"/>
                  </a:cubicBezTo>
                  <a:cubicBezTo>
                    <a:pt x="693" y="410"/>
                    <a:pt x="693" y="411"/>
                    <a:pt x="693" y="411"/>
                  </a:cubicBezTo>
                  <a:cubicBezTo>
                    <a:pt x="692" y="411"/>
                    <a:pt x="692" y="411"/>
                    <a:pt x="691" y="411"/>
                  </a:cubicBezTo>
                  <a:cubicBezTo>
                    <a:pt x="691" y="412"/>
                    <a:pt x="691" y="412"/>
                    <a:pt x="691" y="413"/>
                  </a:cubicBezTo>
                  <a:cubicBezTo>
                    <a:pt x="691" y="413"/>
                    <a:pt x="692" y="413"/>
                    <a:pt x="692" y="414"/>
                  </a:cubicBezTo>
                  <a:cubicBezTo>
                    <a:pt x="692" y="414"/>
                    <a:pt x="692" y="414"/>
                    <a:pt x="692" y="414"/>
                  </a:cubicBezTo>
                  <a:cubicBezTo>
                    <a:pt x="693" y="414"/>
                    <a:pt x="692" y="415"/>
                    <a:pt x="693" y="415"/>
                  </a:cubicBezTo>
                  <a:cubicBezTo>
                    <a:pt x="693" y="415"/>
                    <a:pt x="693" y="415"/>
                    <a:pt x="694" y="415"/>
                  </a:cubicBezTo>
                  <a:cubicBezTo>
                    <a:pt x="694" y="415"/>
                    <a:pt x="694" y="414"/>
                    <a:pt x="694" y="414"/>
                  </a:cubicBezTo>
                  <a:cubicBezTo>
                    <a:pt x="694" y="413"/>
                    <a:pt x="694" y="413"/>
                    <a:pt x="694" y="412"/>
                  </a:cubicBezTo>
                  <a:cubicBezTo>
                    <a:pt x="694" y="412"/>
                    <a:pt x="695" y="412"/>
                    <a:pt x="695" y="412"/>
                  </a:cubicBezTo>
                  <a:cubicBezTo>
                    <a:pt x="695" y="411"/>
                    <a:pt x="695" y="412"/>
                    <a:pt x="695" y="412"/>
                  </a:cubicBezTo>
                  <a:cubicBezTo>
                    <a:pt x="697" y="412"/>
                    <a:pt x="699" y="412"/>
                    <a:pt x="700" y="413"/>
                  </a:cubicBezTo>
                  <a:cubicBezTo>
                    <a:pt x="700" y="413"/>
                    <a:pt x="700" y="413"/>
                    <a:pt x="700" y="413"/>
                  </a:cubicBezTo>
                  <a:cubicBezTo>
                    <a:pt x="700" y="413"/>
                    <a:pt x="700" y="414"/>
                    <a:pt x="700" y="413"/>
                  </a:cubicBezTo>
                  <a:cubicBezTo>
                    <a:pt x="699" y="413"/>
                    <a:pt x="698" y="413"/>
                    <a:pt x="697" y="413"/>
                  </a:cubicBezTo>
                  <a:cubicBezTo>
                    <a:pt x="697" y="413"/>
                    <a:pt x="697" y="412"/>
                    <a:pt x="696" y="412"/>
                  </a:cubicBezTo>
                  <a:cubicBezTo>
                    <a:pt x="695" y="412"/>
                    <a:pt x="695" y="413"/>
                    <a:pt x="695" y="414"/>
                  </a:cubicBezTo>
                  <a:cubicBezTo>
                    <a:pt x="695" y="415"/>
                    <a:pt x="695" y="415"/>
                    <a:pt x="695" y="416"/>
                  </a:cubicBezTo>
                  <a:cubicBezTo>
                    <a:pt x="697" y="417"/>
                    <a:pt x="698" y="418"/>
                    <a:pt x="700" y="420"/>
                  </a:cubicBezTo>
                  <a:cubicBezTo>
                    <a:pt x="700" y="420"/>
                    <a:pt x="700" y="420"/>
                    <a:pt x="700" y="420"/>
                  </a:cubicBezTo>
                  <a:cubicBezTo>
                    <a:pt x="701" y="421"/>
                    <a:pt x="701" y="421"/>
                    <a:pt x="701" y="421"/>
                  </a:cubicBezTo>
                  <a:cubicBezTo>
                    <a:pt x="701" y="421"/>
                    <a:pt x="702" y="422"/>
                    <a:pt x="702" y="422"/>
                  </a:cubicBezTo>
                  <a:cubicBezTo>
                    <a:pt x="703" y="422"/>
                    <a:pt x="702" y="422"/>
                    <a:pt x="702" y="422"/>
                  </a:cubicBezTo>
                  <a:cubicBezTo>
                    <a:pt x="702" y="422"/>
                    <a:pt x="702" y="422"/>
                    <a:pt x="701" y="422"/>
                  </a:cubicBezTo>
                  <a:cubicBezTo>
                    <a:pt x="701" y="422"/>
                    <a:pt x="701" y="422"/>
                    <a:pt x="700" y="422"/>
                  </a:cubicBezTo>
                  <a:cubicBezTo>
                    <a:pt x="700" y="421"/>
                    <a:pt x="700" y="421"/>
                    <a:pt x="699" y="421"/>
                  </a:cubicBezTo>
                  <a:cubicBezTo>
                    <a:pt x="699" y="420"/>
                    <a:pt x="698" y="419"/>
                    <a:pt x="697" y="418"/>
                  </a:cubicBezTo>
                  <a:cubicBezTo>
                    <a:pt x="696" y="418"/>
                    <a:pt x="695" y="417"/>
                    <a:pt x="694" y="417"/>
                  </a:cubicBezTo>
                  <a:cubicBezTo>
                    <a:pt x="694" y="417"/>
                    <a:pt x="694" y="417"/>
                    <a:pt x="694" y="417"/>
                  </a:cubicBezTo>
                  <a:cubicBezTo>
                    <a:pt x="694" y="417"/>
                    <a:pt x="694" y="418"/>
                    <a:pt x="694" y="418"/>
                  </a:cubicBezTo>
                  <a:cubicBezTo>
                    <a:pt x="694" y="418"/>
                    <a:pt x="694" y="418"/>
                    <a:pt x="694" y="419"/>
                  </a:cubicBezTo>
                  <a:cubicBezTo>
                    <a:pt x="694" y="419"/>
                    <a:pt x="694" y="419"/>
                    <a:pt x="694" y="419"/>
                  </a:cubicBezTo>
                  <a:cubicBezTo>
                    <a:pt x="694" y="420"/>
                    <a:pt x="694" y="420"/>
                    <a:pt x="694" y="420"/>
                  </a:cubicBezTo>
                  <a:cubicBezTo>
                    <a:pt x="694" y="420"/>
                    <a:pt x="695" y="420"/>
                    <a:pt x="695" y="420"/>
                  </a:cubicBezTo>
                  <a:cubicBezTo>
                    <a:pt x="695" y="420"/>
                    <a:pt x="695" y="421"/>
                    <a:pt x="695" y="421"/>
                  </a:cubicBezTo>
                  <a:cubicBezTo>
                    <a:pt x="695" y="421"/>
                    <a:pt x="695" y="421"/>
                    <a:pt x="695" y="421"/>
                  </a:cubicBezTo>
                  <a:cubicBezTo>
                    <a:pt x="695" y="421"/>
                    <a:pt x="695" y="422"/>
                    <a:pt x="695" y="423"/>
                  </a:cubicBezTo>
                  <a:cubicBezTo>
                    <a:pt x="695" y="423"/>
                    <a:pt x="695" y="423"/>
                    <a:pt x="695" y="423"/>
                  </a:cubicBezTo>
                  <a:cubicBezTo>
                    <a:pt x="695" y="423"/>
                    <a:pt x="696" y="423"/>
                    <a:pt x="696" y="424"/>
                  </a:cubicBezTo>
                  <a:cubicBezTo>
                    <a:pt x="696" y="424"/>
                    <a:pt x="697" y="424"/>
                    <a:pt x="697" y="424"/>
                  </a:cubicBezTo>
                  <a:cubicBezTo>
                    <a:pt x="697" y="424"/>
                    <a:pt x="697" y="424"/>
                    <a:pt x="696" y="425"/>
                  </a:cubicBezTo>
                  <a:cubicBezTo>
                    <a:pt x="696" y="425"/>
                    <a:pt x="697" y="426"/>
                    <a:pt x="697" y="426"/>
                  </a:cubicBezTo>
                  <a:cubicBezTo>
                    <a:pt x="697" y="426"/>
                    <a:pt x="698" y="426"/>
                    <a:pt x="699" y="426"/>
                  </a:cubicBezTo>
                  <a:cubicBezTo>
                    <a:pt x="699" y="426"/>
                    <a:pt x="699" y="426"/>
                    <a:pt x="700" y="426"/>
                  </a:cubicBezTo>
                  <a:cubicBezTo>
                    <a:pt x="700" y="427"/>
                    <a:pt x="700" y="427"/>
                    <a:pt x="700" y="427"/>
                  </a:cubicBezTo>
                  <a:cubicBezTo>
                    <a:pt x="700" y="427"/>
                    <a:pt x="700" y="427"/>
                    <a:pt x="700" y="427"/>
                  </a:cubicBezTo>
                  <a:cubicBezTo>
                    <a:pt x="699" y="427"/>
                    <a:pt x="699" y="427"/>
                    <a:pt x="698" y="427"/>
                  </a:cubicBezTo>
                  <a:cubicBezTo>
                    <a:pt x="698" y="427"/>
                    <a:pt x="697" y="427"/>
                    <a:pt x="697" y="427"/>
                  </a:cubicBezTo>
                  <a:cubicBezTo>
                    <a:pt x="696" y="427"/>
                    <a:pt x="696" y="427"/>
                    <a:pt x="696" y="427"/>
                  </a:cubicBezTo>
                  <a:cubicBezTo>
                    <a:pt x="696" y="428"/>
                    <a:pt x="696" y="428"/>
                    <a:pt x="696" y="428"/>
                  </a:cubicBezTo>
                  <a:cubicBezTo>
                    <a:pt x="696" y="429"/>
                    <a:pt x="695" y="429"/>
                    <a:pt x="695" y="430"/>
                  </a:cubicBezTo>
                  <a:cubicBezTo>
                    <a:pt x="695" y="430"/>
                    <a:pt x="695" y="430"/>
                    <a:pt x="695" y="430"/>
                  </a:cubicBezTo>
                  <a:cubicBezTo>
                    <a:pt x="695" y="430"/>
                    <a:pt x="695" y="430"/>
                    <a:pt x="695" y="430"/>
                  </a:cubicBezTo>
                  <a:cubicBezTo>
                    <a:pt x="696" y="430"/>
                    <a:pt x="697" y="431"/>
                    <a:pt x="698" y="432"/>
                  </a:cubicBezTo>
                  <a:cubicBezTo>
                    <a:pt x="698" y="432"/>
                    <a:pt x="698" y="432"/>
                    <a:pt x="698" y="432"/>
                  </a:cubicBezTo>
                  <a:cubicBezTo>
                    <a:pt x="699" y="432"/>
                    <a:pt x="699" y="431"/>
                    <a:pt x="699" y="431"/>
                  </a:cubicBezTo>
                  <a:cubicBezTo>
                    <a:pt x="699" y="430"/>
                    <a:pt x="700" y="430"/>
                    <a:pt x="700" y="430"/>
                  </a:cubicBezTo>
                  <a:cubicBezTo>
                    <a:pt x="700" y="430"/>
                    <a:pt x="700" y="430"/>
                    <a:pt x="700" y="430"/>
                  </a:cubicBezTo>
                  <a:cubicBezTo>
                    <a:pt x="700" y="431"/>
                    <a:pt x="700" y="431"/>
                    <a:pt x="700" y="431"/>
                  </a:cubicBezTo>
                  <a:cubicBezTo>
                    <a:pt x="700" y="431"/>
                    <a:pt x="700" y="431"/>
                    <a:pt x="700" y="431"/>
                  </a:cubicBezTo>
                  <a:cubicBezTo>
                    <a:pt x="700" y="431"/>
                    <a:pt x="700" y="432"/>
                    <a:pt x="700" y="432"/>
                  </a:cubicBezTo>
                  <a:cubicBezTo>
                    <a:pt x="700" y="432"/>
                    <a:pt x="701" y="432"/>
                    <a:pt x="701" y="432"/>
                  </a:cubicBezTo>
                  <a:cubicBezTo>
                    <a:pt x="702" y="433"/>
                    <a:pt x="702" y="433"/>
                    <a:pt x="702" y="433"/>
                  </a:cubicBezTo>
                  <a:cubicBezTo>
                    <a:pt x="703" y="433"/>
                    <a:pt x="703" y="433"/>
                    <a:pt x="703" y="433"/>
                  </a:cubicBezTo>
                  <a:cubicBezTo>
                    <a:pt x="704" y="433"/>
                    <a:pt x="704" y="432"/>
                    <a:pt x="704" y="432"/>
                  </a:cubicBezTo>
                  <a:cubicBezTo>
                    <a:pt x="704" y="432"/>
                    <a:pt x="704" y="432"/>
                    <a:pt x="704" y="432"/>
                  </a:cubicBezTo>
                  <a:cubicBezTo>
                    <a:pt x="704" y="431"/>
                    <a:pt x="704" y="431"/>
                    <a:pt x="704" y="432"/>
                  </a:cubicBezTo>
                  <a:cubicBezTo>
                    <a:pt x="704" y="432"/>
                    <a:pt x="704" y="432"/>
                    <a:pt x="704" y="432"/>
                  </a:cubicBezTo>
                  <a:cubicBezTo>
                    <a:pt x="704" y="433"/>
                    <a:pt x="704" y="433"/>
                    <a:pt x="705" y="433"/>
                  </a:cubicBezTo>
                  <a:cubicBezTo>
                    <a:pt x="704" y="434"/>
                    <a:pt x="704" y="434"/>
                    <a:pt x="704" y="434"/>
                  </a:cubicBezTo>
                  <a:cubicBezTo>
                    <a:pt x="703" y="434"/>
                    <a:pt x="703" y="434"/>
                    <a:pt x="703" y="434"/>
                  </a:cubicBezTo>
                  <a:cubicBezTo>
                    <a:pt x="703" y="434"/>
                    <a:pt x="703" y="435"/>
                    <a:pt x="703" y="435"/>
                  </a:cubicBezTo>
                  <a:cubicBezTo>
                    <a:pt x="703" y="436"/>
                    <a:pt x="704" y="437"/>
                    <a:pt x="704" y="437"/>
                  </a:cubicBezTo>
                  <a:cubicBezTo>
                    <a:pt x="704" y="437"/>
                    <a:pt x="705" y="438"/>
                    <a:pt x="705" y="438"/>
                  </a:cubicBezTo>
                  <a:cubicBezTo>
                    <a:pt x="705" y="438"/>
                    <a:pt x="705" y="439"/>
                    <a:pt x="706" y="439"/>
                  </a:cubicBezTo>
                  <a:cubicBezTo>
                    <a:pt x="706" y="439"/>
                    <a:pt x="706" y="440"/>
                    <a:pt x="707" y="440"/>
                  </a:cubicBezTo>
                  <a:cubicBezTo>
                    <a:pt x="707" y="440"/>
                    <a:pt x="707" y="440"/>
                    <a:pt x="708" y="440"/>
                  </a:cubicBezTo>
                  <a:cubicBezTo>
                    <a:pt x="708" y="440"/>
                    <a:pt x="708" y="440"/>
                    <a:pt x="708" y="440"/>
                  </a:cubicBezTo>
                  <a:cubicBezTo>
                    <a:pt x="708" y="440"/>
                    <a:pt x="708" y="440"/>
                    <a:pt x="708" y="440"/>
                  </a:cubicBezTo>
                  <a:cubicBezTo>
                    <a:pt x="708" y="440"/>
                    <a:pt x="708" y="441"/>
                    <a:pt x="707" y="441"/>
                  </a:cubicBezTo>
                  <a:cubicBezTo>
                    <a:pt x="707" y="441"/>
                    <a:pt x="708" y="441"/>
                    <a:pt x="707" y="442"/>
                  </a:cubicBezTo>
                  <a:cubicBezTo>
                    <a:pt x="707" y="442"/>
                    <a:pt x="707" y="442"/>
                    <a:pt x="707" y="443"/>
                  </a:cubicBezTo>
                  <a:cubicBezTo>
                    <a:pt x="707" y="443"/>
                    <a:pt x="708" y="443"/>
                    <a:pt x="708" y="443"/>
                  </a:cubicBezTo>
                  <a:cubicBezTo>
                    <a:pt x="709" y="443"/>
                    <a:pt x="709" y="443"/>
                    <a:pt x="710" y="443"/>
                  </a:cubicBezTo>
                  <a:cubicBezTo>
                    <a:pt x="710" y="443"/>
                    <a:pt x="710" y="443"/>
                    <a:pt x="710" y="443"/>
                  </a:cubicBezTo>
                  <a:cubicBezTo>
                    <a:pt x="710" y="443"/>
                    <a:pt x="710" y="443"/>
                    <a:pt x="710" y="443"/>
                  </a:cubicBezTo>
                  <a:cubicBezTo>
                    <a:pt x="710" y="444"/>
                    <a:pt x="711" y="445"/>
                    <a:pt x="710" y="445"/>
                  </a:cubicBezTo>
                  <a:cubicBezTo>
                    <a:pt x="710" y="446"/>
                    <a:pt x="711" y="446"/>
                    <a:pt x="711" y="446"/>
                  </a:cubicBezTo>
                  <a:cubicBezTo>
                    <a:pt x="711" y="446"/>
                    <a:pt x="712" y="447"/>
                    <a:pt x="712" y="447"/>
                  </a:cubicBezTo>
                  <a:cubicBezTo>
                    <a:pt x="712" y="447"/>
                    <a:pt x="712" y="448"/>
                    <a:pt x="712" y="448"/>
                  </a:cubicBezTo>
                  <a:cubicBezTo>
                    <a:pt x="712" y="449"/>
                    <a:pt x="713" y="449"/>
                    <a:pt x="713" y="449"/>
                  </a:cubicBezTo>
                  <a:cubicBezTo>
                    <a:pt x="713" y="449"/>
                    <a:pt x="713" y="449"/>
                    <a:pt x="714" y="450"/>
                  </a:cubicBezTo>
                  <a:cubicBezTo>
                    <a:pt x="714" y="450"/>
                    <a:pt x="713" y="450"/>
                    <a:pt x="713" y="450"/>
                  </a:cubicBezTo>
                  <a:cubicBezTo>
                    <a:pt x="713" y="450"/>
                    <a:pt x="713" y="450"/>
                    <a:pt x="712" y="449"/>
                  </a:cubicBezTo>
                  <a:cubicBezTo>
                    <a:pt x="712" y="449"/>
                    <a:pt x="711" y="448"/>
                    <a:pt x="711" y="447"/>
                  </a:cubicBezTo>
                  <a:cubicBezTo>
                    <a:pt x="711" y="447"/>
                    <a:pt x="710" y="447"/>
                    <a:pt x="710" y="447"/>
                  </a:cubicBezTo>
                  <a:cubicBezTo>
                    <a:pt x="710" y="447"/>
                    <a:pt x="710" y="447"/>
                    <a:pt x="709" y="447"/>
                  </a:cubicBezTo>
                  <a:cubicBezTo>
                    <a:pt x="709" y="448"/>
                    <a:pt x="710" y="448"/>
                    <a:pt x="710" y="448"/>
                  </a:cubicBezTo>
                  <a:cubicBezTo>
                    <a:pt x="710" y="448"/>
                    <a:pt x="710" y="449"/>
                    <a:pt x="710" y="449"/>
                  </a:cubicBezTo>
                  <a:cubicBezTo>
                    <a:pt x="710" y="450"/>
                    <a:pt x="711" y="450"/>
                    <a:pt x="711" y="450"/>
                  </a:cubicBezTo>
                  <a:cubicBezTo>
                    <a:pt x="711" y="451"/>
                    <a:pt x="710" y="451"/>
                    <a:pt x="710" y="451"/>
                  </a:cubicBezTo>
                  <a:cubicBezTo>
                    <a:pt x="710" y="451"/>
                    <a:pt x="710" y="452"/>
                    <a:pt x="711" y="452"/>
                  </a:cubicBezTo>
                  <a:cubicBezTo>
                    <a:pt x="711" y="452"/>
                    <a:pt x="711" y="452"/>
                    <a:pt x="711" y="452"/>
                  </a:cubicBezTo>
                  <a:cubicBezTo>
                    <a:pt x="711" y="452"/>
                    <a:pt x="710" y="452"/>
                    <a:pt x="710" y="453"/>
                  </a:cubicBezTo>
                  <a:cubicBezTo>
                    <a:pt x="710" y="453"/>
                    <a:pt x="709" y="453"/>
                    <a:pt x="709" y="453"/>
                  </a:cubicBezTo>
                  <a:cubicBezTo>
                    <a:pt x="709" y="454"/>
                    <a:pt x="708" y="454"/>
                    <a:pt x="708" y="453"/>
                  </a:cubicBezTo>
                  <a:cubicBezTo>
                    <a:pt x="708" y="453"/>
                    <a:pt x="708" y="453"/>
                    <a:pt x="708" y="453"/>
                  </a:cubicBezTo>
                  <a:cubicBezTo>
                    <a:pt x="709" y="452"/>
                    <a:pt x="709" y="452"/>
                    <a:pt x="709" y="452"/>
                  </a:cubicBezTo>
                  <a:cubicBezTo>
                    <a:pt x="710" y="452"/>
                    <a:pt x="710" y="451"/>
                    <a:pt x="710" y="451"/>
                  </a:cubicBezTo>
                  <a:cubicBezTo>
                    <a:pt x="710" y="451"/>
                    <a:pt x="710" y="451"/>
                    <a:pt x="710" y="451"/>
                  </a:cubicBezTo>
                  <a:cubicBezTo>
                    <a:pt x="710" y="450"/>
                    <a:pt x="710" y="450"/>
                    <a:pt x="710" y="450"/>
                  </a:cubicBezTo>
                  <a:cubicBezTo>
                    <a:pt x="709" y="450"/>
                    <a:pt x="709" y="450"/>
                    <a:pt x="709" y="450"/>
                  </a:cubicBezTo>
                  <a:cubicBezTo>
                    <a:pt x="709" y="449"/>
                    <a:pt x="709" y="449"/>
                    <a:pt x="709" y="449"/>
                  </a:cubicBezTo>
                  <a:cubicBezTo>
                    <a:pt x="709" y="449"/>
                    <a:pt x="709" y="448"/>
                    <a:pt x="709" y="448"/>
                  </a:cubicBezTo>
                  <a:cubicBezTo>
                    <a:pt x="709" y="448"/>
                    <a:pt x="709" y="448"/>
                    <a:pt x="709" y="447"/>
                  </a:cubicBezTo>
                  <a:cubicBezTo>
                    <a:pt x="708" y="447"/>
                    <a:pt x="707" y="448"/>
                    <a:pt x="707" y="448"/>
                  </a:cubicBezTo>
                  <a:cubicBezTo>
                    <a:pt x="707" y="449"/>
                    <a:pt x="708" y="450"/>
                    <a:pt x="707" y="450"/>
                  </a:cubicBezTo>
                  <a:cubicBezTo>
                    <a:pt x="707" y="451"/>
                    <a:pt x="707" y="451"/>
                    <a:pt x="707" y="451"/>
                  </a:cubicBezTo>
                  <a:cubicBezTo>
                    <a:pt x="707" y="451"/>
                    <a:pt x="707" y="452"/>
                    <a:pt x="707" y="452"/>
                  </a:cubicBezTo>
                  <a:cubicBezTo>
                    <a:pt x="706" y="452"/>
                    <a:pt x="706" y="452"/>
                    <a:pt x="706" y="452"/>
                  </a:cubicBezTo>
                  <a:cubicBezTo>
                    <a:pt x="706" y="453"/>
                    <a:pt x="706" y="453"/>
                    <a:pt x="706" y="454"/>
                  </a:cubicBezTo>
                  <a:cubicBezTo>
                    <a:pt x="706" y="454"/>
                    <a:pt x="706" y="455"/>
                    <a:pt x="706" y="456"/>
                  </a:cubicBezTo>
                  <a:cubicBezTo>
                    <a:pt x="706" y="456"/>
                    <a:pt x="706" y="456"/>
                    <a:pt x="706" y="456"/>
                  </a:cubicBezTo>
                  <a:cubicBezTo>
                    <a:pt x="706" y="456"/>
                    <a:pt x="707" y="456"/>
                    <a:pt x="707" y="456"/>
                  </a:cubicBezTo>
                  <a:cubicBezTo>
                    <a:pt x="707" y="456"/>
                    <a:pt x="707" y="456"/>
                    <a:pt x="707" y="456"/>
                  </a:cubicBezTo>
                  <a:cubicBezTo>
                    <a:pt x="708" y="455"/>
                    <a:pt x="708" y="456"/>
                    <a:pt x="708" y="456"/>
                  </a:cubicBezTo>
                  <a:cubicBezTo>
                    <a:pt x="708" y="457"/>
                    <a:pt x="709" y="457"/>
                    <a:pt x="709" y="458"/>
                  </a:cubicBezTo>
                  <a:cubicBezTo>
                    <a:pt x="709" y="458"/>
                    <a:pt x="709" y="458"/>
                    <a:pt x="709" y="459"/>
                  </a:cubicBezTo>
                  <a:cubicBezTo>
                    <a:pt x="709" y="459"/>
                    <a:pt x="709" y="460"/>
                    <a:pt x="709" y="460"/>
                  </a:cubicBezTo>
                  <a:cubicBezTo>
                    <a:pt x="709" y="460"/>
                    <a:pt x="710" y="460"/>
                    <a:pt x="710" y="460"/>
                  </a:cubicBezTo>
                  <a:cubicBezTo>
                    <a:pt x="710" y="460"/>
                    <a:pt x="710" y="460"/>
                    <a:pt x="710" y="460"/>
                  </a:cubicBezTo>
                  <a:cubicBezTo>
                    <a:pt x="711" y="459"/>
                    <a:pt x="711" y="459"/>
                    <a:pt x="712" y="459"/>
                  </a:cubicBezTo>
                  <a:cubicBezTo>
                    <a:pt x="712" y="459"/>
                    <a:pt x="712" y="459"/>
                    <a:pt x="712" y="458"/>
                  </a:cubicBezTo>
                  <a:cubicBezTo>
                    <a:pt x="713" y="458"/>
                    <a:pt x="713" y="458"/>
                    <a:pt x="713" y="458"/>
                  </a:cubicBezTo>
                  <a:cubicBezTo>
                    <a:pt x="713" y="457"/>
                    <a:pt x="713" y="457"/>
                    <a:pt x="712" y="456"/>
                  </a:cubicBezTo>
                  <a:cubicBezTo>
                    <a:pt x="712" y="456"/>
                    <a:pt x="712" y="456"/>
                    <a:pt x="712" y="456"/>
                  </a:cubicBezTo>
                  <a:cubicBezTo>
                    <a:pt x="712" y="456"/>
                    <a:pt x="712" y="456"/>
                    <a:pt x="712" y="456"/>
                  </a:cubicBezTo>
                  <a:cubicBezTo>
                    <a:pt x="713" y="455"/>
                    <a:pt x="713" y="455"/>
                    <a:pt x="713" y="455"/>
                  </a:cubicBezTo>
                  <a:cubicBezTo>
                    <a:pt x="713" y="454"/>
                    <a:pt x="712" y="454"/>
                    <a:pt x="712" y="454"/>
                  </a:cubicBezTo>
                  <a:cubicBezTo>
                    <a:pt x="712" y="454"/>
                    <a:pt x="712" y="453"/>
                    <a:pt x="712" y="453"/>
                  </a:cubicBezTo>
                  <a:cubicBezTo>
                    <a:pt x="712" y="453"/>
                    <a:pt x="713" y="454"/>
                    <a:pt x="713" y="454"/>
                  </a:cubicBezTo>
                  <a:cubicBezTo>
                    <a:pt x="713" y="454"/>
                    <a:pt x="714" y="454"/>
                    <a:pt x="714" y="454"/>
                  </a:cubicBezTo>
                  <a:cubicBezTo>
                    <a:pt x="714" y="453"/>
                    <a:pt x="714" y="453"/>
                    <a:pt x="715" y="453"/>
                  </a:cubicBezTo>
                  <a:cubicBezTo>
                    <a:pt x="715" y="452"/>
                    <a:pt x="717" y="452"/>
                    <a:pt x="717" y="452"/>
                  </a:cubicBezTo>
                  <a:cubicBezTo>
                    <a:pt x="718" y="452"/>
                    <a:pt x="718" y="453"/>
                    <a:pt x="719" y="453"/>
                  </a:cubicBezTo>
                  <a:cubicBezTo>
                    <a:pt x="719" y="453"/>
                    <a:pt x="720" y="452"/>
                    <a:pt x="720" y="452"/>
                  </a:cubicBezTo>
                  <a:cubicBezTo>
                    <a:pt x="720" y="453"/>
                    <a:pt x="720" y="453"/>
                    <a:pt x="720" y="453"/>
                  </a:cubicBezTo>
                  <a:cubicBezTo>
                    <a:pt x="720" y="453"/>
                    <a:pt x="720" y="453"/>
                    <a:pt x="720" y="453"/>
                  </a:cubicBezTo>
                  <a:cubicBezTo>
                    <a:pt x="720" y="454"/>
                    <a:pt x="720" y="454"/>
                    <a:pt x="720" y="454"/>
                  </a:cubicBezTo>
                  <a:cubicBezTo>
                    <a:pt x="718" y="454"/>
                    <a:pt x="717" y="454"/>
                    <a:pt x="716" y="454"/>
                  </a:cubicBezTo>
                  <a:cubicBezTo>
                    <a:pt x="716" y="454"/>
                    <a:pt x="716" y="454"/>
                    <a:pt x="716" y="454"/>
                  </a:cubicBezTo>
                  <a:cubicBezTo>
                    <a:pt x="715" y="454"/>
                    <a:pt x="715" y="454"/>
                    <a:pt x="715" y="454"/>
                  </a:cubicBezTo>
                  <a:cubicBezTo>
                    <a:pt x="715" y="454"/>
                    <a:pt x="715" y="454"/>
                    <a:pt x="715" y="455"/>
                  </a:cubicBezTo>
                  <a:cubicBezTo>
                    <a:pt x="715" y="455"/>
                    <a:pt x="714" y="455"/>
                    <a:pt x="714" y="456"/>
                  </a:cubicBezTo>
                  <a:cubicBezTo>
                    <a:pt x="714" y="456"/>
                    <a:pt x="714" y="457"/>
                    <a:pt x="714" y="457"/>
                  </a:cubicBezTo>
                  <a:cubicBezTo>
                    <a:pt x="715" y="457"/>
                    <a:pt x="715" y="457"/>
                    <a:pt x="715" y="458"/>
                  </a:cubicBezTo>
                  <a:cubicBezTo>
                    <a:pt x="715" y="458"/>
                    <a:pt x="715" y="458"/>
                    <a:pt x="715" y="458"/>
                  </a:cubicBezTo>
                  <a:cubicBezTo>
                    <a:pt x="715" y="458"/>
                    <a:pt x="715" y="458"/>
                    <a:pt x="715" y="458"/>
                  </a:cubicBezTo>
                  <a:cubicBezTo>
                    <a:pt x="714" y="459"/>
                    <a:pt x="714" y="460"/>
                    <a:pt x="713" y="461"/>
                  </a:cubicBezTo>
                  <a:cubicBezTo>
                    <a:pt x="713" y="461"/>
                    <a:pt x="713" y="463"/>
                    <a:pt x="712" y="463"/>
                  </a:cubicBezTo>
                  <a:cubicBezTo>
                    <a:pt x="712" y="463"/>
                    <a:pt x="712" y="463"/>
                    <a:pt x="712" y="463"/>
                  </a:cubicBezTo>
                  <a:cubicBezTo>
                    <a:pt x="711" y="464"/>
                    <a:pt x="712" y="464"/>
                    <a:pt x="712" y="465"/>
                  </a:cubicBezTo>
                  <a:cubicBezTo>
                    <a:pt x="712" y="465"/>
                    <a:pt x="712" y="466"/>
                    <a:pt x="712" y="466"/>
                  </a:cubicBezTo>
                  <a:cubicBezTo>
                    <a:pt x="712" y="467"/>
                    <a:pt x="713" y="468"/>
                    <a:pt x="714" y="468"/>
                  </a:cubicBezTo>
                  <a:cubicBezTo>
                    <a:pt x="714" y="469"/>
                    <a:pt x="715" y="469"/>
                    <a:pt x="715" y="469"/>
                  </a:cubicBezTo>
                  <a:cubicBezTo>
                    <a:pt x="715" y="468"/>
                    <a:pt x="715" y="468"/>
                    <a:pt x="715" y="467"/>
                  </a:cubicBezTo>
                  <a:cubicBezTo>
                    <a:pt x="716" y="466"/>
                    <a:pt x="716" y="465"/>
                    <a:pt x="717" y="465"/>
                  </a:cubicBezTo>
                  <a:cubicBezTo>
                    <a:pt x="717" y="464"/>
                    <a:pt x="717" y="462"/>
                    <a:pt x="717" y="462"/>
                  </a:cubicBezTo>
                  <a:cubicBezTo>
                    <a:pt x="716" y="462"/>
                    <a:pt x="716" y="461"/>
                    <a:pt x="716" y="461"/>
                  </a:cubicBezTo>
                  <a:cubicBezTo>
                    <a:pt x="716" y="461"/>
                    <a:pt x="716" y="461"/>
                    <a:pt x="717" y="461"/>
                  </a:cubicBezTo>
                  <a:cubicBezTo>
                    <a:pt x="718" y="460"/>
                    <a:pt x="719" y="459"/>
                    <a:pt x="720" y="458"/>
                  </a:cubicBezTo>
                  <a:cubicBezTo>
                    <a:pt x="720" y="458"/>
                    <a:pt x="720" y="459"/>
                    <a:pt x="720" y="459"/>
                  </a:cubicBezTo>
                  <a:cubicBezTo>
                    <a:pt x="720" y="459"/>
                    <a:pt x="719" y="459"/>
                    <a:pt x="719" y="459"/>
                  </a:cubicBezTo>
                  <a:cubicBezTo>
                    <a:pt x="719" y="459"/>
                    <a:pt x="719" y="459"/>
                    <a:pt x="719" y="460"/>
                  </a:cubicBezTo>
                  <a:cubicBezTo>
                    <a:pt x="719" y="460"/>
                    <a:pt x="720" y="460"/>
                    <a:pt x="720" y="461"/>
                  </a:cubicBezTo>
                  <a:cubicBezTo>
                    <a:pt x="719" y="461"/>
                    <a:pt x="718" y="461"/>
                    <a:pt x="718" y="462"/>
                  </a:cubicBezTo>
                  <a:cubicBezTo>
                    <a:pt x="719" y="462"/>
                    <a:pt x="719" y="462"/>
                    <a:pt x="719" y="462"/>
                  </a:cubicBezTo>
                  <a:cubicBezTo>
                    <a:pt x="720" y="462"/>
                    <a:pt x="719" y="463"/>
                    <a:pt x="719" y="463"/>
                  </a:cubicBezTo>
                  <a:cubicBezTo>
                    <a:pt x="719" y="463"/>
                    <a:pt x="718" y="463"/>
                    <a:pt x="718" y="463"/>
                  </a:cubicBezTo>
                  <a:cubicBezTo>
                    <a:pt x="718" y="464"/>
                    <a:pt x="718" y="464"/>
                    <a:pt x="718" y="464"/>
                  </a:cubicBezTo>
                  <a:cubicBezTo>
                    <a:pt x="718" y="465"/>
                    <a:pt x="718" y="465"/>
                    <a:pt x="718" y="465"/>
                  </a:cubicBezTo>
                  <a:cubicBezTo>
                    <a:pt x="718" y="465"/>
                    <a:pt x="718" y="466"/>
                    <a:pt x="718" y="466"/>
                  </a:cubicBezTo>
                  <a:cubicBezTo>
                    <a:pt x="718" y="466"/>
                    <a:pt x="719" y="467"/>
                    <a:pt x="719" y="467"/>
                  </a:cubicBezTo>
                  <a:cubicBezTo>
                    <a:pt x="719" y="467"/>
                    <a:pt x="719" y="467"/>
                    <a:pt x="719" y="468"/>
                  </a:cubicBezTo>
                  <a:cubicBezTo>
                    <a:pt x="719" y="468"/>
                    <a:pt x="718" y="468"/>
                    <a:pt x="718" y="468"/>
                  </a:cubicBezTo>
                  <a:cubicBezTo>
                    <a:pt x="718" y="469"/>
                    <a:pt x="718" y="469"/>
                    <a:pt x="718" y="469"/>
                  </a:cubicBezTo>
                  <a:cubicBezTo>
                    <a:pt x="717" y="469"/>
                    <a:pt x="717" y="470"/>
                    <a:pt x="717" y="470"/>
                  </a:cubicBezTo>
                  <a:cubicBezTo>
                    <a:pt x="718" y="471"/>
                    <a:pt x="718" y="471"/>
                    <a:pt x="717" y="472"/>
                  </a:cubicBezTo>
                  <a:cubicBezTo>
                    <a:pt x="717" y="471"/>
                    <a:pt x="717" y="471"/>
                    <a:pt x="716" y="471"/>
                  </a:cubicBezTo>
                  <a:cubicBezTo>
                    <a:pt x="716" y="472"/>
                    <a:pt x="716" y="474"/>
                    <a:pt x="717" y="474"/>
                  </a:cubicBezTo>
                  <a:cubicBezTo>
                    <a:pt x="717" y="475"/>
                    <a:pt x="717" y="475"/>
                    <a:pt x="717" y="475"/>
                  </a:cubicBezTo>
                  <a:cubicBezTo>
                    <a:pt x="717" y="475"/>
                    <a:pt x="717" y="476"/>
                    <a:pt x="717" y="476"/>
                  </a:cubicBezTo>
                  <a:cubicBezTo>
                    <a:pt x="717" y="477"/>
                    <a:pt x="718" y="477"/>
                    <a:pt x="718" y="476"/>
                  </a:cubicBezTo>
                  <a:cubicBezTo>
                    <a:pt x="718" y="476"/>
                    <a:pt x="718" y="475"/>
                    <a:pt x="718" y="475"/>
                  </a:cubicBezTo>
                  <a:cubicBezTo>
                    <a:pt x="718" y="475"/>
                    <a:pt x="718" y="475"/>
                    <a:pt x="718" y="474"/>
                  </a:cubicBezTo>
                  <a:cubicBezTo>
                    <a:pt x="719" y="474"/>
                    <a:pt x="719" y="474"/>
                    <a:pt x="720" y="473"/>
                  </a:cubicBezTo>
                  <a:cubicBezTo>
                    <a:pt x="720" y="473"/>
                    <a:pt x="720" y="473"/>
                    <a:pt x="720" y="473"/>
                  </a:cubicBezTo>
                  <a:cubicBezTo>
                    <a:pt x="720" y="473"/>
                    <a:pt x="720" y="472"/>
                    <a:pt x="720" y="472"/>
                  </a:cubicBezTo>
                  <a:cubicBezTo>
                    <a:pt x="720" y="471"/>
                    <a:pt x="720" y="471"/>
                    <a:pt x="721" y="470"/>
                  </a:cubicBezTo>
                  <a:cubicBezTo>
                    <a:pt x="721" y="470"/>
                    <a:pt x="721" y="470"/>
                    <a:pt x="721" y="470"/>
                  </a:cubicBezTo>
                  <a:cubicBezTo>
                    <a:pt x="721" y="470"/>
                    <a:pt x="722" y="470"/>
                    <a:pt x="722" y="470"/>
                  </a:cubicBezTo>
                  <a:cubicBezTo>
                    <a:pt x="722" y="471"/>
                    <a:pt x="722" y="471"/>
                    <a:pt x="722" y="472"/>
                  </a:cubicBezTo>
                  <a:cubicBezTo>
                    <a:pt x="722" y="472"/>
                    <a:pt x="722" y="473"/>
                    <a:pt x="723" y="474"/>
                  </a:cubicBezTo>
                  <a:cubicBezTo>
                    <a:pt x="723" y="474"/>
                    <a:pt x="723" y="474"/>
                    <a:pt x="723" y="474"/>
                  </a:cubicBezTo>
                  <a:cubicBezTo>
                    <a:pt x="723" y="474"/>
                    <a:pt x="724" y="473"/>
                    <a:pt x="724" y="473"/>
                  </a:cubicBezTo>
                  <a:cubicBezTo>
                    <a:pt x="724" y="473"/>
                    <a:pt x="724" y="473"/>
                    <a:pt x="724" y="472"/>
                  </a:cubicBezTo>
                  <a:cubicBezTo>
                    <a:pt x="724" y="472"/>
                    <a:pt x="724" y="472"/>
                    <a:pt x="725" y="472"/>
                  </a:cubicBezTo>
                  <a:cubicBezTo>
                    <a:pt x="725" y="472"/>
                    <a:pt x="725" y="473"/>
                    <a:pt x="725" y="473"/>
                  </a:cubicBezTo>
                  <a:cubicBezTo>
                    <a:pt x="724" y="474"/>
                    <a:pt x="724" y="474"/>
                    <a:pt x="724" y="475"/>
                  </a:cubicBezTo>
                  <a:cubicBezTo>
                    <a:pt x="724" y="475"/>
                    <a:pt x="725" y="475"/>
                    <a:pt x="725" y="475"/>
                  </a:cubicBezTo>
                  <a:cubicBezTo>
                    <a:pt x="726" y="475"/>
                    <a:pt x="726" y="475"/>
                    <a:pt x="726" y="474"/>
                  </a:cubicBezTo>
                  <a:cubicBezTo>
                    <a:pt x="727" y="472"/>
                    <a:pt x="728" y="471"/>
                    <a:pt x="728" y="469"/>
                  </a:cubicBezTo>
                  <a:cubicBezTo>
                    <a:pt x="728" y="466"/>
                    <a:pt x="726" y="463"/>
                    <a:pt x="725" y="460"/>
                  </a:cubicBezTo>
                  <a:cubicBezTo>
                    <a:pt x="724" y="459"/>
                    <a:pt x="724" y="459"/>
                    <a:pt x="723" y="459"/>
                  </a:cubicBezTo>
                  <a:cubicBezTo>
                    <a:pt x="723" y="459"/>
                    <a:pt x="722" y="459"/>
                    <a:pt x="722" y="459"/>
                  </a:cubicBezTo>
                  <a:cubicBezTo>
                    <a:pt x="721" y="458"/>
                    <a:pt x="722" y="458"/>
                    <a:pt x="722" y="458"/>
                  </a:cubicBezTo>
                  <a:cubicBezTo>
                    <a:pt x="723" y="457"/>
                    <a:pt x="725" y="456"/>
                    <a:pt x="726" y="456"/>
                  </a:cubicBezTo>
                  <a:cubicBezTo>
                    <a:pt x="726" y="456"/>
                    <a:pt x="726" y="456"/>
                    <a:pt x="726" y="456"/>
                  </a:cubicBezTo>
                  <a:cubicBezTo>
                    <a:pt x="727" y="456"/>
                    <a:pt x="727" y="456"/>
                    <a:pt x="726" y="457"/>
                  </a:cubicBezTo>
                  <a:cubicBezTo>
                    <a:pt x="726" y="457"/>
                    <a:pt x="725" y="457"/>
                    <a:pt x="725" y="457"/>
                  </a:cubicBezTo>
                  <a:cubicBezTo>
                    <a:pt x="725" y="458"/>
                    <a:pt x="725" y="459"/>
                    <a:pt x="726" y="459"/>
                  </a:cubicBezTo>
                  <a:cubicBezTo>
                    <a:pt x="727" y="461"/>
                    <a:pt x="729" y="464"/>
                    <a:pt x="729" y="467"/>
                  </a:cubicBezTo>
                  <a:cubicBezTo>
                    <a:pt x="729" y="467"/>
                    <a:pt x="729" y="468"/>
                    <a:pt x="729" y="468"/>
                  </a:cubicBezTo>
                  <a:cubicBezTo>
                    <a:pt x="729" y="469"/>
                    <a:pt x="729" y="469"/>
                    <a:pt x="729" y="470"/>
                  </a:cubicBezTo>
                  <a:cubicBezTo>
                    <a:pt x="728" y="471"/>
                    <a:pt x="729" y="472"/>
                    <a:pt x="729" y="472"/>
                  </a:cubicBezTo>
                  <a:cubicBezTo>
                    <a:pt x="730" y="473"/>
                    <a:pt x="731" y="473"/>
                    <a:pt x="732" y="472"/>
                  </a:cubicBezTo>
                  <a:cubicBezTo>
                    <a:pt x="732" y="473"/>
                    <a:pt x="731" y="474"/>
                    <a:pt x="731" y="474"/>
                  </a:cubicBezTo>
                  <a:cubicBezTo>
                    <a:pt x="730" y="474"/>
                    <a:pt x="730" y="474"/>
                    <a:pt x="729" y="474"/>
                  </a:cubicBezTo>
                  <a:cubicBezTo>
                    <a:pt x="728" y="474"/>
                    <a:pt x="728" y="475"/>
                    <a:pt x="728" y="475"/>
                  </a:cubicBezTo>
                  <a:cubicBezTo>
                    <a:pt x="727" y="475"/>
                    <a:pt x="727" y="476"/>
                    <a:pt x="727" y="476"/>
                  </a:cubicBezTo>
                  <a:cubicBezTo>
                    <a:pt x="727" y="477"/>
                    <a:pt x="727" y="477"/>
                    <a:pt x="727" y="478"/>
                  </a:cubicBezTo>
                  <a:cubicBezTo>
                    <a:pt x="728" y="480"/>
                    <a:pt x="729" y="482"/>
                    <a:pt x="729" y="484"/>
                  </a:cubicBezTo>
                  <a:cubicBezTo>
                    <a:pt x="729" y="484"/>
                    <a:pt x="729" y="485"/>
                    <a:pt x="729" y="485"/>
                  </a:cubicBezTo>
                  <a:cubicBezTo>
                    <a:pt x="729" y="485"/>
                    <a:pt x="729" y="485"/>
                    <a:pt x="729" y="485"/>
                  </a:cubicBezTo>
                  <a:cubicBezTo>
                    <a:pt x="732" y="485"/>
                    <a:pt x="734" y="483"/>
                    <a:pt x="735" y="482"/>
                  </a:cubicBezTo>
                  <a:cubicBezTo>
                    <a:pt x="737" y="480"/>
                    <a:pt x="738" y="478"/>
                    <a:pt x="739" y="476"/>
                  </a:cubicBezTo>
                  <a:cubicBezTo>
                    <a:pt x="739" y="474"/>
                    <a:pt x="740" y="472"/>
                    <a:pt x="739" y="471"/>
                  </a:cubicBezTo>
                  <a:cubicBezTo>
                    <a:pt x="739" y="469"/>
                    <a:pt x="738" y="467"/>
                    <a:pt x="738" y="465"/>
                  </a:cubicBezTo>
                  <a:cubicBezTo>
                    <a:pt x="738" y="464"/>
                    <a:pt x="738" y="463"/>
                    <a:pt x="738" y="462"/>
                  </a:cubicBezTo>
                  <a:cubicBezTo>
                    <a:pt x="738" y="462"/>
                    <a:pt x="738" y="461"/>
                    <a:pt x="739" y="461"/>
                  </a:cubicBezTo>
                  <a:cubicBezTo>
                    <a:pt x="739" y="461"/>
                    <a:pt x="739" y="461"/>
                    <a:pt x="739" y="462"/>
                  </a:cubicBezTo>
                  <a:cubicBezTo>
                    <a:pt x="740" y="460"/>
                    <a:pt x="740" y="460"/>
                    <a:pt x="740" y="460"/>
                  </a:cubicBezTo>
                  <a:cubicBezTo>
                    <a:pt x="740" y="460"/>
                    <a:pt x="740" y="458"/>
                    <a:pt x="740" y="458"/>
                  </a:cubicBezTo>
                  <a:close/>
                  <a:moveTo>
                    <a:pt x="553" y="364"/>
                  </a:moveTo>
                  <a:cubicBezTo>
                    <a:pt x="554" y="364"/>
                    <a:pt x="554" y="364"/>
                    <a:pt x="554" y="364"/>
                  </a:cubicBezTo>
                  <a:cubicBezTo>
                    <a:pt x="554" y="364"/>
                    <a:pt x="555" y="363"/>
                    <a:pt x="555" y="363"/>
                  </a:cubicBezTo>
                  <a:cubicBezTo>
                    <a:pt x="555" y="362"/>
                    <a:pt x="556" y="362"/>
                    <a:pt x="556" y="362"/>
                  </a:cubicBezTo>
                  <a:cubicBezTo>
                    <a:pt x="556" y="362"/>
                    <a:pt x="557" y="362"/>
                    <a:pt x="557" y="361"/>
                  </a:cubicBezTo>
                  <a:cubicBezTo>
                    <a:pt x="557" y="361"/>
                    <a:pt x="557" y="361"/>
                    <a:pt x="557" y="361"/>
                  </a:cubicBezTo>
                  <a:cubicBezTo>
                    <a:pt x="556" y="360"/>
                    <a:pt x="556" y="361"/>
                    <a:pt x="556" y="361"/>
                  </a:cubicBezTo>
                  <a:cubicBezTo>
                    <a:pt x="556" y="361"/>
                    <a:pt x="555" y="361"/>
                    <a:pt x="555" y="361"/>
                  </a:cubicBezTo>
                  <a:cubicBezTo>
                    <a:pt x="555" y="361"/>
                    <a:pt x="555" y="362"/>
                    <a:pt x="554" y="362"/>
                  </a:cubicBezTo>
                  <a:cubicBezTo>
                    <a:pt x="554" y="362"/>
                    <a:pt x="554" y="363"/>
                    <a:pt x="554" y="363"/>
                  </a:cubicBezTo>
                  <a:cubicBezTo>
                    <a:pt x="553" y="363"/>
                    <a:pt x="553" y="364"/>
                    <a:pt x="553" y="364"/>
                  </a:cubicBezTo>
                  <a:cubicBezTo>
                    <a:pt x="553" y="364"/>
                    <a:pt x="553" y="364"/>
                    <a:pt x="553" y="364"/>
                  </a:cubicBezTo>
                  <a:close/>
                  <a:moveTo>
                    <a:pt x="458" y="349"/>
                  </a:moveTo>
                  <a:cubicBezTo>
                    <a:pt x="459" y="349"/>
                    <a:pt x="459" y="348"/>
                    <a:pt x="459" y="348"/>
                  </a:cubicBezTo>
                  <a:cubicBezTo>
                    <a:pt x="458" y="347"/>
                    <a:pt x="458" y="347"/>
                    <a:pt x="458" y="347"/>
                  </a:cubicBezTo>
                  <a:cubicBezTo>
                    <a:pt x="458" y="347"/>
                    <a:pt x="457" y="348"/>
                    <a:pt x="457" y="348"/>
                  </a:cubicBezTo>
                  <a:cubicBezTo>
                    <a:pt x="457" y="348"/>
                    <a:pt x="457" y="348"/>
                    <a:pt x="457" y="349"/>
                  </a:cubicBezTo>
                  <a:cubicBezTo>
                    <a:pt x="457" y="349"/>
                    <a:pt x="457" y="349"/>
                    <a:pt x="457" y="349"/>
                  </a:cubicBezTo>
                  <a:cubicBezTo>
                    <a:pt x="458" y="350"/>
                    <a:pt x="458" y="349"/>
                    <a:pt x="458" y="349"/>
                  </a:cubicBezTo>
                  <a:close/>
                  <a:moveTo>
                    <a:pt x="457" y="351"/>
                  </a:moveTo>
                  <a:cubicBezTo>
                    <a:pt x="456" y="351"/>
                    <a:pt x="456" y="351"/>
                    <a:pt x="456" y="351"/>
                  </a:cubicBezTo>
                  <a:cubicBezTo>
                    <a:pt x="456" y="351"/>
                    <a:pt x="456" y="351"/>
                    <a:pt x="456" y="351"/>
                  </a:cubicBezTo>
                  <a:cubicBezTo>
                    <a:pt x="457" y="352"/>
                    <a:pt x="457" y="351"/>
                    <a:pt x="457" y="351"/>
                  </a:cubicBezTo>
                  <a:close/>
                  <a:moveTo>
                    <a:pt x="449" y="356"/>
                  </a:moveTo>
                  <a:cubicBezTo>
                    <a:pt x="449" y="357"/>
                    <a:pt x="449" y="357"/>
                    <a:pt x="449" y="357"/>
                  </a:cubicBezTo>
                  <a:cubicBezTo>
                    <a:pt x="449" y="357"/>
                    <a:pt x="449" y="357"/>
                    <a:pt x="450" y="357"/>
                  </a:cubicBezTo>
                  <a:cubicBezTo>
                    <a:pt x="450" y="357"/>
                    <a:pt x="450" y="357"/>
                    <a:pt x="450" y="357"/>
                  </a:cubicBezTo>
                  <a:cubicBezTo>
                    <a:pt x="450" y="356"/>
                    <a:pt x="449" y="356"/>
                    <a:pt x="449" y="356"/>
                  </a:cubicBezTo>
                  <a:close/>
                  <a:moveTo>
                    <a:pt x="438" y="376"/>
                  </a:moveTo>
                  <a:cubicBezTo>
                    <a:pt x="438" y="376"/>
                    <a:pt x="437" y="377"/>
                    <a:pt x="437" y="377"/>
                  </a:cubicBezTo>
                  <a:cubicBezTo>
                    <a:pt x="438" y="378"/>
                    <a:pt x="438" y="378"/>
                    <a:pt x="439" y="378"/>
                  </a:cubicBezTo>
                  <a:cubicBezTo>
                    <a:pt x="439" y="377"/>
                    <a:pt x="440" y="377"/>
                    <a:pt x="440" y="377"/>
                  </a:cubicBezTo>
                  <a:cubicBezTo>
                    <a:pt x="440" y="376"/>
                    <a:pt x="440" y="376"/>
                    <a:pt x="439" y="375"/>
                  </a:cubicBezTo>
                  <a:cubicBezTo>
                    <a:pt x="439" y="375"/>
                    <a:pt x="438" y="376"/>
                    <a:pt x="438" y="376"/>
                  </a:cubicBezTo>
                  <a:close/>
                  <a:moveTo>
                    <a:pt x="380" y="446"/>
                  </a:moveTo>
                  <a:cubicBezTo>
                    <a:pt x="380" y="446"/>
                    <a:pt x="381" y="446"/>
                    <a:pt x="382" y="446"/>
                  </a:cubicBezTo>
                  <a:cubicBezTo>
                    <a:pt x="382" y="446"/>
                    <a:pt x="382" y="445"/>
                    <a:pt x="382" y="445"/>
                  </a:cubicBezTo>
                  <a:cubicBezTo>
                    <a:pt x="382" y="444"/>
                    <a:pt x="381" y="444"/>
                    <a:pt x="381" y="444"/>
                  </a:cubicBezTo>
                  <a:cubicBezTo>
                    <a:pt x="380" y="445"/>
                    <a:pt x="380" y="445"/>
                    <a:pt x="380" y="445"/>
                  </a:cubicBezTo>
                  <a:cubicBezTo>
                    <a:pt x="379" y="445"/>
                    <a:pt x="380" y="446"/>
                    <a:pt x="380" y="446"/>
                  </a:cubicBezTo>
                  <a:close/>
                  <a:moveTo>
                    <a:pt x="389" y="444"/>
                  </a:moveTo>
                  <a:cubicBezTo>
                    <a:pt x="389" y="445"/>
                    <a:pt x="389" y="445"/>
                    <a:pt x="389" y="445"/>
                  </a:cubicBezTo>
                  <a:cubicBezTo>
                    <a:pt x="390" y="446"/>
                    <a:pt x="390" y="445"/>
                    <a:pt x="391" y="445"/>
                  </a:cubicBezTo>
                  <a:cubicBezTo>
                    <a:pt x="391" y="445"/>
                    <a:pt x="391" y="445"/>
                    <a:pt x="392" y="445"/>
                  </a:cubicBezTo>
                  <a:cubicBezTo>
                    <a:pt x="392" y="445"/>
                    <a:pt x="392" y="445"/>
                    <a:pt x="391" y="444"/>
                  </a:cubicBezTo>
                  <a:cubicBezTo>
                    <a:pt x="391" y="444"/>
                    <a:pt x="391" y="444"/>
                    <a:pt x="391" y="444"/>
                  </a:cubicBezTo>
                  <a:cubicBezTo>
                    <a:pt x="390" y="444"/>
                    <a:pt x="390" y="444"/>
                    <a:pt x="390" y="444"/>
                  </a:cubicBezTo>
                  <a:cubicBezTo>
                    <a:pt x="390" y="444"/>
                    <a:pt x="389" y="444"/>
                    <a:pt x="389" y="444"/>
                  </a:cubicBezTo>
                  <a:close/>
                  <a:moveTo>
                    <a:pt x="341" y="397"/>
                  </a:moveTo>
                  <a:cubicBezTo>
                    <a:pt x="342" y="397"/>
                    <a:pt x="343" y="396"/>
                    <a:pt x="343" y="395"/>
                  </a:cubicBezTo>
                  <a:cubicBezTo>
                    <a:pt x="343" y="395"/>
                    <a:pt x="344" y="394"/>
                    <a:pt x="344" y="393"/>
                  </a:cubicBezTo>
                  <a:cubicBezTo>
                    <a:pt x="344" y="392"/>
                    <a:pt x="345" y="391"/>
                    <a:pt x="344" y="391"/>
                  </a:cubicBezTo>
                  <a:cubicBezTo>
                    <a:pt x="343" y="391"/>
                    <a:pt x="343" y="392"/>
                    <a:pt x="343" y="392"/>
                  </a:cubicBezTo>
                  <a:cubicBezTo>
                    <a:pt x="342" y="393"/>
                    <a:pt x="342" y="393"/>
                    <a:pt x="341" y="393"/>
                  </a:cubicBezTo>
                  <a:cubicBezTo>
                    <a:pt x="340" y="393"/>
                    <a:pt x="340" y="394"/>
                    <a:pt x="340" y="395"/>
                  </a:cubicBezTo>
                  <a:cubicBezTo>
                    <a:pt x="341" y="396"/>
                    <a:pt x="341" y="397"/>
                    <a:pt x="341" y="397"/>
                  </a:cubicBezTo>
                  <a:close/>
                  <a:moveTo>
                    <a:pt x="321" y="264"/>
                  </a:moveTo>
                  <a:cubicBezTo>
                    <a:pt x="322" y="264"/>
                    <a:pt x="322" y="264"/>
                    <a:pt x="323" y="264"/>
                  </a:cubicBezTo>
                  <a:cubicBezTo>
                    <a:pt x="323" y="264"/>
                    <a:pt x="323" y="264"/>
                    <a:pt x="324" y="264"/>
                  </a:cubicBezTo>
                  <a:cubicBezTo>
                    <a:pt x="324" y="263"/>
                    <a:pt x="324" y="262"/>
                    <a:pt x="324" y="262"/>
                  </a:cubicBezTo>
                  <a:cubicBezTo>
                    <a:pt x="323" y="262"/>
                    <a:pt x="323" y="262"/>
                    <a:pt x="323" y="262"/>
                  </a:cubicBezTo>
                  <a:cubicBezTo>
                    <a:pt x="322" y="261"/>
                    <a:pt x="322" y="261"/>
                    <a:pt x="321" y="261"/>
                  </a:cubicBezTo>
                  <a:cubicBezTo>
                    <a:pt x="321" y="261"/>
                    <a:pt x="320" y="262"/>
                    <a:pt x="320" y="263"/>
                  </a:cubicBezTo>
                  <a:cubicBezTo>
                    <a:pt x="320" y="264"/>
                    <a:pt x="321" y="264"/>
                    <a:pt x="321" y="264"/>
                  </a:cubicBezTo>
                  <a:close/>
                  <a:moveTo>
                    <a:pt x="426" y="23"/>
                  </a:moveTo>
                  <a:cubicBezTo>
                    <a:pt x="426" y="23"/>
                    <a:pt x="426" y="23"/>
                    <a:pt x="426" y="22"/>
                  </a:cubicBezTo>
                  <a:cubicBezTo>
                    <a:pt x="426" y="22"/>
                    <a:pt x="426" y="22"/>
                    <a:pt x="426" y="22"/>
                  </a:cubicBezTo>
                  <a:cubicBezTo>
                    <a:pt x="427" y="21"/>
                    <a:pt x="427" y="21"/>
                    <a:pt x="427" y="21"/>
                  </a:cubicBezTo>
                  <a:cubicBezTo>
                    <a:pt x="427" y="20"/>
                    <a:pt x="428" y="20"/>
                    <a:pt x="428" y="20"/>
                  </a:cubicBezTo>
                  <a:cubicBezTo>
                    <a:pt x="427" y="20"/>
                    <a:pt x="427" y="20"/>
                    <a:pt x="427" y="20"/>
                  </a:cubicBezTo>
                  <a:cubicBezTo>
                    <a:pt x="427" y="20"/>
                    <a:pt x="427" y="20"/>
                    <a:pt x="426" y="20"/>
                  </a:cubicBezTo>
                  <a:cubicBezTo>
                    <a:pt x="426" y="20"/>
                    <a:pt x="426" y="20"/>
                    <a:pt x="426" y="21"/>
                  </a:cubicBezTo>
                  <a:cubicBezTo>
                    <a:pt x="426" y="21"/>
                    <a:pt x="426" y="20"/>
                    <a:pt x="426" y="20"/>
                  </a:cubicBezTo>
                  <a:cubicBezTo>
                    <a:pt x="425" y="20"/>
                    <a:pt x="425" y="21"/>
                    <a:pt x="425" y="21"/>
                  </a:cubicBezTo>
                  <a:cubicBezTo>
                    <a:pt x="425" y="21"/>
                    <a:pt x="425" y="22"/>
                    <a:pt x="425" y="22"/>
                  </a:cubicBezTo>
                  <a:cubicBezTo>
                    <a:pt x="425" y="22"/>
                    <a:pt x="426" y="22"/>
                    <a:pt x="426" y="22"/>
                  </a:cubicBezTo>
                  <a:cubicBezTo>
                    <a:pt x="425" y="22"/>
                    <a:pt x="425" y="23"/>
                    <a:pt x="425" y="23"/>
                  </a:cubicBezTo>
                  <a:cubicBezTo>
                    <a:pt x="425" y="23"/>
                    <a:pt x="426" y="23"/>
                    <a:pt x="426" y="23"/>
                  </a:cubicBezTo>
                  <a:close/>
                  <a:moveTo>
                    <a:pt x="503" y="50"/>
                  </a:moveTo>
                  <a:cubicBezTo>
                    <a:pt x="503" y="50"/>
                    <a:pt x="503" y="49"/>
                    <a:pt x="504" y="49"/>
                  </a:cubicBezTo>
                  <a:cubicBezTo>
                    <a:pt x="504" y="49"/>
                    <a:pt x="504" y="48"/>
                    <a:pt x="505" y="48"/>
                  </a:cubicBezTo>
                  <a:cubicBezTo>
                    <a:pt x="505" y="47"/>
                    <a:pt x="506" y="46"/>
                    <a:pt x="506" y="46"/>
                  </a:cubicBezTo>
                  <a:cubicBezTo>
                    <a:pt x="507" y="45"/>
                    <a:pt x="507" y="45"/>
                    <a:pt x="507" y="45"/>
                  </a:cubicBezTo>
                  <a:cubicBezTo>
                    <a:pt x="507" y="44"/>
                    <a:pt x="508" y="44"/>
                    <a:pt x="508" y="44"/>
                  </a:cubicBezTo>
                  <a:cubicBezTo>
                    <a:pt x="509" y="43"/>
                    <a:pt x="509" y="43"/>
                    <a:pt x="509" y="42"/>
                  </a:cubicBezTo>
                  <a:cubicBezTo>
                    <a:pt x="509" y="42"/>
                    <a:pt x="509" y="41"/>
                    <a:pt x="509" y="41"/>
                  </a:cubicBezTo>
                  <a:cubicBezTo>
                    <a:pt x="509" y="41"/>
                    <a:pt x="508" y="41"/>
                    <a:pt x="508" y="41"/>
                  </a:cubicBezTo>
                  <a:cubicBezTo>
                    <a:pt x="508" y="41"/>
                    <a:pt x="507" y="41"/>
                    <a:pt x="507" y="41"/>
                  </a:cubicBezTo>
                  <a:cubicBezTo>
                    <a:pt x="507" y="41"/>
                    <a:pt x="507" y="41"/>
                    <a:pt x="508" y="41"/>
                  </a:cubicBezTo>
                  <a:cubicBezTo>
                    <a:pt x="508" y="41"/>
                    <a:pt x="509" y="41"/>
                    <a:pt x="509" y="40"/>
                  </a:cubicBezTo>
                  <a:cubicBezTo>
                    <a:pt x="509" y="40"/>
                    <a:pt x="509" y="40"/>
                    <a:pt x="508" y="40"/>
                  </a:cubicBezTo>
                  <a:cubicBezTo>
                    <a:pt x="508" y="40"/>
                    <a:pt x="507" y="40"/>
                    <a:pt x="507" y="40"/>
                  </a:cubicBezTo>
                  <a:cubicBezTo>
                    <a:pt x="506" y="41"/>
                    <a:pt x="506" y="42"/>
                    <a:pt x="505" y="43"/>
                  </a:cubicBezTo>
                  <a:cubicBezTo>
                    <a:pt x="505" y="44"/>
                    <a:pt x="504" y="44"/>
                    <a:pt x="504" y="46"/>
                  </a:cubicBezTo>
                  <a:cubicBezTo>
                    <a:pt x="504" y="46"/>
                    <a:pt x="503" y="47"/>
                    <a:pt x="503" y="48"/>
                  </a:cubicBezTo>
                  <a:cubicBezTo>
                    <a:pt x="503" y="48"/>
                    <a:pt x="503" y="48"/>
                    <a:pt x="503" y="49"/>
                  </a:cubicBezTo>
                  <a:cubicBezTo>
                    <a:pt x="503" y="49"/>
                    <a:pt x="503" y="49"/>
                    <a:pt x="503" y="49"/>
                  </a:cubicBezTo>
                  <a:cubicBezTo>
                    <a:pt x="503" y="49"/>
                    <a:pt x="502" y="49"/>
                    <a:pt x="502" y="49"/>
                  </a:cubicBezTo>
                  <a:cubicBezTo>
                    <a:pt x="503" y="50"/>
                    <a:pt x="503" y="50"/>
                    <a:pt x="503" y="50"/>
                  </a:cubicBezTo>
                  <a:close/>
                </a:path>
              </a:pathLst>
            </a:custGeom>
            <a:solidFill>
              <a:schemeClr val="accent3"/>
            </a:solidFill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548105B-81F5-41D7-851A-BD40E3B5D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170" y="2064279"/>
              <a:ext cx="958278" cy="748448"/>
            </a:xfrm>
            <a:custGeom>
              <a:avLst/>
              <a:gdLst>
                <a:gd name="T0" fmla="*/ 0 w 580"/>
                <a:gd name="T1" fmla="*/ 0 h 453"/>
                <a:gd name="T2" fmla="*/ 0 w 580"/>
                <a:gd name="T3" fmla="*/ 343 h 453"/>
                <a:gd name="T4" fmla="*/ 0 w 580"/>
                <a:gd name="T5" fmla="*/ 453 h 453"/>
                <a:gd name="T6" fmla="*/ 580 w 580"/>
                <a:gd name="T7" fmla="*/ 453 h 453"/>
                <a:gd name="T8" fmla="*/ 580 w 580"/>
                <a:gd name="T9" fmla="*/ 0 h 453"/>
                <a:gd name="T10" fmla="*/ 0 w 580"/>
                <a:gd name="T11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0" h="453">
                  <a:moveTo>
                    <a:pt x="0" y="0"/>
                  </a:moveTo>
                  <a:lnTo>
                    <a:pt x="0" y="343"/>
                  </a:lnTo>
                  <a:lnTo>
                    <a:pt x="0" y="453"/>
                  </a:lnTo>
                  <a:lnTo>
                    <a:pt x="580" y="453"/>
                  </a:lnTo>
                  <a:lnTo>
                    <a:pt x="58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AEE75F0-6631-473F-9A2E-2495E114CF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50432" y="1679315"/>
              <a:ext cx="827755" cy="855842"/>
            </a:xfrm>
            <a:custGeom>
              <a:avLst/>
              <a:gdLst>
                <a:gd name="T0" fmla="*/ 79 w 209"/>
                <a:gd name="T1" fmla="*/ 5 h 216"/>
                <a:gd name="T2" fmla="*/ 76 w 209"/>
                <a:gd name="T3" fmla="*/ 10 h 216"/>
                <a:gd name="T4" fmla="*/ 82 w 209"/>
                <a:gd name="T5" fmla="*/ 1 h 216"/>
                <a:gd name="T6" fmla="*/ 79 w 209"/>
                <a:gd name="T7" fmla="*/ 2 h 216"/>
                <a:gd name="T8" fmla="*/ 208 w 209"/>
                <a:gd name="T9" fmla="*/ 81 h 216"/>
                <a:gd name="T10" fmla="*/ 206 w 209"/>
                <a:gd name="T11" fmla="*/ 81 h 216"/>
                <a:gd name="T12" fmla="*/ 202 w 209"/>
                <a:gd name="T13" fmla="*/ 89 h 216"/>
                <a:gd name="T14" fmla="*/ 199 w 209"/>
                <a:gd name="T15" fmla="*/ 97 h 216"/>
                <a:gd name="T16" fmla="*/ 197 w 209"/>
                <a:gd name="T17" fmla="*/ 103 h 216"/>
                <a:gd name="T18" fmla="*/ 190 w 209"/>
                <a:gd name="T19" fmla="*/ 115 h 216"/>
                <a:gd name="T20" fmla="*/ 186 w 209"/>
                <a:gd name="T21" fmla="*/ 125 h 216"/>
                <a:gd name="T22" fmla="*/ 186 w 209"/>
                <a:gd name="T23" fmla="*/ 133 h 216"/>
                <a:gd name="T24" fmla="*/ 184 w 209"/>
                <a:gd name="T25" fmla="*/ 138 h 216"/>
                <a:gd name="T26" fmla="*/ 180 w 209"/>
                <a:gd name="T27" fmla="*/ 147 h 216"/>
                <a:gd name="T28" fmla="*/ 179 w 209"/>
                <a:gd name="T29" fmla="*/ 155 h 216"/>
                <a:gd name="T30" fmla="*/ 179 w 209"/>
                <a:gd name="T31" fmla="*/ 164 h 216"/>
                <a:gd name="T32" fmla="*/ 175 w 209"/>
                <a:gd name="T33" fmla="*/ 174 h 216"/>
                <a:gd name="T34" fmla="*/ 173 w 209"/>
                <a:gd name="T35" fmla="*/ 181 h 216"/>
                <a:gd name="T36" fmla="*/ 173 w 209"/>
                <a:gd name="T37" fmla="*/ 193 h 216"/>
                <a:gd name="T38" fmla="*/ 176 w 209"/>
                <a:gd name="T39" fmla="*/ 202 h 216"/>
                <a:gd name="T40" fmla="*/ 177 w 209"/>
                <a:gd name="T41" fmla="*/ 207 h 216"/>
                <a:gd name="T42" fmla="*/ 176 w 209"/>
                <a:gd name="T43" fmla="*/ 216 h 216"/>
                <a:gd name="T44" fmla="*/ 74 w 209"/>
                <a:gd name="T45" fmla="*/ 210 h 216"/>
                <a:gd name="T46" fmla="*/ 63 w 209"/>
                <a:gd name="T47" fmla="*/ 201 h 216"/>
                <a:gd name="T48" fmla="*/ 60 w 209"/>
                <a:gd name="T49" fmla="*/ 189 h 216"/>
                <a:gd name="T50" fmla="*/ 58 w 209"/>
                <a:gd name="T51" fmla="*/ 176 h 216"/>
                <a:gd name="T52" fmla="*/ 56 w 209"/>
                <a:gd name="T53" fmla="*/ 162 h 216"/>
                <a:gd name="T54" fmla="*/ 46 w 209"/>
                <a:gd name="T55" fmla="*/ 145 h 216"/>
                <a:gd name="T56" fmla="*/ 32 w 209"/>
                <a:gd name="T57" fmla="*/ 127 h 216"/>
                <a:gd name="T58" fmla="*/ 13 w 209"/>
                <a:gd name="T59" fmla="*/ 118 h 216"/>
                <a:gd name="T60" fmla="*/ 5 w 209"/>
                <a:gd name="T61" fmla="*/ 100 h 216"/>
                <a:gd name="T62" fmla="*/ 5 w 209"/>
                <a:gd name="T63" fmla="*/ 87 h 216"/>
                <a:gd name="T64" fmla="*/ 5 w 209"/>
                <a:gd name="T65" fmla="*/ 69 h 216"/>
                <a:gd name="T66" fmla="*/ 5 w 209"/>
                <a:gd name="T67" fmla="*/ 56 h 216"/>
                <a:gd name="T68" fmla="*/ 17 w 209"/>
                <a:gd name="T69" fmla="*/ 47 h 216"/>
                <a:gd name="T70" fmla="*/ 24 w 209"/>
                <a:gd name="T71" fmla="*/ 15 h 216"/>
                <a:gd name="T72" fmla="*/ 31 w 209"/>
                <a:gd name="T73" fmla="*/ 14 h 216"/>
                <a:gd name="T74" fmla="*/ 47 w 209"/>
                <a:gd name="T75" fmla="*/ 10 h 216"/>
                <a:gd name="T76" fmla="*/ 64 w 209"/>
                <a:gd name="T77" fmla="*/ 4 h 216"/>
                <a:gd name="T78" fmla="*/ 74 w 209"/>
                <a:gd name="T79" fmla="*/ 3 h 216"/>
                <a:gd name="T80" fmla="*/ 70 w 209"/>
                <a:gd name="T81" fmla="*/ 14 h 216"/>
                <a:gd name="T82" fmla="*/ 71 w 209"/>
                <a:gd name="T83" fmla="*/ 18 h 216"/>
                <a:gd name="T84" fmla="*/ 83 w 209"/>
                <a:gd name="T85" fmla="*/ 19 h 216"/>
                <a:gd name="T86" fmla="*/ 89 w 209"/>
                <a:gd name="T87" fmla="*/ 22 h 216"/>
                <a:gd name="T88" fmla="*/ 141 w 209"/>
                <a:gd name="T89" fmla="*/ 47 h 216"/>
                <a:gd name="T90" fmla="*/ 153 w 209"/>
                <a:gd name="T91" fmla="*/ 48 h 216"/>
                <a:gd name="T92" fmla="*/ 162 w 209"/>
                <a:gd name="T93" fmla="*/ 50 h 216"/>
                <a:gd name="T94" fmla="*/ 165 w 209"/>
                <a:gd name="T95" fmla="*/ 57 h 216"/>
                <a:gd name="T96" fmla="*/ 174 w 209"/>
                <a:gd name="T97" fmla="*/ 60 h 216"/>
                <a:gd name="T98" fmla="*/ 177 w 209"/>
                <a:gd name="T99" fmla="*/ 69 h 216"/>
                <a:gd name="T100" fmla="*/ 174 w 209"/>
                <a:gd name="T101" fmla="*/ 76 h 216"/>
                <a:gd name="T102" fmla="*/ 181 w 209"/>
                <a:gd name="T103" fmla="*/ 78 h 216"/>
                <a:gd name="T104" fmla="*/ 181 w 209"/>
                <a:gd name="T105" fmla="*/ 91 h 216"/>
                <a:gd name="T106" fmla="*/ 177 w 209"/>
                <a:gd name="T107" fmla="*/ 100 h 216"/>
                <a:gd name="T108" fmla="*/ 170 w 209"/>
                <a:gd name="T109" fmla="*/ 113 h 216"/>
                <a:gd name="T110" fmla="*/ 172 w 209"/>
                <a:gd name="T111" fmla="*/ 119 h 216"/>
                <a:gd name="T112" fmla="*/ 180 w 209"/>
                <a:gd name="T113" fmla="*/ 109 h 216"/>
                <a:gd name="T114" fmla="*/ 190 w 209"/>
                <a:gd name="T115" fmla="*/ 104 h 216"/>
                <a:gd name="T116" fmla="*/ 194 w 209"/>
                <a:gd name="T117" fmla="*/ 95 h 216"/>
                <a:gd name="T118" fmla="*/ 201 w 209"/>
                <a:gd name="T119" fmla="*/ 8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" h="216">
                  <a:moveTo>
                    <a:pt x="74" y="9"/>
                  </a:moveTo>
                  <a:cubicBezTo>
                    <a:pt x="74" y="9"/>
                    <a:pt x="74" y="8"/>
                    <a:pt x="74" y="8"/>
                  </a:cubicBezTo>
                  <a:cubicBezTo>
                    <a:pt x="75" y="7"/>
                    <a:pt x="75" y="7"/>
                    <a:pt x="76" y="7"/>
                  </a:cubicBezTo>
                  <a:cubicBezTo>
                    <a:pt x="76" y="7"/>
                    <a:pt x="77" y="6"/>
                    <a:pt x="77" y="6"/>
                  </a:cubicBezTo>
                  <a:cubicBezTo>
                    <a:pt x="78" y="6"/>
                    <a:pt x="78" y="5"/>
                    <a:pt x="79" y="5"/>
                  </a:cubicBezTo>
                  <a:cubicBezTo>
                    <a:pt x="79" y="5"/>
                    <a:pt x="80" y="4"/>
                    <a:pt x="80" y="5"/>
                  </a:cubicBezTo>
                  <a:cubicBezTo>
                    <a:pt x="80" y="5"/>
                    <a:pt x="81" y="6"/>
                    <a:pt x="80" y="6"/>
                  </a:cubicBezTo>
                  <a:cubicBezTo>
                    <a:pt x="80" y="6"/>
                    <a:pt x="79" y="7"/>
                    <a:pt x="79" y="7"/>
                  </a:cubicBezTo>
                  <a:cubicBezTo>
                    <a:pt x="78" y="7"/>
                    <a:pt x="77" y="8"/>
                    <a:pt x="77" y="9"/>
                  </a:cubicBezTo>
                  <a:cubicBezTo>
                    <a:pt x="76" y="9"/>
                    <a:pt x="76" y="9"/>
                    <a:pt x="76" y="10"/>
                  </a:cubicBezTo>
                  <a:cubicBezTo>
                    <a:pt x="75" y="10"/>
                    <a:pt x="75" y="10"/>
                    <a:pt x="75" y="10"/>
                  </a:cubicBezTo>
                  <a:cubicBezTo>
                    <a:pt x="75" y="10"/>
                    <a:pt x="74" y="10"/>
                    <a:pt x="74" y="10"/>
                  </a:cubicBezTo>
                  <a:cubicBezTo>
                    <a:pt x="74" y="10"/>
                    <a:pt x="74" y="10"/>
                    <a:pt x="74" y="9"/>
                  </a:cubicBezTo>
                  <a:close/>
                  <a:moveTo>
                    <a:pt x="81" y="2"/>
                  </a:moveTo>
                  <a:cubicBezTo>
                    <a:pt x="82" y="2"/>
                    <a:pt x="82" y="2"/>
                    <a:pt x="82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0"/>
                    <a:pt x="81" y="0"/>
                    <a:pt x="81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80" y="2"/>
                    <a:pt x="81" y="3"/>
                    <a:pt x="81" y="2"/>
                  </a:cubicBezTo>
                  <a:close/>
                  <a:moveTo>
                    <a:pt x="206" y="81"/>
                  </a:moveTo>
                  <a:cubicBezTo>
                    <a:pt x="207" y="81"/>
                    <a:pt x="207" y="81"/>
                    <a:pt x="208" y="81"/>
                  </a:cubicBezTo>
                  <a:cubicBezTo>
                    <a:pt x="208" y="81"/>
                    <a:pt x="208" y="81"/>
                    <a:pt x="208" y="81"/>
                  </a:cubicBezTo>
                  <a:cubicBezTo>
                    <a:pt x="209" y="81"/>
                    <a:pt x="209" y="80"/>
                    <a:pt x="209" y="80"/>
                  </a:cubicBezTo>
                  <a:cubicBezTo>
                    <a:pt x="208" y="79"/>
                    <a:pt x="208" y="79"/>
                    <a:pt x="207" y="78"/>
                  </a:cubicBezTo>
                  <a:cubicBezTo>
                    <a:pt x="207" y="78"/>
                    <a:pt x="207" y="77"/>
                    <a:pt x="206" y="77"/>
                  </a:cubicBezTo>
                  <a:cubicBezTo>
                    <a:pt x="205" y="78"/>
                    <a:pt x="205" y="79"/>
                    <a:pt x="206" y="79"/>
                  </a:cubicBezTo>
                  <a:cubicBezTo>
                    <a:pt x="206" y="80"/>
                    <a:pt x="206" y="81"/>
                    <a:pt x="206" y="81"/>
                  </a:cubicBezTo>
                  <a:close/>
                  <a:moveTo>
                    <a:pt x="205" y="84"/>
                  </a:moveTo>
                  <a:cubicBezTo>
                    <a:pt x="205" y="85"/>
                    <a:pt x="204" y="85"/>
                    <a:pt x="204" y="86"/>
                  </a:cubicBezTo>
                  <a:cubicBezTo>
                    <a:pt x="204" y="86"/>
                    <a:pt x="204" y="86"/>
                    <a:pt x="203" y="86"/>
                  </a:cubicBezTo>
                  <a:cubicBezTo>
                    <a:pt x="203" y="86"/>
                    <a:pt x="202" y="86"/>
                    <a:pt x="202" y="87"/>
                  </a:cubicBezTo>
                  <a:cubicBezTo>
                    <a:pt x="202" y="88"/>
                    <a:pt x="202" y="88"/>
                    <a:pt x="202" y="89"/>
                  </a:cubicBezTo>
                  <a:cubicBezTo>
                    <a:pt x="202" y="89"/>
                    <a:pt x="202" y="90"/>
                    <a:pt x="202" y="90"/>
                  </a:cubicBezTo>
                  <a:cubicBezTo>
                    <a:pt x="202" y="91"/>
                    <a:pt x="202" y="91"/>
                    <a:pt x="202" y="92"/>
                  </a:cubicBezTo>
                  <a:cubicBezTo>
                    <a:pt x="202" y="92"/>
                    <a:pt x="202" y="93"/>
                    <a:pt x="202" y="93"/>
                  </a:cubicBezTo>
                  <a:cubicBezTo>
                    <a:pt x="201" y="94"/>
                    <a:pt x="201" y="95"/>
                    <a:pt x="200" y="96"/>
                  </a:cubicBezTo>
                  <a:cubicBezTo>
                    <a:pt x="200" y="96"/>
                    <a:pt x="199" y="97"/>
                    <a:pt x="199" y="97"/>
                  </a:cubicBezTo>
                  <a:cubicBezTo>
                    <a:pt x="199" y="97"/>
                    <a:pt x="199" y="98"/>
                    <a:pt x="199" y="98"/>
                  </a:cubicBezTo>
                  <a:cubicBezTo>
                    <a:pt x="198" y="99"/>
                    <a:pt x="198" y="99"/>
                    <a:pt x="197" y="99"/>
                  </a:cubicBezTo>
                  <a:cubicBezTo>
                    <a:pt x="197" y="100"/>
                    <a:pt x="197" y="100"/>
                    <a:pt x="197" y="101"/>
                  </a:cubicBezTo>
                  <a:cubicBezTo>
                    <a:pt x="197" y="101"/>
                    <a:pt x="197" y="102"/>
                    <a:pt x="197" y="102"/>
                  </a:cubicBezTo>
                  <a:cubicBezTo>
                    <a:pt x="197" y="102"/>
                    <a:pt x="197" y="103"/>
                    <a:pt x="197" y="103"/>
                  </a:cubicBezTo>
                  <a:cubicBezTo>
                    <a:pt x="197" y="104"/>
                    <a:pt x="196" y="105"/>
                    <a:pt x="196" y="105"/>
                  </a:cubicBezTo>
                  <a:cubicBezTo>
                    <a:pt x="194" y="106"/>
                    <a:pt x="192" y="108"/>
                    <a:pt x="192" y="110"/>
                  </a:cubicBezTo>
                  <a:cubicBezTo>
                    <a:pt x="192" y="110"/>
                    <a:pt x="192" y="111"/>
                    <a:pt x="192" y="111"/>
                  </a:cubicBezTo>
                  <a:cubicBezTo>
                    <a:pt x="191" y="112"/>
                    <a:pt x="191" y="113"/>
                    <a:pt x="191" y="113"/>
                  </a:cubicBezTo>
                  <a:cubicBezTo>
                    <a:pt x="190" y="114"/>
                    <a:pt x="190" y="115"/>
                    <a:pt x="190" y="115"/>
                  </a:cubicBezTo>
                  <a:cubicBezTo>
                    <a:pt x="189" y="116"/>
                    <a:pt x="189" y="116"/>
                    <a:pt x="189" y="117"/>
                  </a:cubicBezTo>
                  <a:cubicBezTo>
                    <a:pt x="189" y="118"/>
                    <a:pt x="189" y="118"/>
                    <a:pt x="188" y="119"/>
                  </a:cubicBezTo>
                  <a:cubicBezTo>
                    <a:pt x="188" y="120"/>
                    <a:pt x="188" y="120"/>
                    <a:pt x="188" y="121"/>
                  </a:cubicBezTo>
                  <a:cubicBezTo>
                    <a:pt x="187" y="122"/>
                    <a:pt x="187" y="123"/>
                    <a:pt x="187" y="124"/>
                  </a:cubicBezTo>
                  <a:cubicBezTo>
                    <a:pt x="187" y="124"/>
                    <a:pt x="186" y="124"/>
                    <a:pt x="186" y="125"/>
                  </a:cubicBezTo>
                  <a:cubicBezTo>
                    <a:pt x="186" y="125"/>
                    <a:pt x="186" y="126"/>
                    <a:pt x="186" y="126"/>
                  </a:cubicBezTo>
                  <a:cubicBezTo>
                    <a:pt x="186" y="127"/>
                    <a:pt x="186" y="128"/>
                    <a:pt x="186" y="128"/>
                  </a:cubicBezTo>
                  <a:cubicBezTo>
                    <a:pt x="186" y="129"/>
                    <a:pt x="185" y="129"/>
                    <a:pt x="185" y="129"/>
                  </a:cubicBezTo>
                  <a:cubicBezTo>
                    <a:pt x="185" y="130"/>
                    <a:pt x="185" y="130"/>
                    <a:pt x="185" y="131"/>
                  </a:cubicBezTo>
                  <a:cubicBezTo>
                    <a:pt x="185" y="131"/>
                    <a:pt x="186" y="132"/>
                    <a:pt x="186" y="133"/>
                  </a:cubicBezTo>
                  <a:cubicBezTo>
                    <a:pt x="186" y="133"/>
                    <a:pt x="186" y="134"/>
                    <a:pt x="186" y="134"/>
                  </a:cubicBezTo>
                  <a:cubicBezTo>
                    <a:pt x="186" y="135"/>
                    <a:pt x="187" y="135"/>
                    <a:pt x="187" y="135"/>
                  </a:cubicBezTo>
                  <a:cubicBezTo>
                    <a:pt x="187" y="136"/>
                    <a:pt x="186" y="136"/>
                    <a:pt x="186" y="136"/>
                  </a:cubicBezTo>
                  <a:cubicBezTo>
                    <a:pt x="186" y="136"/>
                    <a:pt x="186" y="136"/>
                    <a:pt x="185" y="137"/>
                  </a:cubicBezTo>
                  <a:cubicBezTo>
                    <a:pt x="185" y="137"/>
                    <a:pt x="185" y="137"/>
                    <a:pt x="184" y="138"/>
                  </a:cubicBezTo>
                  <a:cubicBezTo>
                    <a:pt x="184" y="138"/>
                    <a:pt x="183" y="139"/>
                    <a:pt x="183" y="140"/>
                  </a:cubicBezTo>
                  <a:cubicBezTo>
                    <a:pt x="182" y="141"/>
                    <a:pt x="182" y="142"/>
                    <a:pt x="182" y="143"/>
                  </a:cubicBezTo>
                  <a:cubicBezTo>
                    <a:pt x="182" y="143"/>
                    <a:pt x="181" y="144"/>
                    <a:pt x="181" y="144"/>
                  </a:cubicBezTo>
                  <a:cubicBezTo>
                    <a:pt x="181" y="145"/>
                    <a:pt x="181" y="145"/>
                    <a:pt x="181" y="146"/>
                  </a:cubicBezTo>
                  <a:cubicBezTo>
                    <a:pt x="180" y="146"/>
                    <a:pt x="180" y="146"/>
                    <a:pt x="180" y="147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8"/>
                    <a:pt x="180" y="149"/>
                    <a:pt x="179" y="149"/>
                  </a:cubicBezTo>
                  <a:cubicBezTo>
                    <a:pt x="179" y="150"/>
                    <a:pt x="179" y="151"/>
                    <a:pt x="179" y="152"/>
                  </a:cubicBezTo>
                  <a:cubicBezTo>
                    <a:pt x="179" y="153"/>
                    <a:pt x="179" y="153"/>
                    <a:pt x="179" y="154"/>
                  </a:cubicBezTo>
                  <a:cubicBezTo>
                    <a:pt x="179" y="154"/>
                    <a:pt x="179" y="154"/>
                    <a:pt x="179" y="155"/>
                  </a:cubicBezTo>
                  <a:cubicBezTo>
                    <a:pt x="179" y="155"/>
                    <a:pt x="179" y="155"/>
                    <a:pt x="179" y="156"/>
                  </a:cubicBezTo>
                  <a:cubicBezTo>
                    <a:pt x="179" y="157"/>
                    <a:pt x="179" y="157"/>
                    <a:pt x="179" y="158"/>
                  </a:cubicBezTo>
                  <a:cubicBezTo>
                    <a:pt x="179" y="159"/>
                    <a:pt x="179" y="160"/>
                    <a:pt x="179" y="161"/>
                  </a:cubicBezTo>
                  <a:cubicBezTo>
                    <a:pt x="179" y="162"/>
                    <a:pt x="179" y="162"/>
                    <a:pt x="179" y="162"/>
                  </a:cubicBezTo>
                  <a:cubicBezTo>
                    <a:pt x="179" y="163"/>
                    <a:pt x="179" y="163"/>
                    <a:pt x="179" y="164"/>
                  </a:cubicBezTo>
                  <a:cubicBezTo>
                    <a:pt x="178" y="164"/>
                    <a:pt x="178" y="165"/>
                    <a:pt x="178" y="165"/>
                  </a:cubicBezTo>
                  <a:cubicBezTo>
                    <a:pt x="178" y="166"/>
                    <a:pt x="177" y="166"/>
                    <a:pt x="177" y="167"/>
                  </a:cubicBezTo>
                  <a:cubicBezTo>
                    <a:pt x="177" y="168"/>
                    <a:pt x="177" y="168"/>
                    <a:pt x="177" y="169"/>
                  </a:cubicBezTo>
                  <a:cubicBezTo>
                    <a:pt x="176" y="170"/>
                    <a:pt x="176" y="171"/>
                    <a:pt x="176" y="171"/>
                  </a:cubicBezTo>
                  <a:cubicBezTo>
                    <a:pt x="175" y="172"/>
                    <a:pt x="175" y="173"/>
                    <a:pt x="175" y="174"/>
                  </a:cubicBezTo>
                  <a:cubicBezTo>
                    <a:pt x="174" y="174"/>
                    <a:pt x="174" y="175"/>
                    <a:pt x="174" y="176"/>
                  </a:cubicBezTo>
                  <a:cubicBezTo>
                    <a:pt x="174" y="176"/>
                    <a:pt x="174" y="176"/>
                    <a:pt x="174" y="177"/>
                  </a:cubicBezTo>
                  <a:cubicBezTo>
                    <a:pt x="173" y="178"/>
                    <a:pt x="174" y="178"/>
                    <a:pt x="173" y="179"/>
                  </a:cubicBezTo>
                  <a:cubicBezTo>
                    <a:pt x="173" y="179"/>
                    <a:pt x="173" y="180"/>
                    <a:pt x="173" y="180"/>
                  </a:cubicBezTo>
                  <a:cubicBezTo>
                    <a:pt x="173" y="181"/>
                    <a:pt x="173" y="181"/>
                    <a:pt x="173" y="181"/>
                  </a:cubicBezTo>
                  <a:cubicBezTo>
                    <a:pt x="173" y="182"/>
                    <a:pt x="173" y="183"/>
                    <a:pt x="173" y="184"/>
                  </a:cubicBezTo>
                  <a:cubicBezTo>
                    <a:pt x="173" y="185"/>
                    <a:pt x="173" y="186"/>
                    <a:pt x="174" y="187"/>
                  </a:cubicBezTo>
                  <a:cubicBezTo>
                    <a:pt x="174" y="188"/>
                    <a:pt x="174" y="189"/>
                    <a:pt x="174" y="190"/>
                  </a:cubicBezTo>
                  <a:cubicBezTo>
                    <a:pt x="174" y="190"/>
                    <a:pt x="174" y="191"/>
                    <a:pt x="173" y="192"/>
                  </a:cubicBezTo>
                  <a:cubicBezTo>
                    <a:pt x="173" y="192"/>
                    <a:pt x="173" y="192"/>
                    <a:pt x="173" y="193"/>
                  </a:cubicBezTo>
                  <a:cubicBezTo>
                    <a:pt x="174" y="193"/>
                    <a:pt x="174" y="194"/>
                    <a:pt x="174" y="194"/>
                  </a:cubicBezTo>
                  <a:cubicBezTo>
                    <a:pt x="174" y="195"/>
                    <a:pt x="175" y="195"/>
                    <a:pt x="175" y="196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9"/>
                    <a:pt x="175" y="200"/>
                    <a:pt x="175" y="201"/>
                  </a:cubicBezTo>
                  <a:cubicBezTo>
                    <a:pt x="175" y="201"/>
                    <a:pt x="176" y="201"/>
                    <a:pt x="176" y="202"/>
                  </a:cubicBezTo>
                  <a:cubicBezTo>
                    <a:pt x="176" y="202"/>
                    <a:pt x="176" y="203"/>
                    <a:pt x="176" y="203"/>
                  </a:cubicBezTo>
                  <a:cubicBezTo>
                    <a:pt x="176" y="203"/>
                    <a:pt x="176" y="203"/>
                    <a:pt x="177" y="204"/>
                  </a:cubicBezTo>
                  <a:cubicBezTo>
                    <a:pt x="177" y="204"/>
                    <a:pt x="177" y="204"/>
                    <a:pt x="177" y="204"/>
                  </a:cubicBezTo>
                  <a:cubicBezTo>
                    <a:pt x="177" y="205"/>
                    <a:pt x="177" y="205"/>
                    <a:pt x="177" y="205"/>
                  </a:cubicBezTo>
                  <a:cubicBezTo>
                    <a:pt x="177" y="206"/>
                    <a:pt x="177" y="206"/>
                    <a:pt x="177" y="207"/>
                  </a:cubicBezTo>
                  <a:cubicBezTo>
                    <a:pt x="177" y="207"/>
                    <a:pt x="177" y="208"/>
                    <a:pt x="177" y="208"/>
                  </a:cubicBezTo>
                  <a:cubicBezTo>
                    <a:pt x="177" y="208"/>
                    <a:pt x="176" y="209"/>
                    <a:pt x="176" y="209"/>
                  </a:cubicBezTo>
                  <a:cubicBezTo>
                    <a:pt x="176" y="210"/>
                    <a:pt x="176" y="211"/>
                    <a:pt x="176" y="212"/>
                  </a:cubicBezTo>
                  <a:cubicBezTo>
                    <a:pt x="176" y="213"/>
                    <a:pt x="176" y="214"/>
                    <a:pt x="176" y="215"/>
                  </a:cubicBezTo>
                  <a:cubicBezTo>
                    <a:pt x="176" y="215"/>
                    <a:pt x="176" y="216"/>
                    <a:pt x="176" y="216"/>
                  </a:cubicBezTo>
                  <a:cubicBezTo>
                    <a:pt x="176" y="216"/>
                    <a:pt x="176" y="216"/>
                    <a:pt x="176" y="216"/>
                  </a:cubicBezTo>
                  <a:cubicBezTo>
                    <a:pt x="78" y="216"/>
                    <a:pt x="78" y="216"/>
                    <a:pt x="78" y="216"/>
                  </a:cubicBezTo>
                  <a:cubicBezTo>
                    <a:pt x="77" y="215"/>
                    <a:pt x="77" y="214"/>
                    <a:pt x="77" y="213"/>
                  </a:cubicBezTo>
                  <a:cubicBezTo>
                    <a:pt x="76" y="213"/>
                    <a:pt x="76" y="212"/>
                    <a:pt x="76" y="211"/>
                  </a:cubicBezTo>
                  <a:cubicBezTo>
                    <a:pt x="75" y="211"/>
                    <a:pt x="75" y="210"/>
                    <a:pt x="74" y="210"/>
                  </a:cubicBezTo>
                  <a:cubicBezTo>
                    <a:pt x="73" y="209"/>
                    <a:pt x="72" y="209"/>
                    <a:pt x="71" y="209"/>
                  </a:cubicBezTo>
                  <a:cubicBezTo>
                    <a:pt x="70" y="209"/>
                    <a:pt x="70" y="209"/>
                    <a:pt x="69" y="208"/>
                  </a:cubicBezTo>
                  <a:cubicBezTo>
                    <a:pt x="69" y="208"/>
                    <a:pt x="68" y="208"/>
                    <a:pt x="67" y="208"/>
                  </a:cubicBezTo>
                  <a:cubicBezTo>
                    <a:pt x="66" y="208"/>
                    <a:pt x="66" y="207"/>
                    <a:pt x="65" y="207"/>
                  </a:cubicBezTo>
                  <a:cubicBezTo>
                    <a:pt x="63" y="205"/>
                    <a:pt x="63" y="203"/>
                    <a:pt x="63" y="201"/>
                  </a:cubicBezTo>
                  <a:cubicBezTo>
                    <a:pt x="63" y="200"/>
                    <a:pt x="63" y="199"/>
                    <a:pt x="62" y="199"/>
                  </a:cubicBezTo>
                  <a:cubicBezTo>
                    <a:pt x="62" y="198"/>
                    <a:pt x="61" y="197"/>
                    <a:pt x="61" y="197"/>
                  </a:cubicBezTo>
                  <a:cubicBezTo>
                    <a:pt x="61" y="196"/>
                    <a:pt x="60" y="196"/>
                    <a:pt x="60" y="195"/>
                  </a:cubicBezTo>
                  <a:cubicBezTo>
                    <a:pt x="60" y="194"/>
                    <a:pt x="60" y="194"/>
                    <a:pt x="60" y="193"/>
                  </a:cubicBezTo>
                  <a:cubicBezTo>
                    <a:pt x="59" y="192"/>
                    <a:pt x="60" y="190"/>
                    <a:pt x="60" y="189"/>
                  </a:cubicBezTo>
                  <a:cubicBezTo>
                    <a:pt x="60" y="188"/>
                    <a:pt x="59" y="187"/>
                    <a:pt x="60" y="186"/>
                  </a:cubicBezTo>
                  <a:cubicBezTo>
                    <a:pt x="60" y="185"/>
                    <a:pt x="61" y="184"/>
                    <a:pt x="61" y="184"/>
                  </a:cubicBezTo>
                  <a:cubicBezTo>
                    <a:pt x="62" y="183"/>
                    <a:pt x="63" y="182"/>
                    <a:pt x="63" y="182"/>
                  </a:cubicBezTo>
                  <a:cubicBezTo>
                    <a:pt x="64" y="179"/>
                    <a:pt x="61" y="178"/>
                    <a:pt x="59" y="177"/>
                  </a:cubicBezTo>
                  <a:cubicBezTo>
                    <a:pt x="59" y="177"/>
                    <a:pt x="58" y="176"/>
                    <a:pt x="58" y="176"/>
                  </a:cubicBezTo>
                  <a:cubicBezTo>
                    <a:pt x="58" y="175"/>
                    <a:pt x="58" y="175"/>
                    <a:pt x="58" y="174"/>
                  </a:cubicBezTo>
                  <a:cubicBezTo>
                    <a:pt x="58" y="173"/>
                    <a:pt x="58" y="173"/>
                    <a:pt x="58" y="172"/>
                  </a:cubicBezTo>
                  <a:cubicBezTo>
                    <a:pt x="58" y="169"/>
                    <a:pt x="58" y="169"/>
                    <a:pt x="58" y="169"/>
                  </a:cubicBezTo>
                  <a:cubicBezTo>
                    <a:pt x="58" y="169"/>
                    <a:pt x="57" y="166"/>
                    <a:pt x="57" y="165"/>
                  </a:cubicBezTo>
                  <a:cubicBezTo>
                    <a:pt x="57" y="165"/>
                    <a:pt x="56" y="163"/>
                    <a:pt x="56" y="162"/>
                  </a:cubicBezTo>
                  <a:cubicBezTo>
                    <a:pt x="56" y="161"/>
                    <a:pt x="57" y="159"/>
                    <a:pt x="57" y="158"/>
                  </a:cubicBezTo>
                  <a:cubicBezTo>
                    <a:pt x="57" y="157"/>
                    <a:pt x="56" y="154"/>
                    <a:pt x="56" y="153"/>
                  </a:cubicBezTo>
                  <a:cubicBezTo>
                    <a:pt x="55" y="153"/>
                    <a:pt x="53" y="149"/>
                    <a:pt x="52" y="149"/>
                  </a:cubicBezTo>
                  <a:cubicBezTo>
                    <a:pt x="52" y="148"/>
                    <a:pt x="52" y="147"/>
                    <a:pt x="51" y="146"/>
                  </a:cubicBezTo>
                  <a:cubicBezTo>
                    <a:pt x="50" y="146"/>
                    <a:pt x="47" y="145"/>
                    <a:pt x="46" y="145"/>
                  </a:cubicBezTo>
                  <a:cubicBezTo>
                    <a:pt x="45" y="144"/>
                    <a:pt x="45" y="143"/>
                    <a:pt x="44" y="142"/>
                  </a:cubicBezTo>
                  <a:cubicBezTo>
                    <a:pt x="43" y="142"/>
                    <a:pt x="40" y="139"/>
                    <a:pt x="39" y="138"/>
                  </a:cubicBezTo>
                  <a:cubicBezTo>
                    <a:pt x="38" y="138"/>
                    <a:pt x="37" y="137"/>
                    <a:pt x="36" y="136"/>
                  </a:cubicBezTo>
                  <a:cubicBezTo>
                    <a:pt x="35" y="136"/>
                    <a:pt x="35" y="136"/>
                    <a:pt x="35" y="134"/>
                  </a:cubicBezTo>
                  <a:cubicBezTo>
                    <a:pt x="35" y="133"/>
                    <a:pt x="33" y="128"/>
                    <a:pt x="32" y="127"/>
                  </a:cubicBezTo>
                  <a:cubicBezTo>
                    <a:pt x="30" y="126"/>
                    <a:pt x="29" y="127"/>
                    <a:pt x="28" y="126"/>
                  </a:cubicBezTo>
                  <a:cubicBezTo>
                    <a:pt x="27" y="125"/>
                    <a:pt x="24" y="124"/>
                    <a:pt x="23" y="124"/>
                  </a:cubicBezTo>
                  <a:cubicBezTo>
                    <a:pt x="22" y="123"/>
                    <a:pt x="21" y="121"/>
                    <a:pt x="20" y="120"/>
                  </a:cubicBezTo>
                  <a:cubicBezTo>
                    <a:pt x="20" y="120"/>
                    <a:pt x="20" y="119"/>
                    <a:pt x="18" y="118"/>
                  </a:cubicBezTo>
                  <a:cubicBezTo>
                    <a:pt x="17" y="118"/>
                    <a:pt x="15" y="118"/>
                    <a:pt x="13" y="118"/>
                  </a:cubicBezTo>
                  <a:cubicBezTo>
                    <a:pt x="12" y="118"/>
                    <a:pt x="11" y="118"/>
                    <a:pt x="11" y="117"/>
                  </a:cubicBezTo>
                  <a:cubicBezTo>
                    <a:pt x="11" y="116"/>
                    <a:pt x="9" y="114"/>
                    <a:pt x="8" y="113"/>
                  </a:cubicBezTo>
                  <a:cubicBezTo>
                    <a:pt x="7" y="112"/>
                    <a:pt x="4" y="110"/>
                    <a:pt x="4" y="110"/>
                  </a:cubicBezTo>
                  <a:cubicBezTo>
                    <a:pt x="3" y="109"/>
                    <a:pt x="4" y="106"/>
                    <a:pt x="4" y="105"/>
                  </a:cubicBezTo>
                  <a:cubicBezTo>
                    <a:pt x="4" y="105"/>
                    <a:pt x="5" y="101"/>
                    <a:pt x="5" y="100"/>
                  </a:cubicBezTo>
                  <a:cubicBezTo>
                    <a:pt x="5" y="99"/>
                    <a:pt x="5" y="97"/>
                    <a:pt x="5" y="96"/>
                  </a:cubicBezTo>
                  <a:cubicBezTo>
                    <a:pt x="4" y="95"/>
                    <a:pt x="4" y="95"/>
                    <a:pt x="4" y="94"/>
                  </a:cubicBezTo>
                  <a:cubicBezTo>
                    <a:pt x="4" y="94"/>
                    <a:pt x="4" y="93"/>
                    <a:pt x="4" y="92"/>
                  </a:cubicBezTo>
                  <a:cubicBezTo>
                    <a:pt x="5" y="92"/>
                    <a:pt x="5" y="91"/>
                    <a:pt x="5" y="90"/>
                  </a:cubicBezTo>
                  <a:cubicBezTo>
                    <a:pt x="5" y="89"/>
                    <a:pt x="5" y="88"/>
                    <a:pt x="5" y="87"/>
                  </a:cubicBezTo>
                  <a:cubicBezTo>
                    <a:pt x="5" y="86"/>
                    <a:pt x="4" y="84"/>
                    <a:pt x="5" y="83"/>
                  </a:cubicBezTo>
                  <a:cubicBezTo>
                    <a:pt x="5" y="82"/>
                    <a:pt x="7" y="80"/>
                    <a:pt x="7" y="79"/>
                  </a:cubicBezTo>
                  <a:cubicBezTo>
                    <a:pt x="8" y="78"/>
                    <a:pt x="9" y="78"/>
                    <a:pt x="9" y="77"/>
                  </a:cubicBezTo>
                  <a:cubicBezTo>
                    <a:pt x="9" y="76"/>
                    <a:pt x="7" y="73"/>
                    <a:pt x="6" y="72"/>
                  </a:cubicBezTo>
                  <a:cubicBezTo>
                    <a:pt x="6" y="71"/>
                    <a:pt x="6" y="70"/>
                    <a:pt x="5" y="69"/>
                  </a:cubicBezTo>
                  <a:cubicBezTo>
                    <a:pt x="4" y="69"/>
                    <a:pt x="1" y="69"/>
                    <a:pt x="1" y="69"/>
                  </a:cubicBezTo>
                  <a:cubicBezTo>
                    <a:pt x="0" y="68"/>
                    <a:pt x="0" y="67"/>
                    <a:pt x="0" y="66"/>
                  </a:cubicBezTo>
                  <a:cubicBezTo>
                    <a:pt x="1" y="65"/>
                    <a:pt x="0" y="63"/>
                    <a:pt x="1" y="62"/>
                  </a:cubicBezTo>
                  <a:cubicBezTo>
                    <a:pt x="1" y="62"/>
                    <a:pt x="3" y="61"/>
                    <a:pt x="4" y="60"/>
                  </a:cubicBezTo>
                  <a:cubicBezTo>
                    <a:pt x="4" y="59"/>
                    <a:pt x="5" y="57"/>
                    <a:pt x="5" y="56"/>
                  </a:cubicBezTo>
                  <a:cubicBezTo>
                    <a:pt x="6" y="55"/>
                    <a:pt x="6" y="54"/>
                    <a:pt x="7" y="53"/>
                  </a:cubicBezTo>
                  <a:cubicBezTo>
                    <a:pt x="8" y="52"/>
                    <a:pt x="10" y="51"/>
                    <a:pt x="11" y="51"/>
                  </a:cubicBezTo>
                  <a:cubicBezTo>
                    <a:pt x="12" y="50"/>
                    <a:pt x="12" y="49"/>
                    <a:pt x="13" y="49"/>
                  </a:cubicBezTo>
                  <a:cubicBezTo>
                    <a:pt x="13" y="48"/>
                    <a:pt x="14" y="49"/>
                    <a:pt x="15" y="49"/>
                  </a:cubicBezTo>
                  <a:cubicBezTo>
                    <a:pt x="15" y="49"/>
                    <a:pt x="16" y="47"/>
                    <a:pt x="17" y="47"/>
                  </a:cubicBezTo>
                  <a:cubicBezTo>
                    <a:pt x="17" y="46"/>
                    <a:pt x="19" y="47"/>
                    <a:pt x="19" y="47"/>
                  </a:cubicBezTo>
                  <a:cubicBezTo>
                    <a:pt x="19" y="46"/>
                    <a:pt x="20" y="45"/>
                    <a:pt x="20" y="45"/>
                  </a:cubicBezTo>
                  <a:cubicBezTo>
                    <a:pt x="20" y="44"/>
                    <a:pt x="21" y="43"/>
                    <a:pt x="21" y="43"/>
                  </a:cubicBezTo>
                  <a:cubicBezTo>
                    <a:pt x="21" y="43"/>
                    <a:pt x="21" y="14"/>
                    <a:pt x="21" y="14"/>
                  </a:cubicBezTo>
                  <a:cubicBezTo>
                    <a:pt x="21" y="14"/>
                    <a:pt x="24" y="15"/>
                    <a:pt x="24" y="15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7" y="12"/>
                    <a:pt x="27" y="12"/>
                  </a:cubicBezTo>
                  <a:cubicBezTo>
                    <a:pt x="27" y="12"/>
                    <a:pt x="28" y="11"/>
                    <a:pt x="29" y="11"/>
                  </a:cubicBezTo>
                  <a:cubicBezTo>
                    <a:pt x="30" y="11"/>
                    <a:pt x="31" y="13"/>
                    <a:pt x="31" y="13"/>
                  </a:cubicBezTo>
                  <a:cubicBezTo>
                    <a:pt x="31" y="13"/>
                    <a:pt x="31" y="14"/>
                    <a:pt x="31" y="14"/>
                  </a:cubicBezTo>
                  <a:cubicBezTo>
                    <a:pt x="31" y="14"/>
                    <a:pt x="34" y="14"/>
                    <a:pt x="35" y="14"/>
                  </a:cubicBezTo>
                  <a:cubicBezTo>
                    <a:pt x="35" y="14"/>
                    <a:pt x="37" y="14"/>
                    <a:pt x="37" y="14"/>
                  </a:cubicBezTo>
                  <a:cubicBezTo>
                    <a:pt x="38" y="13"/>
                    <a:pt x="40" y="12"/>
                    <a:pt x="41" y="12"/>
                  </a:cubicBezTo>
                  <a:cubicBezTo>
                    <a:pt x="41" y="12"/>
                    <a:pt x="43" y="11"/>
                    <a:pt x="44" y="11"/>
                  </a:cubicBezTo>
                  <a:cubicBezTo>
                    <a:pt x="45" y="11"/>
                    <a:pt x="46" y="11"/>
                    <a:pt x="47" y="10"/>
                  </a:cubicBezTo>
                  <a:cubicBezTo>
                    <a:pt x="48" y="10"/>
                    <a:pt x="51" y="9"/>
                    <a:pt x="52" y="9"/>
                  </a:cubicBezTo>
                  <a:cubicBezTo>
                    <a:pt x="53" y="9"/>
                    <a:pt x="56" y="7"/>
                    <a:pt x="57" y="6"/>
                  </a:cubicBezTo>
                  <a:cubicBezTo>
                    <a:pt x="58" y="5"/>
                    <a:pt x="59" y="5"/>
                    <a:pt x="59" y="4"/>
                  </a:cubicBezTo>
                  <a:cubicBezTo>
                    <a:pt x="60" y="4"/>
                    <a:pt x="60" y="4"/>
                    <a:pt x="61" y="4"/>
                  </a:cubicBezTo>
                  <a:cubicBezTo>
                    <a:pt x="61" y="4"/>
                    <a:pt x="62" y="4"/>
                    <a:pt x="64" y="4"/>
                  </a:cubicBezTo>
                  <a:cubicBezTo>
                    <a:pt x="65" y="3"/>
                    <a:pt x="67" y="2"/>
                    <a:pt x="68" y="1"/>
                  </a:cubicBezTo>
                  <a:cubicBezTo>
                    <a:pt x="69" y="1"/>
                    <a:pt x="70" y="1"/>
                    <a:pt x="71" y="0"/>
                  </a:cubicBezTo>
                  <a:cubicBezTo>
                    <a:pt x="71" y="0"/>
                    <a:pt x="72" y="0"/>
                    <a:pt x="72" y="0"/>
                  </a:cubicBezTo>
                  <a:cubicBezTo>
                    <a:pt x="72" y="1"/>
                    <a:pt x="72" y="2"/>
                    <a:pt x="73" y="2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4" y="4"/>
                    <a:pt x="74" y="5"/>
                    <a:pt x="73" y="6"/>
                  </a:cubicBezTo>
                  <a:cubicBezTo>
                    <a:pt x="73" y="7"/>
                    <a:pt x="72" y="8"/>
                    <a:pt x="71" y="8"/>
                  </a:cubicBezTo>
                  <a:cubicBezTo>
                    <a:pt x="71" y="9"/>
                    <a:pt x="70" y="9"/>
                    <a:pt x="70" y="10"/>
                  </a:cubicBezTo>
                  <a:cubicBezTo>
                    <a:pt x="70" y="11"/>
                    <a:pt x="70" y="13"/>
                    <a:pt x="70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5"/>
                    <a:pt x="69" y="15"/>
                    <a:pt x="69" y="15"/>
                  </a:cubicBezTo>
                  <a:cubicBezTo>
                    <a:pt x="69" y="15"/>
                    <a:pt x="69" y="16"/>
                    <a:pt x="69" y="16"/>
                  </a:cubicBezTo>
                  <a:cubicBezTo>
                    <a:pt x="69" y="17"/>
                    <a:pt x="69" y="17"/>
                    <a:pt x="68" y="17"/>
                  </a:cubicBezTo>
                  <a:cubicBezTo>
                    <a:pt x="68" y="18"/>
                    <a:pt x="68" y="18"/>
                    <a:pt x="68" y="19"/>
                  </a:cubicBezTo>
                  <a:cubicBezTo>
                    <a:pt x="69" y="19"/>
                    <a:pt x="70" y="18"/>
                    <a:pt x="71" y="18"/>
                  </a:cubicBezTo>
                  <a:cubicBezTo>
                    <a:pt x="72" y="17"/>
                    <a:pt x="74" y="16"/>
                    <a:pt x="74" y="16"/>
                  </a:cubicBezTo>
                  <a:cubicBezTo>
                    <a:pt x="75" y="16"/>
                    <a:pt x="76" y="15"/>
                    <a:pt x="76" y="15"/>
                  </a:cubicBezTo>
                  <a:cubicBezTo>
                    <a:pt x="76" y="15"/>
                    <a:pt x="77" y="15"/>
                    <a:pt x="77" y="16"/>
                  </a:cubicBezTo>
                  <a:cubicBezTo>
                    <a:pt x="78" y="16"/>
                    <a:pt x="79" y="17"/>
                    <a:pt x="80" y="18"/>
                  </a:cubicBezTo>
                  <a:cubicBezTo>
                    <a:pt x="81" y="18"/>
                    <a:pt x="82" y="18"/>
                    <a:pt x="83" y="19"/>
                  </a:cubicBezTo>
                  <a:cubicBezTo>
                    <a:pt x="83" y="19"/>
                    <a:pt x="84" y="20"/>
                    <a:pt x="85" y="20"/>
                  </a:cubicBezTo>
                  <a:cubicBezTo>
                    <a:pt x="85" y="20"/>
                    <a:pt x="86" y="19"/>
                    <a:pt x="86" y="19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9" y="21"/>
                    <a:pt x="89" y="22"/>
                    <a:pt x="89" y="22"/>
                  </a:cubicBezTo>
                  <a:cubicBezTo>
                    <a:pt x="89" y="22"/>
                    <a:pt x="93" y="23"/>
                    <a:pt x="93" y="23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41" y="47"/>
                    <a:pt x="141" y="47"/>
                    <a:pt x="141" y="47"/>
                  </a:cubicBezTo>
                  <a:cubicBezTo>
                    <a:pt x="144" y="47"/>
                    <a:pt x="144" y="47"/>
                    <a:pt x="144" y="47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8" y="47"/>
                    <a:pt x="148" y="47"/>
                  </a:cubicBezTo>
                  <a:cubicBezTo>
                    <a:pt x="149" y="47"/>
                    <a:pt x="151" y="47"/>
                    <a:pt x="151" y="47"/>
                  </a:cubicBezTo>
                  <a:cubicBezTo>
                    <a:pt x="151" y="47"/>
                    <a:pt x="153" y="48"/>
                    <a:pt x="153" y="48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4" y="48"/>
                    <a:pt x="155" y="49"/>
                    <a:pt x="155" y="49"/>
                  </a:cubicBezTo>
                  <a:cubicBezTo>
                    <a:pt x="155" y="49"/>
                    <a:pt x="156" y="48"/>
                    <a:pt x="156" y="49"/>
                  </a:cubicBezTo>
                  <a:cubicBezTo>
                    <a:pt x="156" y="49"/>
                    <a:pt x="158" y="50"/>
                    <a:pt x="158" y="50"/>
                  </a:cubicBezTo>
                  <a:cubicBezTo>
                    <a:pt x="158" y="50"/>
                    <a:pt x="161" y="50"/>
                    <a:pt x="162" y="50"/>
                  </a:cubicBezTo>
                  <a:cubicBezTo>
                    <a:pt x="163" y="50"/>
                    <a:pt x="164" y="51"/>
                    <a:pt x="165" y="51"/>
                  </a:cubicBezTo>
                  <a:cubicBezTo>
                    <a:pt x="165" y="51"/>
                    <a:pt x="166" y="52"/>
                    <a:pt x="166" y="52"/>
                  </a:cubicBezTo>
                  <a:cubicBezTo>
                    <a:pt x="166" y="53"/>
                    <a:pt x="166" y="54"/>
                    <a:pt x="166" y="55"/>
                  </a:cubicBezTo>
                  <a:cubicBezTo>
                    <a:pt x="166" y="55"/>
                    <a:pt x="165" y="56"/>
                    <a:pt x="165" y="56"/>
                  </a:cubicBezTo>
                  <a:cubicBezTo>
                    <a:pt x="165" y="56"/>
                    <a:pt x="165" y="57"/>
                    <a:pt x="165" y="57"/>
                  </a:cubicBezTo>
                  <a:cubicBezTo>
                    <a:pt x="165" y="58"/>
                    <a:pt x="166" y="58"/>
                    <a:pt x="167" y="58"/>
                  </a:cubicBezTo>
                  <a:cubicBezTo>
                    <a:pt x="167" y="59"/>
                    <a:pt x="169" y="58"/>
                    <a:pt x="169" y="58"/>
                  </a:cubicBezTo>
                  <a:cubicBezTo>
                    <a:pt x="170" y="58"/>
                    <a:pt x="170" y="58"/>
                    <a:pt x="170" y="59"/>
                  </a:cubicBezTo>
                  <a:cubicBezTo>
                    <a:pt x="170" y="59"/>
                    <a:pt x="171" y="60"/>
                    <a:pt x="171" y="60"/>
                  </a:cubicBezTo>
                  <a:cubicBezTo>
                    <a:pt x="171" y="60"/>
                    <a:pt x="174" y="60"/>
                    <a:pt x="174" y="60"/>
                  </a:cubicBezTo>
                  <a:cubicBezTo>
                    <a:pt x="174" y="60"/>
                    <a:pt x="177" y="63"/>
                    <a:pt x="177" y="63"/>
                  </a:cubicBezTo>
                  <a:cubicBezTo>
                    <a:pt x="177" y="64"/>
                    <a:pt x="176" y="64"/>
                    <a:pt x="176" y="65"/>
                  </a:cubicBezTo>
                  <a:cubicBezTo>
                    <a:pt x="176" y="65"/>
                    <a:pt x="175" y="66"/>
                    <a:pt x="176" y="66"/>
                  </a:cubicBezTo>
                  <a:cubicBezTo>
                    <a:pt x="176" y="66"/>
                    <a:pt x="176" y="67"/>
                    <a:pt x="176" y="68"/>
                  </a:cubicBezTo>
                  <a:cubicBezTo>
                    <a:pt x="177" y="68"/>
                    <a:pt x="177" y="69"/>
                    <a:pt x="177" y="69"/>
                  </a:cubicBezTo>
                  <a:cubicBezTo>
                    <a:pt x="176" y="69"/>
                    <a:pt x="175" y="70"/>
                    <a:pt x="175" y="70"/>
                  </a:cubicBezTo>
                  <a:cubicBezTo>
                    <a:pt x="175" y="70"/>
                    <a:pt x="175" y="70"/>
                    <a:pt x="175" y="71"/>
                  </a:cubicBezTo>
                  <a:cubicBezTo>
                    <a:pt x="175" y="71"/>
                    <a:pt x="176" y="72"/>
                    <a:pt x="176" y="72"/>
                  </a:cubicBezTo>
                  <a:cubicBezTo>
                    <a:pt x="176" y="72"/>
                    <a:pt x="175" y="74"/>
                    <a:pt x="175" y="74"/>
                  </a:cubicBezTo>
                  <a:cubicBezTo>
                    <a:pt x="175" y="74"/>
                    <a:pt x="174" y="76"/>
                    <a:pt x="174" y="76"/>
                  </a:cubicBezTo>
                  <a:cubicBezTo>
                    <a:pt x="174" y="77"/>
                    <a:pt x="173" y="78"/>
                    <a:pt x="173" y="79"/>
                  </a:cubicBezTo>
                  <a:cubicBezTo>
                    <a:pt x="173" y="79"/>
                    <a:pt x="173" y="79"/>
                    <a:pt x="174" y="79"/>
                  </a:cubicBezTo>
                  <a:cubicBezTo>
                    <a:pt x="174" y="80"/>
                    <a:pt x="177" y="80"/>
                    <a:pt x="177" y="80"/>
                  </a:cubicBezTo>
                  <a:cubicBezTo>
                    <a:pt x="177" y="80"/>
                    <a:pt x="179" y="78"/>
                    <a:pt x="179" y="78"/>
                  </a:cubicBezTo>
                  <a:cubicBezTo>
                    <a:pt x="179" y="78"/>
                    <a:pt x="181" y="78"/>
                    <a:pt x="181" y="78"/>
                  </a:cubicBezTo>
                  <a:cubicBezTo>
                    <a:pt x="181" y="79"/>
                    <a:pt x="181" y="79"/>
                    <a:pt x="181" y="80"/>
                  </a:cubicBezTo>
                  <a:cubicBezTo>
                    <a:pt x="181" y="80"/>
                    <a:pt x="179" y="85"/>
                    <a:pt x="179" y="86"/>
                  </a:cubicBezTo>
                  <a:cubicBezTo>
                    <a:pt x="179" y="86"/>
                    <a:pt x="178" y="88"/>
                    <a:pt x="178" y="88"/>
                  </a:cubicBezTo>
                  <a:cubicBezTo>
                    <a:pt x="178" y="88"/>
                    <a:pt x="179" y="90"/>
                    <a:pt x="180" y="90"/>
                  </a:cubicBezTo>
                  <a:cubicBezTo>
                    <a:pt x="180" y="90"/>
                    <a:pt x="181" y="91"/>
                    <a:pt x="181" y="91"/>
                  </a:cubicBezTo>
                  <a:cubicBezTo>
                    <a:pt x="181" y="91"/>
                    <a:pt x="182" y="92"/>
                    <a:pt x="183" y="92"/>
                  </a:cubicBezTo>
                  <a:cubicBezTo>
                    <a:pt x="183" y="93"/>
                    <a:pt x="183" y="95"/>
                    <a:pt x="183" y="96"/>
                  </a:cubicBezTo>
                  <a:cubicBezTo>
                    <a:pt x="183" y="97"/>
                    <a:pt x="183" y="97"/>
                    <a:pt x="182" y="98"/>
                  </a:cubicBezTo>
                  <a:cubicBezTo>
                    <a:pt x="182" y="99"/>
                    <a:pt x="181" y="99"/>
                    <a:pt x="180" y="99"/>
                  </a:cubicBezTo>
                  <a:cubicBezTo>
                    <a:pt x="179" y="99"/>
                    <a:pt x="178" y="99"/>
                    <a:pt x="177" y="100"/>
                  </a:cubicBezTo>
                  <a:cubicBezTo>
                    <a:pt x="176" y="100"/>
                    <a:pt x="176" y="100"/>
                    <a:pt x="175" y="101"/>
                  </a:cubicBezTo>
                  <a:cubicBezTo>
                    <a:pt x="175" y="101"/>
                    <a:pt x="175" y="102"/>
                    <a:pt x="175" y="102"/>
                  </a:cubicBezTo>
                  <a:cubicBezTo>
                    <a:pt x="175" y="103"/>
                    <a:pt x="175" y="104"/>
                    <a:pt x="175" y="104"/>
                  </a:cubicBezTo>
                  <a:cubicBezTo>
                    <a:pt x="174" y="105"/>
                    <a:pt x="174" y="106"/>
                    <a:pt x="173" y="107"/>
                  </a:cubicBezTo>
                  <a:cubicBezTo>
                    <a:pt x="172" y="109"/>
                    <a:pt x="170" y="110"/>
                    <a:pt x="170" y="113"/>
                  </a:cubicBezTo>
                  <a:cubicBezTo>
                    <a:pt x="170" y="114"/>
                    <a:pt x="169" y="114"/>
                    <a:pt x="169" y="115"/>
                  </a:cubicBezTo>
                  <a:cubicBezTo>
                    <a:pt x="169" y="116"/>
                    <a:pt x="169" y="116"/>
                    <a:pt x="169" y="117"/>
                  </a:cubicBezTo>
                  <a:cubicBezTo>
                    <a:pt x="169" y="118"/>
                    <a:pt x="169" y="118"/>
                    <a:pt x="170" y="119"/>
                  </a:cubicBezTo>
                  <a:cubicBezTo>
                    <a:pt x="170" y="119"/>
                    <a:pt x="170" y="120"/>
                    <a:pt x="171" y="119"/>
                  </a:cubicBezTo>
                  <a:cubicBezTo>
                    <a:pt x="171" y="119"/>
                    <a:pt x="172" y="119"/>
                    <a:pt x="172" y="119"/>
                  </a:cubicBezTo>
                  <a:cubicBezTo>
                    <a:pt x="172" y="118"/>
                    <a:pt x="173" y="118"/>
                    <a:pt x="173" y="118"/>
                  </a:cubicBezTo>
                  <a:cubicBezTo>
                    <a:pt x="174" y="117"/>
                    <a:pt x="175" y="116"/>
                    <a:pt x="177" y="115"/>
                  </a:cubicBezTo>
                  <a:cubicBezTo>
                    <a:pt x="177" y="115"/>
                    <a:pt x="179" y="114"/>
                    <a:pt x="179" y="113"/>
                  </a:cubicBezTo>
                  <a:cubicBezTo>
                    <a:pt x="179" y="112"/>
                    <a:pt x="179" y="111"/>
                    <a:pt x="179" y="111"/>
                  </a:cubicBezTo>
                  <a:cubicBezTo>
                    <a:pt x="179" y="110"/>
                    <a:pt x="180" y="110"/>
                    <a:pt x="180" y="109"/>
                  </a:cubicBezTo>
                  <a:cubicBezTo>
                    <a:pt x="180" y="109"/>
                    <a:pt x="181" y="108"/>
                    <a:pt x="181" y="108"/>
                  </a:cubicBezTo>
                  <a:cubicBezTo>
                    <a:pt x="181" y="107"/>
                    <a:pt x="182" y="107"/>
                    <a:pt x="182" y="106"/>
                  </a:cubicBezTo>
                  <a:cubicBezTo>
                    <a:pt x="183" y="106"/>
                    <a:pt x="183" y="105"/>
                    <a:pt x="183" y="105"/>
                  </a:cubicBezTo>
                  <a:cubicBezTo>
                    <a:pt x="184" y="105"/>
                    <a:pt x="184" y="105"/>
                    <a:pt x="185" y="105"/>
                  </a:cubicBezTo>
                  <a:cubicBezTo>
                    <a:pt x="186" y="105"/>
                    <a:pt x="188" y="105"/>
                    <a:pt x="190" y="104"/>
                  </a:cubicBezTo>
                  <a:cubicBezTo>
                    <a:pt x="190" y="104"/>
                    <a:pt x="191" y="103"/>
                    <a:pt x="191" y="103"/>
                  </a:cubicBezTo>
                  <a:cubicBezTo>
                    <a:pt x="190" y="102"/>
                    <a:pt x="190" y="101"/>
                    <a:pt x="191" y="100"/>
                  </a:cubicBezTo>
                  <a:cubicBezTo>
                    <a:pt x="191" y="99"/>
                    <a:pt x="192" y="99"/>
                    <a:pt x="192" y="98"/>
                  </a:cubicBezTo>
                  <a:cubicBezTo>
                    <a:pt x="192" y="98"/>
                    <a:pt x="192" y="97"/>
                    <a:pt x="193" y="96"/>
                  </a:cubicBezTo>
                  <a:cubicBezTo>
                    <a:pt x="193" y="96"/>
                    <a:pt x="193" y="96"/>
                    <a:pt x="194" y="95"/>
                  </a:cubicBezTo>
                  <a:cubicBezTo>
                    <a:pt x="194" y="95"/>
                    <a:pt x="194" y="95"/>
                    <a:pt x="194" y="94"/>
                  </a:cubicBezTo>
                  <a:cubicBezTo>
                    <a:pt x="195" y="93"/>
                    <a:pt x="195" y="93"/>
                    <a:pt x="195" y="92"/>
                  </a:cubicBezTo>
                  <a:cubicBezTo>
                    <a:pt x="196" y="91"/>
                    <a:pt x="196" y="90"/>
                    <a:pt x="196" y="89"/>
                  </a:cubicBezTo>
                  <a:cubicBezTo>
                    <a:pt x="197" y="89"/>
                    <a:pt x="198" y="89"/>
                    <a:pt x="199" y="88"/>
                  </a:cubicBezTo>
                  <a:cubicBezTo>
                    <a:pt x="199" y="88"/>
                    <a:pt x="200" y="87"/>
                    <a:pt x="201" y="86"/>
                  </a:cubicBezTo>
                  <a:cubicBezTo>
                    <a:pt x="201" y="86"/>
                    <a:pt x="201" y="85"/>
                    <a:pt x="201" y="84"/>
                  </a:cubicBezTo>
                  <a:cubicBezTo>
                    <a:pt x="202" y="83"/>
                    <a:pt x="202" y="83"/>
                    <a:pt x="203" y="83"/>
                  </a:cubicBezTo>
                  <a:cubicBezTo>
                    <a:pt x="204" y="83"/>
                    <a:pt x="204" y="83"/>
                    <a:pt x="204" y="83"/>
                  </a:cubicBezTo>
                  <a:cubicBezTo>
                    <a:pt x="205" y="83"/>
                    <a:pt x="205" y="84"/>
                    <a:pt x="205" y="84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93C4150-2632-43AD-972B-5FCC84B3B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1501" y="2880468"/>
              <a:ext cx="674099" cy="606359"/>
            </a:xfrm>
            <a:custGeom>
              <a:avLst/>
              <a:gdLst>
                <a:gd name="T0" fmla="*/ 168 w 170"/>
                <a:gd name="T1" fmla="*/ 51 h 153"/>
                <a:gd name="T2" fmla="*/ 165 w 170"/>
                <a:gd name="T3" fmla="*/ 47 h 153"/>
                <a:gd name="T4" fmla="*/ 162 w 170"/>
                <a:gd name="T5" fmla="*/ 46 h 153"/>
                <a:gd name="T6" fmla="*/ 151 w 170"/>
                <a:gd name="T7" fmla="*/ 45 h 153"/>
                <a:gd name="T8" fmla="*/ 146 w 170"/>
                <a:gd name="T9" fmla="*/ 47 h 153"/>
                <a:gd name="T10" fmla="*/ 144 w 170"/>
                <a:gd name="T11" fmla="*/ 50 h 153"/>
                <a:gd name="T12" fmla="*/ 135 w 170"/>
                <a:gd name="T13" fmla="*/ 48 h 153"/>
                <a:gd name="T14" fmla="*/ 132 w 170"/>
                <a:gd name="T15" fmla="*/ 48 h 153"/>
                <a:gd name="T16" fmla="*/ 127 w 170"/>
                <a:gd name="T17" fmla="*/ 53 h 153"/>
                <a:gd name="T18" fmla="*/ 122 w 170"/>
                <a:gd name="T19" fmla="*/ 53 h 153"/>
                <a:gd name="T20" fmla="*/ 116 w 170"/>
                <a:gd name="T21" fmla="*/ 59 h 153"/>
                <a:gd name="T22" fmla="*/ 74 w 170"/>
                <a:gd name="T23" fmla="*/ 41 h 153"/>
                <a:gd name="T24" fmla="*/ 69 w 170"/>
                <a:gd name="T25" fmla="*/ 0 h 153"/>
                <a:gd name="T26" fmla="*/ 70 w 170"/>
                <a:gd name="T27" fmla="*/ 9 h 153"/>
                <a:gd name="T28" fmla="*/ 66 w 170"/>
                <a:gd name="T29" fmla="*/ 28 h 153"/>
                <a:gd name="T30" fmla="*/ 63 w 170"/>
                <a:gd name="T31" fmla="*/ 37 h 153"/>
                <a:gd name="T32" fmla="*/ 61 w 170"/>
                <a:gd name="T33" fmla="*/ 46 h 153"/>
                <a:gd name="T34" fmla="*/ 46 w 170"/>
                <a:gd name="T35" fmla="*/ 58 h 153"/>
                <a:gd name="T36" fmla="*/ 39 w 170"/>
                <a:gd name="T37" fmla="*/ 57 h 153"/>
                <a:gd name="T38" fmla="*/ 34 w 170"/>
                <a:gd name="T39" fmla="*/ 61 h 153"/>
                <a:gd name="T40" fmla="*/ 30 w 170"/>
                <a:gd name="T41" fmla="*/ 70 h 153"/>
                <a:gd name="T42" fmla="*/ 28 w 170"/>
                <a:gd name="T43" fmla="*/ 76 h 153"/>
                <a:gd name="T44" fmla="*/ 25 w 170"/>
                <a:gd name="T45" fmla="*/ 77 h 153"/>
                <a:gd name="T46" fmla="*/ 22 w 170"/>
                <a:gd name="T47" fmla="*/ 72 h 153"/>
                <a:gd name="T48" fmla="*/ 17 w 170"/>
                <a:gd name="T49" fmla="*/ 81 h 153"/>
                <a:gd name="T50" fmla="*/ 14 w 170"/>
                <a:gd name="T51" fmla="*/ 91 h 153"/>
                <a:gd name="T52" fmla="*/ 10 w 170"/>
                <a:gd name="T53" fmla="*/ 98 h 153"/>
                <a:gd name="T54" fmla="*/ 2 w 170"/>
                <a:gd name="T55" fmla="*/ 106 h 153"/>
                <a:gd name="T56" fmla="*/ 0 w 170"/>
                <a:gd name="T57" fmla="*/ 112 h 153"/>
                <a:gd name="T58" fmla="*/ 6 w 170"/>
                <a:gd name="T59" fmla="*/ 118 h 153"/>
                <a:gd name="T60" fmla="*/ 9 w 170"/>
                <a:gd name="T61" fmla="*/ 126 h 153"/>
                <a:gd name="T62" fmla="*/ 15 w 170"/>
                <a:gd name="T63" fmla="*/ 134 h 153"/>
                <a:gd name="T64" fmla="*/ 23 w 170"/>
                <a:gd name="T65" fmla="*/ 138 h 153"/>
                <a:gd name="T66" fmla="*/ 24 w 170"/>
                <a:gd name="T67" fmla="*/ 142 h 153"/>
                <a:gd name="T68" fmla="*/ 30 w 170"/>
                <a:gd name="T69" fmla="*/ 149 h 153"/>
                <a:gd name="T70" fmla="*/ 44 w 170"/>
                <a:gd name="T71" fmla="*/ 146 h 153"/>
                <a:gd name="T72" fmla="*/ 61 w 170"/>
                <a:gd name="T73" fmla="*/ 148 h 153"/>
                <a:gd name="T74" fmla="*/ 63 w 170"/>
                <a:gd name="T75" fmla="*/ 144 h 153"/>
                <a:gd name="T76" fmla="*/ 75 w 170"/>
                <a:gd name="T77" fmla="*/ 143 h 153"/>
                <a:gd name="T78" fmla="*/ 83 w 170"/>
                <a:gd name="T79" fmla="*/ 135 h 153"/>
                <a:gd name="T80" fmla="*/ 84 w 170"/>
                <a:gd name="T81" fmla="*/ 125 h 153"/>
                <a:gd name="T82" fmla="*/ 93 w 170"/>
                <a:gd name="T83" fmla="*/ 115 h 153"/>
                <a:gd name="T84" fmla="*/ 95 w 170"/>
                <a:gd name="T85" fmla="*/ 108 h 153"/>
                <a:gd name="T86" fmla="*/ 101 w 170"/>
                <a:gd name="T87" fmla="*/ 101 h 153"/>
                <a:gd name="T88" fmla="*/ 106 w 170"/>
                <a:gd name="T89" fmla="*/ 92 h 153"/>
                <a:gd name="T90" fmla="*/ 121 w 170"/>
                <a:gd name="T91" fmla="*/ 89 h 153"/>
                <a:gd name="T92" fmla="*/ 130 w 170"/>
                <a:gd name="T93" fmla="*/ 84 h 153"/>
                <a:gd name="T94" fmla="*/ 135 w 170"/>
                <a:gd name="T95" fmla="*/ 78 h 153"/>
                <a:gd name="T96" fmla="*/ 141 w 170"/>
                <a:gd name="T97" fmla="*/ 72 h 153"/>
                <a:gd name="T98" fmla="*/ 147 w 170"/>
                <a:gd name="T99" fmla="*/ 61 h 153"/>
                <a:gd name="T100" fmla="*/ 166 w 170"/>
                <a:gd name="T101" fmla="*/ 6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53">
                  <a:moveTo>
                    <a:pt x="169" y="54"/>
                  </a:moveTo>
                  <a:cubicBezTo>
                    <a:pt x="167" y="54"/>
                    <a:pt x="167" y="54"/>
                    <a:pt x="167" y="54"/>
                  </a:cubicBezTo>
                  <a:cubicBezTo>
                    <a:pt x="167" y="54"/>
                    <a:pt x="168" y="52"/>
                    <a:pt x="168" y="52"/>
                  </a:cubicBezTo>
                  <a:cubicBezTo>
                    <a:pt x="168" y="52"/>
                    <a:pt x="168" y="51"/>
                    <a:pt x="168" y="51"/>
                  </a:cubicBezTo>
                  <a:cubicBezTo>
                    <a:pt x="166" y="51"/>
                    <a:pt x="166" y="51"/>
                    <a:pt x="166" y="51"/>
                  </a:cubicBezTo>
                  <a:cubicBezTo>
                    <a:pt x="166" y="50"/>
                    <a:pt x="166" y="50"/>
                    <a:pt x="166" y="50"/>
                  </a:cubicBezTo>
                  <a:cubicBezTo>
                    <a:pt x="165" y="50"/>
                    <a:pt x="165" y="50"/>
                    <a:pt x="165" y="50"/>
                  </a:cubicBezTo>
                  <a:cubicBezTo>
                    <a:pt x="165" y="50"/>
                    <a:pt x="165" y="48"/>
                    <a:pt x="165" y="47"/>
                  </a:cubicBezTo>
                  <a:cubicBezTo>
                    <a:pt x="165" y="47"/>
                    <a:pt x="166" y="46"/>
                    <a:pt x="166" y="46"/>
                  </a:cubicBezTo>
                  <a:cubicBezTo>
                    <a:pt x="166" y="46"/>
                    <a:pt x="164" y="46"/>
                    <a:pt x="164" y="46"/>
                  </a:cubicBezTo>
                  <a:cubicBezTo>
                    <a:pt x="164" y="46"/>
                    <a:pt x="162" y="47"/>
                    <a:pt x="162" y="47"/>
                  </a:cubicBezTo>
                  <a:cubicBezTo>
                    <a:pt x="162" y="47"/>
                    <a:pt x="163" y="46"/>
                    <a:pt x="162" y="46"/>
                  </a:cubicBezTo>
                  <a:cubicBezTo>
                    <a:pt x="162" y="45"/>
                    <a:pt x="161" y="46"/>
                    <a:pt x="161" y="46"/>
                  </a:cubicBezTo>
                  <a:cubicBezTo>
                    <a:pt x="161" y="46"/>
                    <a:pt x="155" y="42"/>
                    <a:pt x="155" y="42"/>
                  </a:cubicBezTo>
                  <a:cubicBezTo>
                    <a:pt x="153" y="42"/>
                    <a:pt x="153" y="42"/>
                    <a:pt x="153" y="42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1" y="45"/>
                    <a:pt x="148" y="45"/>
                    <a:pt x="148" y="45"/>
                  </a:cubicBezTo>
                  <a:cubicBezTo>
                    <a:pt x="148" y="44"/>
                    <a:pt x="147" y="46"/>
                    <a:pt x="147" y="46"/>
                  </a:cubicBezTo>
                  <a:cubicBezTo>
                    <a:pt x="145" y="45"/>
                    <a:pt x="145" y="45"/>
                    <a:pt x="145" y="45"/>
                  </a:cubicBezTo>
                  <a:cubicBezTo>
                    <a:pt x="145" y="45"/>
                    <a:pt x="146" y="47"/>
                    <a:pt x="146" y="47"/>
                  </a:cubicBezTo>
                  <a:cubicBezTo>
                    <a:pt x="146" y="47"/>
                    <a:pt x="145" y="47"/>
                    <a:pt x="145" y="47"/>
                  </a:cubicBezTo>
                  <a:cubicBezTo>
                    <a:pt x="144" y="48"/>
                    <a:pt x="144" y="49"/>
                    <a:pt x="144" y="49"/>
                  </a:cubicBezTo>
                  <a:cubicBezTo>
                    <a:pt x="146" y="49"/>
                    <a:pt x="146" y="49"/>
                    <a:pt x="146" y="49"/>
                  </a:cubicBezTo>
                  <a:cubicBezTo>
                    <a:pt x="144" y="50"/>
                    <a:pt x="144" y="50"/>
                    <a:pt x="144" y="50"/>
                  </a:cubicBezTo>
                  <a:cubicBezTo>
                    <a:pt x="144" y="50"/>
                    <a:pt x="142" y="50"/>
                    <a:pt x="142" y="50"/>
                  </a:cubicBezTo>
                  <a:cubicBezTo>
                    <a:pt x="142" y="50"/>
                    <a:pt x="140" y="50"/>
                    <a:pt x="139" y="49"/>
                  </a:cubicBezTo>
                  <a:cubicBezTo>
                    <a:pt x="139" y="49"/>
                    <a:pt x="137" y="48"/>
                    <a:pt x="137" y="48"/>
                  </a:cubicBezTo>
                  <a:cubicBezTo>
                    <a:pt x="137" y="48"/>
                    <a:pt x="135" y="48"/>
                    <a:pt x="135" y="48"/>
                  </a:cubicBezTo>
                  <a:cubicBezTo>
                    <a:pt x="135" y="47"/>
                    <a:pt x="134" y="46"/>
                    <a:pt x="134" y="46"/>
                  </a:cubicBezTo>
                  <a:cubicBezTo>
                    <a:pt x="134" y="45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32" y="46"/>
                    <a:pt x="132" y="47"/>
                    <a:pt x="132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28" y="51"/>
                    <a:pt x="128" y="51"/>
                  </a:cubicBezTo>
                  <a:cubicBezTo>
                    <a:pt x="128" y="52"/>
                    <a:pt x="127" y="53"/>
                    <a:pt x="127" y="53"/>
                  </a:cubicBezTo>
                  <a:cubicBezTo>
                    <a:pt x="127" y="53"/>
                    <a:pt x="126" y="53"/>
                    <a:pt x="126" y="53"/>
                  </a:cubicBezTo>
                  <a:cubicBezTo>
                    <a:pt x="126" y="52"/>
                    <a:pt x="125" y="52"/>
                    <a:pt x="124" y="52"/>
                  </a:cubicBezTo>
                  <a:cubicBezTo>
                    <a:pt x="124" y="51"/>
                    <a:pt x="123" y="52"/>
                    <a:pt x="123" y="52"/>
                  </a:cubicBezTo>
                  <a:cubicBezTo>
                    <a:pt x="122" y="53"/>
                    <a:pt x="122" y="53"/>
                    <a:pt x="122" y="53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0" y="56"/>
                    <a:pt x="120" y="56"/>
                    <a:pt x="120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60"/>
                    <a:pt x="114" y="60"/>
                  </a:cubicBezTo>
                  <a:cubicBezTo>
                    <a:pt x="114" y="60"/>
                    <a:pt x="109" y="63"/>
                    <a:pt x="109" y="63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69" y="0"/>
                    <a:pt x="69" y="0"/>
                  </a:cubicBezTo>
                  <a:cubicBezTo>
                    <a:pt x="69" y="1"/>
                    <a:pt x="68" y="2"/>
                    <a:pt x="68" y="2"/>
                  </a:cubicBezTo>
                  <a:cubicBezTo>
                    <a:pt x="68" y="2"/>
                    <a:pt x="70" y="5"/>
                    <a:pt x="70" y="5"/>
                  </a:cubicBezTo>
                  <a:cubicBezTo>
                    <a:pt x="70" y="5"/>
                    <a:pt x="71" y="7"/>
                    <a:pt x="71" y="7"/>
                  </a:cubicBezTo>
                  <a:cubicBezTo>
                    <a:pt x="71" y="7"/>
                    <a:pt x="70" y="9"/>
                    <a:pt x="70" y="9"/>
                  </a:cubicBezTo>
                  <a:cubicBezTo>
                    <a:pt x="70" y="10"/>
                    <a:pt x="69" y="11"/>
                    <a:pt x="69" y="11"/>
                  </a:cubicBezTo>
                  <a:cubicBezTo>
                    <a:pt x="69" y="12"/>
                    <a:pt x="71" y="15"/>
                    <a:pt x="71" y="15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2"/>
                    <a:pt x="64" y="33"/>
                    <a:pt x="64" y="33"/>
                  </a:cubicBezTo>
                  <a:cubicBezTo>
                    <a:pt x="64" y="33"/>
                    <a:pt x="64" y="35"/>
                    <a:pt x="64" y="35"/>
                  </a:cubicBezTo>
                  <a:cubicBezTo>
                    <a:pt x="64" y="35"/>
                    <a:pt x="63" y="37"/>
                    <a:pt x="63" y="37"/>
                  </a:cubicBezTo>
                  <a:cubicBezTo>
                    <a:pt x="62" y="37"/>
                    <a:pt x="61" y="39"/>
                    <a:pt x="61" y="39"/>
                  </a:cubicBezTo>
                  <a:cubicBezTo>
                    <a:pt x="61" y="40"/>
                    <a:pt x="63" y="42"/>
                    <a:pt x="63" y="42"/>
                  </a:cubicBezTo>
                  <a:cubicBezTo>
                    <a:pt x="63" y="42"/>
                    <a:pt x="62" y="42"/>
                    <a:pt x="62" y="43"/>
                  </a:cubicBezTo>
                  <a:cubicBezTo>
                    <a:pt x="61" y="43"/>
                    <a:pt x="61" y="46"/>
                    <a:pt x="61" y="46"/>
                  </a:cubicBezTo>
                  <a:cubicBezTo>
                    <a:pt x="61" y="46"/>
                    <a:pt x="59" y="46"/>
                    <a:pt x="59" y="46"/>
                  </a:cubicBezTo>
                  <a:cubicBezTo>
                    <a:pt x="59" y="46"/>
                    <a:pt x="58" y="48"/>
                    <a:pt x="58" y="48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6" y="58"/>
                    <a:pt x="46" y="58"/>
                  </a:cubicBezTo>
                  <a:cubicBezTo>
                    <a:pt x="46" y="58"/>
                    <a:pt x="44" y="58"/>
                    <a:pt x="44" y="58"/>
                  </a:cubicBezTo>
                  <a:cubicBezTo>
                    <a:pt x="44" y="58"/>
                    <a:pt x="42" y="55"/>
                    <a:pt x="42" y="55"/>
                  </a:cubicBezTo>
                  <a:cubicBezTo>
                    <a:pt x="42" y="55"/>
                    <a:pt x="41" y="55"/>
                    <a:pt x="41" y="55"/>
                  </a:cubicBezTo>
                  <a:cubicBezTo>
                    <a:pt x="40" y="55"/>
                    <a:pt x="40" y="57"/>
                    <a:pt x="39" y="57"/>
                  </a:cubicBezTo>
                  <a:cubicBezTo>
                    <a:pt x="39" y="57"/>
                    <a:pt x="38" y="58"/>
                    <a:pt x="38" y="58"/>
                  </a:cubicBezTo>
                  <a:cubicBezTo>
                    <a:pt x="38" y="58"/>
                    <a:pt x="37" y="62"/>
                    <a:pt x="37" y="62"/>
                  </a:cubicBezTo>
                  <a:cubicBezTo>
                    <a:pt x="37" y="62"/>
                    <a:pt x="36" y="61"/>
                    <a:pt x="36" y="61"/>
                  </a:cubicBezTo>
                  <a:cubicBezTo>
                    <a:pt x="35" y="61"/>
                    <a:pt x="34" y="61"/>
                    <a:pt x="34" y="61"/>
                  </a:cubicBezTo>
                  <a:cubicBezTo>
                    <a:pt x="34" y="61"/>
                    <a:pt x="33" y="64"/>
                    <a:pt x="33" y="64"/>
                  </a:cubicBezTo>
                  <a:cubicBezTo>
                    <a:pt x="32" y="64"/>
                    <a:pt x="31" y="65"/>
                    <a:pt x="31" y="65"/>
                  </a:cubicBezTo>
                  <a:cubicBezTo>
                    <a:pt x="31" y="65"/>
                    <a:pt x="31" y="69"/>
                    <a:pt x="31" y="69"/>
                  </a:cubicBezTo>
                  <a:cubicBezTo>
                    <a:pt x="31" y="69"/>
                    <a:pt x="30" y="70"/>
                    <a:pt x="30" y="70"/>
                  </a:cubicBezTo>
                  <a:cubicBezTo>
                    <a:pt x="30" y="70"/>
                    <a:pt x="29" y="70"/>
                    <a:pt x="29" y="71"/>
                  </a:cubicBezTo>
                  <a:cubicBezTo>
                    <a:pt x="29" y="71"/>
                    <a:pt x="30" y="72"/>
                    <a:pt x="30" y="72"/>
                  </a:cubicBezTo>
                  <a:cubicBezTo>
                    <a:pt x="30" y="72"/>
                    <a:pt x="30" y="77"/>
                    <a:pt x="30" y="77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7"/>
                    <a:pt x="28" y="78"/>
                  </a:cubicBezTo>
                  <a:cubicBezTo>
                    <a:pt x="28" y="78"/>
                    <a:pt x="27" y="79"/>
                    <a:pt x="27" y="79"/>
                  </a:cubicBezTo>
                  <a:cubicBezTo>
                    <a:pt x="27" y="79"/>
                    <a:pt x="25" y="79"/>
                    <a:pt x="25" y="79"/>
                  </a:cubicBezTo>
                  <a:cubicBezTo>
                    <a:pt x="25" y="79"/>
                    <a:pt x="25" y="77"/>
                    <a:pt x="25" y="77"/>
                  </a:cubicBezTo>
                  <a:cubicBezTo>
                    <a:pt x="25" y="77"/>
                    <a:pt x="26" y="76"/>
                    <a:pt x="26" y="76"/>
                  </a:cubicBezTo>
                  <a:cubicBezTo>
                    <a:pt x="26" y="76"/>
                    <a:pt x="25" y="75"/>
                    <a:pt x="25" y="75"/>
                  </a:cubicBezTo>
                  <a:cubicBezTo>
                    <a:pt x="25" y="75"/>
                    <a:pt x="24" y="74"/>
                    <a:pt x="24" y="74"/>
                  </a:cubicBezTo>
                  <a:cubicBezTo>
                    <a:pt x="24" y="74"/>
                    <a:pt x="22" y="73"/>
                    <a:pt x="22" y="72"/>
                  </a:cubicBezTo>
                  <a:cubicBezTo>
                    <a:pt x="22" y="72"/>
                    <a:pt x="21" y="72"/>
                    <a:pt x="21" y="73"/>
                  </a:cubicBezTo>
                  <a:cubicBezTo>
                    <a:pt x="21" y="73"/>
                    <a:pt x="20" y="74"/>
                    <a:pt x="20" y="74"/>
                  </a:cubicBezTo>
                  <a:cubicBezTo>
                    <a:pt x="20" y="75"/>
                    <a:pt x="18" y="78"/>
                    <a:pt x="18" y="78"/>
                  </a:cubicBezTo>
                  <a:cubicBezTo>
                    <a:pt x="18" y="79"/>
                    <a:pt x="17" y="81"/>
                    <a:pt x="17" y="81"/>
                  </a:cubicBezTo>
                  <a:cubicBezTo>
                    <a:pt x="17" y="81"/>
                    <a:pt x="15" y="83"/>
                    <a:pt x="15" y="83"/>
                  </a:cubicBezTo>
                  <a:cubicBezTo>
                    <a:pt x="15" y="83"/>
                    <a:pt x="16" y="86"/>
                    <a:pt x="16" y="87"/>
                  </a:cubicBezTo>
                  <a:cubicBezTo>
                    <a:pt x="16" y="87"/>
                    <a:pt x="17" y="91"/>
                    <a:pt x="17" y="91"/>
                  </a:cubicBezTo>
                  <a:cubicBezTo>
                    <a:pt x="17" y="91"/>
                    <a:pt x="14" y="91"/>
                    <a:pt x="14" y="91"/>
                  </a:cubicBezTo>
                  <a:cubicBezTo>
                    <a:pt x="14" y="92"/>
                    <a:pt x="12" y="92"/>
                    <a:pt x="12" y="92"/>
                  </a:cubicBezTo>
                  <a:cubicBezTo>
                    <a:pt x="12" y="92"/>
                    <a:pt x="12" y="94"/>
                    <a:pt x="12" y="94"/>
                  </a:cubicBezTo>
                  <a:cubicBezTo>
                    <a:pt x="12" y="95"/>
                    <a:pt x="11" y="97"/>
                    <a:pt x="11" y="97"/>
                  </a:cubicBezTo>
                  <a:cubicBezTo>
                    <a:pt x="11" y="97"/>
                    <a:pt x="10" y="98"/>
                    <a:pt x="10" y="98"/>
                  </a:cubicBezTo>
                  <a:cubicBezTo>
                    <a:pt x="9" y="99"/>
                    <a:pt x="6" y="99"/>
                    <a:pt x="6" y="99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2" y="100"/>
                    <a:pt x="2" y="102"/>
                    <a:pt x="2" y="103"/>
                  </a:cubicBezTo>
                  <a:cubicBezTo>
                    <a:pt x="2" y="103"/>
                    <a:pt x="2" y="106"/>
                    <a:pt x="2" y="106"/>
                  </a:cubicBezTo>
                  <a:cubicBezTo>
                    <a:pt x="2" y="106"/>
                    <a:pt x="1" y="107"/>
                    <a:pt x="1" y="107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0" y="111"/>
                    <a:pt x="0" y="112"/>
                  </a:cubicBezTo>
                  <a:cubicBezTo>
                    <a:pt x="0" y="112"/>
                    <a:pt x="2" y="112"/>
                    <a:pt x="2" y="112"/>
                  </a:cubicBezTo>
                  <a:cubicBezTo>
                    <a:pt x="2" y="112"/>
                    <a:pt x="3" y="115"/>
                    <a:pt x="3" y="115"/>
                  </a:cubicBezTo>
                  <a:cubicBezTo>
                    <a:pt x="4" y="115"/>
                    <a:pt x="4" y="117"/>
                    <a:pt x="4" y="117"/>
                  </a:cubicBezTo>
                  <a:cubicBezTo>
                    <a:pt x="4" y="117"/>
                    <a:pt x="6" y="118"/>
                    <a:pt x="6" y="118"/>
                  </a:cubicBezTo>
                  <a:cubicBezTo>
                    <a:pt x="6" y="118"/>
                    <a:pt x="6" y="119"/>
                    <a:pt x="6" y="119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21"/>
                    <a:pt x="8" y="122"/>
                    <a:pt x="8" y="122"/>
                  </a:cubicBezTo>
                  <a:cubicBezTo>
                    <a:pt x="8" y="122"/>
                    <a:pt x="9" y="126"/>
                    <a:pt x="9" y="126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1" y="129"/>
                    <a:pt x="11" y="129"/>
                  </a:cubicBezTo>
                  <a:cubicBezTo>
                    <a:pt x="11" y="130"/>
                    <a:pt x="11" y="131"/>
                    <a:pt x="11" y="131"/>
                  </a:cubicBezTo>
                  <a:cubicBezTo>
                    <a:pt x="11" y="131"/>
                    <a:pt x="15" y="134"/>
                    <a:pt x="15" y="134"/>
                  </a:cubicBezTo>
                  <a:cubicBezTo>
                    <a:pt x="17" y="134"/>
                    <a:pt x="17" y="134"/>
                    <a:pt x="17" y="134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1" y="138"/>
                    <a:pt x="21" y="138"/>
                    <a:pt x="21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5" y="139"/>
                    <a:pt x="24" y="140"/>
                    <a:pt x="24" y="140"/>
                  </a:cubicBezTo>
                  <a:cubicBezTo>
                    <a:pt x="24" y="140"/>
                    <a:pt x="23" y="141"/>
                    <a:pt x="23" y="141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3"/>
                    <a:pt x="24" y="143"/>
                    <a:pt x="24" y="143"/>
                  </a:cubicBezTo>
                  <a:cubicBezTo>
                    <a:pt x="24" y="143"/>
                    <a:pt x="25" y="146"/>
                    <a:pt x="25" y="146"/>
                  </a:cubicBezTo>
                  <a:cubicBezTo>
                    <a:pt x="25" y="146"/>
                    <a:pt x="28" y="148"/>
                    <a:pt x="28" y="148"/>
                  </a:cubicBezTo>
                  <a:cubicBezTo>
                    <a:pt x="30" y="149"/>
                    <a:pt x="30" y="149"/>
                    <a:pt x="30" y="149"/>
                  </a:cubicBezTo>
                  <a:cubicBezTo>
                    <a:pt x="30" y="149"/>
                    <a:pt x="32" y="150"/>
                    <a:pt x="32" y="150"/>
                  </a:cubicBezTo>
                  <a:cubicBezTo>
                    <a:pt x="32" y="150"/>
                    <a:pt x="33" y="152"/>
                    <a:pt x="33" y="152"/>
                  </a:cubicBezTo>
                  <a:cubicBezTo>
                    <a:pt x="33" y="153"/>
                    <a:pt x="38" y="152"/>
                    <a:pt x="38" y="152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52" y="149"/>
                    <a:pt x="52" y="149"/>
                    <a:pt x="52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61" y="148"/>
                    <a:pt x="61" y="148"/>
                    <a:pt x="61" y="148"/>
                  </a:cubicBezTo>
                  <a:cubicBezTo>
                    <a:pt x="62" y="146"/>
                    <a:pt x="62" y="146"/>
                    <a:pt x="62" y="146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2" y="143"/>
                    <a:pt x="62" y="143"/>
                    <a:pt x="62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6" y="145"/>
                    <a:pt x="66" y="145"/>
                    <a:pt x="66" y="145"/>
                  </a:cubicBezTo>
                  <a:cubicBezTo>
                    <a:pt x="70" y="142"/>
                    <a:pt x="70" y="142"/>
                    <a:pt x="70" y="142"/>
                  </a:cubicBezTo>
                  <a:cubicBezTo>
                    <a:pt x="73" y="140"/>
                    <a:pt x="73" y="140"/>
                    <a:pt x="73" y="140"/>
                  </a:cubicBezTo>
                  <a:cubicBezTo>
                    <a:pt x="75" y="143"/>
                    <a:pt x="75" y="143"/>
                    <a:pt x="75" y="143"/>
                  </a:cubicBezTo>
                  <a:cubicBezTo>
                    <a:pt x="81" y="139"/>
                    <a:pt x="81" y="139"/>
                    <a:pt x="81" y="139"/>
                  </a:cubicBezTo>
                  <a:cubicBezTo>
                    <a:pt x="81" y="139"/>
                    <a:pt x="81" y="138"/>
                    <a:pt x="80" y="138"/>
                  </a:cubicBezTo>
                  <a:cubicBezTo>
                    <a:pt x="80" y="138"/>
                    <a:pt x="80" y="137"/>
                    <a:pt x="80" y="136"/>
                  </a:cubicBezTo>
                  <a:cubicBezTo>
                    <a:pt x="80" y="136"/>
                    <a:pt x="83" y="135"/>
                    <a:pt x="83" y="135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83" y="134"/>
                    <a:pt x="82" y="132"/>
                    <a:pt x="82" y="132"/>
                  </a:cubicBezTo>
                  <a:cubicBezTo>
                    <a:pt x="82" y="132"/>
                    <a:pt x="82" y="130"/>
                    <a:pt x="82" y="130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5" y="123"/>
                    <a:pt x="85" y="123"/>
                  </a:cubicBezTo>
                  <a:cubicBezTo>
                    <a:pt x="85" y="123"/>
                    <a:pt x="88" y="121"/>
                    <a:pt x="88" y="121"/>
                  </a:cubicBezTo>
                  <a:cubicBezTo>
                    <a:pt x="88" y="120"/>
                    <a:pt x="91" y="117"/>
                    <a:pt x="91" y="117"/>
                  </a:cubicBezTo>
                  <a:cubicBezTo>
                    <a:pt x="91" y="117"/>
                    <a:pt x="93" y="115"/>
                    <a:pt x="93" y="115"/>
                  </a:cubicBezTo>
                  <a:cubicBezTo>
                    <a:pt x="93" y="115"/>
                    <a:pt x="94" y="113"/>
                    <a:pt x="94" y="113"/>
                  </a:cubicBezTo>
                  <a:cubicBezTo>
                    <a:pt x="93" y="111"/>
                    <a:pt x="93" y="111"/>
                    <a:pt x="93" y="111"/>
                  </a:cubicBezTo>
                  <a:cubicBezTo>
                    <a:pt x="94" y="109"/>
                    <a:pt x="94" y="109"/>
                    <a:pt x="94" y="109"/>
                  </a:cubicBezTo>
                  <a:cubicBezTo>
                    <a:pt x="95" y="108"/>
                    <a:pt x="95" y="108"/>
                    <a:pt x="95" y="108"/>
                  </a:cubicBezTo>
                  <a:cubicBezTo>
                    <a:pt x="98" y="106"/>
                    <a:pt x="98" y="106"/>
                    <a:pt x="98" y="106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8" y="104"/>
                    <a:pt x="101" y="102"/>
                    <a:pt x="101" y="102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1" y="101"/>
                    <a:pt x="102" y="99"/>
                    <a:pt x="102" y="99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3" y="91"/>
                    <a:pt x="106" y="92"/>
                    <a:pt x="106" y="92"/>
                  </a:cubicBezTo>
                  <a:cubicBezTo>
                    <a:pt x="107" y="93"/>
                    <a:pt x="108" y="94"/>
                    <a:pt x="108" y="94"/>
                  </a:cubicBezTo>
                  <a:cubicBezTo>
                    <a:pt x="108" y="94"/>
                    <a:pt x="109" y="97"/>
                    <a:pt x="109" y="97"/>
                  </a:cubicBezTo>
                  <a:cubicBezTo>
                    <a:pt x="109" y="97"/>
                    <a:pt x="116" y="99"/>
                    <a:pt x="116" y="99"/>
                  </a:cubicBezTo>
                  <a:cubicBezTo>
                    <a:pt x="116" y="99"/>
                    <a:pt x="121" y="89"/>
                    <a:pt x="121" y="89"/>
                  </a:cubicBezTo>
                  <a:cubicBezTo>
                    <a:pt x="121" y="88"/>
                    <a:pt x="123" y="89"/>
                    <a:pt x="123" y="89"/>
                  </a:cubicBezTo>
                  <a:cubicBezTo>
                    <a:pt x="123" y="89"/>
                    <a:pt x="123" y="85"/>
                    <a:pt x="123" y="85"/>
                  </a:cubicBezTo>
                  <a:cubicBezTo>
                    <a:pt x="123" y="85"/>
                    <a:pt x="126" y="80"/>
                    <a:pt x="126" y="80"/>
                  </a:cubicBezTo>
                  <a:cubicBezTo>
                    <a:pt x="130" y="84"/>
                    <a:pt x="130" y="84"/>
                    <a:pt x="130" y="84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5" y="78"/>
                    <a:pt x="135" y="78"/>
                    <a:pt x="135" y="78"/>
                  </a:cubicBezTo>
                  <a:cubicBezTo>
                    <a:pt x="137" y="76"/>
                    <a:pt x="137" y="76"/>
                    <a:pt x="137" y="76"/>
                  </a:cubicBezTo>
                  <a:cubicBezTo>
                    <a:pt x="139" y="74"/>
                    <a:pt x="139" y="74"/>
                    <a:pt x="139" y="74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39" y="75"/>
                    <a:pt x="141" y="72"/>
                    <a:pt x="141" y="72"/>
                  </a:cubicBezTo>
                  <a:cubicBezTo>
                    <a:pt x="141" y="72"/>
                    <a:pt x="146" y="66"/>
                    <a:pt x="146" y="66"/>
                  </a:cubicBezTo>
                  <a:cubicBezTo>
                    <a:pt x="146" y="66"/>
                    <a:pt x="146" y="65"/>
                    <a:pt x="146" y="65"/>
                  </a:cubicBezTo>
                  <a:cubicBezTo>
                    <a:pt x="146" y="65"/>
                    <a:pt x="145" y="64"/>
                    <a:pt x="145" y="64"/>
                  </a:cubicBezTo>
                  <a:cubicBezTo>
                    <a:pt x="147" y="61"/>
                    <a:pt x="147" y="61"/>
                    <a:pt x="147" y="61"/>
                  </a:cubicBezTo>
                  <a:cubicBezTo>
                    <a:pt x="149" y="58"/>
                    <a:pt x="149" y="58"/>
                    <a:pt x="149" y="58"/>
                  </a:cubicBezTo>
                  <a:cubicBezTo>
                    <a:pt x="148" y="57"/>
                    <a:pt x="148" y="57"/>
                    <a:pt x="148" y="57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66" y="67"/>
                    <a:pt x="166" y="67"/>
                    <a:pt x="166" y="67"/>
                  </a:cubicBezTo>
                  <a:cubicBezTo>
                    <a:pt x="170" y="59"/>
                    <a:pt x="170" y="59"/>
                    <a:pt x="170" y="59"/>
                  </a:cubicBezTo>
                  <a:cubicBezTo>
                    <a:pt x="169" y="58"/>
                    <a:pt x="169" y="58"/>
                    <a:pt x="169" y="58"/>
                  </a:cubicBezTo>
                  <a:lnTo>
                    <a:pt x="169" y="5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175C0C1-D53B-4ABA-8AE9-A0C3A7629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6875" y="1258003"/>
              <a:ext cx="1068976" cy="698882"/>
            </a:xfrm>
            <a:custGeom>
              <a:avLst/>
              <a:gdLst>
                <a:gd name="T0" fmla="*/ 65 w 270"/>
                <a:gd name="T1" fmla="*/ 93 h 176"/>
                <a:gd name="T2" fmla="*/ 79 w 270"/>
                <a:gd name="T3" fmla="*/ 83 h 176"/>
                <a:gd name="T4" fmla="*/ 75 w 270"/>
                <a:gd name="T5" fmla="*/ 48 h 176"/>
                <a:gd name="T6" fmla="*/ 72 w 270"/>
                <a:gd name="T7" fmla="*/ 39 h 176"/>
                <a:gd name="T8" fmla="*/ 72 w 270"/>
                <a:gd name="T9" fmla="*/ 33 h 176"/>
                <a:gd name="T10" fmla="*/ 73 w 270"/>
                <a:gd name="T11" fmla="*/ 45 h 176"/>
                <a:gd name="T12" fmla="*/ 78 w 270"/>
                <a:gd name="T13" fmla="*/ 53 h 176"/>
                <a:gd name="T14" fmla="*/ 81 w 270"/>
                <a:gd name="T15" fmla="*/ 51 h 176"/>
                <a:gd name="T16" fmla="*/ 57 w 270"/>
                <a:gd name="T17" fmla="*/ 21 h 176"/>
                <a:gd name="T18" fmla="*/ 65 w 270"/>
                <a:gd name="T19" fmla="*/ 30 h 176"/>
                <a:gd name="T20" fmla="*/ 64 w 270"/>
                <a:gd name="T21" fmla="*/ 30 h 176"/>
                <a:gd name="T22" fmla="*/ 67 w 270"/>
                <a:gd name="T23" fmla="*/ 17 h 176"/>
                <a:gd name="T24" fmla="*/ 63 w 270"/>
                <a:gd name="T25" fmla="*/ 22 h 176"/>
                <a:gd name="T26" fmla="*/ 73 w 270"/>
                <a:gd name="T27" fmla="*/ 25 h 176"/>
                <a:gd name="T28" fmla="*/ 67 w 270"/>
                <a:gd name="T29" fmla="*/ 0 h 176"/>
                <a:gd name="T30" fmla="*/ 68 w 270"/>
                <a:gd name="T31" fmla="*/ 7 h 176"/>
                <a:gd name="T32" fmla="*/ 74 w 270"/>
                <a:gd name="T33" fmla="*/ 12 h 176"/>
                <a:gd name="T34" fmla="*/ 80 w 270"/>
                <a:gd name="T35" fmla="*/ 21 h 176"/>
                <a:gd name="T36" fmla="*/ 75 w 270"/>
                <a:gd name="T37" fmla="*/ 28 h 176"/>
                <a:gd name="T38" fmla="*/ 76 w 270"/>
                <a:gd name="T39" fmla="*/ 32 h 176"/>
                <a:gd name="T40" fmla="*/ 83 w 270"/>
                <a:gd name="T41" fmla="*/ 37 h 176"/>
                <a:gd name="T42" fmla="*/ 76 w 270"/>
                <a:gd name="T43" fmla="*/ 41 h 176"/>
                <a:gd name="T44" fmla="*/ 79 w 270"/>
                <a:gd name="T45" fmla="*/ 46 h 176"/>
                <a:gd name="T46" fmla="*/ 82 w 270"/>
                <a:gd name="T47" fmla="*/ 43 h 176"/>
                <a:gd name="T48" fmla="*/ 86 w 270"/>
                <a:gd name="T49" fmla="*/ 54 h 176"/>
                <a:gd name="T50" fmla="*/ 81 w 270"/>
                <a:gd name="T51" fmla="*/ 66 h 176"/>
                <a:gd name="T52" fmla="*/ 82 w 270"/>
                <a:gd name="T53" fmla="*/ 74 h 176"/>
                <a:gd name="T54" fmla="*/ 83 w 270"/>
                <a:gd name="T55" fmla="*/ 87 h 176"/>
                <a:gd name="T56" fmla="*/ 75 w 270"/>
                <a:gd name="T57" fmla="*/ 92 h 176"/>
                <a:gd name="T58" fmla="*/ 63 w 270"/>
                <a:gd name="T59" fmla="*/ 98 h 176"/>
                <a:gd name="T60" fmla="*/ 62 w 270"/>
                <a:gd name="T61" fmla="*/ 92 h 176"/>
                <a:gd name="T62" fmla="*/ 67 w 270"/>
                <a:gd name="T63" fmla="*/ 91 h 176"/>
                <a:gd name="T64" fmla="*/ 72 w 270"/>
                <a:gd name="T65" fmla="*/ 85 h 176"/>
                <a:gd name="T66" fmla="*/ 77 w 270"/>
                <a:gd name="T67" fmla="*/ 75 h 176"/>
                <a:gd name="T68" fmla="*/ 77 w 270"/>
                <a:gd name="T69" fmla="*/ 59 h 176"/>
                <a:gd name="T70" fmla="*/ 67 w 270"/>
                <a:gd name="T71" fmla="*/ 70 h 176"/>
                <a:gd name="T72" fmla="*/ 66 w 270"/>
                <a:gd name="T73" fmla="*/ 65 h 176"/>
                <a:gd name="T74" fmla="*/ 72 w 270"/>
                <a:gd name="T75" fmla="*/ 61 h 176"/>
                <a:gd name="T76" fmla="*/ 66 w 270"/>
                <a:gd name="T77" fmla="*/ 46 h 176"/>
                <a:gd name="T78" fmla="*/ 61 w 270"/>
                <a:gd name="T79" fmla="*/ 48 h 176"/>
                <a:gd name="T80" fmla="*/ 43 w 270"/>
                <a:gd name="T81" fmla="*/ 46 h 176"/>
                <a:gd name="T82" fmla="*/ 20 w 270"/>
                <a:gd name="T83" fmla="*/ 41 h 176"/>
                <a:gd name="T84" fmla="*/ 1 w 270"/>
                <a:gd name="T85" fmla="*/ 35 h 176"/>
                <a:gd name="T86" fmla="*/ 3 w 270"/>
                <a:gd name="T87" fmla="*/ 56 h 176"/>
                <a:gd name="T88" fmla="*/ 11 w 270"/>
                <a:gd name="T89" fmla="*/ 68 h 176"/>
                <a:gd name="T90" fmla="*/ 14 w 270"/>
                <a:gd name="T91" fmla="*/ 84 h 176"/>
                <a:gd name="T92" fmla="*/ 20 w 270"/>
                <a:gd name="T93" fmla="*/ 101 h 176"/>
                <a:gd name="T94" fmla="*/ 26 w 270"/>
                <a:gd name="T95" fmla="*/ 109 h 176"/>
                <a:gd name="T96" fmla="*/ 25 w 270"/>
                <a:gd name="T97" fmla="*/ 118 h 176"/>
                <a:gd name="T98" fmla="*/ 28 w 270"/>
                <a:gd name="T99" fmla="*/ 125 h 176"/>
                <a:gd name="T100" fmla="*/ 25 w 270"/>
                <a:gd name="T101" fmla="*/ 133 h 176"/>
                <a:gd name="T102" fmla="*/ 24 w 270"/>
                <a:gd name="T103" fmla="*/ 135 h 176"/>
                <a:gd name="T104" fmla="*/ 43 w 270"/>
                <a:gd name="T105" fmla="*/ 140 h 176"/>
                <a:gd name="T106" fmla="*/ 64 w 270"/>
                <a:gd name="T107" fmla="*/ 150 h 176"/>
                <a:gd name="T108" fmla="*/ 81 w 270"/>
                <a:gd name="T109" fmla="*/ 175 h 176"/>
                <a:gd name="T110" fmla="*/ 109 w 270"/>
                <a:gd name="T111" fmla="*/ 168 h 176"/>
                <a:gd name="T112" fmla="*/ 126 w 270"/>
                <a:gd name="T113" fmla="*/ 172 h 176"/>
                <a:gd name="T114" fmla="*/ 154 w 270"/>
                <a:gd name="T115" fmla="*/ 168 h 176"/>
                <a:gd name="T116" fmla="*/ 179 w 270"/>
                <a:gd name="T117" fmla="*/ 158 h 176"/>
                <a:gd name="T118" fmla="*/ 199 w 270"/>
                <a:gd name="T119" fmla="*/ 15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176">
                  <a:moveTo>
                    <a:pt x="63" y="94"/>
                  </a:move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3"/>
                    <a:pt x="63" y="93"/>
                  </a:cubicBezTo>
                  <a:cubicBezTo>
                    <a:pt x="63" y="93"/>
                    <a:pt x="63" y="92"/>
                    <a:pt x="63" y="92"/>
                  </a:cubicBezTo>
                  <a:cubicBezTo>
                    <a:pt x="63" y="92"/>
                    <a:pt x="63" y="91"/>
                    <a:pt x="64" y="91"/>
                  </a:cubicBezTo>
                  <a:cubicBezTo>
                    <a:pt x="64" y="91"/>
                    <a:pt x="64" y="91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5" y="90"/>
                    <a:pt x="65" y="90"/>
                    <a:pt x="65" y="90"/>
                  </a:cubicBezTo>
                  <a:cubicBezTo>
                    <a:pt x="65" y="90"/>
                    <a:pt x="65" y="91"/>
                    <a:pt x="65" y="91"/>
                  </a:cubicBezTo>
                  <a:cubicBezTo>
                    <a:pt x="65" y="91"/>
                    <a:pt x="65" y="92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6" y="93"/>
                    <a:pt x="66" y="93"/>
                    <a:pt x="65" y="93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4" y="95"/>
                    <a:pt x="64" y="95"/>
                  </a:cubicBezTo>
                  <a:cubicBezTo>
                    <a:pt x="64" y="95"/>
                    <a:pt x="64" y="95"/>
                    <a:pt x="63" y="94"/>
                  </a:cubicBezTo>
                  <a:close/>
                  <a:moveTo>
                    <a:pt x="77" y="85"/>
                  </a:moveTo>
                  <a:cubicBezTo>
                    <a:pt x="77" y="85"/>
                    <a:pt x="77" y="85"/>
                    <a:pt x="77" y="86"/>
                  </a:cubicBezTo>
                  <a:cubicBezTo>
                    <a:pt x="77" y="86"/>
                    <a:pt x="77" y="87"/>
                    <a:pt x="77" y="87"/>
                  </a:cubicBezTo>
                  <a:cubicBezTo>
                    <a:pt x="78" y="87"/>
                    <a:pt x="78" y="86"/>
                    <a:pt x="78" y="86"/>
                  </a:cubicBezTo>
                  <a:cubicBezTo>
                    <a:pt x="78" y="86"/>
                    <a:pt x="79" y="86"/>
                    <a:pt x="79" y="85"/>
                  </a:cubicBezTo>
                  <a:cubicBezTo>
                    <a:pt x="79" y="85"/>
                    <a:pt x="79" y="84"/>
                    <a:pt x="79" y="83"/>
                  </a:cubicBezTo>
                  <a:cubicBezTo>
                    <a:pt x="79" y="82"/>
                    <a:pt x="79" y="82"/>
                    <a:pt x="79" y="81"/>
                  </a:cubicBezTo>
                  <a:cubicBezTo>
                    <a:pt x="79" y="80"/>
                    <a:pt x="79" y="79"/>
                    <a:pt x="78" y="79"/>
                  </a:cubicBezTo>
                  <a:cubicBezTo>
                    <a:pt x="78" y="79"/>
                    <a:pt x="78" y="80"/>
                    <a:pt x="77" y="81"/>
                  </a:cubicBezTo>
                  <a:cubicBezTo>
                    <a:pt x="77" y="81"/>
                    <a:pt x="77" y="81"/>
                    <a:pt x="77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7" y="83"/>
                    <a:pt x="77" y="84"/>
                    <a:pt x="77" y="85"/>
                  </a:cubicBezTo>
                  <a:close/>
                  <a:moveTo>
                    <a:pt x="77" y="49"/>
                  </a:moveTo>
                  <a:cubicBezTo>
                    <a:pt x="77" y="49"/>
                    <a:pt x="77" y="50"/>
                    <a:pt x="76" y="50"/>
                  </a:cubicBezTo>
                  <a:cubicBezTo>
                    <a:pt x="76" y="51"/>
                    <a:pt x="76" y="51"/>
                    <a:pt x="76" y="50"/>
                  </a:cubicBezTo>
                  <a:cubicBezTo>
                    <a:pt x="76" y="50"/>
                    <a:pt x="76" y="49"/>
                    <a:pt x="76" y="49"/>
                  </a:cubicBezTo>
                  <a:cubicBezTo>
                    <a:pt x="75" y="49"/>
                    <a:pt x="76" y="48"/>
                    <a:pt x="75" y="48"/>
                  </a:cubicBezTo>
                  <a:cubicBezTo>
                    <a:pt x="75" y="47"/>
                    <a:pt x="75" y="47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3"/>
                    <a:pt x="73" y="42"/>
                  </a:cubicBezTo>
                  <a:cubicBezTo>
                    <a:pt x="73" y="42"/>
                    <a:pt x="73" y="43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1"/>
                    <a:pt x="71" y="41"/>
                  </a:cubicBezTo>
                  <a:cubicBezTo>
                    <a:pt x="71" y="41"/>
                    <a:pt x="71" y="40"/>
                    <a:pt x="71" y="40"/>
                  </a:cubicBezTo>
                  <a:cubicBezTo>
                    <a:pt x="72" y="40"/>
                    <a:pt x="72" y="40"/>
                    <a:pt x="72" y="39"/>
                  </a:cubicBezTo>
                  <a:cubicBezTo>
                    <a:pt x="72" y="39"/>
                    <a:pt x="72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8"/>
                    <a:pt x="74" y="38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7"/>
                    <a:pt x="77" y="37"/>
                    <a:pt x="77" y="36"/>
                  </a:cubicBezTo>
                  <a:cubicBezTo>
                    <a:pt x="77" y="36"/>
                    <a:pt x="76" y="35"/>
                    <a:pt x="75" y="35"/>
                  </a:cubicBezTo>
                  <a:cubicBezTo>
                    <a:pt x="74" y="35"/>
                    <a:pt x="74" y="34"/>
                    <a:pt x="73" y="33"/>
                  </a:cubicBezTo>
                  <a:cubicBezTo>
                    <a:pt x="73" y="33"/>
                    <a:pt x="72" y="33"/>
                    <a:pt x="72" y="33"/>
                  </a:cubicBezTo>
                  <a:cubicBezTo>
                    <a:pt x="72" y="34"/>
                    <a:pt x="72" y="34"/>
                    <a:pt x="71" y="34"/>
                  </a:cubicBezTo>
                  <a:cubicBezTo>
                    <a:pt x="71" y="34"/>
                    <a:pt x="71" y="35"/>
                    <a:pt x="71" y="35"/>
                  </a:cubicBezTo>
                  <a:cubicBezTo>
                    <a:pt x="71" y="36"/>
                    <a:pt x="70" y="36"/>
                    <a:pt x="70" y="36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8"/>
                    <a:pt x="70" y="38"/>
                    <a:pt x="70" y="39"/>
                  </a:cubicBezTo>
                  <a:cubicBezTo>
                    <a:pt x="69" y="39"/>
                    <a:pt x="69" y="39"/>
                    <a:pt x="69" y="40"/>
                  </a:cubicBezTo>
                  <a:cubicBezTo>
                    <a:pt x="69" y="40"/>
                    <a:pt x="69" y="40"/>
                    <a:pt x="69" y="41"/>
                  </a:cubicBezTo>
                  <a:cubicBezTo>
                    <a:pt x="69" y="41"/>
                    <a:pt x="69" y="41"/>
                    <a:pt x="69" y="42"/>
                  </a:cubicBezTo>
                  <a:cubicBezTo>
                    <a:pt x="69" y="42"/>
                    <a:pt x="69" y="42"/>
                    <a:pt x="69" y="43"/>
                  </a:cubicBezTo>
                  <a:cubicBezTo>
                    <a:pt x="70" y="43"/>
                    <a:pt x="70" y="44"/>
                    <a:pt x="71" y="44"/>
                  </a:cubicBezTo>
                  <a:cubicBezTo>
                    <a:pt x="71" y="45"/>
                    <a:pt x="72" y="45"/>
                    <a:pt x="73" y="45"/>
                  </a:cubicBezTo>
                  <a:cubicBezTo>
                    <a:pt x="73" y="45"/>
                    <a:pt x="73" y="45"/>
                    <a:pt x="73" y="46"/>
                  </a:cubicBezTo>
                  <a:cubicBezTo>
                    <a:pt x="73" y="47"/>
                    <a:pt x="73" y="48"/>
                    <a:pt x="73" y="49"/>
                  </a:cubicBezTo>
                  <a:cubicBezTo>
                    <a:pt x="74" y="49"/>
                    <a:pt x="74" y="50"/>
                    <a:pt x="74" y="50"/>
                  </a:cubicBezTo>
                  <a:cubicBezTo>
                    <a:pt x="74" y="50"/>
                    <a:pt x="74" y="50"/>
                    <a:pt x="74" y="51"/>
                  </a:cubicBezTo>
                  <a:cubicBezTo>
                    <a:pt x="74" y="51"/>
                    <a:pt x="74" y="52"/>
                    <a:pt x="75" y="52"/>
                  </a:cubicBezTo>
                  <a:cubicBezTo>
                    <a:pt x="75" y="52"/>
                    <a:pt x="75" y="53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6" y="54"/>
                    <a:pt x="76" y="54"/>
                    <a:pt x="76" y="55"/>
                  </a:cubicBezTo>
                  <a:cubicBezTo>
                    <a:pt x="76" y="55"/>
                    <a:pt x="76" y="54"/>
                    <a:pt x="76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8" y="53"/>
                  </a:cubicBezTo>
                  <a:cubicBezTo>
                    <a:pt x="78" y="53"/>
                    <a:pt x="78" y="53"/>
                    <a:pt x="79" y="54"/>
                  </a:cubicBezTo>
                  <a:cubicBezTo>
                    <a:pt x="79" y="54"/>
                    <a:pt x="79" y="55"/>
                    <a:pt x="79" y="55"/>
                  </a:cubicBezTo>
                  <a:cubicBezTo>
                    <a:pt x="79" y="56"/>
                    <a:pt x="79" y="56"/>
                    <a:pt x="79" y="57"/>
                  </a:cubicBezTo>
                  <a:cubicBezTo>
                    <a:pt x="79" y="57"/>
                    <a:pt x="79" y="58"/>
                    <a:pt x="80" y="58"/>
                  </a:cubicBezTo>
                  <a:cubicBezTo>
                    <a:pt x="80" y="58"/>
                    <a:pt x="81" y="57"/>
                    <a:pt x="81" y="57"/>
                  </a:cubicBezTo>
                  <a:cubicBezTo>
                    <a:pt x="81" y="57"/>
                    <a:pt x="81" y="57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5"/>
                    <a:pt x="82" y="54"/>
                    <a:pt x="82" y="54"/>
                  </a:cubicBezTo>
                  <a:cubicBezTo>
                    <a:pt x="82" y="54"/>
                    <a:pt x="82" y="54"/>
                    <a:pt x="82" y="53"/>
                  </a:cubicBezTo>
                  <a:cubicBezTo>
                    <a:pt x="82" y="53"/>
                    <a:pt x="81" y="53"/>
                    <a:pt x="81" y="52"/>
                  </a:cubicBezTo>
                  <a:cubicBezTo>
                    <a:pt x="81" y="52"/>
                    <a:pt x="81" y="51"/>
                    <a:pt x="81" y="51"/>
                  </a:cubicBezTo>
                  <a:cubicBezTo>
                    <a:pt x="80" y="50"/>
                    <a:pt x="80" y="50"/>
                    <a:pt x="79" y="50"/>
                  </a:cubicBezTo>
                  <a:cubicBezTo>
                    <a:pt x="79" y="49"/>
                    <a:pt x="78" y="50"/>
                    <a:pt x="78" y="49"/>
                  </a:cubicBezTo>
                  <a:cubicBezTo>
                    <a:pt x="78" y="49"/>
                    <a:pt x="77" y="49"/>
                    <a:pt x="77" y="49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9"/>
                    <a:pt x="77" y="49"/>
                  </a:cubicBezTo>
                  <a:close/>
                  <a:moveTo>
                    <a:pt x="59" y="27"/>
                  </a:moveTo>
                  <a:cubicBezTo>
                    <a:pt x="59" y="26"/>
                    <a:pt x="60" y="25"/>
                    <a:pt x="59" y="25"/>
                  </a:cubicBezTo>
                  <a:cubicBezTo>
                    <a:pt x="59" y="25"/>
                    <a:pt x="59" y="24"/>
                    <a:pt x="59" y="24"/>
                  </a:cubicBezTo>
                  <a:cubicBezTo>
                    <a:pt x="59" y="24"/>
                    <a:pt x="59" y="24"/>
                    <a:pt x="58" y="23"/>
                  </a:cubicBezTo>
                  <a:cubicBezTo>
                    <a:pt x="58" y="23"/>
                    <a:pt x="57" y="23"/>
                    <a:pt x="57" y="22"/>
                  </a:cubicBezTo>
                  <a:cubicBezTo>
                    <a:pt x="57" y="22"/>
                    <a:pt x="57" y="21"/>
                    <a:pt x="57" y="21"/>
                  </a:cubicBezTo>
                  <a:cubicBezTo>
                    <a:pt x="56" y="20"/>
                    <a:pt x="56" y="21"/>
                    <a:pt x="55" y="21"/>
                  </a:cubicBezTo>
                  <a:cubicBezTo>
                    <a:pt x="55" y="22"/>
                    <a:pt x="54" y="22"/>
                    <a:pt x="55" y="23"/>
                  </a:cubicBezTo>
                  <a:cubicBezTo>
                    <a:pt x="55" y="23"/>
                    <a:pt x="54" y="23"/>
                    <a:pt x="55" y="24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6"/>
                    <a:pt x="55" y="26"/>
                    <a:pt x="56" y="27"/>
                  </a:cubicBezTo>
                  <a:cubicBezTo>
                    <a:pt x="56" y="27"/>
                    <a:pt x="57" y="27"/>
                    <a:pt x="57" y="28"/>
                  </a:cubicBezTo>
                  <a:cubicBezTo>
                    <a:pt x="58" y="28"/>
                    <a:pt x="58" y="28"/>
                    <a:pt x="59" y="29"/>
                  </a:cubicBezTo>
                  <a:cubicBezTo>
                    <a:pt x="60" y="29"/>
                    <a:pt x="59" y="27"/>
                    <a:pt x="59" y="27"/>
                  </a:cubicBezTo>
                  <a:close/>
                  <a:moveTo>
                    <a:pt x="64" y="30"/>
                  </a:moveTo>
                  <a:cubicBezTo>
                    <a:pt x="64" y="30"/>
                    <a:pt x="64" y="30"/>
                    <a:pt x="65" y="30"/>
                  </a:cubicBezTo>
                  <a:cubicBezTo>
                    <a:pt x="65" y="30"/>
                    <a:pt x="65" y="31"/>
                    <a:pt x="65" y="30"/>
                  </a:cubicBezTo>
                  <a:cubicBezTo>
                    <a:pt x="66" y="30"/>
                    <a:pt x="65" y="30"/>
                    <a:pt x="65" y="30"/>
                  </a:cubicBezTo>
                  <a:cubicBezTo>
                    <a:pt x="65" y="29"/>
                    <a:pt x="65" y="29"/>
                    <a:pt x="65" y="28"/>
                  </a:cubicBezTo>
                  <a:cubicBezTo>
                    <a:pt x="65" y="28"/>
                    <a:pt x="65" y="27"/>
                    <a:pt x="65" y="26"/>
                  </a:cubicBezTo>
                  <a:cubicBezTo>
                    <a:pt x="65" y="26"/>
                    <a:pt x="65" y="26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4" y="25"/>
                    <a:pt x="64" y="25"/>
                    <a:pt x="64" y="26"/>
                  </a:cubicBezTo>
                  <a:cubicBezTo>
                    <a:pt x="64" y="26"/>
                    <a:pt x="64" y="26"/>
                    <a:pt x="64" y="27"/>
                  </a:cubicBezTo>
                  <a:cubicBezTo>
                    <a:pt x="64" y="27"/>
                    <a:pt x="63" y="27"/>
                    <a:pt x="63" y="27"/>
                  </a:cubicBezTo>
                  <a:cubicBezTo>
                    <a:pt x="63" y="28"/>
                    <a:pt x="63" y="28"/>
                    <a:pt x="63" y="29"/>
                  </a:cubicBezTo>
                  <a:cubicBezTo>
                    <a:pt x="63" y="29"/>
                    <a:pt x="62" y="29"/>
                    <a:pt x="62" y="29"/>
                  </a:cubicBezTo>
                  <a:cubicBezTo>
                    <a:pt x="63" y="30"/>
                    <a:pt x="63" y="30"/>
                    <a:pt x="64" y="30"/>
                  </a:cubicBezTo>
                  <a:close/>
                  <a:moveTo>
                    <a:pt x="63" y="18"/>
                  </a:moveTo>
                  <a:cubicBezTo>
                    <a:pt x="63" y="18"/>
                    <a:pt x="63" y="18"/>
                    <a:pt x="64" y="18"/>
                  </a:cubicBezTo>
                  <a:cubicBezTo>
                    <a:pt x="64" y="17"/>
                    <a:pt x="64" y="18"/>
                    <a:pt x="64" y="18"/>
                  </a:cubicBezTo>
                  <a:cubicBezTo>
                    <a:pt x="64" y="19"/>
                    <a:pt x="65" y="19"/>
                    <a:pt x="65" y="19"/>
                  </a:cubicBezTo>
                  <a:cubicBezTo>
                    <a:pt x="65" y="20"/>
                    <a:pt x="65" y="20"/>
                    <a:pt x="66" y="20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2"/>
                    <a:pt x="67" y="21"/>
                    <a:pt x="67" y="21"/>
                  </a:cubicBezTo>
                  <a:cubicBezTo>
                    <a:pt x="67" y="21"/>
                    <a:pt x="68" y="20"/>
                    <a:pt x="68" y="20"/>
                  </a:cubicBezTo>
                  <a:cubicBezTo>
                    <a:pt x="69" y="20"/>
                    <a:pt x="69" y="19"/>
                    <a:pt x="69" y="19"/>
                  </a:cubicBezTo>
                  <a:cubicBezTo>
                    <a:pt x="69" y="18"/>
                    <a:pt x="68" y="18"/>
                    <a:pt x="68" y="18"/>
                  </a:cubicBezTo>
                  <a:cubicBezTo>
                    <a:pt x="67" y="18"/>
                    <a:pt x="67" y="18"/>
                    <a:pt x="67" y="17"/>
                  </a:cubicBezTo>
                  <a:cubicBezTo>
                    <a:pt x="67" y="17"/>
                    <a:pt x="66" y="17"/>
                    <a:pt x="66" y="17"/>
                  </a:cubicBezTo>
                  <a:cubicBezTo>
                    <a:pt x="65" y="17"/>
                    <a:pt x="65" y="16"/>
                    <a:pt x="64" y="16"/>
                  </a:cubicBezTo>
                  <a:cubicBezTo>
                    <a:pt x="64" y="16"/>
                    <a:pt x="63" y="16"/>
                    <a:pt x="62" y="16"/>
                  </a:cubicBezTo>
                  <a:cubicBezTo>
                    <a:pt x="62" y="16"/>
                    <a:pt x="62" y="17"/>
                    <a:pt x="61" y="17"/>
                  </a:cubicBezTo>
                  <a:cubicBezTo>
                    <a:pt x="61" y="17"/>
                    <a:pt x="61" y="18"/>
                    <a:pt x="60" y="18"/>
                  </a:cubicBezTo>
                  <a:cubicBezTo>
                    <a:pt x="60" y="19"/>
                    <a:pt x="59" y="19"/>
                    <a:pt x="60" y="1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1"/>
                    <a:pt x="60" y="21"/>
                    <a:pt x="61" y="21"/>
                  </a:cubicBezTo>
                  <a:cubicBezTo>
                    <a:pt x="61" y="21"/>
                    <a:pt x="61" y="21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2" y="22"/>
                    <a:pt x="62" y="22"/>
                    <a:pt x="63" y="22"/>
                  </a:cubicBezTo>
                  <a:cubicBezTo>
                    <a:pt x="63" y="22"/>
                    <a:pt x="63" y="22"/>
                    <a:pt x="64" y="22"/>
                  </a:cubicBezTo>
                  <a:cubicBezTo>
                    <a:pt x="64" y="22"/>
                    <a:pt x="64" y="22"/>
                    <a:pt x="64" y="21"/>
                  </a:cubicBezTo>
                  <a:cubicBezTo>
                    <a:pt x="64" y="21"/>
                    <a:pt x="64" y="20"/>
                    <a:pt x="64" y="20"/>
                  </a:cubicBezTo>
                  <a:cubicBezTo>
                    <a:pt x="64" y="20"/>
                    <a:pt x="63" y="19"/>
                    <a:pt x="63" y="19"/>
                  </a:cubicBezTo>
                  <a:cubicBezTo>
                    <a:pt x="63" y="19"/>
                    <a:pt x="63" y="19"/>
                    <a:pt x="63" y="18"/>
                  </a:cubicBezTo>
                  <a:close/>
                  <a:moveTo>
                    <a:pt x="74" y="26"/>
                  </a:moveTo>
                  <a:cubicBezTo>
                    <a:pt x="74" y="26"/>
                    <a:pt x="75" y="25"/>
                    <a:pt x="74" y="25"/>
                  </a:cubicBezTo>
                  <a:cubicBezTo>
                    <a:pt x="74" y="25"/>
                    <a:pt x="74" y="25"/>
                    <a:pt x="74" y="24"/>
                  </a:cubicBezTo>
                  <a:cubicBezTo>
                    <a:pt x="74" y="24"/>
                    <a:pt x="73" y="23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4" y="26"/>
                    <a:pt x="74" y="26"/>
                  </a:cubicBezTo>
                  <a:close/>
                  <a:moveTo>
                    <a:pt x="269" y="147"/>
                  </a:moveTo>
                  <a:cubicBezTo>
                    <a:pt x="269" y="146"/>
                    <a:pt x="270" y="145"/>
                    <a:pt x="269" y="145"/>
                  </a:cubicBezTo>
                  <a:cubicBezTo>
                    <a:pt x="269" y="145"/>
                    <a:pt x="268" y="145"/>
                    <a:pt x="268" y="144"/>
                  </a:cubicBezTo>
                  <a:cubicBezTo>
                    <a:pt x="268" y="143"/>
                    <a:pt x="268" y="141"/>
                    <a:pt x="268" y="141"/>
                  </a:cubicBezTo>
                  <a:cubicBezTo>
                    <a:pt x="268" y="140"/>
                    <a:pt x="268" y="139"/>
                    <a:pt x="267" y="139"/>
                  </a:cubicBezTo>
                  <a:cubicBezTo>
                    <a:pt x="266" y="138"/>
                    <a:pt x="265" y="137"/>
                    <a:pt x="265" y="137"/>
                  </a:cubicBezTo>
                  <a:cubicBezTo>
                    <a:pt x="265" y="136"/>
                    <a:pt x="265" y="136"/>
                    <a:pt x="265" y="135"/>
                  </a:cubicBezTo>
                  <a:cubicBezTo>
                    <a:pt x="265" y="135"/>
                    <a:pt x="266" y="133"/>
                    <a:pt x="266" y="133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1"/>
                    <a:pt x="69" y="2"/>
                    <a:pt x="69" y="2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9" y="3"/>
                    <a:pt x="68" y="3"/>
                  </a:cubicBezTo>
                  <a:cubicBezTo>
                    <a:pt x="68" y="3"/>
                    <a:pt x="68" y="2"/>
                    <a:pt x="68" y="2"/>
                  </a:cubicBezTo>
                  <a:cubicBezTo>
                    <a:pt x="67" y="2"/>
                    <a:pt x="67" y="3"/>
                    <a:pt x="67" y="3"/>
                  </a:cubicBezTo>
                  <a:cubicBezTo>
                    <a:pt x="67" y="3"/>
                    <a:pt x="66" y="3"/>
                    <a:pt x="66" y="4"/>
                  </a:cubicBezTo>
                  <a:cubicBezTo>
                    <a:pt x="67" y="4"/>
                    <a:pt x="68" y="4"/>
                    <a:pt x="68" y="4"/>
                  </a:cubicBezTo>
                  <a:cubicBezTo>
                    <a:pt x="69" y="4"/>
                    <a:pt x="68" y="4"/>
                    <a:pt x="68" y="5"/>
                  </a:cubicBezTo>
                  <a:cubicBezTo>
                    <a:pt x="68" y="5"/>
                    <a:pt x="68" y="5"/>
                    <a:pt x="68" y="6"/>
                  </a:cubicBezTo>
                  <a:cubicBezTo>
                    <a:pt x="68" y="6"/>
                    <a:pt x="67" y="6"/>
                    <a:pt x="67" y="6"/>
                  </a:cubicBezTo>
                  <a:cubicBezTo>
                    <a:pt x="67" y="7"/>
                    <a:pt x="68" y="7"/>
                    <a:pt x="68" y="7"/>
                  </a:cubicBezTo>
                  <a:cubicBezTo>
                    <a:pt x="68" y="8"/>
                    <a:pt x="69" y="8"/>
                    <a:pt x="69" y="8"/>
                  </a:cubicBezTo>
                  <a:cubicBezTo>
                    <a:pt x="69" y="8"/>
                    <a:pt x="69" y="8"/>
                    <a:pt x="70" y="8"/>
                  </a:cubicBezTo>
                  <a:cubicBezTo>
                    <a:pt x="70" y="9"/>
                    <a:pt x="70" y="9"/>
                    <a:pt x="70" y="10"/>
                  </a:cubicBezTo>
                  <a:cubicBezTo>
                    <a:pt x="70" y="10"/>
                    <a:pt x="70" y="11"/>
                    <a:pt x="70" y="11"/>
                  </a:cubicBezTo>
                  <a:cubicBezTo>
                    <a:pt x="70" y="11"/>
                    <a:pt x="71" y="12"/>
                    <a:pt x="71" y="12"/>
                  </a:cubicBezTo>
                  <a:cubicBezTo>
                    <a:pt x="71" y="12"/>
                    <a:pt x="71" y="12"/>
                    <a:pt x="72" y="12"/>
                  </a:cubicBezTo>
                  <a:cubicBezTo>
                    <a:pt x="72" y="12"/>
                    <a:pt x="72" y="12"/>
                    <a:pt x="72" y="13"/>
                  </a:cubicBezTo>
                  <a:cubicBezTo>
                    <a:pt x="72" y="13"/>
                    <a:pt x="72" y="13"/>
                    <a:pt x="72" y="14"/>
                  </a:cubicBezTo>
                  <a:cubicBezTo>
                    <a:pt x="72" y="14"/>
                    <a:pt x="73" y="15"/>
                    <a:pt x="73" y="14"/>
                  </a:cubicBezTo>
                  <a:cubicBezTo>
                    <a:pt x="73" y="14"/>
                    <a:pt x="73" y="14"/>
                    <a:pt x="73" y="13"/>
                  </a:cubicBezTo>
                  <a:cubicBezTo>
                    <a:pt x="73" y="13"/>
                    <a:pt x="74" y="13"/>
                    <a:pt x="74" y="12"/>
                  </a:cubicBezTo>
                  <a:cubicBezTo>
                    <a:pt x="74" y="12"/>
                    <a:pt x="75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4"/>
                    <a:pt x="76" y="14"/>
                    <a:pt x="77" y="14"/>
                  </a:cubicBezTo>
                  <a:cubicBezTo>
                    <a:pt x="77" y="14"/>
                    <a:pt x="78" y="14"/>
                    <a:pt x="78" y="14"/>
                  </a:cubicBezTo>
                  <a:cubicBezTo>
                    <a:pt x="78" y="14"/>
                    <a:pt x="78" y="15"/>
                    <a:pt x="78" y="15"/>
                  </a:cubicBezTo>
                  <a:cubicBezTo>
                    <a:pt x="78" y="15"/>
                    <a:pt x="77" y="15"/>
                    <a:pt x="77" y="16"/>
                  </a:cubicBezTo>
                  <a:cubicBezTo>
                    <a:pt x="77" y="16"/>
                    <a:pt x="77" y="17"/>
                    <a:pt x="77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8" y="19"/>
                    <a:pt x="78" y="19"/>
                    <a:pt x="79" y="19"/>
                  </a:cubicBezTo>
                  <a:cubicBezTo>
                    <a:pt x="79" y="20"/>
                    <a:pt x="79" y="20"/>
                    <a:pt x="79" y="21"/>
                  </a:cubicBezTo>
                  <a:cubicBezTo>
                    <a:pt x="79" y="21"/>
                    <a:pt x="80" y="21"/>
                    <a:pt x="80" y="21"/>
                  </a:cubicBezTo>
                  <a:cubicBezTo>
                    <a:pt x="80" y="22"/>
                    <a:pt x="80" y="22"/>
                    <a:pt x="79" y="23"/>
                  </a:cubicBezTo>
                  <a:cubicBezTo>
                    <a:pt x="79" y="23"/>
                    <a:pt x="78" y="23"/>
                    <a:pt x="78" y="23"/>
                  </a:cubicBezTo>
                  <a:cubicBezTo>
                    <a:pt x="78" y="23"/>
                    <a:pt x="77" y="24"/>
                    <a:pt x="77" y="24"/>
                  </a:cubicBezTo>
                  <a:cubicBezTo>
                    <a:pt x="78" y="24"/>
                    <a:pt x="78" y="24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6"/>
                    <a:pt x="78" y="27"/>
                    <a:pt x="78" y="28"/>
                  </a:cubicBezTo>
                  <a:cubicBezTo>
                    <a:pt x="78" y="28"/>
                    <a:pt x="78" y="29"/>
                    <a:pt x="78" y="29"/>
                  </a:cubicBezTo>
                  <a:cubicBezTo>
                    <a:pt x="78" y="29"/>
                    <a:pt x="77" y="29"/>
                    <a:pt x="77" y="29"/>
                  </a:cubicBezTo>
                  <a:cubicBezTo>
                    <a:pt x="77" y="29"/>
                    <a:pt x="77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8"/>
                    <a:pt x="75" y="28"/>
                  </a:cubicBezTo>
                  <a:cubicBezTo>
                    <a:pt x="75" y="27"/>
                    <a:pt x="75" y="27"/>
                    <a:pt x="74" y="27"/>
                  </a:cubicBezTo>
                  <a:cubicBezTo>
                    <a:pt x="74" y="27"/>
                    <a:pt x="73" y="26"/>
                    <a:pt x="73" y="27"/>
                  </a:cubicBezTo>
                  <a:cubicBezTo>
                    <a:pt x="72" y="27"/>
                    <a:pt x="72" y="27"/>
                    <a:pt x="72" y="28"/>
                  </a:cubicBezTo>
                  <a:cubicBezTo>
                    <a:pt x="72" y="28"/>
                    <a:pt x="72" y="29"/>
                    <a:pt x="72" y="29"/>
                  </a:cubicBezTo>
                  <a:cubicBezTo>
                    <a:pt x="72" y="29"/>
                    <a:pt x="71" y="30"/>
                    <a:pt x="72" y="30"/>
                  </a:cubicBezTo>
                  <a:cubicBezTo>
                    <a:pt x="72" y="30"/>
                    <a:pt x="72" y="31"/>
                    <a:pt x="72" y="31"/>
                  </a:cubicBezTo>
                  <a:cubicBezTo>
                    <a:pt x="73" y="31"/>
                    <a:pt x="72" y="32"/>
                    <a:pt x="73" y="32"/>
                  </a:cubicBezTo>
                  <a:cubicBezTo>
                    <a:pt x="73" y="32"/>
                    <a:pt x="73" y="32"/>
                    <a:pt x="73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5" y="31"/>
                    <a:pt x="75" y="31"/>
                  </a:cubicBezTo>
                  <a:cubicBezTo>
                    <a:pt x="75" y="32"/>
                    <a:pt x="76" y="32"/>
                    <a:pt x="76" y="32"/>
                  </a:cubicBezTo>
                  <a:cubicBezTo>
                    <a:pt x="76" y="32"/>
                    <a:pt x="76" y="33"/>
                    <a:pt x="76" y="33"/>
                  </a:cubicBezTo>
                  <a:cubicBezTo>
                    <a:pt x="76" y="33"/>
                    <a:pt x="77" y="33"/>
                    <a:pt x="77" y="34"/>
                  </a:cubicBezTo>
                  <a:cubicBezTo>
                    <a:pt x="77" y="34"/>
                    <a:pt x="77" y="34"/>
                    <a:pt x="78" y="34"/>
                  </a:cubicBezTo>
                  <a:cubicBezTo>
                    <a:pt x="78" y="34"/>
                    <a:pt x="78" y="34"/>
                    <a:pt x="79" y="35"/>
                  </a:cubicBezTo>
                  <a:cubicBezTo>
                    <a:pt x="79" y="35"/>
                    <a:pt x="80" y="35"/>
                    <a:pt x="80" y="35"/>
                  </a:cubicBezTo>
                  <a:cubicBezTo>
                    <a:pt x="80" y="35"/>
                    <a:pt x="80" y="35"/>
                    <a:pt x="80" y="36"/>
                  </a:cubicBezTo>
                  <a:cubicBezTo>
                    <a:pt x="80" y="36"/>
                    <a:pt x="81" y="36"/>
                    <a:pt x="81" y="36"/>
                  </a:cubicBezTo>
                  <a:cubicBezTo>
                    <a:pt x="81" y="36"/>
                    <a:pt x="82" y="36"/>
                    <a:pt x="82" y="36"/>
                  </a:cubicBezTo>
                  <a:cubicBezTo>
                    <a:pt x="82" y="37"/>
                    <a:pt x="82" y="37"/>
                    <a:pt x="83" y="37"/>
                  </a:cubicBezTo>
                  <a:cubicBezTo>
                    <a:pt x="83" y="37"/>
                    <a:pt x="83" y="37"/>
                    <a:pt x="83" y="37"/>
                  </a:cubicBezTo>
                  <a:cubicBezTo>
                    <a:pt x="83" y="37"/>
                    <a:pt x="83" y="37"/>
                    <a:pt x="83" y="37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2" y="38"/>
                    <a:pt x="82" y="39"/>
                    <a:pt x="81" y="39"/>
                  </a:cubicBezTo>
                  <a:cubicBezTo>
                    <a:pt x="81" y="39"/>
                    <a:pt x="81" y="40"/>
                    <a:pt x="81" y="40"/>
                  </a:cubicBezTo>
                  <a:cubicBezTo>
                    <a:pt x="81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39"/>
                    <a:pt x="80" y="40"/>
                    <a:pt x="80" y="39"/>
                  </a:cubicBezTo>
                  <a:cubicBezTo>
                    <a:pt x="80" y="39"/>
                    <a:pt x="80" y="39"/>
                    <a:pt x="79" y="39"/>
                  </a:cubicBezTo>
                  <a:cubicBezTo>
                    <a:pt x="79" y="39"/>
                    <a:pt x="79" y="39"/>
                    <a:pt x="78" y="39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40"/>
                    <a:pt x="78" y="40"/>
                    <a:pt x="77" y="40"/>
                  </a:cubicBezTo>
                  <a:cubicBezTo>
                    <a:pt x="77" y="40"/>
                    <a:pt x="76" y="40"/>
                    <a:pt x="76" y="41"/>
                  </a:cubicBezTo>
                  <a:cubicBezTo>
                    <a:pt x="76" y="41"/>
                    <a:pt x="76" y="42"/>
                    <a:pt x="76" y="42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5"/>
                    <a:pt x="77" y="45"/>
                    <a:pt x="77" y="46"/>
                  </a:cubicBezTo>
                  <a:cubicBezTo>
                    <a:pt x="77" y="46"/>
                    <a:pt x="77" y="46"/>
                    <a:pt x="78" y="4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8"/>
                    <a:pt x="80" y="48"/>
                  </a:cubicBezTo>
                  <a:cubicBezTo>
                    <a:pt x="80" y="48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47"/>
                    <a:pt x="79" y="47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9" y="43"/>
                    <a:pt x="79" y="43"/>
                    <a:pt x="79" y="42"/>
                  </a:cubicBezTo>
                  <a:cubicBezTo>
                    <a:pt x="79" y="42"/>
                    <a:pt x="79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1" y="42"/>
                    <a:pt x="81" y="42"/>
                  </a:cubicBezTo>
                  <a:cubicBezTo>
                    <a:pt x="82" y="42"/>
                    <a:pt x="81" y="43"/>
                    <a:pt x="82" y="43"/>
                  </a:cubicBezTo>
                  <a:cubicBezTo>
                    <a:pt x="82" y="44"/>
                    <a:pt x="82" y="45"/>
                    <a:pt x="82" y="45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7"/>
                    <a:pt x="83" y="47"/>
                  </a:cubicBezTo>
                  <a:cubicBezTo>
                    <a:pt x="83" y="47"/>
                    <a:pt x="83" y="48"/>
                    <a:pt x="83" y="48"/>
                  </a:cubicBezTo>
                  <a:cubicBezTo>
                    <a:pt x="83" y="48"/>
                    <a:pt x="84" y="48"/>
                    <a:pt x="84" y="49"/>
                  </a:cubicBezTo>
                  <a:cubicBezTo>
                    <a:pt x="84" y="49"/>
                    <a:pt x="85" y="49"/>
                    <a:pt x="85" y="50"/>
                  </a:cubicBezTo>
                  <a:cubicBezTo>
                    <a:pt x="86" y="50"/>
                    <a:pt x="86" y="51"/>
                    <a:pt x="86" y="51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2"/>
                    <a:pt x="87" y="52"/>
                    <a:pt x="87" y="53"/>
                  </a:cubicBezTo>
                  <a:cubicBezTo>
                    <a:pt x="87" y="53"/>
                    <a:pt x="86" y="53"/>
                    <a:pt x="86" y="54"/>
                  </a:cubicBezTo>
                  <a:cubicBezTo>
                    <a:pt x="86" y="54"/>
                    <a:pt x="86" y="54"/>
                    <a:pt x="85" y="55"/>
                  </a:cubicBezTo>
                  <a:cubicBezTo>
                    <a:pt x="85" y="55"/>
                    <a:pt x="85" y="56"/>
                    <a:pt x="85" y="56"/>
                  </a:cubicBezTo>
                  <a:cubicBezTo>
                    <a:pt x="84" y="56"/>
                    <a:pt x="84" y="56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8"/>
                    <a:pt x="84" y="58"/>
                    <a:pt x="83" y="58"/>
                  </a:cubicBezTo>
                  <a:cubicBezTo>
                    <a:pt x="83" y="58"/>
                    <a:pt x="83" y="58"/>
                    <a:pt x="83" y="59"/>
                  </a:cubicBezTo>
                  <a:cubicBezTo>
                    <a:pt x="83" y="59"/>
                    <a:pt x="83" y="60"/>
                    <a:pt x="83" y="60"/>
                  </a:cubicBezTo>
                  <a:cubicBezTo>
                    <a:pt x="83" y="61"/>
                    <a:pt x="82" y="61"/>
                    <a:pt x="82" y="62"/>
                  </a:cubicBezTo>
                  <a:cubicBezTo>
                    <a:pt x="82" y="62"/>
                    <a:pt x="82" y="63"/>
                    <a:pt x="81" y="63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5"/>
                    <a:pt x="81" y="65"/>
                    <a:pt x="81" y="66"/>
                  </a:cubicBezTo>
                  <a:cubicBezTo>
                    <a:pt x="82" y="66"/>
                    <a:pt x="82" y="66"/>
                    <a:pt x="82" y="67"/>
                  </a:cubicBezTo>
                  <a:cubicBezTo>
                    <a:pt x="81" y="67"/>
                    <a:pt x="81" y="67"/>
                    <a:pt x="81" y="68"/>
                  </a:cubicBezTo>
                  <a:cubicBezTo>
                    <a:pt x="81" y="68"/>
                    <a:pt x="81" y="69"/>
                    <a:pt x="81" y="69"/>
                  </a:cubicBezTo>
                  <a:cubicBezTo>
                    <a:pt x="81" y="69"/>
                    <a:pt x="80" y="69"/>
                    <a:pt x="80" y="69"/>
                  </a:cubicBezTo>
                  <a:cubicBezTo>
                    <a:pt x="80" y="69"/>
                    <a:pt x="80" y="70"/>
                    <a:pt x="80" y="70"/>
                  </a:cubicBezTo>
                  <a:cubicBezTo>
                    <a:pt x="80" y="70"/>
                    <a:pt x="80" y="71"/>
                    <a:pt x="80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81" y="72"/>
                    <a:pt x="81" y="72"/>
                  </a:cubicBezTo>
                  <a:cubicBezTo>
                    <a:pt x="81" y="72"/>
                    <a:pt x="81" y="72"/>
                    <a:pt x="82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2" y="74"/>
                    <a:pt x="83" y="74"/>
                    <a:pt x="82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1" y="74"/>
                    <a:pt x="80" y="74"/>
                    <a:pt x="80" y="75"/>
                  </a:cubicBezTo>
                  <a:cubicBezTo>
                    <a:pt x="80" y="75"/>
                    <a:pt x="80" y="76"/>
                    <a:pt x="80" y="76"/>
                  </a:cubicBezTo>
                  <a:cubicBezTo>
                    <a:pt x="81" y="76"/>
                    <a:pt x="81" y="77"/>
                    <a:pt x="81" y="77"/>
                  </a:cubicBezTo>
                  <a:cubicBezTo>
                    <a:pt x="81" y="77"/>
                    <a:pt x="81" y="78"/>
                    <a:pt x="81" y="78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80"/>
                    <a:pt x="82" y="80"/>
                    <a:pt x="82" y="80"/>
                  </a:cubicBezTo>
                  <a:cubicBezTo>
                    <a:pt x="82" y="81"/>
                    <a:pt x="83" y="81"/>
                    <a:pt x="83" y="82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6"/>
                    <a:pt x="83" y="86"/>
                    <a:pt x="83" y="86"/>
                  </a:cubicBezTo>
                  <a:cubicBezTo>
                    <a:pt x="83" y="87"/>
                    <a:pt x="83" y="87"/>
                    <a:pt x="83" y="87"/>
                  </a:cubicBezTo>
                  <a:cubicBezTo>
                    <a:pt x="83" y="87"/>
                    <a:pt x="82" y="87"/>
                    <a:pt x="82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81" y="88"/>
                    <a:pt x="80" y="88"/>
                    <a:pt x="80" y="88"/>
                  </a:cubicBezTo>
                  <a:cubicBezTo>
                    <a:pt x="80" y="89"/>
                    <a:pt x="80" y="89"/>
                    <a:pt x="81" y="9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0" y="91"/>
                    <a:pt x="80" y="90"/>
                    <a:pt x="80" y="90"/>
                  </a:cubicBezTo>
                  <a:cubicBezTo>
                    <a:pt x="80" y="90"/>
                    <a:pt x="79" y="90"/>
                    <a:pt x="79" y="90"/>
                  </a:cubicBezTo>
                  <a:cubicBezTo>
                    <a:pt x="79" y="90"/>
                    <a:pt x="79" y="89"/>
                    <a:pt x="78" y="89"/>
                  </a:cubicBezTo>
                  <a:cubicBezTo>
                    <a:pt x="78" y="89"/>
                    <a:pt x="77" y="89"/>
                    <a:pt x="77" y="89"/>
                  </a:cubicBezTo>
                  <a:cubicBezTo>
                    <a:pt x="77" y="90"/>
                    <a:pt x="77" y="91"/>
                    <a:pt x="76" y="91"/>
                  </a:cubicBezTo>
                  <a:cubicBezTo>
                    <a:pt x="76" y="91"/>
                    <a:pt x="75" y="92"/>
                    <a:pt x="75" y="92"/>
                  </a:cubicBezTo>
                  <a:cubicBezTo>
                    <a:pt x="75" y="93"/>
                    <a:pt x="75" y="93"/>
                    <a:pt x="75" y="94"/>
                  </a:cubicBezTo>
                  <a:cubicBezTo>
                    <a:pt x="75" y="94"/>
                    <a:pt x="74" y="95"/>
                    <a:pt x="74" y="95"/>
                  </a:cubicBezTo>
                  <a:cubicBezTo>
                    <a:pt x="73" y="96"/>
                    <a:pt x="73" y="97"/>
                    <a:pt x="72" y="98"/>
                  </a:cubicBezTo>
                  <a:cubicBezTo>
                    <a:pt x="71" y="99"/>
                    <a:pt x="70" y="99"/>
                    <a:pt x="70" y="99"/>
                  </a:cubicBezTo>
                  <a:cubicBezTo>
                    <a:pt x="69" y="98"/>
                    <a:pt x="69" y="98"/>
                    <a:pt x="69" y="98"/>
                  </a:cubicBezTo>
                  <a:cubicBezTo>
                    <a:pt x="68" y="98"/>
                    <a:pt x="68" y="97"/>
                    <a:pt x="68" y="97"/>
                  </a:cubicBezTo>
                  <a:cubicBezTo>
                    <a:pt x="67" y="97"/>
                    <a:pt x="67" y="96"/>
                    <a:pt x="66" y="96"/>
                  </a:cubicBezTo>
                  <a:cubicBezTo>
                    <a:pt x="66" y="95"/>
                    <a:pt x="65" y="96"/>
                    <a:pt x="65" y="96"/>
                  </a:cubicBezTo>
                  <a:cubicBezTo>
                    <a:pt x="65" y="96"/>
                    <a:pt x="65" y="96"/>
                    <a:pt x="64" y="97"/>
                  </a:cubicBezTo>
                  <a:cubicBezTo>
                    <a:pt x="64" y="97"/>
                    <a:pt x="64" y="96"/>
                    <a:pt x="64" y="97"/>
                  </a:cubicBezTo>
                  <a:cubicBezTo>
                    <a:pt x="63" y="97"/>
                    <a:pt x="63" y="98"/>
                    <a:pt x="63" y="98"/>
                  </a:cubicBezTo>
                  <a:cubicBezTo>
                    <a:pt x="63" y="98"/>
                    <a:pt x="64" y="100"/>
                    <a:pt x="63" y="100"/>
                  </a:cubicBezTo>
                  <a:cubicBezTo>
                    <a:pt x="63" y="100"/>
                    <a:pt x="63" y="99"/>
                    <a:pt x="63" y="99"/>
                  </a:cubicBezTo>
                  <a:cubicBezTo>
                    <a:pt x="62" y="98"/>
                    <a:pt x="62" y="99"/>
                    <a:pt x="62" y="99"/>
                  </a:cubicBezTo>
                  <a:cubicBezTo>
                    <a:pt x="61" y="99"/>
                    <a:pt x="61" y="100"/>
                    <a:pt x="60" y="100"/>
                  </a:cubicBezTo>
                  <a:cubicBezTo>
                    <a:pt x="60" y="99"/>
                    <a:pt x="61" y="99"/>
                    <a:pt x="61" y="99"/>
                  </a:cubicBezTo>
                  <a:cubicBezTo>
                    <a:pt x="61" y="98"/>
                    <a:pt x="61" y="98"/>
                    <a:pt x="62" y="97"/>
                  </a:cubicBezTo>
                  <a:cubicBezTo>
                    <a:pt x="62" y="97"/>
                    <a:pt x="62" y="97"/>
                    <a:pt x="62" y="96"/>
                  </a:cubicBezTo>
                  <a:cubicBezTo>
                    <a:pt x="62" y="96"/>
                    <a:pt x="62" y="96"/>
                    <a:pt x="61" y="96"/>
                  </a:cubicBezTo>
                  <a:cubicBezTo>
                    <a:pt x="61" y="95"/>
                    <a:pt x="61" y="95"/>
                    <a:pt x="62" y="95"/>
                  </a:cubicBezTo>
                  <a:cubicBezTo>
                    <a:pt x="62" y="95"/>
                    <a:pt x="62" y="94"/>
                    <a:pt x="62" y="94"/>
                  </a:cubicBezTo>
                  <a:cubicBezTo>
                    <a:pt x="62" y="93"/>
                    <a:pt x="62" y="93"/>
                    <a:pt x="62" y="92"/>
                  </a:cubicBezTo>
                  <a:cubicBezTo>
                    <a:pt x="62" y="92"/>
                    <a:pt x="62" y="91"/>
                    <a:pt x="62" y="91"/>
                  </a:cubicBezTo>
                  <a:cubicBezTo>
                    <a:pt x="63" y="90"/>
                    <a:pt x="63" y="90"/>
                    <a:pt x="63" y="89"/>
                  </a:cubicBezTo>
                  <a:cubicBezTo>
                    <a:pt x="64" y="89"/>
                    <a:pt x="64" y="88"/>
                    <a:pt x="64" y="88"/>
                  </a:cubicBezTo>
                  <a:cubicBezTo>
                    <a:pt x="65" y="88"/>
                    <a:pt x="65" y="88"/>
                    <a:pt x="65" y="88"/>
                  </a:cubicBezTo>
                  <a:cubicBezTo>
                    <a:pt x="66" y="88"/>
                    <a:pt x="66" y="87"/>
                    <a:pt x="66" y="87"/>
                  </a:cubicBezTo>
                  <a:cubicBezTo>
                    <a:pt x="66" y="87"/>
                    <a:pt x="65" y="86"/>
                    <a:pt x="66" y="86"/>
                  </a:cubicBezTo>
                  <a:cubicBezTo>
                    <a:pt x="66" y="86"/>
                    <a:pt x="67" y="86"/>
                    <a:pt x="67" y="87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9"/>
                    <a:pt x="67" y="89"/>
                    <a:pt x="67" y="90"/>
                  </a:cubicBezTo>
                  <a:cubicBezTo>
                    <a:pt x="67" y="90"/>
                    <a:pt x="67" y="90"/>
                    <a:pt x="67" y="91"/>
                  </a:cubicBezTo>
                  <a:cubicBezTo>
                    <a:pt x="67" y="91"/>
                    <a:pt x="67" y="92"/>
                    <a:pt x="67" y="92"/>
                  </a:cubicBezTo>
                  <a:cubicBezTo>
                    <a:pt x="67" y="92"/>
                    <a:pt x="67" y="93"/>
                    <a:pt x="67" y="93"/>
                  </a:cubicBezTo>
                  <a:cubicBezTo>
                    <a:pt x="67" y="93"/>
                    <a:pt x="67" y="93"/>
                    <a:pt x="67" y="94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69" y="95"/>
                    <a:pt x="69" y="95"/>
                    <a:pt x="69" y="94"/>
                  </a:cubicBezTo>
                  <a:cubicBezTo>
                    <a:pt x="69" y="93"/>
                    <a:pt x="69" y="93"/>
                    <a:pt x="69" y="92"/>
                  </a:cubicBezTo>
                  <a:cubicBezTo>
                    <a:pt x="69" y="91"/>
                    <a:pt x="70" y="90"/>
                    <a:pt x="70" y="89"/>
                  </a:cubicBezTo>
                  <a:cubicBezTo>
                    <a:pt x="70" y="89"/>
                    <a:pt x="70" y="88"/>
                    <a:pt x="70" y="87"/>
                  </a:cubicBezTo>
                  <a:cubicBezTo>
                    <a:pt x="70" y="87"/>
                    <a:pt x="70" y="87"/>
                    <a:pt x="71" y="86"/>
                  </a:cubicBezTo>
                  <a:cubicBezTo>
                    <a:pt x="71" y="86"/>
                    <a:pt x="72" y="85"/>
                    <a:pt x="72" y="85"/>
                  </a:cubicBezTo>
                  <a:cubicBezTo>
                    <a:pt x="72" y="86"/>
                    <a:pt x="73" y="86"/>
                    <a:pt x="72" y="86"/>
                  </a:cubicBezTo>
                  <a:cubicBezTo>
                    <a:pt x="72" y="87"/>
                    <a:pt x="72" y="87"/>
                    <a:pt x="72" y="87"/>
                  </a:cubicBezTo>
                  <a:cubicBezTo>
                    <a:pt x="72" y="88"/>
                    <a:pt x="72" y="88"/>
                    <a:pt x="72" y="89"/>
                  </a:cubicBezTo>
                  <a:cubicBezTo>
                    <a:pt x="72" y="89"/>
                    <a:pt x="72" y="89"/>
                    <a:pt x="73" y="90"/>
                  </a:cubicBezTo>
                  <a:cubicBezTo>
                    <a:pt x="73" y="90"/>
                    <a:pt x="73" y="90"/>
                    <a:pt x="74" y="90"/>
                  </a:cubicBezTo>
                  <a:cubicBezTo>
                    <a:pt x="74" y="91"/>
                    <a:pt x="75" y="91"/>
                    <a:pt x="75" y="90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6" y="75"/>
                  </a:cubicBezTo>
                  <a:cubicBezTo>
                    <a:pt x="76" y="74"/>
                    <a:pt x="76" y="75"/>
                    <a:pt x="77" y="75"/>
                  </a:cubicBezTo>
                  <a:cubicBezTo>
                    <a:pt x="78" y="75"/>
                    <a:pt x="77" y="73"/>
                    <a:pt x="77" y="73"/>
                  </a:cubicBezTo>
                  <a:cubicBezTo>
                    <a:pt x="77" y="72"/>
                    <a:pt x="77" y="72"/>
                    <a:pt x="77" y="71"/>
                  </a:cubicBezTo>
                  <a:cubicBezTo>
                    <a:pt x="77" y="71"/>
                    <a:pt x="77" y="70"/>
                    <a:pt x="77" y="70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76" y="69"/>
                    <a:pt x="77" y="68"/>
                    <a:pt x="76" y="68"/>
                  </a:cubicBezTo>
                  <a:cubicBezTo>
                    <a:pt x="76" y="68"/>
                    <a:pt x="75" y="68"/>
                    <a:pt x="76" y="67"/>
                  </a:cubicBezTo>
                  <a:cubicBezTo>
                    <a:pt x="76" y="67"/>
                    <a:pt x="77" y="67"/>
                    <a:pt x="77" y="67"/>
                  </a:cubicBezTo>
                  <a:cubicBezTo>
                    <a:pt x="78" y="67"/>
                    <a:pt x="78" y="66"/>
                    <a:pt x="78" y="65"/>
                  </a:cubicBezTo>
                  <a:cubicBezTo>
                    <a:pt x="78" y="64"/>
                    <a:pt x="78" y="63"/>
                    <a:pt x="78" y="62"/>
                  </a:cubicBezTo>
                  <a:cubicBezTo>
                    <a:pt x="78" y="62"/>
                    <a:pt x="77" y="61"/>
                    <a:pt x="77" y="61"/>
                  </a:cubicBezTo>
                  <a:cubicBezTo>
                    <a:pt x="77" y="60"/>
                    <a:pt x="77" y="60"/>
                    <a:pt x="77" y="59"/>
                  </a:cubicBezTo>
                  <a:cubicBezTo>
                    <a:pt x="77" y="59"/>
                    <a:pt x="77" y="59"/>
                    <a:pt x="77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9"/>
                  </a:cubicBezTo>
                  <a:cubicBezTo>
                    <a:pt x="74" y="59"/>
                    <a:pt x="74" y="59"/>
                    <a:pt x="74" y="60"/>
                  </a:cubicBezTo>
                  <a:cubicBezTo>
                    <a:pt x="73" y="60"/>
                    <a:pt x="73" y="60"/>
                    <a:pt x="73" y="61"/>
                  </a:cubicBezTo>
                  <a:cubicBezTo>
                    <a:pt x="72" y="62"/>
                    <a:pt x="72" y="62"/>
                    <a:pt x="72" y="63"/>
                  </a:cubicBezTo>
                  <a:cubicBezTo>
                    <a:pt x="71" y="63"/>
                    <a:pt x="71" y="63"/>
                    <a:pt x="71" y="64"/>
                  </a:cubicBezTo>
                  <a:cubicBezTo>
                    <a:pt x="70" y="65"/>
                    <a:pt x="70" y="65"/>
                    <a:pt x="70" y="66"/>
                  </a:cubicBezTo>
                  <a:cubicBezTo>
                    <a:pt x="70" y="66"/>
                    <a:pt x="70" y="67"/>
                    <a:pt x="69" y="68"/>
                  </a:cubicBezTo>
                  <a:cubicBezTo>
                    <a:pt x="69" y="68"/>
                    <a:pt x="69" y="69"/>
                    <a:pt x="69" y="69"/>
                  </a:cubicBezTo>
                  <a:cubicBezTo>
                    <a:pt x="68" y="70"/>
                    <a:pt x="68" y="70"/>
                    <a:pt x="67" y="70"/>
                  </a:cubicBezTo>
                  <a:cubicBezTo>
                    <a:pt x="65" y="71"/>
                    <a:pt x="62" y="73"/>
                    <a:pt x="61" y="76"/>
                  </a:cubicBezTo>
                  <a:cubicBezTo>
                    <a:pt x="61" y="76"/>
                    <a:pt x="61" y="77"/>
                    <a:pt x="60" y="77"/>
                  </a:cubicBezTo>
                  <a:cubicBezTo>
                    <a:pt x="59" y="77"/>
                    <a:pt x="59" y="77"/>
                    <a:pt x="59" y="76"/>
                  </a:cubicBezTo>
                  <a:cubicBezTo>
                    <a:pt x="59" y="76"/>
                    <a:pt x="59" y="76"/>
                    <a:pt x="59" y="75"/>
                  </a:cubicBezTo>
                  <a:cubicBezTo>
                    <a:pt x="60" y="75"/>
                    <a:pt x="60" y="74"/>
                    <a:pt x="60" y="74"/>
                  </a:cubicBezTo>
                  <a:cubicBezTo>
                    <a:pt x="60" y="74"/>
                    <a:pt x="61" y="73"/>
                    <a:pt x="61" y="73"/>
                  </a:cubicBezTo>
                  <a:cubicBezTo>
                    <a:pt x="62" y="73"/>
                    <a:pt x="62" y="72"/>
                    <a:pt x="63" y="72"/>
                  </a:cubicBezTo>
                  <a:cubicBezTo>
                    <a:pt x="63" y="71"/>
                    <a:pt x="63" y="70"/>
                    <a:pt x="63" y="69"/>
                  </a:cubicBezTo>
                  <a:cubicBezTo>
                    <a:pt x="63" y="69"/>
                    <a:pt x="64" y="68"/>
                    <a:pt x="65" y="67"/>
                  </a:cubicBezTo>
                  <a:cubicBezTo>
                    <a:pt x="65" y="67"/>
                    <a:pt x="65" y="66"/>
                    <a:pt x="66" y="66"/>
                  </a:cubicBezTo>
                  <a:cubicBezTo>
                    <a:pt x="66" y="66"/>
                    <a:pt x="66" y="66"/>
                    <a:pt x="66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7" y="67"/>
                    <a:pt x="66" y="68"/>
                    <a:pt x="67" y="69"/>
                  </a:cubicBezTo>
                  <a:cubicBezTo>
                    <a:pt x="67" y="70"/>
                    <a:pt x="68" y="69"/>
                    <a:pt x="68" y="68"/>
                  </a:cubicBezTo>
                  <a:cubicBezTo>
                    <a:pt x="68" y="68"/>
                    <a:pt x="68" y="67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5"/>
                    <a:pt x="69" y="65"/>
                    <a:pt x="69" y="64"/>
                  </a:cubicBezTo>
                  <a:cubicBezTo>
                    <a:pt x="69" y="64"/>
                    <a:pt x="69" y="64"/>
                    <a:pt x="69" y="63"/>
                  </a:cubicBezTo>
                  <a:cubicBezTo>
                    <a:pt x="69" y="63"/>
                    <a:pt x="70" y="63"/>
                    <a:pt x="70" y="62"/>
                  </a:cubicBezTo>
                  <a:cubicBezTo>
                    <a:pt x="70" y="62"/>
                    <a:pt x="71" y="62"/>
                    <a:pt x="71" y="61"/>
                  </a:cubicBezTo>
                  <a:cubicBezTo>
                    <a:pt x="71" y="61"/>
                    <a:pt x="72" y="61"/>
                    <a:pt x="72" y="61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6"/>
                    <a:pt x="70" y="55"/>
                    <a:pt x="70" y="54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69" y="51"/>
                    <a:pt x="69" y="51"/>
                    <a:pt x="69" y="50"/>
                  </a:cubicBezTo>
                  <a:cubicBezTo>
                    <a:pt x="68" y="50"/>
                    <a:pt x="68" y="49"/>
                    <a:pt x="67" y="49"/>
                  </a:cubicBezTo>
                  <a:cubicBezTo>
                    <a:pt x="67" y="48"/>
                    <a:pt x="67" y="48"/>
                    <a:pt x="67" y="47"/>
                  </a:cubicBezTo>
                  <a:cubicBezTo>
                    <a:pt x="68" y="47"/>
                    <a:pt x="69" y="46"/>
                    <a:pt x="68" y="46"/>
                  </a:cubicBezTo>
                  <a:cubicBezTo>
                    <a:pt x="68" y="45"/>
                    <a:pt x="67" y="45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5" y="46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4" y="48"/>
                    <a:pt x="64" y="49"/>
                    <a:pt x="64" y="50"/>
                  </a:cubicBezTo>
                  <a:cubicBezTo>
                    <a:pt x="64" y="50"/>
                    <a:pt x="65" y="50"/>
                    <a:pt x="65" y="51"/>
                  </a:cubicBezTo>
                  <a:cubicBezTo>
                    <a:pt x="65" y="51"/>
                    <a:pt x="66" y="52"/>
                    <a:pt x="66" y="52"/>
                  </a:cubicBezTo>
                  <a:cubicBezTo>
                    <a:pt x="65" y="53"/>
                    <a:pt x="65" y="52"/>
                    <a:pt x="64" y="52"/>
                  </a:cubicBezTo>
                  <a:cubicBezTo>
                    <a:pt x="64" y="51"/>
                    <a:pt x="64" y="51"/>
                    <a:pt x="63" y="51"/>
                  </a:cubicBezTo>
                  <a:cubicBezTo>
                    <a:pt x="63" y="50"/>
                    <a:pt x="62" y="50"/>
                    <a:pt x="62" y="49"/>
                  </a:cubicBezTo>
                  <a:cubicBezTo>
                    <a:pt x="62" y="49"/>
                    <a:pt x="61" y="49"/>
                    <a:pt x="61" y="48"/>
                  </a:cubicBezTo>
                  <a:cubicBezTo>
                    <a:pt x="61" y="48"/>
                    <a:pt x="61" y="48"/>
                    <a:pt x="60" y="49"/>
                  </a:cubicBezTo>
                  <a:cubicBezTo>
                    <a:pt x="60" y="49"/>
                    <a:pt x="61" y="50"/>
                    <a:pt x="60" y="51"/>
                  </a:cubicBezTo>
                  <a:cubicBezTo>
                    <a:pt x="60" y="52"/>
                    <a:pt x="60" y="51"/>
                    <a:pt x="60" y="51"/>
                  </a:cubicBezTo>
                  <a:cubicBezTo>
                    <a:pt x="59" y="50"/>
                    <a:pt x="59" y="50"/>
                    <a:pt x="59" y="49"/>
                  </a:cubicBezTo>
                  <a:cubicBezTo>
                    <a:pt x="58" y="49"/>
                    <a:pt x="58" y="48"/>
                    <a:pt x="58" y="48"/>
                  </a:cubicBezTo>
                  <a:cubicBezTo>
                    <a:pt x="58" y="47"/>
                    <a:pt x="57" y="47"/>
                    <a:pt x="57" y="46"/>
                  </a:cubicBezTo>
                  <a:cubicBezTo>
                    <a:pt x="56" y="46"/>
                    <a:pt x="56" y="44"/>
                    <a:pt x="55" y="45"/>
                  </a:cubicBezTo>
                  <a:cubicBezTo>
                    <a:pt x="55" y="46"/>
                    <a:pt x="54" y="46"/>
                    <a:pt x="53" y="46"/>
                  </a:cubicBezTo>
                  <a:cubicBezTo>
                    <a:pt x="53" y="46"/>
                    <a:pt x="52" y="47"/>
                    <a:pt x="52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4" y="46"/>
                    <a:pt x="43" y="46"/>
                  </a:cubicBezTo>
                  <a:cubicBezTo>
                    <a:pt x="42" y="46"/>
                    <a:pt x="42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6" y="45"/>
                    <a:pt x="26" y="44"/>
                  </a:cubicBezTo>
                  <a:cubicBezTo>
                    <a:pt x="26" y="44"/>
                    <a:pt x="26" y="44"/>
                    <a:pt x="25" y="44"/>
                  </a:cubicBezTo>
                  <a:cubicBezTo>
                    <a:pt x="25" y="44"/>
                    <a:pt x="25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3" y="43"/>
                    <a:pt x="23" y="43"/>
                    <a:pt x="22" y="43"/>
                  </a:cubicBezTo>
                  <a:cubicBezTo>
                    <a:pt x="22" y="43"/>
                    <a:pt x="22" y="42"/>
                    <a:pt x="22" y="42"/>
                  </a:cubicBezTo>
                  <a:cubicBezTo>
                    <a:pt x="22" y="42"/>
                    <a:pt x="22" y="42"/>
                    <a:pt x="21" y="42"/>
                  </a:cubicBezTo>
                  <a:cubicBezTo>
                    <a:pt x="21" y="42"/>
                    <a:pt x="21" y="41"/>
                    <a:pt x="20" y="41"/>
                  </a:cubicBezTo>
                  <a:cubicBezTo>
                    <a:pt x="20" y="41"/>
                    <a:pt x="19" y="41"/>
                    <a:pt x="19" y="41"/>
                  </a:cubicBezTo>
                  <a:cubicBezTo>
                    <a:pt x="18" y="40"/>
                    <a:pt x="17" y="40"/>
                    <a:pt x="17" y="40"/>
                  </a:cubicBezTo>
                  <a:cubicBezTo>
                    <a:pt x="16" y="40"/>
                    <a:pt x="15" y="39"/>
                    <a:pt x="14" y="39"/>
                  </a:cubicBezTo>
                  <a:cubicBezTo>
                    <a:pt x="13" y="38"/>
                    <a:pt x="12" y="38"/>
                    <a:pt x="11" y="37"/>
                  </a:cubicBezTo>
                  <a:cubicBezTo>
                    <a:pt x="10" y="36"/>
                    <a:pt x="9" y="36"/>
                    <a:pt x="7" y="35"/>
                  </a:cubicBezTo>
                  <a:cubicBezTo>
                    <a:pt x="6" y="35"/>
                    <a:pt x="6" y="34"/>
                    <a:pt x="5" y="34"/>
                  </a:cubicBezTo>
                  <a:cubicBezTo>
                    <a:pt x="4" y="34"/>
                    <a:pt x="3" y="34"/>
                    <a:pt x="2" y="34"/>
                  </a:cubicBezTo>
                  <a:cubicBezTo>
                    <a:pt x="2" y="34"/>
                    <a:pt x="2" y="34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3"/>
                    <a:pt x="1" y="34"/>
                    <a:pt x="1" y="34"/>
                  </a:cubicBezTo>
                  <a:cubicBezTo>
                    <a:pt x="1" y="34"/>
                    <a:pt x="1" y="35"/>
                    <a:pt x="1" y="35"/>
                  </a:cubicBezTo>
                  <a:cubicBezTo>
                    <a:pt x="1" y="36"/>
                    <a:pt x="2" y="36"/>
                    <a:pt x="2" y="37"/>
                  </a:cubicBezTo>
                  <a:cubicBezTo>
                    <a:pt x="2" y="37"/>
                    <a:pt x="2" y="38"/>
                    <a:pt x="2" y="39"/>
                  </a:cubicBezTo>
                  <a:cubicBezTo>
                    <a:pt x="2" y="40"/>
                    <a:pt x="2" y="40"/>
                    <a:pt x="2" y="41"/>
                  </a:cubicBezTo>
                  <a:cubicBezTo>
                    <a:pt x="2" y="41"/>
                    <a:pt x="2" y="42"/>
                    <a:pt x="1" y="42"/>
                  </a:cubicBezTo>
                  <a:cubicBezTo>
                    <a:pt x="1" y="42"/>
                    <a:pt x="1" y="43"/>
                    <a:pt x="1" y="44"/>
                  </a:cubicBezTo>
                  <a:cubicBezTo>
                    <a:pt x="1" y="45"/>
                    <a:pt x="1" y="45"/>
                    <a:pt x="2" y="46"/>
                  </a:cubicBezTo>
                  <a:cubicBezTo>
                    <a:pt x="2" y="47"/>
                    <a:pt x="2" y="48"/>
                    <a:pt x="2" y="49"/>
                  </a:cubicBezTo>
                  <a:cubicBezTo>
                    <a:pt x="2" y="49"/>
                    <a:pt x="2" y="50"/>
                    <a:pt x="2" y="50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2" y="53"/>
                    <a:pt x="2" y="54"/>
                  </a:cubicBezTo>
                  <a:cubicBezTo>
                    <a:pt x="3" y="54"/>
                    <a:pt x="3" y="55"/>
                    <a:pt x="3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7"/>
                    <a:pt x="3" y="58"/>
                    <a:pt x="4" y="58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6" y="61"/>
                    <a:pt x="7" y="61"/>
                    <a:pt x="8" y="62"/>
                  </a:cubicBezTo>
                  <a:cubicBezTo>
                    <a:pt x="8" y="62"/>
                    <a:pt x="9" y="62"/>
                    <a:pt x="9" y="63"/>
                  </a:cubicBezTo>
                  <a:cubicBezTo>
                    <a:pt x="9" y="63"/>
                    <a:pt x="9" y="64"/>
                    <a:pt x="10" y="64"/>
                  </a:cubicBezTo>
                  <a:cubicBezTo>
                    <a:pt x="10" y="64"/>
                    <a:pt x="10" y="64"/>
                    <a:pt x="10" y="65"/>
                  </a:cubicBezTo>
                  <a:cubicBezTo>
                    <a:pt x="10" y="65"/>
                    <a:pt x="10" y="65"/>
                    <a:pt x="10" y="66"/>
                  </a:cubicBezTo>
                  <a:cubicBezTo>
                    <a:pt x="11" y="66"/>
                    <a:pt x="11" y="66"/>
                    <a:pt x="11" y="67"/>
                  </a:cubicBezTo>
                  <a:cubicBezTo>
                    <a:pt x="11" y="67"/>
                    <a:pt x="11" y="67"/>
                    <a:pt x="11" y="68"/>
                  </a:cubicBezTo>
                  <a:cubicBezTo>
                    <a:pt x="11" y="68"/>
                    <a:pt x="11" y="68"/>
                    <a:pt x="11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0"/>
                    <a:pt x="12" y="71"/>
                    <a:pt x="12" y="71"/>
                  </a:cubicBezTo>
                  <a:cubicBezTo>
                    <a:pt x="12" y="72"/>
                    <a:pt x="13" y="73"/>
                    <a:pt x="13" y="74"/>
                  </a:cubicBezTo>
                  <a:cubicBezTo>
                    <a:pt x="13" y="74"/>
                    <a:pt x="12" y="75"/>
                    <a:pt x="13" y="75"/>
                  </a:cubicBezTo>
                  <a:cubicBezTo>
                    <a:pt x="13" y="75"/>
                    <a:pt x="13" y="75"/>
                    <a:pt x="13" y="76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7"/>
                    <a:pt x="13" y="79"/>
                    <a:pt x="13" y="80"/>
                  </a:cubicBezTo>
                  <a:cubicBezTo>
                    <a:pt x="13" y="80"/>
                    <a:pt x="13" y="81"/>
                    <a:pt x="14" y="81"/>
                  </a:cubicBezTo>
                  <a:cubicBezTo>
                    <a:pt x="14" y="81"/>
                    <a:pt x="14" y="82"/>
                    <a:pt x="14" y="82"/>
                  </a:cubicBezTo>
                  <a:cubicBezTo>
                    <a:pt x="14" y="83"/>
                    <a:pt x="14" y="84"/>
                    <a:pt x="14" y="84"/>
                  </a:cubicBezTo>
                  <a:cubicBezTo>
                    <a:pt x="15" y="85"/>
                    <a:pt x="15" y="86"/>
                    <a:pt x="16" y="87"/>
                  </a:cubicBezTo>
                  <a:cubicBezTo>
                    <a:pt x="16" y="87"/>
                    <a:pt x="16" y="88"/>
                    <a:pt x="17" y="89"/>
                  </a:cubicBezTo>
                  <a:cubicBezTo>
                    <a:pt x="17" y="89"/>
                    <a:pt x="18" y="90"/>
                    <a:pt x="18" y="91"/>
                  </a:cubicBezTo>
                  <a:cubicBezTo>
                    <a:pt x="18" y="92"/>
                    <a:pt x="18" y="92"/>
                    <a:pt x="18" y="93"/>
                  </a:cubicBezTo>
                  <a:cubicBezTo>
                    <a:pt x="18" y="93"/>
                    <a:pt x="18" y="93"/>
                    <a:pt x="19" y="93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5"/>
                    <a:pt x="18" y="95"/>
                    <a:pt x="19" y="96"/>
                  </a:cubicBezTo>
                  <a:cubicBezTo>
                    <a:pt x="19" y="96"/>
                    <a:pt x="19" y="96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19" y="100"/>
                    <a:pt x="19" y="100"/>
                    <a:pt x="20" y="101"/>
                  </a:cubicBezTo>
                  <a:cubicBezTo>
                    <a:pt x="20" y="101"/>
                    <a:pt x="20" y="102"/>
                    <a:pt x="20" y="103"/>
                  </a:cubicBezTo>
                  <a:cubicBezTo>
                    <a:pt x="20" y="103"/>
                    <a:pt x="21" y="103"/>
                    <a:pt x="21" y="103"/>
                  </a:cubicBezTo>
                  <a:cubicBezTo>
                    <a:pt x="21" y="103"/>
                    <a:pt x="22" y="102"/>
                    <a:pt x="22" y="102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4" y="103"/>
                    <a:pt x="24" y="103"/>
                  </a:cubicBezTo>
                  <a:cubicBezTo>
                    <a:pt x="25" y="104"/>
                    <a:pt x="26" y="104"/>
                    <a:pt x="28" y="105"/>
                  </a:cubicBezTo>
                  <a:cubicBezTo>
                    <a:pt x="28" y="105"/>
                    <a:pt x="29" y="105"/>
                    <a:pt x="29" y="106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29" y="107"/>
                    <a:pt x="28" y="107"/>
                    <a:pt x="28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5" y="109"/>
                    <a:pt x="24" y="110"/>
                    <a:pt x="24" y="110"/>
                  </a:cubicBezTo>
                  <a:cubicBezTo>
                    <a:pt x="23" y="111"/>
                    <a:pt x="22" y="110"/>
                    <a:pt x="22" y="110"/>
                  </a:cubicBezTo>
                  <a:cubicBezTo>
                    <a:pt x="22" y="110"/>
                    <a:pt x="22" y="109"/>
                    <a:pt x="21" y="109"/>
                  </a:cubicBezTo>
                  <a:cubicBezTo>
                    <a:pt x="21" y="109"/>
                    <a:pt x="21" y="110"/>
                    <a:pt x="21" y="110"/>
                  </a:cubicBezTo>
                  <a:cubicBezTo>
                    <a:pt x="21" y="111"/>
                    <a:pt x="22" y="111"/>
                    <a:pt x="22" y="112"/>
                  </a:cubicBezTo>
                  <a:cubicBezTo>
                    <a:pt x="22" y="113"/>
                    <a:pt x="22" y="113"/>
                    <a:pt x="22" y="114"/>
                  </a:cubicBezTo>
                  <a:cubicBezTo>
                    <a:pt x="22" y="114"/>
                    <a:pt x="22" y="115"/>
                    <a:pt x="22" y="115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3" y="118"/>
                    <a:pt x="24" y="118"/>
                    <a:pt x="24" y="118"/>
                  </a:cubicBezTo>
                  <a:cubicBezTo>
                    <a:pt x="25" y="118"/>
                    <a:pt x="25" y="118"/>
                    <a:pt x="25" y="118"/>
                  </a:cubicBezTo>
                  <a:cubicBezTo>
                    <a:pt x="25" y="119"/>
                    <a:pt x="26" y="119"/>
                    <a:pt x="27" y="118"/>
                  </a:cubicBezTo>
                  <a:cubicBezTo>
                    <a:pt x="27" y="118"/>
                    <a:pt x="27" y="118"/>
                    <a:pt x="27" y="117"/>
                  </a:cubicBezTo>
                  <a:cubicBezTo>
                    <a:pt x="28" y="117"/>
                    <a:pt x="29" y="117"/>
                    <a:pt x="30" y="118"/>
                  </a:cubicBezTo>
                  <a:cubicBezTo>
                    <a:pt x="31" y="118"/>
                    <a:pt x="31" y="118"/>
                    <a:pt x="31" y="119"/>
                  </a:cubicBezTo>
                  <a:cubicBezTo>
                    <a:pt x="31" y="119"/>
                    <a:pt x="31" y="119"/>
                    <a:pt x="31" y="120"/>
                  </a:cubicBezTo>
                  <a:cubicBezTo>
                    <a:pt x="30" y="120"/>
                    <a:pt x="30" y="120"/>
                    <a:pt x="29" y="120"/>
                  </a:cubicBezTo>
                  <a:cubicBezTo>
                    <a:pt x="29" y="120"/>
                    <a:pt x="29" y="120"/>
                    <a:pt x="28" y="121"/>
                  </a:cubicBezTo>
                  <a:cubicBezTo>
                    <a:pt x="28" y="121"/>
                    <a:pt x="28" y="121"/>
                    <a:pt x="28" y="122"/>
                  </a:cubicBezTo>
                  <a:cubicBezTo>
                    <a:pt x="28" y="122"/>
                    <a:pt x="27" y="123"/>
                    <a:pt x="27" y="123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9" y="126"/>
                    <a:pt x="29" y="126"/>
                    <a:pt x="29" y="127"/>
                  </a:cubicBezTo>
                  <a:cubicBezTo>
                    <a:pt x="29" y="127"/>
                    <a:pt x="29" y="127"/>
                    <a:pt x="29" y="128"/>
                  </a:cubicBezTo>
                  <a:cubicBezTo>
                    <a:pt x="28" y="128"/>
                    <a:pt x="29" y="129"/>
                    <a:pt x="29" y="129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28" y="131"/>
                    <a:pt x="28" y="131"/>
                    <a:pt x="28" y="132"/>
                  </a:cubicBezTo>
                  <a:cubicBezTo>
                    <a:pt x="29" y="132"/>
                    <a:pt x="29" y="132"/>
                    <a:pt x="29" y="133"/>
                  </a:cubicBezTo>
                  <a:cubicBezTo>
                    <a:pt x="29" y="134"/>
                    <a:pt x="28" y="134"/>
                    <a:pt x="28" y="134"/>
                  </a:cubicBezTo>
                  <a:cubicBezTo>
                    <a:pt x="28" y="135"/>
                    <a:pt x="28" y="135"/>
                    <a:pt x="27" y="136"/>
                  </a:cubicBezTo>
                  <a:cubicBezTo>
                    <a:pt x="27" y="136"/>
                    <a:pt x="26" y="136"/>
                    <a:pt x="26" y="136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4"/>
                    <a:pt x="25" y="134"/>
                    <a:pt x="25" y="133"/>
                  </a:cubicBezTo>
                  <a:cubicBezTo>
                    <a:pt x="25" y="133"/>
                    <a:pt x="26" y="132"/>
                    <a:pt x="25" y="132"/>
                  </a:cubicBezTo>
                  <a:cubicBezTo>
                    <a:pt x="25" y="132"/>
                    <a:pt x="25" y="132"/>
                    <a:pt x="25" y="131"/>
                  </a:cubicBezTo>
                  <a:cubicBezTo>
                    <a:pt x="25" y="131"/>
                    <a:pt x="25" y="131"/>
                    <a:pt x="25" y="130"/>
                  </a:cubicBezTo>
                  <a:cubicBezTo>
                    <a:pt x="24" y="129"/>
                    <a:pt x="25" y="128"/>
                    <a:pt x="25" y="126"/>
                  </a:cubicBezTo>
                  <a:cubicBezTo>
                    <a:pt x="25" y="126"/>
                    <a:pt x="25" y="125"/>
                    <a:pt x="25" y="125"/>
                  </a:cubicBezTo>
                  <a:cubicBezTo>
                    <a:pt x="25" y="125"/>
                    <a:pt x="24" y="124"/>
                    <a:pt x="24" y="124"/>
                  </a:cubicBezTo>
                  <a:cubicBezTo>
                    <a:pt x="24" y="124"/>
                    <a:pt x="24" y="123"/>
                    <a:pt x="24" y="123"/>
                  </a:cubicBezTo>
                  <a:cubicBezTo>
                    <a:pt x="24" y="123"/>
                    <a:pt x="24" y="124"/>
                    <a:pt x="23" y="124"/>
                  </a:cubicBezTo>
                  <a:cubicBezTo>
                    <a:pt x="23" y="125"/>
                    <a:pt x="23" y="127"/>
                    <a:pt x="23" y="128"/>
                  </a:cubicBezTo>
                  <a:cubicBezTo>
                    <a:pt x="23" y="129"/>
                    <a:pt x="23" y="131"/>
                    <a:pt x="23" y="132"/>
                  </a:cubicBezTo>
                  <a:cubicBezTo>
                    <a:pt x="23" y="133"/>
                    <a:pt x="23" y="134"/>
                    <a:pt x="24" y="135"/>
                  </a:cubicBezTo>
                  <a:cubicBezTo>
                    <a:pt x="24" y="136"/>
                    <a:pt x="24" y="137"/>
                    <a:pt x="24" y="138"/>
                  </a:cubicBezTo>
                  <a:cubicBezTo>
                    <a:pt x="24" y="139"/>
                    <a:pt x="25" y="139"/>
                    <a:pt x="26" y="139"/>
                  </a:cubicBezTo>
                  <a:cubicBezTo>
                    <a:pt x="27" y="140"/>
                    <a:pt x="27" y="140"/>
                    <a:pt x="28" y="141"/>
                  </a:cubicBezTo>
                  <a:cubicBezTo>
                    <a:pt x="28" y="141"/>
                    <a:pt x="28" y="142"/>
                    <a:pt x="29" y="142"/>
                  </a:cubicBezTo>
                  <a:cubicBezTo>
                    <a:pt x="29" y="142"/>
                    <a:pt x="30" y="141"/>
                    <a:pt x="30" y="141"/>
                  </a:cubicBezTo>
                  <a:cubicBezTo>
                    <a:pt x="31" y="141"/>
                    <a:pt x="31" y="141"/>
                    <a:pt x="32" y="141"/>
                  </a:cubicBezTo>
                  <a:cubicBezTo>
                    <a:pt x="33" y="141"/>
                    <a:pt x="34" y="140"/>
                    <a:pt x="35" y="139"/>
                  </a:cubicBezTo>
                  <a:cubicBezTo>
                    <a:pt x="35" y="139"/>
                    <a:pt x="36" y="139"/>
                    <a:pt x="36" y="140"/>
                  </a:cubicBezTo>
                  <a:cubicBezTo>
                    <a:pt x="36" y="140"/>
                    <a:pt x="36" y="140"/>
                    <a:pt x="37" y="140"/>
                  </a:cubicBezTo>
                  <a:cubicBezTo>
                    <a:pt x="38" y="141"/>
                    <a:pt x="39" y="140"/>
                    <a:pt x="40" y="140"/>
                  </a:cubicBezTo>
                  <a:cubicBezTo>
                    <a:pt x="41" y="140"/>
                    <a:pt x="42" y="140"/>
                    <a:pt x="43" y="140"/>
                  </a:cubicBezTo>
                  <a:cubicBezTo>
                    <a:pt x="44" y="141"/>
                    <a:pt x="45" y="142"/>
                    <a:pt x="45" y="142"/>
                  </a:cubicBezTo>
                  <a:cubicBezTo>
                    <a:pt x="46" y="143"/>
                    <a:pt x="47" y="144"/>
                    <a:pt x="48" y="145"/>
                  </a:cubicBezTo>
                  <a:cubicBezTo>
                    <a:pt x="48" y="145"/>
                    <a:pt x="49" y="146"/>
                    <a:pt x="49" y="146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51" y="146"/>
                    <a:pt x="51" y="146"/>
                    <a:pt x="52" y="146"/>
                  </a:cubicBezTo>
                  <a:cubicBezTo>
                    <a:pt x="52" y="146"/>
                    <a:pt x="53" y="145"/>
                    <a:pt x="54" y="145"/>
                  </a:cubicBezTo>
                  <a:cubicBezTo>
                    <a:pt x="54" y="145"/>
                    <a:pt x="55" y="145"/>
                    <a:pt x="55" y="145"/>
                  </a:cubicBezTo>
                  <a:cubicBezTo>
                    <a:pt x="56" y="145"/>
                    <a:pt x="57" y="145"/>
                    <a:pt x="58" y="146"/>
                  </a:cubicBezTo>
                  <a:cubicBezTo>
                    <a:pt x="59" y="146"/>
                    <a:pt x="59" y="147"/>
                    <a:pt x="60" y="147"/>
                  </a:cubicBezTo>
                  <a:cubicBezTo>
                    <a:pt x="60" y="148"/>
                    <a:pt x="61" y="148"/>
                    <a:pt x="61" y="148"/>
                  </a:cubicBezTo>
                  <a:cubicBezTo>
                    <a:pt x="62" y="149"/>
                    <a:pt x="63" y="149"/>
                    <a:pt x="64" y="150"/>
                  </a:cubicBezTo>
                  <a:cubicBezTo>
                    <a:pt x="64" y="151"/>
                    <a:pt x="64" y="152"/>
                    <a:pt x="64" y="153"/>
                  </a:cubicBezTo>
                  <a:cubicBezTo>
                    <a:pt x="65" y="154"/>
                    <a:pt x="65" y="155"/>
                    <a:pt x="66" y="156"/>
                  </a:cubicBezTo>
                  <a:cubicBezTo>
                    <a:pt x="66" y="156"/>
                    <a:pt x="67" y="157"/>
                    <a:pt x="67" y="157"/>
                  </a:cubicBezTo>
                  <a:cubicBezTo>
                    <a:pt x="68" y="158"/>
                    <a:pt x="68" y="159"/>
                    <a:pt x="68" y="161"/>
                  </a:cubicBezTo>
                  <a:cubicBezTo>
                    <a:pt x="68" y="162"/>
                    <a:pt x="68" y="163"/>
                    <a:pt x="68" y="164"/>
                  </a:cubicBezTo>
                  <a:cubicBezTo>
                    <a:pt x="68" y="165"/>
                    <a:pt x="69" y="166"/>
                    <a:pt x="69" y="167"/>
                  </a:cubicBezTo>
                  <a:cubicBezTo>
                    <a:pt x="69" y="167"/>
                    <a:pt x="69" y="168"/>
                    <a:pt x="69" y="168"/>
                  </a:cubicBezTo>
                  <a:cubicBezTo>
                    <a:pt x="69" y="169"/>
                    <a:pt x="69" y="169"/>
                    <a:pt x="69" y="170"/>
                  </a:cubicBezTo>
                  <a:cubicBezTo>
                    <a:pt x="70" y="171"/>
                    <a:pt x="70" y="171"/>
                    <a:pt x="71" y="172"/>
                  </a:cubicBezTo>
                  <a:cubicBezTo>
                    <a:pt x="73" y="174"/>
                    <a:pt x="76" y="174"/>
                    <a:pt x="78" y="175"/>
                  </a:cubicBezTo>
                  <a:cubicBezTo>
                    <a:pt x="79" y="175"/>
                    <a:pt x="80" y="175"/>
                    <a:pt x="81" y="175"/>
                  </a:cubicBezTo>
                  <a:cubicBezTo>
                    <a:pt x="82" y="175"/>
                    <a:pt x="82" y="175"/>
                    <a:pt x="83" y="176"/>
                  </a:cubicBezTo>
                  <a:cubicBezTo>
                    <a:pt x="83" y="176"/>
                    <a:pt x="84" y="176"/>
                    <a:pt x="84" y="176"/>
                  </a:cubicBezTo>
                  <a:cubicBezTo>
                    <a:pt x="87" y="176"/>
                    <a:pt x="87" y="176"/>
                    <a:pt x="87" y="176"/>
                  </a:cubicBezTo>
                  <a:cubicBezTo>
                    <a:pt x="88" y="176"/>
                    <a:pt x="89" y="175"/>
                    <a:pt x="90" y="175"/>
                  </a:cubicBezTo>
                  <a:cubicBezTo>
                    <a:pt x="92" y="174"/>
                    <a:pt x="94" y="173"/>
                    <a:pt x="95" y="172"/>
                  </a:cubicBezTo>
                  <a:cubicBezTo>
                    <a:pt x="96" y="171"/>
                    <a:pt x="97" y="171"/>
                    <a:pt x="98" y="170"/>
                  </a:cubicBezTo>
                  <a:cubicBezTo>
                    <a:pt x="99" y="170"/>
                    <a:pt x="100" y="169"/>
                    <a:pt x="101" y="169"/>
                  </a:cubicBezTo>
                  <a:cubicBezTo>
                    <a:pt x="101" y="169"/>
                    <a:pt x="102" y="169"/>
                    <a:pt x="102" y="169"/>
                  </a:cubicBezTo>
                  <a:cubicBezTo>
                    <a:pt x="104" y="169"/>
                    <a:pt x="106" y="170"/>
                    <a:pt x="107" y="169"/>
                  </a:cubicBezTo>
                  <a:cubicBezTo>
                    <a:pt x="107" y="169"/>
                    <a:pt x="108" y="169"/>
                    <a:pt x="108" y="168"/>
                  </a:cubicBezTo>
                  <a:cubicBezTo>
                    <a:pt x="108" y="168"/>
                    <a:pt x="109" y="168"/>
                    <a:pt x="109" y="168"/>
                  </a:cubicBezTo>
                  <a:cubicBezTo>
                    <a:pt x="110" y="168"/>
                    <a:pt x="111" y="168"/>
                    <a:pt x="112" y="168"/>
                  </a:cubicBezTo>
                  <a:cubicBezTo>
                    <a:pt x="113" y="169"/>
                    <a:pt x="113" y="169"/>
                    <a:pt x="113" y="169"/>
                  </a:cubicBezTo>
                  <a:cubicBezTo>
                    <a:pt x="114" y="169"/>
                    <a:pt x="114" y="169"/>
                    <a:pt x="115" y="169"/>
                  </a:cubicBezTo>
                  <a:cubicBezTo>
                    <a:pt x="115" y="169"/>
                    <a:pt x="116" y="169"/>
                    <a:pt x="116" y="169"/>
                  </a:cubicBezTo>
                  <a:cubicBezTo>
                    <a:pt x="116" y="169"/>
                    <a:pt x="117" y="169"/>
                    <a:pt x="117" y="169"/>
                  </a:cubicBezTo>
                  <a:cubicBezTo>
                    <a:pt x="118" y="169"/>
                    <a:pt x="118" y="169"/>
                    <a:pt x="119" y="170"/>
                  </a:cubicBezTo>
                  <a:cubicBezTo>
                    <a:pt x="120" y="170"/>
                    <a:pt x="120" y="170"/>
                    <a:pt x="121" y="170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2" y="172"/>
                    <a:pt x="121" y="173"/>
                    <a:pt x="122" y="173"/>
                  </a:cubicBezTo>
                  <a:cubicBezTo>
                    <a:pt x="123" y="174"/>
                    <a:pt x="124" y="174"/>
                    <a:pt x="124" y="173"/>
                  </a:cubicBezTo>
                  <a:cubicBezTo>
                    <a:pt x="125" y="173"/>
                    <a:pt x="125" y="172"/>
                    <a:pt x="126" y="172"/>
                  </a:cubicBezTo>
                  <a:cubicBezTo>
                    <a:pt x="126" y="171"/>
                    <a:pt x="127" y="171"/>
                    <a:pt x="128" y="171"/>
                  </a:cubicBezTo>
                  <a:cubicBezTo>
                    <a:pt x="128" y="171"/>
                    <a:pt x="129" y="171"/>
                    <a:pt x="130" y="171"/>
                  </a:cubicBezTo>
                  <a:cubicBezTo>
                    <a:pt x="131" y="171"/>
                    <a:pt x="132" y="172"/>
                    <a:pt x="133" y="172"/>
                  </a:cubicBezTo>
                  <a:cubicBezTo>
                    <a:pt x="134" y="171"/>
                    <a:pt x="135" y="171"/>
                    <a:pt x="136" y="170"/>
                  </a:cubicBezTo>
                  <a:cubicBezTo>
                    <a:pt x="137" y="169"/>
                    <a:pt x="138" y="169"/>
                    <a:pt x="139" y="168"/>
                  </a:cubicBezTo>
                  <a:cubicBezTo>
                    <a:pt x="139" y="168"/>
                    <a:pt x="140" y="168"/>
                    <a:pt x="141" y="167"/>
                  </a:cubicBezTo>
                  <a:cubicBezTo>
                    <a:pt x="141" y="167"/>
                    <a:pt x="142" y="167"/>
                    <a:pt x="143" y="167"/>
                  </a:cubicBezTo>
                  <a:cubicBezTo>
                    <a:pt x="143" y="167"/>
                    <a:pt x="144" y="167"/>
                    <a:pt x="144" y="168"/>
                  </a:cubicBezTo>
                  <a:cubicBezTo>
                    <a:pt x="145" y="168"/>
                    <a:pt x="145" y="168"/>
                    <a:pt x="146" y="169"/>
                  </a:cubicBezTo>
                  <a:cubicBezTo>
                    <a:pt x="147" y="169"/>
                    <a:pt x="149" y="169"/>
                    <a:pt x="150" y="169"/>
                  </a:cubicBezTo>
                  <a:cubicBezTo>
                    <a:pt x="151" y="169"/>
                    <a:pt x="153" y="169"/>
                    <a:pt x="154" y="168"/>
                  </a:cubicBezTo>
                  <a:cubicBezTo>
                    <a:pt x="155" y="168"/>
                    <a:pt x="156" y="168"/>
                    <a:pt x="157" y="167"/>
                  </a:cubicBezTo>
                  <a:cubicBezTo>
                    <a:pt x="159" y="166"/>
                    <a:pt x="161" y="164"/>
                    <a:pt x="163" y="164"/>
                  </a:cubicBezTo>
                  <a:cubicBezTo>
                    <a:pt x="164" y="163"/>
                    <a:pt x="165" y="163"/>
                    <a:pt x="166" y="163"/>
                  </a:cubicBezTo>
                  <a:cubicBezTo>
                    <a:pt x="167" y="163"/>
                    <a:pt x="167" y="163"/>
                    <a:pt x="168" y="162"/>
                  </a:cubicBezTo>
                  <a:cubicBezTo>
                    <a:pt x="168" y="162"/>
                    <a:pt x="168" y="162"/>
                    <a:pt x="169" y="162"/>
                  </a:cubicBezTo>
                  <a:cubicBezTo>
                    <a:pt x="169" y="162"/>
                    <a:pt x="170" y="162"/>
                    <a:pt x="171" y="162"/>
                  </a:cubicBezTo>
                  <a:cubicBezTo>
                    <a:pt x="171" y="162"/>
                    <a:pt x="172" y="162"/>
                    <a:pt x="172" y="162"/>
                  </a:cubicBezTo>
                  <a:cubicBezTo>
                    <a:pt x="173" y="161"/>
                    <a:pt x="174" y="161"/>
                    <a:pt x="175" y="160"/>
                  </a:cubicBezTo>
                  <a:cubicBezTo>
                    <a:pt x="175" y="160"/>
                    <a:pt x="175" y="160"/>
                    <a:pt x="176" y="159"/>
                  </a:cubicBezTo>
                  <a:cubicBezTo>
                    <a:pt x="176" y="159"/>
                    <a:pt x="176" y="159"/>
                    <a:pt x="177" y="158"/>
                  </a:cubicBezTo>
                  <a:cubicBezTo>
                    <a:pt x="177" y="158"/>
                    <a:pt x="178" y="158"/>
                    <a:pt x="179" y="158"/>
                  </a:cubicBezTo>
                  <a:cubicBezTo>
                    <a:pt x="180" y="158"/>
                    <a:pt x="181" y="158"/>
                    <a:pt x="181" y="158"/>
                  </a:cubicBezTo>
                  <a:cubicBezTo>
                    <a:pt x="182" y="159"/>
                    <a:pt x="182" y="158"/>
                    <a:pt x="183" y="158"/>
                  </a:cubicBezTo>
                  <a:cubicBezTo>
                    <a:pt x="183" y="158"/>
                    <a:pt x="184" y="158"/>
                    <a:pt x="185" y="158"/>
                  </a:cubicBezTo>
                  <a:cubicBezTo>
                    <a:pt x="185" y="158"/>
                    <a:pt x="185" y="158"/>
                    <a:pt x="186" y="157"/>
                  </a:cubicBezTo>
                  <a:cubicBezTo>
                    <a:pt x="186" y="157"/>
                    <a:pt x="187" y="157"/>
                    <a:pt x="187" y="157"/>
                  </a:cubicBezTo>
                  <a:cubicBezTo>
                    <a:pt x="187" y="157"/>
                    <a:pt x="188" y="157"/>
                    <a:pt x="188" y="157"/>
                  </a:cubicBezTo>
                  <a:cubicBezTo>
                    <a:pt x="189" y="157"/>
                    <a:pt x="191" y="157"/>
                    <a:pt x="192" y="157"/>
                  </a:cubicBezTo>
                  <a:cubicBezTo>
                    <a:pt x="193" y="157"/>
                    <a:pt x="193" y="157"/>
                    <a:pt x="194" y="157"/>
                  </a:cubicBezTo>
                  <a:cubicBezTo>
                    <a:pt x="195" y="156"/>
                    <a:pt x="195" y="156"/>
                    <a:pt x="196" y="155"/>
                  </a:cubicBezTo>
                  <a:cubicBezTo>
                    <a:pt x="196" y="155"/>
                    <a:pt x="197" y="155"/>
                    <a:pt x="197" y="154"/>
                  </a:cubicBezTo>
                  <a:cubicBezTo>
                    <a:pt x="198" y="154"/>
                    <a:pt x="198" y="154"/>
                    <a:pt x="199" y="154"/>
                  </a:cubicBezTo>
                  <a:cubicBezTo>
                    <a:pt x="270" y="154"/>
                    <a:pt x="270" y="154"/>
                    <a:pt x="270" y="154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150"/>
                    <a:pt x="269" y="147"/>
                    <a:pt x="269" y="147"/>
                  </a:cubicBez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6A234852-6C39-4039-9DE3-DBB363B31A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367" y="3086994"/>
              <a:ext cx="1151586" cy="510531"/>
            </a:xfrm>
            <a:custGeom>
              <a:avLst/>
              <a:gdLst>
                <a:gd name="T0" fmla="*/ 270 w 291"/>
                <a:gd name="T1" fmla="*/ 129 h 129"/>
                <a:gd name="T2" fmla="*/ 290 w 291"/>
                <a:gd name="T3" fmla="*/ 67 h 129"/>
                <a:gd name="T4" fmla="*/ 288 w 291"/>
                <a:gd name="T5" fmla="*/ 67 h 129"/>
                <a:gd name="T6" fmla="*/ 278 w 291"/>
                <a:gd name="T7" fmla="*/ 65 h 129"/>
                <a:gd name="T8" fmla="*/ 283 w 291"/>
                <a:gd name="T9" fmla="*/ 72 h 129"/>
                <a:gd name="T10" fmla="*/ 276 w 291"/>
                <a:gd name="T11" fmla="*/ 83 h 129"/>
                <a:gd name="T12" fmla="*/ 270 w 291"/>
                <a:gd name="T13" fmla="*/ 93 h 129"/>
                <a:gd name="T14" fmla="*/ 267 w 291"/>
                <a:gd name="T15" fmla="*/ 101 h 129"/>
                <a:gd name="T16" fmla="*/ 264 w 291"/>
                <a:gd name="T17" fmla="*/ 97 h 129"/>
                <a:gd name="T18" fmla="*/ 266 w 291"/>
                <a:gd name="T19" fmla="*/ 88 h 129"/>
                <a:gd name="T20" fmla="*/ 274 w 291"/>
                <a:gd name="T21" fmla="*/ 73 h 129"/>
                <a:gd name="T22" fmla="*/ 278 w 291"/>
                <a:gd name="T23" fmla="*/ 65 h 129"/>
                <a:gd name="T24" fmla="*/ 69 w 291"/>
                <a:gd name="T25" fmla="*/ 126 h 129"/>
                <a:gd name="T26" fmla="*/ 18 w 291"/>
                <a:gd name="T27" fmla="*/ 120 h 129"/>
                <a:gd name="T28" fmla="*/ 28 w 291"/>
                <a:gd name="T29" fmla="*/ 110 h 129"/>
                <a:gd name="T30" fmla="*/ 46 w 291"/>
                <a:gd name="T31" fmla="*/ 97 h 129"/>
                <a:gd name="T32" fmla="*/ 59 w 291"/>
                <a:gd name="T33" fmla="*/ 90 h 129"/>
                <a:gd name="T34" fmla="*/ 68 w 291"/>
                <a:gd name="T35" fmla="*/ 100 h 129"/>
                <a:gd name="T36" fmla="*/ 96 w 291"/>
                <a:gd name="T37" fmla="*/ 96 h 129"/>
                <a:gd name="T38" fmla="*/ 105 w 291"/>
                <a:gd name="T39" fmla="*/ 90 h 129"/>
                <a:gd name="T40" fmla="*/ 118 w 291"/>
                <a:gd name="T41" fmla="*/ 83 h 129"/>
                <a:gd name="T42" fmla="*/ 123 w 291"/>
                <a:gd name="T43" fmla="*/ 69 h 129"/>
                <a:gd name="T44" fmla="*/ 130 w 291"/>
                <a:gd name="T45" fmla="*/ 56 h 129"/>
                <a:gd name="T46" fmla="*/ 138 w 291"/>
                <a:gd name="T47" fmla="*/ 43 h 129"/>
                <a:gd name="T48" fmla="*/ 156 w 291"/>
                <a:gd name="T49" fmla="*/ 37 h 129"/>
                <a:gd name="T50" fmla="*/ 168 w 291"/>
                <a:gd name="T51" fmla="*/ 27 h 129"/>
                <a:gd name="T52" fmla="*/ 176 w 291"/>
                <a:gd name="T53" fmla="*/ 20 h 129"/>
                <a:gd name="T54" fmla="*/ 183 w 291"/>
                <a:gd name="T55" fmla="*/ 5 h 129"/>
                <a:gd name="T56" fmla="*/ 212 w 291"/>
                <a:gd name="T57" fmla="*/ 14 h 129"/>
                <a:gd name="T58" fmla="*/ 224 w 291"/>
                <a:gd name="T59" fmla="*/ 22 h 129"/>
                <a:gd name="T60" fmla="*/ 229 w 291"/>
                <a:gd name="T61" fmla="*/ 28 h 129"/>
                <a:gd name="T62" fmla="*/ 226 w 291"/>
                <a:gd name="T63" fmla="*/ 37 h 129"/>
                <a:gd name="T64" fmla="*/ 221 w 291"/>
                <a:gd name="T65" fmla="*/ 42 h 129"/>
                <a:gd name="T66" fmla="*/ 228 w 291"/>
                <a:gd name="T67" fmla="*/ 50 h 129"/>
                <a:gd name="T68" fmla="*/ 239 w 291"/>
                <a:gd name="T69" fmla="*/ 60 h 129"/>
                <a:gd name="T70" fmla="*/ 250 w 291"/>
                <a:gd name="T71" fmla="*/ 67 h 129"/>
                <a:gd name="T72" fmla="*/ 254 w 291"/>
                <a:gd name="T73" fmla="*/ 73 h 129"/>
                <a:gd name="T74" fmla="*/ 252 w 291"/>
                <a:gd name="T75" fmla="*/ 72 h 129"/>
                <a:gd name="T76" fmla="*/ 253 w 291"/>
                <a:gd name="T77" fmla="*/ 81 h 129"/>
                <a:gd name="T78" fmla="*/ 246 w 291"/>
                <a:gd name="T79" fmla="*/ 79 h 129"/>
                <a:gd name="T80" fmla="*/ 237 w 291"/>
                <a:gd name="T81" fmla="*/ 69 h 129"/>
                <a:gd name="T82" fmla="*/ 239 w 291"/>
                <a:gd name="T83" fmla="*/ 73 h 129"/>
                <a:gd name="T84" fmla="*/ 245 w 291"/>
                <a:gd name="T85" fmla="*/ 81 h 129"/>
                <a:gd name="T86" fmla="*/ 252 w 291"/>
                <a:gd name="T87" fmla="*/ 86 h 129"/>
                <a:gd name="T88" fmla="*/ 255 w 291"/>
                <a:gd name="T89" fmla="*/ 90 h 129"/>
                <a:gd name="T90" fmla="*/ 254 w 291"/>
                <a:gd name="T91" fmla="*/ 95 h 129"/>
                <a:gd name="T92" fmla="*/ 249 w 291"/>
                <a:gd name="T93" fmla="*/ 92 h 129"/>
                <a:gd name="T94" fmla="*/ 251 w 291"/>
                <a:gd name="T95" fmla="*/ 100 h 129"/>
                <a:gd name="T96" fmla="*/ 254 w 291"/>
                <a:gd name="T97" fmla="*/ 109 h 129"/>
                <a:gd name="T98" fmla="*/ 248 w 291"/>
                <a:gd name="T99" fmla="*/ 109 h 129"/>
                <a:gd name="T100" fmla="*/ 241 w 291"/>
                <a:gd name="T101" fmla="*/ 100 h 129"/>
                <a:gd name="T102" fmla="*/ 232 w 291"/>
                <a:gd name="T103" fmla="*/ 99 h 129"/>
                <a:gd name="T104" fmla="*/ 236 w 291"/>
                <a:gd name="T105" fmla="*/ 100 h 129"/>
                <a:gd name="T106" fmla="*/ 245 w 291"/>
                <a:gd name="T107" fmla="*/ 110 h 129"/>
                <a:gd name="T108" fmla="*/ 247 w 291"/>
                <a:gd name="T109" fmla="*/ 116 h 129"/>
                <a:gd name="T110" fmla="*/ 253 w 291"/>
                <a:gd name="T111" fmla="*/ 117 h 129"/>
                <a:gd name="T112" fmla="*/ 259 w 291"/>
                <a:gd name="T113" fmla="*/ 113 h 129"/>
                <a:gd name="T114" fmla="*/ 265 w 291"/>
                <a:gd name="T115" fmla="*/ 115 h 129"/>
                <a:gd name="T116" fmla="*/ 267 w 291"/>
                <a:gd name="T117" fmla="*/ 12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129">
                  <a:moveTo>
                    <a:pt x="270" y="129"/>
                  </a:moveTo>
                  <a:cubicBezTo>
                    <a:pt x="268" y="129"/>
                    <a:pt x="268" y="129"/>
                    <a:pt x="268" y="129"/>
                  </a:cubicBezTo>
                  <a:cubicBezTo>
                    <a:pt x="268" y="128"/>
                    <a:pt x="268" y="128"/>
                    <a:pt x="268" y="128"/>
                  </a:cubicBezTo>
                  <a:cubicBezTo>
                    <a:pt x="268" y="127"/>
                    <a:pt x="268" y="127"/>
                    <a:pt x="268" y="127"/>
                  </a:cubicBezTo>
                  <a:cubicBezTo>
                    <a:pt x="269" y="126"/>
                    <a:pt x="270" y="128"/>
                    <a:pt x="270" y="128"/>
                  </a:cubicBezTo>
                  <a:cubicBezTo>
                    <a:pt x="270" y="128"/>
                    <a:pt x="270" y="128"/>
                    <a:pt x="270" y="129"/>
                  </a:cubicBezTo>
                  <a:close/>
                  <a:moveTo>
                    <a:pt x="287" y="71"/>
                  </a:moveTo>
                  <a:cubicBezTo>
                    <a:pt x="288" y="70"/>
                    <a:pt x="288" y="70"/>
                    <a:pt x="288" y="70"/>
                  </a:cubicBezTo>
                  <a:cubicBezTo>
                    <a:pt x="288" y="70"/>
                    <a:pt x="288" y="69"/>
                    <a:pt x="288" y="69"/>
                  </a:cubicBezTo>
                  <a:cubicBezTo>
                    <a:pt x="289" y="69"/>
                    <a:pt x="289" y="68"/>
                    <a:pt x="289" y="68"/>
                  </a:cubicBezTo>
                  <a:cubicBezTo>
                    <a:pt x="289" y="68"/>
                    <a:pt x="289" y="68"/>
                    <a:pt x="289" y="67"/>
                  </a:cubicBezTo>
                  <a:cubicBezTo>
                    <a:pt x="289" y="67"/>
                    <a:pt x="290" y="67"/>
                    <a:pt x="290" y="67"/>
                  </a:cubicBezTo>
                  <a:cubicBezTo>
                    <a:pt x="290" y="67"/>
                    <a:pt x="290" y="66"/>
                    <a:pt x="290" y="66"/>
                  </a:cubicBezTo>
                  <a:cubicBezTo>
                    <a:pt x="290" y="66"/>
                    <a:pt x="290" y="66"/>
                    <a:pt x="290" y="66"/>
                  </a:cubicBezTo>
                  <a:cubicBezTo>
                    <a:pt x="291" y="65"/>
                    <a:pt x="291" y="65"/>
                    <a:pt x="291" y="65"/>
                  </a:cubicBezTo>
                  <a:cubicBezTo>
                    <a:pt x="291" y="65"/>
                    <a:pt x="290" y="65"/>
                    <a:pt x="290" y="65"/>
                  </a:cubicBezTo>
                  <a:cubicBezTo>
                    <a:pt x="290" y="65"/>
                    <a:pt x="290" y="66"/>
                    <a:pt x="289" y="66"/>
                  </a:cubicBezTo>
                  <a:cubicBezTo>
                    <a:pt x="289" y="66"/>
                    <a:pt x="289" y="67"/>
                    <a:pt x="288" y="67"/>
                  </a:cubicBezTo>
                  <a:cubicBezTo>
                    <a:pt x="288" y="67"/>
                    <a:pt x="287" y="68"/>
                    <a:pt x="287" y="68"/>
                  </a:cubicBezTo>
                  <a:cubicBezTo>
                    <a:pt x="287" y="68"/>
                    <a:pt x="287" y="69"/>
                    <a:pt x="287" y="69"/>
                  </a:cubicBezTo>
                  <a:cubicBezTo>
                    <a:pt x="287" y="69"/>
                    <a:pt x="287" y="69"/>
                    <a:pt x="287" y="69"/>
                  </a:cubicBezTo>
                  <a:cubicBezTo>
                    <a:pt x="287" y="70"/>
                    <a:pt x="287" y="70"/>
                    <a:pt x="287" y="70"/>
                  </a:cubicBezTo>
                  <a:cubicBezTo>
                    <a:pt x="287" y="70"/>
                    <a:pt x="287" y="71"/>
                    <a:pt x="287" y="71"/>
                  </a:cubicBezTo>
                  <a:close/>
                  <a:moveTo>
                    <a:pt x="278" y="65"/>
                  </a:moveTo>
                  <a:cubicBezTo>
                    <a:pt x="285" y="65"/>
                    <a:pt x="285" y="65"/>
                    <a:pt x="285" y="65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5" y="66"/>
                    <a:pt x="284" y="67"/>
                    <a:pt x="284" y="68"/>
                  </a:cubicBezTo>
                  <a:cubicBezTo>
                    <a:pt x="284" y="68"/>
                    <a:pt x="284" y="69"/>
                    <a:pt x="284" y="69"/>
                  </a:cubicBezTo>
                  <a:cubicBezTo>
                    <a:pt x="284" y="69"/>
                    <a:pt x="284" y="70"/>
                    <a:pt x="284" y="70"/>
                  </a:cubicBezTo>
                  <a:cubicBezTo>
                    <a:pt x="283" y="71"/>
                    <a:pt x="283" y="71"/>
                    <a:pt x="283" y="72"/>
                  </a:cubicBezTo>
                  <a:cubicBezTo>
                    <a:pt x="283" y="72"/>
                    <a:pt x="283" y="72"/>
                    <a:pt x="282" y="72"/>
                  </a:cubicBezTo>
                  <a:cubicBezTo>
                    <a:pt x="282" y="73"/>
                    <a:pt x="282" y="73"/>
                    <a:pt x="282" y="73"/>
                  </a:cubicBezTo>
                  <a:cubicBezTo>
                    <a:pt x="282" y="74"/>
                    <a:pt x="281" y="74"/>
                    <a:pt x="281" y="75"/>
                  </a:cubicBezTo>
                  <a:cubicBezTo>
                    <a:pt x="281" y="75"/>
                    <a:pt x="281" y="76"/>
                    <a:pt x="280" y="76"/>
                  </a:cubicBezTo>
                  <a:cubicBezTo>
                    <a:pt x="279" y="78"/>
                    <a:pt x="278" y="79"/>
                    <a:pt x="277" y="81"/>
                  </a:cubicBezTo>
                  <a:cubicBezTo>
                    <a:pt x="277" y="82"/>
                    <a:pt x="276" y="82"/>
                    <a:pt x="276" y="83"/>
                  </a:cubicBezTo>
                  <a:cubicBezTo>
                    <a:pt x="276" y="85"/>
                    <a:pt x="276" y="86"/>
                    <a:pt x="276" y="87"/>
                  </a:cubicBezTo>
                  <a:cubicBezTo>
                    <a:pt x="276" y="88"/>
                    <a:pt x="276" y="89"/>
                    <a:pt x="274" y="89"/>
                  </a:cubicBezTo>
                  <a:cubicBezTo>
                    <a:pt x="274" y="89"/>
                    <a:pt x="274" y="89"/>
                    <a:pt x="273" y="89"/>
                  </a:cubicBezTo>
                  <a:cubicBezTo>
                    <a:pt x="273" y="89"/>
                    <a:pt x="272" y="89"/>
                    <a:pt x="272" y="90"/>
                  </a:cubicBezTo>
                  <a:cubicBezTo>
                    <a:pt x="271" y="90"/>
                    <a:pt x="271" y="91"/>
                    <a:pt x="271" y="92"/>
                  </a:cubicBezTo>
                  <a:cubicBezTo>
                    <a:pt x="271" y="92"/>
                    <a:pt x="271" y="92"/>
                    <a:pt x="270" y="93"/>
                  </a:cubicBezTo>
                  <a:cubicBezTo>
                    <a:pt x="269" y="93"/>
                    <a:pt x="269" y="94"/>
                    <a:pt x="269" y="94"/>
                  </a:cubicBezTo>
                  <a:cubicBezTo>
                    <a:pt x="268" y="94"/>
                    <a:pt x="268" y="95"/>
                    <a:pt x="268" y="95"/>
                  </a:cubicBezTo>
                  <a:cubicBezTo>
                    <a:pt x="268" y="96"/>
                    <a:pt x="268" y="96"/>
                    <a:pt x="268" y="96"/>
                  </a:cubicBezTo>
                  <a:cubicBezTo>
                    <a:pt x="267" y="97"/>
                    <a:pt x="267" y="97"/>
                    <a:pt x="268" y="98"/>
                  </a:cubicBezTo>
                  <a:cubicBezTo>
                    <a:pt x="268" y="98"/>
                    <a:pt x="268" y="99"/>
                    <a:pt x="268" y="99"/>
                  </a:cubicBezTo>
                  <a:cubicBezTo>
                    <a:pt x="268" y="100"/>
                    <a:pt x="268" y="101"/>
                    <a:pt x="267" y="101"/>
                  </a:cubicBezTo>
                  <a:cubicBezTo>
                    <a:pt x="267" y="102"/>
                    <a:pt x="267" y="103"/>
                    <a:pt x="266" y="103"/>
                  </a:cubicBezTo>
                  <a:cubicBezTo>
                    <a:pt x="266" y="103"/>
                    <a:pt x="266" y="102"/>
                    <a:pt x="266" y="102"/>
                  </a:cubicBezTo>
                  <a:cubicBezTo>
                    <a:pt x="266" y="101"/>
                    <a:pt x="266" y="101"/>
                    <a:pt x="265" y="101"/>
                  </a:cubicBezTo>
                  <a:cubicBezTo>
                    <a:pt x="265" y="101"/>
                    <a:pt x="265" y="100"/>
                    <a:pt x="265" y="100"/>
                  </a:cubicBezTo>
                  <a:cubicBezTo>
                    <a:pt x="264" y="100"/>
                    <a:pt x="264" y="99"/>
                    <a:pt x="264" y="98"/>
                  </a:cubicBezTo>
                  <a:cubicBezTo>
                    <a:pt x="264" y="98"/>
                    <a:pt x="264" y="97"/>
                    <a:pt x="264" y="97"/>
                  </a:cubicBezTo>
                  <a:cubicBezTo>
                    <a:pt x="264" y="97"/>
                    <a:pt x="264" y="96"/>
                    <a:pt x="264" y="96"/>
                  </a:cubicBezTo>
                  <a:cubicBezTo>
                    <a:pt x="264" y="95"/>
                    <a:pt x="265" y="95"/>
                    <a:pt x="265" y="94"/>
                  </a:cubicBezTo>
                  <a:cubicBezTo>
                    <a:pt x="265" y="93"/>
                    <a:pt x="265" y="93"/>
                    <a:pt x="266" y="92"/>
                  </a:cubicBezTo>
                  <a:cubicBezTo>
                    <a:pt x="266" y="92"/>
                    <a:pt x="266" y="91"/>
                    <a:pt x="266" y="91"/>
                  </a:cubicBezTo>
                  <a:cubicBezTo>
                    <a:pt x="266" y="90"/>
                    <a:pt x="266" y="90"/>
                    <a:pt x="266" y="89"/>
                  </a:cubicBezTo>
                  <a:cubicBezTo>
                    <a:pt x="266" y="89"/>
                    <a:pt x="266" y="89"/>
                    <a:pt x="266" y="88"/>
                  </a:cubicBezTo>
                  <a:cubicBezTo>
                    <a:pt x="267" y="87"/>
                    <a:pt x="267" y="86"/>
                    <a:pt x="267" y="86"/>
                  </a:cubicBezTo>
                  <a:cubicBezTo>
                    <a:pt x="267" y="85"/>
                    <a:pt x="268" y="83"/>
                    <a:pt x="268" y="82"/>
                  </a:cubicBezTo>
                  <a:cubicBezTo>
                    <a:pt x="269" y="82"/>
                    <a:pt x="269" y="81"/>
                    <a:pt x="269" y="81"/>
                  </a:cubicBezTo>
                  <a:cubicBezTo>
                    <a:pt x="269" y="80"/>
                    <a:pt x="270" y="80"/>
                    <a:pt x="270" y="79"/>
                  </a:cubicBezTo>
                  <a:cubicBezTo>
                    <a:pt x="271" y="78"/>
                    <a:pt x="272" y="77"/>
                    <a:pt x="272" y="76"/>
                  </a:cubicBezTo>
                  <a:cubicBezTo>
                    <a:pt x="273" y="75"/>
                    <a:pt x="274" y="74"/>
                    <a:pt x="274" y="73"/>
                  </a:cubicBezTo>
                  <a:cubicBezTo>
                    <a:pt x="275" y="73"/>
                    <a:pt x="276" y="72"/>
                    <a:pt x="276" y="71"/>
                  </a:cubicBezTo>
                  <a:cubicBezTo>
                    <a:pt x="276" y="70"/>
                    <a:pt x="274" y="71"/>
                    <a:pt x="274" y="70"/>
                  </a:cubicBezTo>
                  <a:cubicBezTo>
                    <a:pt x="274" y="69"/>
                    <a:pt x="276" y="69"/>
                    <a:pt x="276" y="69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6" y="68"/>
                    <a:pt x="276" y="68"/>
                    <a:pt x="276" y="68"/>
                  </a:cubicBezTo>
                  <a:lnTo>
                    <a:pt x="278" y="65"/>
                  </a:lnTo>
                  <a:close/>
                  <a:moveTo>
                    <a:pt x="266" y="128"/>
                  </a:moveTo>
                  <a:cubicBezTo>
                    <a:pt x="266" y="129"/>
                    <a:pt x="266" y="129"/>
                    <a:pt x="267" y="129"/>
                  </a:cubicBezTo>
                  <a:cubicBezTo>
                    <a:pt x="164" y="129"/>
                    <a:pt x="164" y="129"/>
                    <a:pt x="164" y="129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69" y="127"/>
                    <a:pt x="69" y="127"/>
                    <a:pt x="69" y="127"/>
                  </a:cubicBezTo>
                  <a:cubicBezTo>
                    <a:pt x="69" y="126"/>
                    <a:pt x="69" y="126"/>
                    <a:pt x="69" y="126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9" y="123"/>
                    <a:pt x="9" y="123"/>
                  </a:cubicBezTo>
                  <a:cubicBezTo>
                    <a:pt x="9" y="123"/>
                    <a:pt x="13" y="122"/>
                    <a:pt x="14" y="122"/>
                  </a:cubicBezTo>
                  <a:cubicBezTo>
                    <a:pt x="14" y="121"/>
                    <a:pt x="17" y="121"/>
                    <a:pt x="18" y="120"/>
                  </a:cubicBezTo>
                  <a:cubicBezTo>
                    <a:pt x="18" y="120"/>
                    <a:pt x="19" y="119"/>
                    <a:pt x="19" y="119"/>
                  </a:cubicBezTo>
                  <a:cubicBezTo>
                    <a:pt x="19" y="118"/>
                    <a:pt x="20" y="116"/>
                    <a:pt x="20" y="116"/>
                  </a:cubicBezTo>
                  <a:cubicBezTo>
                    <a:pt x="21" y="116"/>
                    <a:pt x="23" y="115"/>
                    <a:pt x="24" y="115"/>
                  </a:cubicBezTo>
                  <a:cubicBezTo>
                    <a:pt x="25" y="115"/>
                    <a:pt x="25" y="115"/>
                    <a:pt x="26" y="115"/>
                  </a:cubicBezTo>
                  <a:cubicBezTo>
                    <a:pt x="26" y="114"/>
                    <a:pt x="27" y="113"/>
                    <a:pt x="28" y="113"/>
                  </a:cubicBezTo>
                  <a:cubicBezTo>
                    <a:pt x="28" y="112"/>
                    <a:pt x="27" y="110"/>
                    <a:pt x="28" y="110"/>
                  </a:cubicBezTo>
                  <a:cubicBezTo>
                    <a:pt x="29" y="109"/>
                    <a:pt x="31" y="108"/>
                    <a:pt x="31" y="108"/>
                  </a:cubicBezTo>
                  <a:cubicBezTo>
                    <a:pt x="32" y="107"/>
                    <a:pt x="32" y="108"/>
                    <a:pt x="32" y="107"/>
                  </a:cubicBezTo>
                  <a:cubicBezTo>
                    <a:pt x="33" y="106"/>
                    <a:pt x="33" y="105"/>
                    <a:pt x="33" y="104"/>
                  </a:cubicBezTo>
                  <a:cubicBezTo>
                    <a:pt x="33" y="104"/>
                    <a:pt x="35" y="103"/>
                    <a:pt x="36" y="102"/>
                  </a:cubicBezTo>
                  <a:cubicBezTo>
                    <a:pt x="37" y="101"/>
                    <a:pt x="40" y="99"/>
                    <a:pt x="41" y="99"/>
                  </a:cubicBezTo>
                  <a:cubicBezTo>
                    <a:pt x="43" y="98"/>
                    <a:pt x="45" y="98"/>
                    <a:pt x="46" y="97"/>
                  </a:cubicBezTo>
                  <a:cubicBezTo>
                    <a:pt x="47" y="97"/>
                    <a:pt x="48" y="95"/>
                    <a:pt x="49" y="94"/>
                  </a:cubicBezTo>
                  <a:cubicBezTo>
                    <a:pt x="50" y="94"/>
                    <a:pt x="58" y="86"/>
                    <a:pt x="58" y="86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59" y="88"/>
                    <a:pt x="59" y="88"/>
                  </a:cubicBezTo>
                  <a:cubicBezTo>
                    <a:pt x="59" y="88"/>
                    <a:pt x="58" y="89"/>
                    <a:pt x="58" y="89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60" y="94"/>
                    <a:pt x="60" y="94"/>
                  </a:cubicBezTo>
                  <a:cubicBezTo>
                    <a:pt x="60" y="94"/>
                    <a:pt x="63" y="96"/>
                    <a:pt x="63" y="96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7" y="98"/>
                    <a:pt x="67" y="98"/>
                  </a:cubicBezTo>
                  <a:cubicBezTo>
                    <a:pt x="67" y="98"/>
                    <a:pt x="68" y="100"/>
                    <a:pt x="68" y="100"/>
                  </a:cubicBezTo>
                  <a:cubicBezTo>
                    <a:pt x="68" y="101"/>
                    <a:pt x="73" y="100"/>
                    <a:pt x="73" y="100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7" y="94"/>
                    <a:pt x="97" y="94"/>
                    <a:pt x="97" y="94"/>
                  </a:cubicBezTo>
                  <a:cubicBezTo>
                    <a:pt x="96" y="93"/>
                    <a:pt x="96" y="93"/>
                    <a:pt x="96" y="93"/>
                  </a:cubicBezTo>
                  <a:cubicBezTo>
                    <a:pt x="97" y="91"/>
                    <a:pt x="97" y="91"/>
                    <a:pt x="97" y="91"/>
                  </a:cubicBezTo>
                  <a:cubicBezTo>
                    <a:pt x="98" y="92"/>
                    <a:pt x="98" y="92"/>
                    <a:pt x="98" y="92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6"/>
                    <a:pt x="115" y="86"/>
                  </a:cubicBezTo>
                  <a:cubicBezTo>
                    <a:pt x="115" y="86"/>
                    <a:pt x="115" y="85"/>
                    <a:pt x="115" y="84"/>
                  </a:cubicBezTo>
                  <a:cubicBezTo>
                    <a:pt x="115" y="84"/>
                    <a:pt x="118" y="83"/>
                    <a:pt x="118" y="83"/>
                  </a:cubicBezTo>
                  <a:cubicBezTo>
                    <a:pt x="118" y="82"/>
                    <a:pt x="118" y="82"/>
                    <a:pt x="118" y="82"/>
                  </a:cubicBezTo>
                  <a:cubicBezTo>
                    <a:pt x="118" y="82"/>
                    <a:pt x="117" y="80"/>
                    <a:pt x="117" y="80"/>
                  </a:cubicBezTo>
                  <a:cubicBezTo>
                    <a:pt x="117" y="80"/>
                    <a:pt x="117" y="78"/>
                    <a:pt x="117" y="78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9" y="73"/>
                    <a:pt x="120" y="71"/>
                    <a:pt x="120" y="71"/>
                  </a:cubicBezTo>
                  <a:cubicBezTo>
                    <a:pt x="120" y="71"/>
                    <a:pt x="123" y="69"/>
                    <a:pt x="123" y="69"/>
                  </a:cubicBezTo>
                  <a:cubicBezTo>
                    <a:pt x="123" y="68"/>
                    <a:pt x="126" y="65"/>
                    <a:pt x="126" y="65"/>
                  </a:cubicBezTo>
                  <a:cubicBezTo>
                    <a:pt x="126" y="65"/>
                    <a:pt x="128" y="63"/>
                    <a:pt x="128" y="63"/>
                  </a:cubicBezTo>
                  <a:cubicBezTo>
                    <a:pt x="128" y="63"/>
                    <a:pt x="129" y="61"/>
                    <a:pt x="129" y="61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29" y="57"/>
                    <a:pt x="129" y="57"/>
                    <a:pt x="129" y="57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2"/>
                    <a:pt x="136" y="50"/>
                    <a:pt x="136" y="50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6" y="49"/>
                    <a:pt x="137" y="47"/>
                    <a:pt x="137" y="47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41" y="40"/>
                    <a:pt x="141" y="40"/>
                  </a:cubicBezTo>
                  <a:cubicBezTo>
                    <a:pt x="142" y="41"/>
                    <a:pt x="143" y="42"/>
                    <a:pt x="143" y="42"/>
                  </a:cubicBezTo>
                  <a:cubicBezTo>
                    <a:pt x="143" y="42"/>
                    <a:pt x="144" y="45"/>
                    <a:pt x="144" y="45"/>
                  </a:cubicBezTo>
                  <a:cubicBezTo>
                    <a:pt x="144" y="45"/>
                    <a:pt x="151" y="47"/>
                    <a:pt x="151" y="47"/>
                  </a:cubicBezTo>
                  <a:cubicBezTo>
                    <a:pt x="151" y="47"/>
                    <a:pt x="156" y="37"/>
                    <a:pt x="156" y="37"/>
                  </a:cubicBezTo>
                  <a:cubicBezTo>
                    <a:pt x="156" y="36"/>
                    <a:pt x="158" y="37"/>
                    <a:pt x="158" y="37"/>
                  </a:cubicBezTo>
                  <a:cubicBezTo>
                    <a:pt x="158" y="37"/>
                    <a:pt x="158" y="33"/>
                    <a:pt x="158" y="33"/>
                  </a:cubicBezTo>
                  <a:cubicBezTo>
                    <a:pt x="158" y="33"/>
                    <a:pt x="161" y="28"/>
                    <a:pt x="161" y="28"/>
                  </a:cubicBezTo>
                  <a:cubicBezTo>
                    <a:pt x="165" y="32"/>
                    <a:pt x="165" y="32"/>
                    <a:pt x="165" y="32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26"/>
                    <a:pt x="170" y="26"/>
                    <a:pt x="170" y="26"/>
                  </a:cubicBezTo>
                  <a:cubicBezTo>
                    <a:pt x="172" y="24"/>
                    <a:pt x="172" y="24"/>
                    <a:pt x="172" y="24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6" y="20"/>
                    <a:pt x="176" y="20"/>
                  </a:cubicBezTo>
                  <a:cubicBezTo>
                    <a:pt x="176" y="20"/>
                    <a:pt x="181" y="14"/>
                    <a:pt x="181" y="14"/>
                  </a:cubicBezTo>
                  <a:cubicBezTo>
                    <a:pt x="181" y="14"/>
                    <a:pt x="181" y="13"/>
                    <a:pt x="181" y="13"/>
                  </a:cubicBezTo>
                  <a:cubicBezTo>
                    <a:pt x="181" y="13"/>
                    <a:pt x="180" y="12"/>
                    <a:pt x="180" y="12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4" y="6"/>
                    <a:pt x="184" y="6"/>
                    <a:pt x="184" y="6"/>
                  </a:cubicBezTo>
                  <a:cubicBezTo>
                    <a:pt x="183" y="5"/>
                    <a:pt x="183" y="5"/>
                    <a:pt x="183" y="5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1" y="15"/>
                    <a:pt x="201" y="15"/>
                    <a:pt x="201" y="15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205" y="7"/>
                    <a:pt x="210" y="7"/>
                    <a:pt x="211" y="8"/>
                  </a:cubicBezTo>
                  <a:cubicBezTo>
                    <a:pt x="211" y="8"/>
                    <a:pt x="214" y="11"/>
                    <a:pt x="214" y="11"/>
                  </a:cubicBezTo>
                  <a:cubicBezTo>
                    <a:pt x="214" y="11"/>
                    <a:pt x="212" y="14"/>
                    <a:pt x="212" y="14"/>
                  </a:cubicBezTo>
                  <a:cubicBezTo>
                    <a:pt x="212" y="14"/>
                    <a:pt x="212" y="16"/>
                    <a:pt x="212" y="16"/>
                  </a:cubicBezTo>
                  <a:cubicBezTo>
                    <a:pt x="212" y="17"/>
                    <a:pt x="215" y="18"/>
                    <a:pt x="215" y="18"/>
                  </a:cubicBezTo>
                  <a:cubicBezTo>
                    <a:pt x="216" y="18"/>
                    <a:pt x="219" y="19"/>
                    <a:pt x="219" y="19"/>
                  </a:cubicBezTo>
                  <a:cubicBezTo>
                    <a:pt x="220" y="19"/>
                    <a:pt x="221" y="20"/>
                    <a:pt x="221" y="20"/>
                  </a:cubicBezTo>
                  <a:cubicBezTo>
                    <a:pt x="221" y="20"/>
                    <a:pt x="222" y="22"/>
                    <a:pt x="222" y="22"/>
                  </a:cubicBezTo>
                  <a:cubicBezTo>
                    <a:pt x="222" y="22"/>
                    <a:pt x="224" y="22"/>
                    <a:pt x="224" y="22"/>
                  </a:cubicBezTo>
                  <a:cubicBezTo>
                    <a:pt x="224" y="22"/>
                    <a:pt x="226" y="24"/>
                    <a:pt x="226" y="24"/>
                  </a:cubicBezTo>
                  <a:cubicBezTo>
                    <a:pt x="226" y="25"/>
                    <a:pt x="229" y="21"/>
                    <a:pt x="229" y="21"/>
                  </a:cubicBezTo>
                  <a:cubicBezTo>
                    <a:pt x="232" y="25"/>
                    <a:pt x="232" y="25"/>
                    <a:pt x="232" y="25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30" y="28"/>
                    <a:pt x="230" y="28"/>
                    <a:pt x="230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33"/>
                    <a:pt x="229" y="33"/>
                    <a:pt x="229" y="33"/>
                  </a:cubicBezTo>
                  <a:cubicBezTo>
                    <a:pt x="228" y="33"/>
                    <a:pt x="228" y="34"/>
                    <a:pt x="227" y="34"/>
                  </a:cubicBezTo>
                  <a:cubicBezTo>
                    <a:pt x="227" y="35"/>
                    <a:pt x="226" y="35"/>
                    <a:pt x="225" y="35"/>
                  </a:cubicBezTo>
                  <a:cubicBezTo>
                    <a:pt x="225" y="36"/>
                    <a:pt x="225" y="36"/>
                    <a:pt x="225" y="36"/>
                  </a:cubicBezTo>
                  <a:cubicBezTo>
                    <a:pt x="225" y="36"/>
                    <a:pt x="225" y="36"/>
                    <a:pt x="225" y="37"/>
                  </a:cubicBezTo>
                  <a:cubicBezTo>
                    <a:pt x="226" y="37"/>
                    <a:pt x="226" y="37"/>
                    <a:pt x="226" y="37"/>
                  </a:cubicBezTo>
                  <a:cubicBezTo>
                    <a:pt x="226" y="37"/>
                    <a:pt x="225" y="38"/>
                    <a:pt x="225" y="38"/>
                  </a:cubicBezTo>
                  <a:cubicBezTo>
                    <a:pt x="225" y="38"/>
                    <a:pt x="224" y="38"/>
                    <a:pt x="224" y="38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7"/>
                    <a:pt x="222" y="38"/>
                    <a:pt x="222" y="38"/>
                  </a:cubicBezTo>
                  <a:cubicBezTo>
                    <a:pt x="222" y="39"/>
                    <a:pt x="221" y="40"/>
                    <a:pt x="221" y="40"/>
                  </a:cubicBezTo>
                  <a:cubicBezTo>
                    <a:pt x="221" y="41"/>
                    <a:pt x="221" y="42"/>
                    <a:pt x="221" y="42"/>
                  </a:cubicBezTo>
                  <a:cubicBezTo>
                    <a:pt x="221" y="44"/>
                    <a:pt x="220" y="45"/>
                    <a:pt x="220" y="47"/>
                  </a:cubicBezTo>
                  <a:cubicBezTo>
                    <a:pt x="220" y="48"/>
                    <a:pt x="220" y="48"/>
                    <a:pt x="220" y="49"/>
                  </a:cubicBezTo>
                  <a:cubicBezTo>
                    <a:pt x="220" y="50"/>
                    <a:pt x="221" y="50"/>
                    <a:pt x="222" y="50"/>
                  </a:cubicBezTo>
                  <a:cubicBezTo>
                    <a:pt x="223" y="51"/>
                    <a:pt x="224" y="51"/>
                    <a:pt x="225" y="50"/>
                  </a:cubicBezTo>
                  <a:cubicBezTo>
                    <a:pt x="225" y="50"/>
                    <a:pt x="226" y="50"/>
                    <a:pt x="227" y="50"/>
                  </a:cubicBezTo>
                  <a:cubicBezTo>
                    <a:pt x="227" y="50"/>
                    <a:pt x="228" y="50"/>
                    <a:pt x="228" y="50"/>
                  </a:cubicBezTo>
                  <a:cubicBezTo>
                    <a:pt x="229" y="49"/>
                    <a:pt x="230" y="49"/>
                    <a:pt x="230" y="49"/>
                  </a:cubicBezTo>
                  <a:cubicBezTo>
                    <a:pt x="230" y="49"/>
                    <a:pt x="230" y="50"/>
                    <a:pt x="230" y="50"/>
                  </a:cubicBezTo>
                  <a:cubicBezTo>
                    <a:pt x="230" y="51"/>
                    <a:pt x="230" y="52"/>
                    <a:pt x="230" y="53"/>
                  </a:cubicBezTo>
                  <a:cubicBezTo>
                    <a:pt x="231" y="54"/>
                    <a:pt x="231" y="55"/>
                    <a:pt x="232" y="56"/>
                  </a:cubicBezTo>
                  <a:cubicBezTo>
                    <a:pt x="234" y="57"/>
                    <a:pt x="235" y="58"/>
                    <a:pt x="236" y="59"/>
                  </a:cubicBezTo>
                  <a:cubicBezTo>
                    <a:pt x="237" y="59"/>
                    <a:pt x="238" y="60"/>
                    <a:pt x="239" y="60"/>
                  </a:cubicBezTo>
                  <a:cubicBezTo>
                    <a:pt x="240" y="60"/>
                    <a:pt x="240" y="60"/>
                    <a:pt x="241" y="60"/>
                  </a:cubicBezTo>
                  <a:cubicBezTo>
                    <a:pt x="242" y="60"/>
                    <a:pt x="242" y="60"/>
                    <a:pt x="243" y="60"/>
                  </a:cubicBezTo>
                  <a:cubicBezTo>
                    <a:pt x="243" y="61"/>
                    <a:pt x="244" y="61"/>
                    <a:pt x="244" y="61"/>
                  </a:cubicBezTo>
                  <a:cubicBezTo>
                    <a:pt x="245" y="62"/>
                    <a:pt x="245" y="63"/>
                    <a:pt x="246" y="63"/>
                  </a:cubicBezTo>
                  <a:cubicBezTo>
                    <a:pt x="246" y="64"/>
                    <a:pt x="247" y="65"/>
                    <a:pt x="247" y="65"/>
                  </a:cubicBezTo>
                  <a:cubicBezTo>
                    <a:pt x="248" y="66"/>
                    <a:pt x="249" y="67"/>
                    <a:pt x="250" y="67"/>
                  </a:cubicBezTo>
                  <a:cubicBezTo>
                    <a:pt x="251" y="68"/>
                    <a:pt x="252" y="68"/>
                    <a:pt x="253" y="69"/>
                  </a:cubicBezTo>
                  <a:cubicBezTo>
                    <a:pt x="254" y="69"/>
                    <a:pt x="254" y="69"/>
                    <a:pt x="255" y="70"/>
                  </a:cubicBezTo>
                  <a:cubicBezTo>
                    <a:pt x="255" y="70"/>
                    <a:pt x="255" y="71"/>
                    <a:pt x="255" y="72"/>
                  </a:cubicBezTo>
                  <a:cubicBezTo>
                    <a:pt x="255" y="72"/>
                    <a:pt x="255" y="72"/>
                    <a:pt x="255" y="73"/>
                  </a:cubicBezTo>
                  <a:cubicBezTo>
                    <a:pt x="255" y="73"/>
                    <a:pt x="255" y="74"/>
                    <a:pt x="255" y="74"/>
                  </a:cubicBezTo>
                  <a:cubicBezTo>
                    <a:pt x="255" y="74"/>
                    <a:pt x="255" y="73"/>
                    <a:pt x="254" y="73"/>
                  </a:cubicBezTo>
                  <a:cubicBezTo>
                    <a:pt x="254" y="73"/>
                    <a:pt x="254" y="72"/>
                    <a:pt x="254" y="72"/>
                  </a:cubicBezTo>
                  <a:cubicBezTo>
                    <a:pt x="253" y="72"/>
                    <a:pt x="253" y="72"/>
                    <a:pt x="252" y="72"/>
                  </a:cubicBezTo>
                  <a:cubicBezTo>
                    <a:pt x="251" y="72"/>
                    <a:pt x="251" y="72"/>
                    <a:pt x="251" y="72"/>
                  </a:cubicBezTo>
                  <a:cubicBezTo>
                    <a:pt x="250" y="71"/>
                    <a:pt x="249" y="71"/>
                    <a:pt x="249" y="72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1" y="72"/>
                    <a:pt x="251" y="72"/>
                    <a:pt x="252" y="72"/>
                  </a:cubicBezTo>
                  <a:cubicBezTo>
                    <a:pt x="252" y="73"/>
                    <a:pt x="253" y="73"/>
                    <a:pt x="253" y="73"/>
                  </a:cubicBezTo>
                  <a:cubicBezTo>
                    <a:pt x="254" y="74"/>
                    <a:pt x="255" y="75"/>
                    <a:pt x="255" y="77"/>
                  </a:cubicBezTo>
                  <a:cubicBezTo>
                    <a:pt x="255" y="77"/>
                    <a:pt x="255" y="77"/>
                    <a:pt x="255" y="78"/>
                  </a:cubicBezTo>
                  <a:cubicBezTo>
                    <a:pt x="255" y="78"/>
                    <a:pt x="255" y="79"/>
                    <a:pt x="255" y="79"/>
                  </a:cubicBezTo>
                  <a:cubicBezTo>
                    <a:pt x="255" y="79"/>
                    <a:pt x="254" y="80"/>
                    <a:pt x="254" y="80"/>
                  </a:cubicBezTo>
                  <a:cubicBezTo>
                    <a:pt x="254" y="80"/>
                    <a:pt x="254" y="81"/>
                    <a:pt x="253" y="81"/>
                  </a:cubicBezTo>
                  <a:cubicBezTo>
                    <a:pt x="253" y="82"/>
                    <a:pt x="253" y="83"/>
                    <a:pt x="252" y="82"/>
                  </a:cubicBezTo>
                  <a:cubicBezTo>
                    <a:pt x="251" y="82"/>
                    <a:pt x="251" y="82"/>
                    <a:pt x="251" y="81"/>
                  </a:cubicBezTo>
                  <a:cubicBezTo>
                    <a:pt x="250" y="81"/>
                    <a:pt x="249" y="81"/>
                    <a:pt x="248" y="81"/>
                  </a:cubicBezTo>
                  <a:cubicBezTo>
                    <a:pt x="248" y="81"/>
                    <a:pt x="247" y="81"/>
                    <a:pt x="247" y="80"/>
                  </a:cubicBezTo>
                  <a:cubicBezTo>
                    <a:pt x="247" y="80"/>
                    <a:pt x="247" y="80"/>
                    <a:pt x="247" y="80"/>
                  </a:cubicBezTo>
                  <a:cubicBezTo>
                    <a:pt x="247" y="80"/>
                    <a:pt x="246" y="79"/>
                    <a:pt x="246" y="79"/>
                  </a:cubicBezTo>
                  <a:cubicBezTo>
                    <a:pt x="246" y="79"/>
                    <a:pt x="246" y="78"/>
                    <a:pt x="246" y="77"/>
                  </a:cubicBezTo>
                  <a:cubicBezTo>
                    <a:pt x="246" y="77"/>
                    <a:pt x="245" y="76"/>
                    <a:pt x="245" y="76"/>
                  </a:cubicBezTo>
                  <a:cubicBezTo>
                    <a:pt x="243" y="75"/>
                    <a:pt x="242" y="75"/>
                    <a:pt x="241" y="73"/>
                  </a:cubicBezTo>
                  <a:cubicBezTo>
                    <a:pt x="240" y="73"/>
                    <a:pt x="240" y="72"/>
                    <a:pt x="239" y="72"/>
                  </a:cubicBezTo>
                  <a:cubicBezTo>
                    <a:pt x="238" y="71"/>
                    <a:pt x="238" y="71"/>
                    <a:pt x="238" y="70"/>
                  </a:cubicBezTo>
                  <a:cubicBezTo>
                    <a:pt x="237" y="70"/>
                    <a:pt x="237" y="69"/>
                    <a:pt x="237" y="69"/>
                  </a:cubicBezTo>
                  <a:cubicBezTo>
                    <a:pt x="237" y="68"/>
                    <a:pt x="236" y="67"/>
                    <a:pt x="236" y="67"/>
                  </a:cubicBezTo>
                  <a:cubicBezTo>
                    <a:pt x="236" y="67"/>
                    <a:pt x="236" y="68"/>
                    <a:pt x="236" y="69"/>
                  </a:cubicBezTo>
                  <a:cubicBezTo>
                    <a:pt x="236" y="69"/>
                    <a:pt x="236" y="69"/>
                    <a:pt x="236" y="70"/>
                  </a:cubicBezTo>
                  <a:cubicBezTo>
                    <a:pt x="236" y="71"/>
                    <a:pt x="236" y="71"/>
                    <a:pt x="237" y="71"/>
                  </a:cubicBezTo>
                  <a:cubicBezTo>
                    <a:pt x="237" y="72"/>
                    <a:pt x="238" y="72"/>
                    <a:pt x="238" y="73"/>
                  </a:cubicBezTo>
                  <a:cubicBezTo>
                    <a:pt x="238" y="73"/>
                    <a:pt x="239" y="73"/>
                    <a:pt x="239" y="73"/>
                  </a:cubicBezTo>
                  <a:cubicBezTo>
                    <a:pt x="239" y="74"/>
                    <a:pt x="240" y="74"/>
                    <a:pt x="240" y="74"/>
                  </a:cubicBezTo>
                  <a:cubicBezTo>
                    <a:pt x="240" y="75"/>
                    <a:pt x="240" y="75"/>
                    <a:pt x="241" y="76"/>
                  </a:cubicBezTo>
                  <a:cubicBezTo>
                    <a:pt x="241" y="76"/>
                    <a:pt x="242" y="77"/>
                    <a:pt x="242" y="77"/>
                  </a:cubicBezTo>
                  <a:cubicBezTo>
                    <a:pt x="243" y="78"/>
                    <a:pt x="243" y="78"/>
                    <a:pt x="243" y="78"/>
                  </a:cubicBezTo>
                  <a:cubicBezTo>
                    <a:pt x="243" y="79"/>
                    <a:pt x="244" y="79"/>
                    <a:pt x="244" y="79"/>
                  </a:cubicBezTo>
                  <a:cubicBezTo>
                    <a:pt x="244" y="80"/>
                    <a:pt x="245" y="80"/>
                    <a:pt x="245" y="81"/>
                  </a:cubicBezTo>
                  <a:cubicBezTo>
                    <a:pt x="245" y="81"/>
                    <a:pt x="245" y="82"/>
                    <a:pt x="245" y="82"/>
                  </a:cubicBezTo>
                  <a:cubicBezTo>
                    <a:pt x="245" y="83"/>
                    <a:pt x="247" y="83"/>
                    <a:pt x="248" y="83"/>
                  </a:cubicBezTo>
                  <a:cubicBezTo>
                    <a:pt x="248" y="82"/>
                    <a:pt x="249" y="82"/>
                    <a:pt x="250" y="83"/>
                  </a:cubicBezTo>
                  <a:cubicBezTo>
                    <a:pt x="250" y="83"/>
                    <a:pt x="250" y="83"/>
                    <a:pt x="250" y="83"/>
                  </a:cubicBezTo>
                  <a:cubicBezTo>
                    <a:pt x="250" y="84"/>
                    <a:pt x="251" y="84"/>
                    <a:pt x="251" y="84"/>
                  </a:cubicBezTo>
                  <a:cubicBezTo>
                    <a:pt x="251" y="85"/>
                    <a:pt x="251" y="85"/>
                    <a:pt x="252" y="86"/>
                  </a:cubicBezTo>
                  <a:cubicBezTo>
                    <a:pt x="252" y="86"/>
                    <a:pt x="253" y="86"/>
                    <a:pt x="253" y="86"/>
                  </a:cubicBezTo>
                  <a:cubicBezTo>
                    <a:pt x="253" y="86"/>
                    <a:pt x="252" y="86"/>
                    <a:pt x="252" y="87"/>
                  </a:cubicBezTo>
                  <a:cubicBezTo>
                    <a:pt x="252" y="87"/>
                    <a:pt x="251" y="87"/>
                    <a:pt x="251" y="87"/>
                  </a:cubicBezTo>
                  <a:cubicBezTo>
                    <a:pt x="252" y="88"/>
                    <a:pt x="252" y="88"/>
                    <a:pt x="253" y="88"/>
                  </a:cubicBezTo>
                  <a:cubicBezTo>
                    <a:pt x="253" y="89"/>
                    <a:pt x="253" y="89"/>
                    <a:pt x="254" y="89"/>
                  </a:cubicBezTo>
                  <a:cubicBezTo>
                    <a:pt x="254" y="89"/>
                    <a:pt x="254" y="89"/>
                    <a:pt x="255" y="90"/>
                  </a:cubicBezTo>
                  <a:cubicBezTo>
                    <a:pt x="255" y="90"/>
                    <a:pt x="255" y="90"/>
                    <a:pt x="256" y="90"/>
                  </a:cubicBezTo>
                  <a:cubicBezTo>
                    <a:pt x="256" y="91"/>
                    <a:pt x="256" y="91"/>
                    <a:pt x="256" y="91"/>
                  </a:cubicBezTo>
                  <a:cubicBezTo>
                    <a:pt x="256" y="92"/>
                    <a:pt x="256" y="93"/>
                    <a:pt x="256" y="94"/>
                  </a:cubicBezTo>
                  <a:cubicBezTo>
                    <a:pt x="256" y="94"/>
                    <a:pt x="256" y="95"/>
                    <a:pt x="255" y="95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4" y="95"/>
                    <a:pt x="254" y="95"/>
                    <a:pt x="254" y="95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4" y="93"/>
                    <a:pt x="253" y="93"/>
                    <a:pt x="253" y="92"/>
                  </a:cubicBezTo>
                  <a:cubicBezTo>
                    <a:pt x="252" y="92"/>
                    <a:pt x="251" y="91"/>
                    <a:pt x="251" y="91"/>
                  </a:cubicBezTo>
                  <a:cubicBezTo>
                    <a:pt x="250" y="92"/>
                    <a:pt x="251" y="93"/>
                    <a:pt x="250" y="93"/>
                  </a:cubicBezTo>
                  <a:cubicBezTo>
                    <a:pt x="250" y="93"/>
                    <a:pt x="250" y="93"/>
                    <a:pt x="249" y="93"/>
                  </a:cubicBezTo>
                  <a:cubicBezTo>
                    <a:pt x="249" y="93"/>
                    <a:pt x="249" y="93"/>
                    <a:pt x="249" y="92"/>
                  </a:cubicBezTo>
                  <a:cubicBezTo>
                    <a:pt x="249" y="93"/>
                    <a:pt x="249" y="93"/>
                    <a:pt x="249" y="94"/>
                  </a:cubicBezTo>
                  <a:cubicBezTo>
                    <a:pt x="250" y="94"/>
                    <a:pt x="251" y="95"/>
                    <a:pt x="251" y="95"/>
                  </a:cubicBezTo>
                  <a:cubicBezTo>
                    <a:pt x="251" y="95"/>
                    <a:pt x="251" y="96"/>
                    <a:pt x="251" y="96"/>
                  </a:cubicBezTo>
                  <a:cubicBezTo>
                    <a:pt x="251" y="96"/>
                    <a:pt x="251" y="96"/>
                    <a:pt x="251" y="97"/>
                  </a:cubicBezTo>
                  <a:cubicBezTo>
                    <a:pt x="251" y="97"/>
                    <a:pt x="251" y="97"/>
                    <a:pt x="251" y="98"/>
                  </a:cubicBezTo>
                  <a:cubicBezTo>
                    <a:pt x="251" y="98"/>
                    <a:pt x="251" y="99"/>
                    <a:pt x="251" y="100"/>
                  </a:cubicBezTo>
                  <a:cubicBezTo>
                    <a:pt x="251" y="101"/>
                    <a:pt x="251" y="101"/>
                    <a:pt x="252" y="102"/>
                  </a:cubicBezTo>
                  <a:cubicBezTo>
                    <a:pt x="252" y="102"/>
                    <a:pt x="252" y="103"/>
                    <a:pt x="253" y="103"/>
                  </a:cubicBezTo>
                  <a:cubicBezTo>
                    <a:pt x="253" y="103"/>
                    <a:pt x="253" y="103"/>
                    <a:pt x="254" y="104"/>
                  </a:cubicBezTo>
                  <a:cubicBezTo>
                    <a:pt x="254" y="105"/>
                    <a:pt x="253" y="106"/>
                    <a:pt x="254" y="107"/>
                  </a:cubicBezTo>
                  <a:cubicBezTo>
                    <a:pt x="254" y="107"/>
                    <a:pt x="254" y="108"/>
                    <a:pt x="254" y="108"/>
                  </a:cubicBezTo>
                  <a:cubicBezTo>
                    <a:pt x="255" y="108"/>
                    <a:pt x="255" y="109"/>
                    <a:pt x="254" y="109"/>
                  </a:cubicBezTo>
                  <a:cubicBezTo>
                    <a:pt x="254" y="110"/>
                    <a:pt x="254" y="110"/>
                    <a:pt x="253" y="110"/>
                  </a:cubicBezTo>
                  <a:cubicBezTo>
                    <a:pt x="253" y="110"/>
                    <a:pt x="253" y="110"/>
                    <a:pt x="253" y="110"/>
                  </a:cubicBezTo>
                  <a:cubicBezTo>
                    <a:pt x="253" y="110"/>
                    <a:pt x="253" y="110"/>
                    <a:pt x="252" y="110"/>
                  </a:cubicBezTo>
                  <a:cubicBezTo>
                    <a:pt x="252" y="111"/>
                    <a:pt x="252" y="111"/>
                    <a:pt x="251" y="111"/>
                  </a:cubicBezTo>
                  <a:cubicBezTo>
                    <a:pt x="251" y="110"/>
                    <a:pt x="250" y="110"/>
                    <a:pt x="250" y="110"/>
                  </a:cubicBezTo>
                  <a:cubicBezTo>
                    <a:pt x="250" y="109"/>
                    <a:pt x="249" y="109"/>
                    <a:pt x="248" y="109"/>
                  </a:cubicBezTo>
                  <a:cubicBezTo>
                    <a:pt x="248" y="108"/>
                    <a:pt x="248" y="108"/>
                    <a:pt x="247" y="108"/>
                  </a:cubicBezTo>
                  <a:cubicBezTo>
                    <a:pt x="246" y="107"/>
                    <a:pt x="245" y="106"/>
                    <a:pt x="244" y="105"/>
                  </a:cubicBezTo>
                  <a:cubicBezTo>
                    <a:pt x="244" y="104"/>
                    <a:pt x="244" y="104"/>
                    <a:pt x="244" y="103"/>
                  </a:cubicBezTo>
                  <a:cubicBezTo>
                    <a:pt x="244" y="102"/>
                    <a:pt x="244" y="102"/>
                    <a:pt x="243" y="101"/>
                  </a:cubicBezTo>
                  <a:cubicBezTo>
                    <a:pt x="243" y="101"/>
                    <a:pt x="243" y="100"/>
                    <a:pt x="242" y="100"/>
                  </a:cubicBezTo>
                  <a:cubicBezTo>
                    <a:pt x="242" y="100"/>
                    <a:pt x="241" y="100"/>
                    <a:pt x="241" y="100"/>
                  </a:cubicBezTo>
                  <a:cubicBezTo>
                    <a:pt x="240" y="101"/>
                    <a:pt x="239" y="100"/>
                    <a:pt x="239" y="100"/>
                  </a:cubicBezTo>
                  <a:cubicBezTo>
                    <a:pt x="238" y="100"/>
                    <a:pt x="238" y="100"/>
                    <a:pt x="238" y="100"/>
                  </a:cubicBezTo>
                  <a:cubicBezTo>
                    <a:pt x="237" y="100"/>
                    <a:pt x="237" y="100"/>
                    <a:pt x="236" y="100"/>
                  </a:cubicBezTo>
                  <a:cubicBezTo>
                    <a:pt x="236" y="100"/>
                    <a:pt x="236" y="99"/>
                    <a:pt x="235" y="99"/>
                  </a:cubicBezTo>
                  <a:cubicBezTo>
                    <a:pt x="235" y="99"/>
                    <a:pt x="234" y="99"/>
                    <a:pt x="234" y="99"/>
                  </a:cubicBezTo>
                  <a:cubicBezTo>
                    <a:pt x="233" y="99"/>
                    <a:pt x="233" y="99"/>
                    <a:pt x="232" y="99"/>
                  </a:cubicBezTo>
                  <a:cubicBezTo>
                    <a:pt x="232" y="99"/>
                    <a:pt x="232" y="98"/>
                    <a:pt x="231" y="98"/>
                  </a:cubicBezTo>
                  <a:cubicBezTo>
                    <a:pt x="231" y="98"/>
                    <a:pt x="231" y="97"/>
                    <a:pt x="231" y="98"/>
                  </a:cubicBezTo>
                  <a:cubicBezTo>
                    <a:pt x="230" y="98"/>
                    <a:pt x="231" y="98"/>
                    <a:pt x="231" y="98"/>
                  </a:cubicBezTo>
                  <a:cubicBezTo>
                    <a:pt x="231" y="99"/>
                    <a:pt x="232" y="99"/>
                    <a:pt x="232" y="99"/>
                  </a:cubicBezTo>
                  <a:cubicBezTo>
                    <a:pt x="233" y="100"/>
                    <a:pt x="233" y="100"/>
                    <a:pt x="234" y="100"/>
                  </a:cubicBezTo>
                  <a:cubicBezTo>
                    <a:pt x="235" y="100"/>
                    <a:pt x="236" y="100"/>
                    <a:pt x="236" y="100"/>
                  </a:cubicBezTo>
                  <a:cubicBezTo>
                    <a:pt x="237" y="101"/>
                    <a:pt x="238" y="102"/>
                    <a:pt x="239" y="102"/>
                  </a:cubicBezTo>
                  <a:cubicBezTo>
                    <a:pt x="240" y="102"/>
                    <a:pt x="241" y="103"/>
                    <a:pt x="241" y="104"/>
                  </a:cubicBezTo>
                  <a:cubicBezTo>
                    <a:pt x="242" y="105"/>
                    <a:pt x="241" y="107"/>
                    <a:pt x="242" y="108"/>
                  </a:cubicBezTo>
                  <a:cubicBezTo>
                    <a:pt x="242" y="108"/>
                    <a:pt x="243" y="108"/>
                    <a:pt x="243" y="108"/>
                  </a:cubicBezTo>
                  <a:cubicBezTo>
                    <a:pt x="244" y="109"/>
                    <a:pt x="244" y="109"/>
                    <a:pt x="244" y="109"/>
                  </a:cubicBezTo>
                  <a:cubicBezTo>
                    <a:pt x="245" y="109"/>
                    <a:pt x="245" y="110"/>
                    <a:pt x="245" y="110"/>
                  </a:cubicBezTo>
                  <a:cubicBezTo>
                    <a:pt x="246" y="110"/>
                    <a:pt x="246" y="110"/>
                    <a:pt x="247" y="111"/>
                  </a:cubicBezTo>
                  <a:cubicBezTo>
                    <a:pt x="248" y="111"/>
                    <a:pt x="248" y="111"/>
                    <a:pt x="248" y="112"/>
                  </a:cubicBezTo>
                  <a:cubicBezTo>
                    <a:pt x="248" y="112"/>
                    <a:pt x="248" y="113"/>
                    <a:pt x="248" y="113"/>
                  </a:cubicBezTo>
                  <a:cubicBezTo>
                    <a:pt x="248" y="113"/>
                    <a:pt x="248" y="114"/>
                    <a:pt x="248" y="114"/>
                  </a:cubicBezTo>
                  <a:cubicBezTo>
                    <a:pt x="247" y="114"/>
                    <a:pt x="246" y="115"/>
                    <a:pt x="246" y="116"/>
                  </a:cubicBezTo>
                  <a:cubicBezTo>
                    <a:pt x="245" y="116"/>
                    <a:pt x="246" y="117"/>
                    <a:pt x="247" y="116"/>
                  </a:cubicBezTo>
                  <a:cubicBezTo>
                    <a:pt x="247" y="116"/>
                    <a:pt x="247" y="116"/>
                    <a:pt x="247" y="115"/>
                  </a:cubicBezTo>
                  <a:cubicBezTo>
                    <a:pt x="248" y="115"/>
                    <a:pt x="248" y="115"/>
                    <a:pt x="248" y="114"/>
                  </a:cubicBezTo>
                  <a:cubicBezTo>
                    <a:pt x="249" y="114"/>
                    <a:pt x="250" y="114"/>
                    <a:pt x="252" y="114"/>
                  </a:cubicBezTo>
                  <a:cubicBezTo>
                    <a:pt x="252" y="114"/>
                    <a:pt x="253" y="114"/>
                    <a:pt x="252" y="115"/>
                  </a:cubicBezTo>
                  <a:cubicBezTo>
                    <a:pt x="252" y="115"/>
                    <a:pt x="252" y="116"/>
                    <a:pt x="252" y="116"/>
                  </a:cubicBezTo>
                  <a:cubicBezTo>
                    <a:pt x="251" y="116"/>
                    <a:pt x="252" y="117"/>
                    <a:pt x="253" y="117"/>
                  </a:cubicBezTo>
                  <a:cubicBezTo>
                    <a:pt x="253" y="116"/>
                    <a:pt x="254" y="116"/>
                    <a:pt x="255" y="115"/>
                  </a:cubicBezTo>
                  <a:cubicBezTo>
                    <a:pt x="255" y="115"/>
                    <a:pt x="255" y="114"/>
                    <a:pt x="255" y="114"/>
                  </a:cubicBezTo>
                  <a:cubicBezTo>
                    <a:pt x="255" y="114"/>
                    <a:pt x="254" y="113"/>
                    <a:pt x="254" y="113"/>
                  </a:cubicBezTo>
                  <a:cubicBezTo>
                    <a:pt x="254" y="113"/>
                    <a:pt x="254" y="112"/>
                    <a:pt x="255" y="111"/>
                  </a:cubicBezTo>
                  <a:cubicBezTo>
                    <a:pt x="256" y="111"/>
                    <a:pt x="256" y="112"/>
                    <a:pt x="257" y="112"/>
                  </a:cubicBezTo>
                  <a:cubicBezTo>
                    <a:pt x="258" y="112"/>
                    <a:pt x="258" y="112"/>
                    <a:pt x="259" y="113"/>
                  </a:cubicBezTo>
                  <a:cubicBezTo>
                    <a:pt x="259" y="113"/>
                    <a:pt x="260" y="113"/>
                    <a:pt x="260" y="113"/>
                  </a:cubicBezTo>
                  <a:cubicBezTo>
                    <a:pt x="261" y="113"/>
                    <a:pt x="262" y="113"/>
                    <a:pt x="263" y="113"/>
                  </a:cubicBezTo>
                  <a:cubicBezTo>
                    <a:pt x="264" y="114"/>
                    <a:pt x="264" y="113"/>
                    <a:pt x="265" y="113"/>
                  </a:cubicBezTo>
                  <a:cubicBezTo>
                    <a:pt x="266" y="113"/>
                    <a:pt x="266" y="113"/>
                    <a:pt x="265" y="114"/>
                  </a:cubicBezTo>
                  <a:cubicBezTo>
                    <a:pt x="265" y="114"/>
                    <a:pt x="265" y="114"/>
                    <a:pt x="265" y="114"/>
                  </a:cubicBezTo>
                  <a:cubicBezTo>
                    <a:pt x="265" y="115"/>
                    <a:pt x="265" y="115"/>
                    <a:pt x="265" y="115"/>
                  </a:cubicBezTo>
                  <a:cubicBezTo>
                    <a:pt x="266" y="116"/>
                    <a:pt x="265" y="116"/>
                    <a:pt x="266" y="116"/>
                  </a:cubicBezTo>
                  <a:cubicBezTo>
                    <a:pt x="266" y="117"/>
                    <a:pt x="266" y="117"/>
                    <a:pt x="266" y="118"/>
                  </a:cubicBezTo>
                  <a:cubicBezTo>
                    <a:pt x="266" y="118"/>
                    <a:pt x="266" y="118"/>
                    <a:pt x="267" y="119"/>
                  </a:cubicBezTo>
                  <a:cubicBezTo>
                    <a:pt x="267" y="119"/>
                    <a:pt x="266" y="119"/>
                    <a:pt x="267" y="120"/>
                  </a:cubicBezTo>
                  <a:cubicBezTo>
                    <a:pt x="267" y="120"/>
                    <a:pt x="267" y="120"/>
                    <a:pt x="267" y="120"/>
                  </a:cubicBezTo>
                  <a:cubicBezTo>
                    <a:pt x="267" y="121"/>
                    <a:pt x="267" y="121"/>
                    <a:pt x="267" y="122"/>
                  </a:cubicBezTo>
                  <a:cubicBezTo>
                    <a:pt x="266" y="122"/>
                    <a:pt x="266" y="123"/>
                    <a:pt x="266" y="124"/>
                  </a:cubicBezTo>
                  <a:cubicBezTo>
                    <a:pt x="266" y="124"/>
                    <a:pt x="266" y="125"/>
                    <a:pt x="265" y="125"/>
                  </a:cubicBezTo>
                  <a:cubicBezTo>
                    <a:pt x="265" y="126"/>
                    <a:pt x="265" y="126"/>
                    <a:pt x="265" y="127"/>
                  </a:cubicBezTo>
                  <a:cubicBezTo>
                    <a:pt x="265" y="128"/>
                    <a:pt x="265" y="128"/>
                    <a:pt x="266" y="128"/>
                  </a:cubicBez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D68CB3A1-FE60-48A9-A167-E4FBDC6F2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132" y="2059322"/>
              <a:ext cx="264353" cy="436182"/>
            </a:xfrm>
            <a:custGeom>
              <a:avLst/>
              <a:gdLst>
                <a:gd name="T0" fmla="*/ 2 w 67"/>
                <a:gd name="T1" fmla="*/ 8 h 110"/>
                <a:gd name="T2" fmla="*/ 3 w 67"/>
                <a:gd name="T3" fmla="*/ 13 h 110"/>
                <a:gd name="T4" fmla="*/ 2 w 67"/>
                <a:gd name="T5" fmla="*/ 21 h 110"/>
                <a:gd name="T6" fmla="*/ 4 w 67"/>
                <a:gd name="T7" fmla="*/ 28 h 110"/>
                <a:gd name="T8" fmla="*/ 4 w 67"/>
                <a:gd name="T9" fmla="*/ 37 h 110"/>
                <a:gd name="T10" fmla="*/ 1 w 67"/>
                <a:gd name="T11" fmla="*/ 41 h 110"/>
                <a:gd name="T12" fmla="*/ 0 w 67"/>
                <a:gd name="T13" fmla="*/ 47 h 110"/>
                <a:gd name="T14" fmla="*/ 1 w 67"/>
                <a:gd name="T15" fmla="*/ 53 h 110"/>
                <a:gd name="T16" fmla="*/ 3 w 67"/>
                <a:gd name="T17" fmla="*/ 61 h 110"/>
                <a:gd name="T18" fmla="*/ 0 w 67"/>
                <a:gd name="T19" fmla="*/ 68 h 110"/>
                <a:gd name="T20" fmla="*/ 2 w 67"/>
                <a:gd name="T21" fmla="*/ 70 h 110"/>
                <a:gd name="T22" fmla="*/ 3 w 67"/>
                <a:gd name="T23" fmla="*/ 68 h 110"/>
                <a:gd name="T24" fmla="*/ 5 w 67"/>
                <a:gd name="T25" fmla="*/ 70 h 110"/>
                <a:gd name="T26" fmla="*/ 5 w 67"/>
                <a:gd name="T27" fmla="*/ 105 h 110"/>
                <a:gd name="T28" fmla="*/ 33 w 67"/>
                <a:gd name="T29" fmla="*/ 110 h 110"/>
                <a:gd name="T30" fmla="*/ 31 w 67"/>
                <a:gd name="T31" fmla="*/ 106 h 110"/>
                <a:gd name="T32" fmla="*/ 31 w 67"/>
                <a:gd name="T33" fmla="*/ 101 h 110"/>
                <a:gd name="T34" fmla="*/ 33 w 67"/>
                <a:gd name="T35" fmla="*/ 97 h 110"/>
                <a:gd name="T36" fmla="*/ 33 w 67"/>
                <a:gd name="T37" fmla="*/ 90 h 110"/>
                <a:gd name="T38" fmla="*/ 36 w 67"/>
                <a:gd name="T39" fmla="*/ 83 h 110"/>
                <a:gd name="T40" fmla="*/ 36 w 67"/>
                <a:gd name="T41" fmla="*/ 77 h 110"/>
                <a:gd name="T42" fmla="*/ 37 w 67"/>
                <a:gd name="T43" fmla="*/ 68 h 110"/>
                <a:gd name="T44" fmla="*/ 39 w 67"/>
                <a:gd name="T45" fmla="*/ 63 h 110"/>
                <a:gd name="T46" fmla="*/ 42 w 67"/>
                <a:gd name="T47" fmla="*/ 57 h 110"/>
                <a:gd name="T48" fmla="*/ 46 w 67"/>
                <a:gd name="T49" fmla="*/ 52 h 110"/>
                <a:gd name="T50" fmla="*/ 48 w 67"/>
                <a:gd name="T51" fmla="*/ 46 h 110"/>
                <a:gd name="T52" fmla="*/ 48 w 67"/>
                <a:gd name="T53" fmla="*/ 36 h 110"/>
                <a:gd name="T54" fmla="*/ 51 w 67"/>
                <a:gd name="T55" fmla="*/ 33 h 110"/>
                <a:gd name="T56" fmla="*/ 56 w 67"/>
                <a:gd name="T57" fmla="*/ 32 h 110"/>
                <a:gd name="T58" fmla="*/ 60 w 67"/>
                <a:gd name="T59" fmla="*/ 29 h 110"/>
                <a:gd name="T60" fmla="*/ 63 w 67"/>
                <a:gd name="T61" fmla="*/ 26 h 110"/>
                <a:gd name="T62" fmla="*/ 64 w 67"/>
                <a:gd name="T63" fmla="*/ 23 h 110"/>
                <a:gd name="T64" fmla="*/ 66 w 67"/>
                <a:gd name="T65" fmla="*/ 21 h 110"/>
                <a:gd name="T66" fmla="*/ 62 w 67"/>
                <a:gd name="T67" fmla="*/ 14 h 110"/>
                <a:gd name="T68" fmla="*/ 64 w 67"/>
                <a:gd name="T69" fmla="*/ 10 h 110"/>
                <a:gd name="T70" fmla="*/ 67 w 67"/>
                <a:gd name="T71" fmla="*/ 6 h 110"/>
                <a:gd name="T72" fmla="*/ 66 w 67"/>
                <a:gd name="T73" fmla="*/ 3 h 110"/>
                <a:gd name="T74" fmla="*/ 10 w 67"/>
                <a:gd name="T75" fmla="*/ 0 h 110"/>
                <a:gd name="T76" fmla="*/ 3 w 67"/>
                <a:gd name="T77" fmla="*/ 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7" h="110">
                  <a:moveTo>
                    <a:pt x="3" y="5"/>
                  </a:moveTo>
                  <a:cubicBezTo>
                    <a:pt x="3" y="6"/>
                    <a:pt x="2" y="7"/>
                    <a:pt x="2" y="8"/>
                  </a:cubicBezTo>
                  <a:cubicBezTo>
                    <a:pt x="1" y="9"/>
                    <a:pt x="2" y="9"/>
                    <a:pt x="3" y="10"/>
                  </a:cubicBezTo>
                  <a:cubicBezTo>
                    <a:pt x="3" y="11"/>
                    <a:pt x="3" y="12"/>
                    <a:pt x="3" y="13"/>
                  </a:cubicBezTo>
                  <a:cubicBezTo>
                    <a:pt x="3" y="13"/>
                    <a:pt x="3" y="15"/>
                    <a:pt x="2" y="16"/>
                  </a:cubicBezTo>
                  <a:cubicBezTo>
                    <a:pt x="2" y="18"/>
                    <a:pt x="2" y="20"/>
                    <a:pt x="2" y="21"/>
                  </a:cubicBezTo>
                  <a:cubicBezTo>
                    <a:pt x="1" y="22"/>
                    <a:pt x="3" y="24"/>
                    <a:pt x="4" y="25"/>
                  </a:cubicBezTo>
                  <a:cubicBezTo>
                    <a:pt x="4" y="26"/>
                    <a:pt x="4" y="28"/>
                    <a:pt x="4" y="28"/>
                  </a:cubicBezTo>
                  <a:cubicBezTo>
                    <a:pt x="4" y="29"/>
                    <a:pt x="4" y="31"/>
                    <a:pt x="4" y="32"/>
                  </a:cubicBezTo>
                  <a:cubicBezTo>
                    <a:pt x="3" y="32"/>
                    <a:pt x="4" y="37"/>
                    <a:pt x="4" y="37"/>
                  </a:cubicBezTo>
                  <a:cubicBezTo>
                    <a:pt x="4" y="37"/>
                    <a:pt x="3" y="38"/>
                    <a:pt x="3" y="39"/>
                  </a:cubicBezTo>
                  <a:cubicBezTo>
                    <a:pt x="2" y="39"/>
                    <a:pt x="1" y="40"/>
                    <a:pt x="1" y="41"/>
                  </a:cubicBezTo>
                  <a:cubicBezTo>
                    <a:pt x="1" y="41"/>
                    <a:pt x="1" y="43"/>
                    <a:pt x="0" y="44"/>
                  </a:cubicBezTo>
                  <a:cubicBezTo>
                    <a:pt x="0" y="44"/>
                    <a:pt x="0" y="47"/>
                    <a:pt x="0" y="47"/>
                  </a:cubicBezTo>
                  <a:cubicBezTo>
                    <a:pt x="0" y="47"/>
                    <a:pt x="1" y="49"/>
                    <a:pt x="1" y="49"/>
                  </a:cubicBezTo>
                  <a:cubicBezTo>
                    <a:pt x="1" y="49"/>
                    <a:pt x="1" y="52"/>
                    <a:pt x="1" y="53"/>
                  </a:cubicBezTo>
                  <a:cubicBezTo>
                    <a:pt x="1" y="53"/>
                    <a:pt x="1" y="58"/>
                    <a:pt x="1" y="58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1"/>
                    <a:pt x="1" y="65"/>
                    <a:pt x="1" y="65"/>
                  </a:cubicBezTo>
                  <a:cubicBezTo>
                    <a:pt x="1" y="66"/>
                    <a:pt x="0" y="68"/>
                    <a:pt x="0" y="68"/>
                  </a:cubicBezTo>
                  <a:cubicBezTo>
                    <a:pt x="0" y="68"/>
                    <a:pt x="1" y="69"/>
                    <a:pt x="1" y="70"/>
                  </a:cubicBezTo>
                  <a:cubicBezTo>
                    <a:pt x="1" y="70"/>
                    <a:pt x="2" y="70"/>
                    <a:pt x="2" y="70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2" y="69"/>
                    <a:pt x="3" y="68"/>
                    <a:pt x="3" y="68"/>
                  </a:cubicBezTo>
                  <a:cubicBezTo>
                    <a:pt x="3" y="68"/>
                    <a:pt x="4" y="68"/>
                    <a:pt x="4" y="68"/>
                  </a:cubicBezTo>
                  <a:cubicBezTo>
                    <a:pt x="5" y="68"/>
                    <a:pt x="5" y="69"/>
                    <a:pt x="5" y="70"/>
                  </a:cubicBezTo>
                  <a:cubicBezTo>
                    <a:pt x="5" y="70"/>
                    <a:pt x="6" y="71"/>
                    <a:pt x="6" y="7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31" y="107"/>
                    <a:pt x="31" y="106"/>
                    <a:pt x="31" y="106"/>
                  </a:cubicBezTo>
                  <a:cubicBezTo>
                    <a:pt x="31" y="106"/>
                    <a:pt x="30" y="104"/>
                    <a:pt x="30" y="103"/>
                  </a:cubicBezTo>
                  <a:cubicBezTo>
                    <a:pt x="30" y="103"/>
                    <a:pt x="31" y="101"/>
                    <a:pt x="31" y="101"/>
                  </a:cubicBezTo>
                  <a:cubicBezTo>
                    <a:pt x="31" y="101"/>
                    <a:pt x="31" y="99"/>
                    <a:pt x="31" y="99"/>
                  </a:cubicBezTo>
                  <a:cubicBezTo>
                    <a:pt x="31" y="99"/>
                    <a:pt x="33" y="97"/>
                    <a:pt x="33" y="97"/>
                  </a:cubicBezTo>
                  <a:cubicBezTo>
                    <a:pt x="33" y="96"/>
                    <a:pt x="34" y="92"/>
                    <a:pt x="34" y="92"/>
                  </a:cubicBezTo>
                  <a:cubicBezTo>
                    <a:pt x="34" y="91"/>
                    <a:pt x="33" y="90"/>
                    <a:pt x="33" y="90"/>
                  </a:cubicBezTo>
                  <a:cubicBezTo>
                    <a:pt x="33" y="89"/>
                    <a:pt x="34" y="89"/>
                    <a:pt x="34" y="88"/>
                  </a:cubicBezTo>
                  <a:cubicBezTo>
                    <a:pt x="34" y="88"/>
                    <a:pt x="36" y="83"/>
                    <a:pt x="36" y="83"/>
                  </a:cubicBezTo>
                  <a:cubicBezTo>
                    <a:pt x="36" y="83"/>
                    <a:pt x="35" y="82"/>
                    <a:pt x="35" y="81"/>
                  </a:cubicBezTo>
                  <a:cubicBezTo>
                    <a:pt x="35" y="80"/>
                    <a:pt x="36" y="78"/>
                    <a:pt x="36" y="77"/>
                  </a:cubicBezTo>
                  <a:cubicBezTo>
                    <a:pt x="36" y="77"/>
                    <a:pt x="35" y="73"/>
                    <a:pt x="35" y="73"/>
                  </a:cubicBezTo>
                  <a:cubicBezTo>
                    <a:pt x="35" y="72"/>
                    <a:pt x="37" y="68"/>
                    <a:pt x="37" y="68"/>
                  </a:cubicBezTo>
                  <a:cubicBezTo>
                    <a:pt x="38" y="67"/>
                    <a:pt x="39" y="65"/>
                    <a:pt x="39" y="64"/>
                  </a:cubicBezTo>
                  <a:cubicBezTo>
                    <a:pt x="39" y="64"/>
                    <a:pt x="39" y="63"/>
                    <a:pt x="39" y="63"/>
                  </a:cubicBezTo>
                  <a:cubicBezTo>
                    <a:pt x="39" y="63"/>
                    <a:pt x="41" y="61"/>
                    <a:pt x="42" y="60"/>
                  </a:cubicBezTo>
                  <a:cubicBezTo>
                    <a:pt x="42" y="60"/>
                    <a:pt x="42" y="58"/>
                    <a:pt x="42" y="57"/>
                  </a:cubicBezTo>
                  <a:cubicBezTo>
                    <a:pt x="43" y="57"/>
                    <a:pt x="44" y="54"/>
                    <a:pt x="45" y="54"/>
                  </a:cubicBezTo>
                  <a:cubicBezTo>
                    <a:pt x="45" y="53"/>
                    <a:pt x="46" y="52"/>
                    <a:pt x="46" y="52"/>
                  </a:cubicBezTo>
                  <a:cubicBezTo>
                    <a:pt x="46" y="52"/>
                    <a:pt x="46" y="49"/>
                    <a:pt x="46" y="49"/>
                  </a:cubicBezTo>
                  <a:cubicBezTo>
                    <a:pt x="46" y="49"/>
                    <a:pt x="48" y="46"/>
                    <a:pt x="48" y="46"/>
                  </a:cubicBezTo>
                  <a:cubicBezTo>
                    <a:pt x="48" y="45"/>
                    <a:pt x="48" y="40"/>
                    <a:pt x="48" y="40"/>
                  </a:cubicBezTo>
                  <a:cubicBezTo>
                    <a:pt x="48" y="40"/>
                    <a:pt x="48" y="37"/>
                    <a:pt x="48" y="36"/>
                  </a:cubicBezTo>
                  <a:cubicBezTo>
                    <a:pt x="48" y="36"/>
                    <a:pt x="48" y="34"/>
                    <a:pt x="48" y="34"/>
                  </a:cubicBezTo>
                  <a:cubicBezTo>
                    <a:pt x="49" y="34"/>
                    <a:pt x="51" y="33"/>
                    <a:pt x="51" y="33"/>
                  </a:cubicBezTo>
                  <a:cubicBezTo>
                    <a:pt x="51" y="33"/>
                    <a:pt x="53" y="33"/>
                    <a:pt x="53" y="33"/>
                  </a:cubicBezTo>
                  <a:cubicBezTo>
                    <a:pt x="54" y="33"/>
                    <a:pt x="56" y="32"/>
                    <a:pt x="56" y="32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60" y="29"/>
                    <a:pt x="60" y="29"/>
                  </a:cubicBezTo>
                  <a:cubicBezTo>
                    <a:pt x="61" y="29"/>
                    <a:pt x="61" y="28"/>
                    <a:pt x="62" y="27"/>
                  </a:cubicBezTo>
                  <a:cubicBezTo>
                    <a:pt x="62" y="27"/>
                    <a:pt x="63" y="26"/>
                    <a:pt x="63" y="26"/>
                  </a:cubicBezTo>
                  <a:cubicBezTo>
                    <a:pt x="64" y="26"/>
                    <a:pt x="64" y="25"/>
                    <a:pt x="64" y="25"/>
                  </a:cubicBezTo>
                  <a:cubicBezTo>
                    <a:pt x="64" y="25"/>
                    <a:pt x="64" y="24"/>
                    <a:pt x="64" y="23"/>
                  </a:cubicBezTo>
                  <a:cubicBezTo>
                    <a:pt x="64" y="23"/>
                    <a:pt x="64" y="22"/>
                    <a:pt x="64" y="22"/>
                  </a:cubicBezTo>
                  <a:cubicBezTo>
                    <a:pt x="64" y="22"/>
                    <a:pt x="66" y="21"/>
                    <a:pt x="66" y="21"/>
                  </a:cubicBezTo>
                  <a:cubicBezTo>
                    <a:pt x="66" y="21"/>
                    <a:pt x="64" y="17"/>
                    <a:pt x="64" y="16"/>
                  </a:cubicBezTo>
                  <a:cubicBezTo>
                    <a:pt x="63" y="16"/>
                    <a:pt x="62" y="14"/>
                    <a:pt x="62" y="14"/>
                  </a:cubicBezTo>
                  <a:cubicBezTo>
                    <a:pt x="62" y="13"/>
                    <a:pt x="63" y="12"/>
                    <a:pt x="63" y="12"/>
                  </a:cubicBezTo>
                  <a:cubicBezTo>
                    <a:pt x="64" y="12"/>
                    <a:pt x="64" y="11"/>
                    <a:pt x="64" y="10"/>
                  </a:cubicBezTo>
                  <a:cubicBezTo>
                    <a:pt x="65" y="10"/>
                    <a:pt x="65" y="7"/>
                    <a:pt x="66" y="7"/>
                  </a:cubicBezTo>
                  <a:cubicBezTo>
                    <a:pt x="66" y="7"/>
                    <a:pt x="67" y="6"/>
                    <a:pt x="67" y="6"/>
                  </a:cubicBezTo>
                  <a:cubicBezTo>
                    <a:pt x="67" y="6"/>
                    <a:pt x="67" y="5"/>
                    <a:pt x="67" y="5"/>
                  </a:cubicBezTo>
                  <a:cubicBezTo>
                    <a:pt x="67" y="4"/>
                    <a:pt x="66" y="3"/>
                    <a:pt x="66" y="3"/>
                  </a:cubicBezTo>
                  <a:cubicBezTo>
                    <a:pt x="66" y="3"/>
                    <a:pt x="67" y="0"/>
                    <a:pt x="6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4"/>
                    <a:pt x="3" y="5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02A40E2-1179-4B15-A893-9F45B44F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076" y="2630985"/>
              <a:ext cx="684012" cy="887234"/>
            </a:xfrm>
            <a:custGeom>
              <a:avLst/>
              <a:gdLst>
                <a:gd name="T0" fmla="*/ 414 w 414"/>
                <a:gd name="T1" fmla="*/ 537 h 537"/>
                <a:gd name="T2" fmla="*/ 0 w 414"/>
                <a:gd name="T3" fmla="*/ 537 h 537"/>
                <a:gd name="T4" fmla="*/ 0 w 414"/>
                <a:gd name="T5" fmla="*/ 0 h 537"/>
                <a:gd name="T6" fmla="*/ 247 w 414"/>
                <a:gd name="T7" fmla="*/ 0 h 537"/>
                <a:gd name="T8" fmla="*/ 247 w 414"/>
                <a:gd name="T9" fmla="*/ 110 h 537"/>
                <a:gd name="T10" fmla="*/ 412 w 414"/>
                <a:gd name="T11" fmla="*/ 110 h 537"/>
                <a:gd name="T12" fmla="*/ 414 w 414"/>
                <a:gd name="T13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4" h="537">
                  <a:moveTo>
                    <a:pt x="414" y="537"/>
                  </a:moveTo>
                  <a:lnTo>
                    <a:pt x="0" y="537"/>
                  </a:lnTo>
                  <a:lnTo>
                    <a:pt x="0" y="0"/>
                  </a:lnTo>
                  <a:lnTo>
                    <a:pt x="247" y="0"/>
                  </a:lnTo>
                  <a:lnTo>
                    <a:pt x="247" y="110"/>
                  </a:lnTo>
                  <a:lnTo>
                    <a:pt x="412" y="110"/>
                  </a:lnTo>
                  <a:lnTo>
                    <a:pt x="414" y="537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6A1A14D2-ED1D-45BF-8118-2BA275D20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1876" y="3602482"/>
              <a:ext cx="1790989" cy="1711685"/>
            </a:xfrm>
            <a:custGeom>
              <a:avLst/>
              <a:gdLst>
                <a:gd name="T0" fmla="*/ 345 w 452"/>
                <a:gd name="T1" fmla="*/ 339 h 432"/>
                <a:gd name="T2" fmla="*/ 348 w 452"/>
                <a:gd name="T3" fmla="*/ 339 h 432"/>
                <a:gd name="T4" fmla="*/ 335 w 452"/>
                <a:gd name="T5" fmla="*/ 350 h 432"/>
                <a:gd name="T6" fmla="*/ 324 w 452"/>
                <a:gd name="T7" fmla="*/ 369 h 432"/>
                <a:gd name="T8" fmla="*/ 323 w 452"/>
                <a:gd name="T9" fmla="*/ 367 h 432"/>
                <a:gd name="T10" fmla="*/ 321 w 452"/>
                <a:gd name="T11" fmla="*/ 379 h 432"/>
                <a:gd name="T12" fmla="*/ 320 w 452"/>
                <a:gd name="T13" fmla="*/ 397 h 432"/>
                <a:gd name="T14" fmla="*/ 321 w 452"/>
                <a:gd name="T15" fmla="*/ 397 h 432"/>
                <a:gd name="T16" fmla="*/ 447 w 452"/>
                <a:gd name="T17" fmla="*/ 217 h 432"/>
                <a:gd name="T18" fmla="*/ 435 w 452"/>
                <a:gd name="T19" fmla="*/ 189 h 432"/>
                <a:gd name="T20" fmla="*/ 426 w 452"/>
                <a:gd name="T21" fmla="*/ 124 h 432"/>
                <a:gd name="T22" fmla="*/ 417 w 452"/>
                <a:gd name="T23" fmla="*/ 121 h 432"/>
                <a:gd name="T24" fmla="*/ 410 w 452"/>
                <a:gd name="T25" fmla="*/ 117 h 432"/>
                <a:gd name="T26" fmla="*/ 398 w 452"/>
                <a:gd name="T27" fmla="*/ 110 h 432"/>
                <a:gd name="T28" fmla="*/ 382 w 452"/>
                <a:gd name="T29" fmla="*/ 111 h 432"/>
                <a:gd name="T30" fmla="*/ 370 w 452"/>
                <a:gd name="T31" fmla="*/ 112 h 432"/>
                <a:gd name="T32" fmla="*/ 356 w 452"/>
                <a:gd name="T33" fmla="*/ 118 h 432"/>
                <a:gd name="T34" fmla="*/ 340 w 452"/>
                <a:gd name="T35" fmla="*/ 113 h 432"/>
                <a:gd name="T36" fmla="*/ 331 w 452"/>
                <a:gd name="T37" fmla="*/ 113 h 432"/>
                <a:gd name="T38" fmla="*/ 324 w 452"/>
                <a:gd name="T39" fmla="*/ 112 h 432"/>
                <a:gd name="T40" fmla="*/ 309 w 452"/>
                <a:gd name="T41" fmla="*/ 107 h 432"/>
                <a:gd name="T42" fmla="*/ 295 w 452"/>
                <a:gd name="T43" fmla="*/ 105 h 432"/>
                <a:gd name="T44" fmla="*/ 269 w 452"/>
                <a:gd name="T45" fmla="*/ 100 h 432"/>
                <a:gd name="T46" fmla="*/ 254 w 452"/>
                <a:gd name="T47" fmla="*/ 90 h 432"/>
                <a:gd name="T48" fmla="*/ 238 w 452"/>
                <a:gd name="T49" fmla="*/ 90 h 432"/>
                <a:gd name="T50" fmla="*/ 0 w 452"/>
                <a:gd name="T51" fmla="*/ 190 h 432"/>
                <a:gd name="T52" fmla="*/ 19 w 452"/>
                <a:gd name="T53" fmla="*/ 212 h 432"/>
                <a:gd name="T54" fmla="*/ 52 w 452"/>
                <a:gd name="T55" fmla="*/ 239 h 432"/>
                <a:gd name="T56" fmla="*/ 80 w 452"/>
                <a:gd name="T57" fmla="*/ 288 h 432"/>
                <a:gd name="T58" fmla="*/ 112 w 452"/>
                <a:gd name="T59" fmla="*/ 309 h 432"/>
                <a:gd name="T60" fmla="*/ 129 w 452"/>
                <a:gd name="T61" fmla="*/ 297 h 432"/>
                <a:gd name="T62" fmla="*/ 147 w 452"/>
                <a:gd name="T63" fmla="*/ 276 h 432"/>
                <a:gd name="T64" fmla="*/ 175 w 452"/>
                <a:gd name="T65" fmla="*/ 278 h 432"/>
                <a:gd name="T66" fmla="*/ 186 w 452"/>
                <a:gd name="T67" fmla="*/ 288 h 432"/>
                <a:gd name="T68" fmla="*/ 216 w 452"/>
                <a:gd name="T69" fmla="*/ 330 h 432"/>
                <a:gd name="T70" fmla="*/ 244 w 452"/>
                <a:gd name="T71" fmla="*/ 363 h 432"/>
                <a:gd name="T72" fmla="*/ 254 w 452"/>
                <a:gd name="T73" fmla="*/ 393 h 432"/>
                <a:gd name="T74" fmla="*/ 270 w 452"/>
                <a:gd name="T75" fmla="*/ 411 h 432"/>
                <a:gd name="T76" fmla="*/ 295 w 452"/>
                <a:gd name="T77" fmla="*/ 423 h 432"/>
                <a:gd name="T78" fmla="*/ 327 w 452"/>
                <a:gd name="T79" fmla="*/ 428 h 432"/>
                <a:gd name="T80" fmla="*/ 321 w 452"/>
                <a:gd name="T81" fmla="*/ 415 h 432"/>
                <a:gd name="T82" fmla="*/ 314 w 452"/>
                <a:gd name="T83" fmla="*/ 394 h 432"/>
                <a:gd name="T84" fmla="*/ 317 w 452"/>
                <a:gd name="T85" fmla="*/ 380 h 432"/>
                <a:gd name="T86" fmla="*/ 311 w 452"/>
                <a:gd name="T87" fmla="*/ 376 h 432"/>
                <a:gd name="T88" fmla="*/ 321 w 452"/>
                <a:gd name="T89" fmla="*/ 369 h 432"/>
                <a:gd name="T90" fmla="*/ 319 w 452"/>
                <a:gd name="T91" fmla="*/ 356 h 432"/>
                <a:gd name="T92" fmla="*/ 327 w 452"/>
                <a:gd name="T93" fmla="*/ 354 h 432"/>
                <a:gd name="T94" fmla="*/ 329 w 452"/>
                <a:gd name="T95" fmla="*/ 343 h 432"/>
                <a:gd name="T96" fmla="*/ 340 w 452"/>
                <a:gd name="T97" fmla="*/ 336 h 432"/>
                <a:gd name="T98" fmla="*/ 352 w 452"/>
                <a:gd name="T99" fmla="*/ 329 h 432"/>
                <a:gd name="T100" fmla="*/ 351 w 452"/>
                <a:gd name="T101" fmla="*/ 324 h 432"/>
                <a:gd name="T102" fmla="*/ 360 w 452"/>
                <a:gd name="T103" fmla="*/ 323 h 432"/>
                <a:gd name="T104" fmla="*/ 368 w 452"/>
                <a:gd name="T105" fmla="*/ 325 h 432"/>
                <a:gd name="T106" fmla="*/ 370 w 452"/>
                <a:gd name="T107" fmla="*/ 323 h 432"/>
                <a:gd name="T108" fmla="*/ 397 w 452"/>
                <a:gd name="T109" fmla="*/ 307 h 432"/>
                <a:gd name="T110" fmla="*/ 406 w 452"/>
                <a:gd name="T111" fmla="*/ 297 h 432"/>
                <a:gd name="T112" fmla="*/ 401 w 452"/>
                <a:gd name="T113" fmla="*/ 285 h 432"/>
                <a:gd name="T114" fmla="*/ 407 w 452"/>
                <a:gd name="T115" fmla="*/ 281 h 432"/>
                <a:gd name="T116" fmla="*/ 419 w 452"/>
                <a:gd name="T117" fmla="*/ 288 h 432"/>
                <a:gd name="T118" fmla="*/ 435 w 452"/>
                <a:gd name="T119" fmla="*/ 283 h 432"/>
                <a:gd name="T120" fmla="*/ 446 w 452"/>
                <a:gd name="T121" fmla="*/ 25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2" h="432">
                  <a:moveTo>
                    <a:pt x="331" y="354"/>
                  </a:moveTo>
                  <a:cubicBezTo>
                    <a:pt x="331" y="353"/>
                    <a:pt x="331" y="352"/>
                    <a:pt x="332" y="352"/>
                  </a:cubicBezTo>
                  <a:cubicBezTo>
                    <a:pt x="332" y="351"/>
                    <a:pt x="333" y="349"/>
                    <a:pt x="334" y="349"/>
                  </a:cubicBezTo>
                  <a:cubicBezTo>
                    <a:pt x="334" y="348"/>
                    <a:pt x="334" y="347"/>
                    <a:pt x="335" y="347"/>
                  </a:cubicBezTo>
                  <a:cubicBezTo>
                    <a:pt x="335" y="347"/>
                    <a:pt x="335" y="346"/>
                    <a:pt x="336" y="346"/>
                  </a:cubicBezTo>
                  <a:cubicBezTo>
                    <a:pt x="336" y="346"/>
                    <a:pt x="336" y="346"/>
                    <a:pt x="336" y="345"/>
                  </a:cubicBezTo>
                  <a:cubicBezTo>
                    <a:pt x="336" y="345"/>
                    <a:pt x="337" y="345"/>
                    <a:pt x="338" y="344"/>
                  </a:cubicBezTo>
                  <a:cubicBezTo>
                    <a:pt x="339" y="344"/>
                    <a:pt x="339" y="343"/>
                    <a:pt x="340" y="342"/>
                  </a:cubicBezTo>
                  <a:cubicBezTo>
                    <a:pt x="340" y="342"/>
                    <a:pt x="340" y="341"/>
                    <a:pt x="341" y="341"/>
                  </a:cubicBezTo>
                  <a:cubicBezTo>
                    <a:pt x="341" y="341"/>
                    <a:pt x="342" y="341"/>
                    <a:pt x="342" y="340"/>
                  </a:cubicBezTo>
                  <a:cubicBezTo>
                    <a:pt x="343" y="340"/>
                    <a:pt x="343" y="340"/>
                    <a:pt x="344" y="339"/>
                  </a:cubicBezTo>
                  <a:cubicBezTo>
                    <a:pt x="344" y="339"/>
                    <a:pt x="344" y="339"/>
                    <a:pt x="345" y="339"/>
                  </a:cubicBezTo>
                  <a:cubicBezTo>
                    <a:pt x="346" y="338"/>
                    <a:pt x="346" y="338"/>
                    <a:pt x="347" y="338"/>
                  </a:cubicBezTo>
                  <a:cubicBezTo>
                    <a:pt x="347" y="338"/>
                    <a:pt x="348" y="337"/>
                    <a:pt x="348" y="337"/>
                  </a:cubicBezTo>
                  <a:cubicBezTo>
                    <a:pt x="349" y="336"/>
                    <a:pt x="350" y="336"/>
                    <a:pt x="350" y="336"/>
                  </a:cubicBezTo>
                  <a:cubicBezTo>
                    <a:pt x="351" y="335"/>
                    <a:pt x="351" y="335"/>
                    <a:pt x="351" y="335"/>
                  </a:cubicBezTo>
                  <a:cubicBezTo>
                    <a:pt x="352" y="335"/>
                    <a:pt x="352" y="334"/>
                    <a:pt x="352" y="334"/>
                  </a:cubicBezTo>
                  <a:cubicBezTo>
                    <a:pt x="352" y="334"/>
                    <a:pt x="353" y="333"/>
                    <a:pt x="353" y="334"/>
                  </a:cubicBezTo>
                  <a:cubicBezTo>
                    <a:pt x="353" y="334"/>
                    <a:pt x="353" y="335"/>
                    <a:pt x="353" y="335"/>
                  </a:cubicBezTo>
                  <a:cubicBezTo>
                    <a:pt x="353" y="336"/>
                    <a:pt x="353" y="336"/>
                    <a:pt x="352" y="337"/>
                  </a:cubicBezTo>
                  <a:cubicBezTo>
                    <a:pt x="352" y="337"/>
                    <a:pt x="352" y="337"/>
                    <a:pt x="351" y="337"/>
                  </a:cubicBezTo>
                  <a:cubicBezTo>
                    <a:pt x="351" y="337"/>
                    <a:pt x="351" y="337"/>
                    <a:pt x="350" y="337"/>
                  </a:cubicBezTo>
                  <a:cubicBezTo>
                    <a:pt x="350" y="338"/>
                    <a:pt x="349" y="338"/>
                    <a:pt x="348" y="338"/>
                  </a:cubicBezTo>
                  <a:cubicBezTo>
                    <a:pt x="348" y="338"/>
                    <a:pt x="348" y="339"/>
                    <a:pt x="348" y="339"/>
                  </a:cubicBezTo>
                  <a:cubicBezTo>
                    <a:pt x="348" y="339"/>
                    <a:pt x="347" y="339"/>
                    <a:pt x="347" y="339"/>
                  </a:cubicBezTo>
                  <a:cubicBezTo>
                    <a:pt x="346" y="340"/>
                    <a:pt x="346" y="340"/>
                    <a:pt x="345" y="341"/>
                  </a:cubicBezTo>
                  <a:cubicBezTo>
                    <a:pt x="345" y="341"/>
                    <a:pt x="344" y="341"/>
                    <a:pt x="344" y="342"/>
                  </a:cubicBezTo>
                  <a:cubicBezTo>
                    <a:pt x="344" y="342"/>
                    <a:pt x="343" y="342"/>
                    <a:pt x="343" y="342"/>
                  </a:cubicBezTo>
                  <a:cubicBezTo>
                    <a:pt x="343" y="342"/>
                    <a:pt x="343" y="342"/>
                    <a:pt x="342" y="343"/>
                  </a:cubicBezTo>
                  <a:cubicBezTo>
                    <a:pt x="342" y="343"/>
                    <a:pt x="342" y="343"/>
                    <a:pt x="341" y="343"/>
                  </a:cubicBezTo>
                  <a:cubicBezTo>
                    <a:pt x="341" y="344"/>
                    <a:pt x="341" y="344"/>
                    <a:pt x="341" y="344"/>
                  </a:cubicBezTo>
                  <a:cubicBezTo>
                    <a:pt x="340" y="344"/>
                    <a:pt x="340" y="344"/>
                    <a:pt x="340" y="345"/>
                  </a:cubicBezTo>
                  <a:cubicBezTo>
                    <a:pt x="339" y="345"/>
                    <a:pt x="338" y="346"/>
                    <a:pt x="337" y="346"/>
                  </a:cubicBezTo>
                  <a:cubicBezTo>
                    <a:pt x="337" y="347"/>
                    <a:pt x="336" y="348"/>
                    <a:pt x="336" y="348"/>
                  </a:cubicBezTo>
                  <a:cubicBezTo>
                    <a:pt x="336" y="348"/>
                    <a:pt x="336" y="348"/>
                    <a:pt x="336" y="349"/>
                  </a:cubicBezTo>
                  <a:cubicBezTo>
                    <a:pt x="336" y="349"/>
                    <a:pt x="336" y="349"/>
                    <a:pt x="335" y="350"/>
                  </a:cubicBezTo>
                  <a:cubicBezTo>
                    <a:pt x="334" y="351"/>
                    <a:pt x="332" y="352"/>
                    <a:pt x="331" y="354"/>
                  </a:cubicBezTo>
                  <a:cubicBezTo>
                    <a:pt x="331" y="354"/>
                    <a:pt x="331" y="355"/>
                    <a:pt x="331" y="354"/>
                  </a:cubicBezTo>
                  <a:close/>
                  <a:moveTo>
                    <a:pt x="330" y="356"/>
                  </a:moveTo>
                  <a:cubicBezTo>
                    <a:pt x="330" y="356"/>
                    <a:pt x="330" y="356"/>
                    <a:pt x="330" y="356"/>
                  </a:cubicBezTo>
                  <a:cubicBezTo>
                    <a:pt x="330" y="356"/>
                    <a:pt x="330" y="356"/>
                    <a:pt x="330" y="356"/>
                  </a:cubicBezTo>
                  <a:cubicBezTo>
                    <a:pt x="331" y="356"/>
                    <a:pt x="331" y="355"/>
                    <a:pt x="330" y="355"/>
                  </a:cubicBezTo>
                  <a:cubicBezTo>
                    <a:pt x="330" y="355"/>
                    <a:pt x="330" y="356"/>
                    <a:pt x="330" y="356"/>
                  </a:cubicBezTo>
                  <a:close/>
                  <a:moveTo>
                    <a:pt x="321" y="375"/>
                  </a:moveTo>
                  <a:cubicBezTo>
                    <a:pt x="322" y="374"/>
                    <a:pt x="322" y="374"/>
                    <a:pt x="322" y="374"/>
                  </a:cubicBezTo>
                  <a:cubicBezTo>
                    <a:pt x="322" y="373"/>
                    <a:pt x="322" y="373"/>
                    <a:pt x="322" y="372"/>
                  </a:cubicBezTo>
                  <a:cubicBezTo>
                    <a:pt x="323" y="372"/>
                    <a:pt x="323" y="371"/>
                    <a:pt x="323" y="370"/>
                  </a:cubicBezTo>
                  <a:cubicBezTo>
                    <a:pt x="323" y="370"/>
                    <a:pt x="323" y="369"/>
                    <a:pt x="324" y="369"/>
                  </a:cubicBezTo>
                  <a:cubicBezTo>
                    <a:pt x="324" y="368"/>
                    <a:pt x="325" y="367"/>
                    <a:pt x="325" y="366"/>
                  </a:cubicBezTo>
                  <a:cubicBezTo>
                    <a:pt x="325" y="365"/>
                    <a:pt x="326" y="365"/>
                    <a:pt x="326" y="364"/>
                  </a:cubicBezTo>
                  <a:cubicBezTo>
                    <a:pt x="326" y="364"/>
                    <a:pt x="326" y="363"/>
                    <a:pt x="327" y="363"/>
                  </a:cubicBezTo>
                  <a:cubicBezTo>
                    <a:pt x="327" y="362"/>
                    <a:pt x="327" y="361"/>
                    <a:pt x="328" y="360"/>
                  </a:cubicBezTo>
                  <a:cubicBezTo>
                    <a:pt x="328" y="360"/>
                    <a:pt x="329" y="359"/>
                    <a:pt x="329" y="359"/>
                  </a:cubicBezTo>
                  <a:cubicBezTo>
                    <a:pt x="329" y="358"/>
                    <a:pt x="330" y="357"/>
                    <a:pt x="329" y="357"/>
                  </a:cubicBezTo>
                  <a:cubicBezTo>
                    <a:pt x="329" y="357"/>
                    <a:pt x="329" y="357"/>
                    <a:pt x="329" y="358"/>
                  </a:cubicBezTo>
                  <a:cubicBezTo>
                    <a:pt x="328" y="358"/>
                    <a:pt x="328" y="358"/>
                    <a:pt x="328" y="358"/>
                  </a:cubicBezTo>
                  <a:cubicBezTo>
                    <a:pt x="327" y="359"/>
                    <a:pt x="327" y="360"/>
                    <a:pt x="327" y="360"/>
                  </a:cubicBezTo>
                  <a:cubicBezTo>
                    <a:pt x="326" y="361"/>
                    <a:pt x="326" y="361"/>
                    <a:pt x="325" y="362"/>
                  </a:cubicBezTo>
                  <a:cubicBezTo>
                    <a:pt x="325" y="363"/>
                    <a:pt x="324" y="364"/>
                    <a:pt x="324" y="365"/>
                  </a:cubicBezTo>
                  <a:cubicBezTo>
                    <a:pt x="324" y="366"/>
                    <a:pt x="324" y="366"/>
                    <a:pt x="323" y="367"/>
                  </a:cubicBezTo>
                  <a:cubicBezTo>
                    <a:pt x="323" y="367"/>
                    <a:pt x="323" y="367"/>
                    <a:pt x="323" y="368"/>
                  </a:cubicBezTo>
                  <a:cubicBezTo>
                    <a:pt x="322" y="369"/>
                    <a:pt x="322" y="370"/>
                    <a:pt x="322" y="371"/>
                  </a:cubicBezTo>
                  <a:cubicBezTo>
                    <a:pt x="321" y="371"/>
                    <a:pt x="321" y="371"/>
                    <a:pt x="321" y="372"/>
                  </a:cubicBezTo>
                  <a:cubicBezTo>
                    <a:pt x="321" y="372"/>
                    <a:pt x="321" y="372"/>
                    <a:pt x="321" y="373"/>
                  </a:cubicBezTo>
                  <a:cubicBezTo>
                    <a:pt x="321" y="374"/>
                    <a:pt x="321" y="375"/>
                    <a:pt x="321" y="375"/>
                  </a:cubicBezTo>
                  <a:cubicBezTo>
                    <a:pt x="321" y="375"/>
                    <a:pt x="321" y="375"/>
                    <a:pt x="321" y="375"/>
                  </a:cubicBezTo>
                  <a:close/>
                  <a:moveTo>
                    <a:pt x="321" y="379"/>
                  </a:moveTo>
                  <a:cubicBezTo>
                    <a:pt x="321" y="379"/>
                    <a:pt x="321" y="378"/>
                    <a:pt x="321" y="378"/>
                  </a:cubicBezTo>
                  <a:cubicBezTo>
                    <a:pt x="321" y="377"/>
                    <a:pt x="321" y="377"/>
                    <a:pt x="321" y="377"/>
                  </a:cubicBezTo>
                  <a:cubicBezTo>
                    <a:pt x="321" y="377"/>
                    <a:pt x="321" y="377"/>
                    <a:pt x="321" y="376"/>
                  </a:cubicBezTo>
                  <a:cubicBezTo>
                    <a:pt x="320" y="377"/>
                    <a:pt x="320" y="377"/>
                    <a:pt x="320" y="378"/>
                  </a:cubicBezTo>
                  <a:cubicBezTo>
                    <a:pt x="320" y="378"/>
                    <a:pt x="320" y="379"/>
                    <a:pt x="321" y="379"/>
                  </a:cubicBezTo>
                  <a:close/>
                  <a:moveTo>
                    <a:pt x="320" y="387"/>
                  </a:moveTo>
                  <a:cubicBezTo>
                    <a:pt x="320" y="386"/>
                    <a:pt x="320" y="386"/>
                    <a:pt x="320" y="386"/>
                  </a:cubicBezTo>
                  <a:cubicBezTo>
                    <a:pt x="320" y="385"/>
                    <a:pt x="320" y="384"/>
                    <a:pt x="320" y="384"/>
                  </a:cubicBezTo>
                  <a:cubicBezTo>
                    <a:pt x="320" y="383"/>
                    <a:pt x="320" y="382"/>
                    <a:pt x="320" y="382"/>
                  </a:cubicBezTo>
                  <a:cubicBezTo>
                    <a:pt x="320" y="381"/>
                    <a:pt x="320" y="381"/>
                    <a:pt x="320" y="381"/>
                  </a:cubicBezTo>
                  <a:cubicBezTo>
                    <a:pt x="320" y="380"/>
                    <a:pt x="319" y="380"/>
                    <a:pt x="319" y="381"/>
                  </a:cubicBezTo>
                  <a:cubicBezTo>
                    <a:pt x="319" y="381"/>
                    <a:pt x="319" y="381"/>
                    <a:pt x="319" y="382"/>
                  </a:cubicBezTo>
                  <a:cubicBezTo>
                    <a:pt x="319" y="382"/>
                    <a:pt x="319" y="383"/>
                    <a:pt x="319" y="384"/>
                  </a:cubicBezTo>
                  <a:cubicBezTo>
                    <a:pt x="319" y="385"/>
                    <a:pt x="319" y="385"/>
                    <a:pt x="319" y="386"/>
                  </a:cubicBezTo>
                  <a:cubicBezTo>
                    <a:pt x="319" y="386"/>
                    <a:pt x="319" y="386"/>
                    <a:pt x="319" y="386"/>
                  </a:cubicBezTo>
                  <a:cubicBezTo>
                    <a:pt x="320" y="387"/>
                    <a:pt x="320" y="387"/>
                    <a:pt x="320" y="387"/>
                  </a:cubicBezTo>
                  <a:close/>
                  <a:moveTo>
                    <a:pt x="320" y="397"/>
                  </a:moveTo>
                  <a:cubicBezTo>
                    <a:pt x="320" y="397"/>
                    <a:pt x="320" y="398"/>
                    <a:pt x="320" y="398"/>
                  </a:cubicBezTo>
                  <a:cubicBezTo>
                    <a:pt x="320" y="399"/>
                    <a:pt x="320" y="399"/>
                    <a:pt x="321" y="399"/>
                  </a:cubicBezTo>
                  <a:cubicBezTo>
                    <a:pt x="321" y="399"/>
                    <a:pt x="321" y="399"/>
                    <a:pt x="321" y="400"/>
                  </a:cubicBezTo>
                  <a:cubicBezTo>
                    <a:pt x="321" y="400"/>
                    <a:pt x="321" y="400"/>
                    <a:pt x="321" y="400"/>
                  </a:cubicBezTo>
                  <a:cubicBezTo>
                    <a:pt x="321" y="400"/>
                    <a:pt x="321" y="401"/>
                    <a:pt x="322" y="401"/>
                  </a:cubicBezTo>
                  <a:cubicBezTo>
                    <a:pt x="322" y="402"/>
                    <a:pt x="322" y="402"/>
                    <a:pt x="322" y="403"/>
                  </a:cubicBezTo>
                  <a:cubicBezTo>
                    <a:pt x="322" y="403"/>
                    <a:pt x="322" y="404"/>
                    <a:pt x="323" y="404"/>
                  </a:cubicBezTo>
                  <a:cubicBezTo>
                    <a:pt x="323" y="404"/>
                    <a:pt x="322" y="402"/>
                    <a:pt x="322" y="402"/>
                  </a:cubicBezTo>
                  <a:cubicBezTo>
                    <a:pt x="322" y="402"/>
                    <a:pt x="322" y="401"/>
                    <a:pt x="322" y="400"/>
                  </a:cubicBezTo>
                  <a:cubicBezTo>
                    <a:pt x="322" y="400"/>
                    <a:pt x="322" y="400"/>
                    <a:pt x="322" y="400"/>
                  </a:cubicBezTo>
                  <a:cubicBezTo>
                    <a:pt x="321" y="399"/>
                    <a:pt x="321" y="399"/>
                    <a:pt x="321" y="399"/>
                  </a:cubicBezTo>
                  <a:cubicBezTo>
                    <a:pt x="321" y="398"/>
                    <a:pt x="321" y="398"/>
                    <a:pt x="321" y="397"/>
                  </a:cubicBezTo>
                  <a:cubicBezTo>
                    <a:pt x="320" y="397"/>
                    <a:pt x="321" y="397"/>
                    <a:pt x="320" y="396"/>
                  </a:cubicBezTo>
                  <a:cubicBezTo>
                    <a:pt x="320" y="396"/>
                    <a:pt x="320" y="397"/>
                    <a:pt x="320" y="397"/>
                  </a:cubicBezTo>
                  <a:close/>
                  <a:moveTo>
                    <a:pt x="451" y="229"/>
                  </a:moveTo>
                  <a:cubicBezTo>
                    <a:pt x="451" y="229"/>
                    <a:pt x="451" y="229"/>
                    <a:pt x="451" y="228"/>
                  </a:cubicBezTo>
                  <a:cubicBezTo>
                    <a:pt x="452" y="228"/>
                    <a:pt x="452" y="227"/>
                    <a:pt x="452" y="227"/>
                  </a:cubicBezTo>
                  <a:cubicBezTo>
                    <a:pt x="452" y="226"/>
                    <a:pt x="452" y="225"/>
                    <a:pt x="451" y="225"/>
                  </a:cubicBezTo>
                  <a:cubicBezTo>
                    <a:pt x="451" y="225"/>
                    <a:pt x="452" y="224"/>
                    <a:pt x="452" y="223"/>
                  </a:cubicBezTo>
                  <a:cubicBezTo>
                    <a:pt x="452" y="223"/>
                    <a:pt x="452" y="222"/>
                    <a:pt x="452" y="222"/>
                  </a:cubicBezTo>
                  <a:cubicBezTo>
                    <a:pt x="452" y="222"/>
                    <a:pt x="451" y="223"/>
                    <a:pt x="451" y="223"/>
                  </a:cubicBezTo>
                  <a:cubicBezTo>
                    <a:pt x="451" y="223"/>
                    <a:pt x="450" y="222"/>
                    <a:pt x="450" y="222"/>
                  </a:cubicBezTo>
                  <a:cubicBezTo>
                    <a:pt x="450" y="221"/>
                    <a:pt x="450" y="221"/>
                    <a:pt x="450" y="220"/>
                  </a:cubicBezTo>
                  <a:cubicBezTo>
                    <a:pt x="450" y="220"/>
                    <a:pt x="448" y="218"/>
                    <a:pt x="447" y="217"/>
                  </a:cubicBezTo>
                  <a:cubicBezTo>
                    <a:pt x="447" y="217"/>
                    <a:pt x="447" y="216"/>
                    <a:pt x="447" y="216"/>
                  </a:cubicBezTo>
                  <a:cubicBezTo>
                    <a:pt x="447" y="216"/>
                    <a:pt x="448" y="215"/>
                    <a:pt x="448" y="214"/>
                  </a:cubicBezTo>
                  <a:cubicBezTo>
                    <a:pt x="448" y="214"/>
                    <a:pt x="447" y="214"/>
                    <a:pt x="447" y="213"/>
                  </a:cubicBezTo>
                  <a:cubicBezTo>
                    <a:pt x="447" y="213"/>
                    <a:pt x="447" y="212"/>
                    <a:pt x="447" y="211"/>
                  </a:cubicBezTo>
                  <a:cubicBezTo>
                    <a:pt x="446" y="211"/>
                    <a:pt x="445" y="210"/>
                    <a:pt x="445" y="210"/>
                  </a:cubicBezTo>
                  <a:cubicBezTo>
                    <a:pt x="445" y="210"/>
                    <a:pt x="445" y="209"/>
                    <a:pt x="446" y="209"/>
                  </a:cubicBezTo>
                  <a:cubicBezTo>
                    <a:pt x="446" y="209"/>
                    <a:pt x="446" y="209"/>
                    <a:pt x="446" y="209"/>
                  </a:cubicBezTo>
                  <a:cubicBezTo>
                    <a:pt x="446" y="208"/>
                    <a:pt x="443" y="207"/>
                    <a:pt x="443" y="206"/>
                  </a:cubicBezTo>
                  <a:cubicBezTo>
                    <a:pt x="442" y="206"/>
                    <a:pt x="443" y="204"/>
                    <a:pt x="443" y="204"/>
                  </a:cubicBezTo>
                  <a:cubicBezTo>
                    <a:pt x="443" y="204"/>
                    <a:pt x="443" y="202"/>
                    <a:pt x="443" y="201"/>
                  </a:cubicBezTo>
                  <a:cubicBezTo>
                    <a:pt x="443" y="200"/>
                    <a:pt x="441" y="196"/>
                    <a:pt x="441" y="196"/>
                  </a:cubicBezTo>
                  <a:cubicBezTo>
                    <a:pt x="441" y="195"/>
                    <a:pt x="435" y="189"/>
                    <a:pt x="435" y="189"/>
                  </a:cubicBezTo>
                  <a:cubicBezTo>
                    <a:pt x="435" y="127"/>
                    <a:pt x="435" y="127"/>
                    <a:pt x="435" y="127"/>
                  </a:cubicBezTo>
                  <a:cubicBezTo>
                    <a:pt x="435" y="126"/>
                    <a:pt x="434" y="126"/>
                    <a:pt x="434" y="125"/>
                  </a:cubicBezTo>
                  <a:cubicBezTo>
                    <a:pt x="434" y="125"/>
                    <a:pt x="434" y="124"/>
                    <a:pt x="434" y="124"/>
                  </a:cubicBezTo>
                  <a:cubicBezTo>
                    <a:pt x="434" y="123"/>
                    <a:pt x="433" y="124"/>
                    <a:pt x="433" y="124"/>
                  </a:cubicBezTo>
                  <a:cubicBezTo>
                    <a:pt x="432" y="125"/>
                    <a:pt x="432" y="125"/>
                    <a:pt x="431" y="125"/>
                  </a:cubicBezTo>
                  <a:cubicBezTo>
                    <a:pt x="431" y="124"/>
                    <a:pt x="431" y="124"/>
                    <a:pt x="431" y="124"/>
                  </a:cubicBezTo>
                  <a:cubicBezTo>
                    <a:pt x="431" y="124"/>
                    <a:pt x="431" y="124"/>
                    <a:pt x="430" y="124"/>
                  </a:cubicBezTo>
                  <a:cubicBezTo>
                    <a:pt x="429" y="123"/>
                    <a:pt x="429" y="124"/>
                    <a:pt x="429" y="125"/>
                  </a:cubicBezTo>
                  <a:cubicBezTo>
                    <a:pt x="429" y="125"/>
                    <a:pt x="428" y="125"/>
                    <a:pt x="428" y="125"/>
                  </a:cubicBezTo>
                  <a:cubicBezTo>
                    <a:pt x="428" y="124"/>
                    <a:pt x="428" y="124"/>
                    <a:pt x="427" y="124"/>
                  </a:cubicBezTo>
                  <a:cubicBezTo>
                    <a:pt x="427" y="124"/>
                    <a:pt x="427" y="125"/>
                    <a:pt x="427" y="125"/>
                  </a:cubicBezTo>
                  <a:cubicBezTo>
                    <a:pt x="427" y="125"/>
                    <a:pt x="426" y="125"/>
                    <a:pt x="426" y="124"/>
                  </a:cubicBezTo>
                  <a:cubicBezTo>
                    <a:pt x="426" y="124"/>
                    <a:pt x="426" y="124"/>
                    <a:pt x="425" y="125"/>
                  </a:cubicBezTo>
                  <a:cubicBezTo>
                    <a:pt x="425" y="124"/>
                    <a:pt x="425" y="125"/>
                    <a:pt x="424" y="125"/>
                  </a:cubicBezTo>
                  <a:cubicBezTo>
                    <a:pt x="424" y="125"/>
                    <a:pt x="424" y="125"/>
                    <a:pt x="424" y="125"/>
                  </a:cubicBezTo>
                  <a:cubicBezTo>
                    <a:pt x="424" y="125"/>
                    <a:pt x="424" y="125"/>
                    <a:pt x="424" y="125"/>
                  </a:cubicBezTo>
                  <a:cubicBezTo>
                    <a:pt x="423" y="126"/>
                    <a:pt x="423" y="125"/>
                    <a:pt x="423" y="125"/>
                  </a:cubicBezTo>
                  <a:cubicBezTo>
                    <a:pt x="422" y="125"/>
                    <a:pt x="423" y="125"/>
                    <a:pt x="423" y="124"/>
                  </a:cubicBezTo>
                  <a:cubicBezTo>
                    <a:pt x="423" y="123"/>
                    <a:pt x="422" y="124"/>
                    <a:pt x="421" y="124"/>
                  </a:cubicBezTo>
                  <a:cubicBezTo>
                    <a:pt x="421" y="124"/>
                    <a:pt x="420" y="123"/>
                    <a:pt x="420" y="123"/>
                  </a:cubicBezTo>
                  <a:cubicBezTo>
                    <a:pt x="420" y="123"/>
                    <a:pt x="420" y="123"/>
                    <a:pt x="421" y="122"/>
                  </a:cubicBezTo>
                  <a:cubicBezTo>
                    <a:pt x="421" y="122"/>
                    <a:pt x="420" y="121"/>
                    <a:pt x="420" y="121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2"/>
                    <a:pt x="418" y="122"/>
                    <a:pt x="417" y="121"/>
                  </a:cubicBezTo>
                  <a:cubicBezTo>
                    <a:pt x="417" y="121"/>
                    <a:pt x="417" y="121"/>
                    <a:pt x="416" y="121"/>
                  </a:cubicBezTo>
                  <a:cubicBezTo>
                    <a:pt x="416" y="120"/>
                    <a:pt x="416" y="120"/>
                    <a:pt x="416" y="120"/>
                  </a:cubicBezTo>
                  <a:cubicBezTo>
                    <a:pt x="416" y="120"/>
                    <a:pt x="415" y="120"/>
                    <a:pt x="415" y="120"/>
                  </a:cubicBezTo>
                  <a:cubicBezTo>
                    <a:pt x="415" y="120"/>
                    <a:pt x="415" y="120"/>
                    <a:pt x="414" y="120"/>
                  </a:cubicBezTo>
                  <a:cubicBezTo>
                    <a:pt x="414" y="119"/>
                    <a:pt x="414" y="119"/>
                    <a:pt x="414" y="119"/>
                  </a:cubicBezTo>
                  <a:cubicBezTo>
                    <a:pt x="413" y="119"/>
                    <a:pt x="413" y="120"/>
                    <a:pt x="413" y="120"/>
                  </a:cubicBezTo>
                  <a:cubicBezTo>
                    <a:pt x="413" y="120"/>
                    <a:pt x="412" y="120"/>
                    <a:pt x="411" y="119"/>
                  </a:cubicBezTo>
                  <a:cubicBezTo>
                    <a:pt x="411" y="119"/>
                    <a:pt x="411" y="119"/>
                    <a:pt x="411" y="119"/>
                  </a:cubicBezTo>
                  <a:cubicBezTo>
                    <a:pt x="411" y="119"/>
                    <a:pt x="410" y="119"/>
                    <a:pt x="410" y="118"/>
                  </a:cubicBezTo>
                  <a:cubicBezTo>
                    <a:pt x="410" y="118"/>
                    <a:pt x="410" y="118"/>
                    <a:pt x="410" y="117"/>
                  </a:cubicBezTo>
                  <a:cubicBezTo>
                    <a:pt x="410" y="117"/>
                    <a:pt x="409" y="117"/>
                    <a:pt x="409" y="117"/>
                  </a:cubicBezTo>
                  <a:cubicBezTo>
                    <a:pt x="409" y="117"/>
                    <a:pt x="410" y="117"/>
                    <a:pt x="410" y="117"/>
                  </a:cubicBezTo>
                  <a:cubicBezTo>
                    <a:pt x="409" y="116"/>
                    <a:pt x="408" y="117"/>
                    <a:pt x="408" y="117"/>
                  </a:cubicBezTo>
                  <a:cubicBezTo>
                    <a:pt x="408" y="117"/>
                    <a:pt x="408" y="118"/>
                    <a:pt x="407" y="118"/>
                  </a:cubicBezTo>
                  <a:cubicBezTo>
                    <a:pt x="407" y="118"/>
                    <a:pt x="407" y="117"/>
                    <a:pt x="407" y="117"/>
                  </a:cubicBezTo>
                  <a:cubicBezTo>
                    <a:pt x="406" y="117"/>
                    <a:pt x="406" y="116"/>
                    <a:pt x="406" y="116"/>
                  </a:cubicBezTo>
                  <a:cubicBezTo>
                    <a:pt x="406" y="116"/>
                    <a:pt x="405" y="116"/>
                    <a:pt x="405" y="116"/>
                  </a:cubicBezTo>
                  <a:cubicBezTo>
                    <a:pt x="405" y="116"/>
                    <a:pt x="405" y="116"/>
                    <a:pt x="404" y="115"/>
                  </a:cubicBezTo>
                  <a:cubicBezTo>
                    <a:pt x="404" y="115"/>
                    <a:pt x="404" y="115"/>
                    <a:pt x="404" y="115"/>
                  </a:cubicBezTo>
                  <a:cubicBezTo>
                    <a:pt x="404" y="114"/>
                    <a:pt x="404" y="114"/>
                    <a:pt x="403" y="114"/>
                  </a:cubicBezTo>
                  <a:cubicBezTo>
                    <a:pt x="403" y="114"/>
                    <a:pt x="403" y="113"/>
                    <a:pt x="403" y="113"/>
                  </a:cubicBezTo>
                  <a:cubicBezTo>
                    <a:pt x="403" y="112"/>
                    <a:pt x="402" y="112"/>
                    <a:pt x="401" y="112"/>
                  </a:cubicBezTo>
                  <a:cubicBezTo>
                    <a:pt x="400" y="112"/>
                    <a:pt x="399" y="112"/>
                    <a:pt x="399" y="111"/>
                  </a:cubicBezTo>
                  <a:cubicBezTo>
                    <a:pt x="399" y="110"/>
                    <a:pt x="399" y="110"/>
                    <a:pt x="398" y="110"/>
                  </a:cubicBezTo>
                  <a:cubicBezTo>
                    <a:pt x="398" y="110"/>
                    <a:pt x="398" y="111"/>
                    <a:pt x="398" y="111"/>
                  </a:cubicBezTo>
                  <a:cubicBezTo>
                    <a:pt x="397" y="111"/>
                    <a:pt x="397" y="109"/>
                    <a:pt x="397" y="109"/>
                  </a:cubicBezTo>
                  <a:cubicBezTo>
                    <a:pt x="396" y="108"/>
                    <a:pt x="395" y="108"/>
                    <a:pt x="394" y="108"/>
                  </a:cubicBezTo>
                  <a:cubicBezTo>
                    <a:pt x="393" y="108"/>
                    <a:pt x="393" y="109"/>
                    <a:pt x="393" y="110"/>
                  </a:cubicBezTo>
                  <a:cubicBezTo>
                    <a:pt x="393" y="110"/>
                    <a:pt x="393" y="110"/>
                    <a:pt x="393" y="110"/>
                  </a:cubicBezTo>
                  <a:cubicBezTo>
                    <a:pt x="392" y="110"/>
                    <a:pt x="392" y="111"/>
                    <a:pt x="392" y="111"/>
                  </a:cubicBezTo>
                  <a:cubicBezTo>
                    <a:pt x="391" y="112"/>
                    <a:pt x="390" y="112"/>
                    <a:pt x="389" y="112"/>
                  </a:cubicBezTo>
                  <a:cubicBezTo>
                    <a:pt x="388" y="112"/>
                    <a:pt x="387" y="112"/>
                    <a:pt x="386" y="112"/>
                  </a:cubicBezTo>
                  <a:cubicBezTo>
                    <a:pt x="385" y="112"/>
                    <a:pt x="385" y="112"/>
                    <a:pt x="385" y="111"/>
                  </a:cubicBezTo>
                  <a:cubicBezTo>
                    <a:pt x="385" y="111"/>
                    <a:pt x="384" y="111"/>
                    <a:pt x="384" y="111"/>
                  </a:cubicBezTo>
                  <a:cubicBezTo>
                    <a:pt x="384" y="111"/>
                    <a:pt x="384" y="111"/>
                    <a:pt x="383" y="111"/>
                  </a:cubicBezTo>
                  <a:cubicBezTo>
                    <a:pt x="383" y="111"/>
                    <a:pt x="383" y="111"/>
                    <a:pt x="382" y="111"/>
                  </a:cubicBezTo>
                  <a:cubicBezTo>
                    <a:pt x="382" y="110"/>
                    <a:pt x="382" y="110"/>
                    <a:pt x="382" y="110"/>
                  </a:cubicBezTo>
                  <a:cubicBezTo>
                    <a:pt x="381" y="109"/>
                    <a:pt x="381" y="109"/>
                    <a:pt x="381" y="109"/>
                  </a:cubicBezTo>
                  <a:cubicBezTo>
                    <a:pt x="380" y="109"/>
                    <a:pt x="380" y="110"/>
                    <a:pt x="379" y="110"/>
                  </a:cubicBezTo>
                  <a:cubicBezTo>
                    <a:pt x="379" y="110"/>
                    <a:pt x="379" y="110"/>
                    <a:pt x="379" y="110"/>
                  </a:cubicBezTo>
                  <a:cubicBezTo>
                    <a:pt x="378" y="111"/>
                    <a:pt x="377" y="110"/>
                    <a:pt x="376" y="111"/>
                  </a:cubicBezTo>
                  <a:cubicBezTo>
                    <a:pt x="376" y="111"/>
                    <a:pt x="376" y="111"/>
                    <a:pt x="376" y="112"/>
                  </a:cubicBezTo>
                  <a:cubicBezTo>
                    <a:pt x="376" y="112"/>
                    <a:pt x="376" y="112"/>
                    <a:pt x="375" y="112"/>
                  </a:cubicBezTo>
                  <a:cubicBezTo>
                    <a:pt x="375" y="112"/>
                    <a:pt x="374" y="112"/>
                    <a:pt x="374" y="112"/>
                  </a:cubicBezTo>
                  <a:cubicBezTo>
                    <a:pt x="373" y="113"/>
                    <a:pt x="373" y="113"/>
                    <a:pt x="373" y="113"/>
                  </a:cubicBezTo>
                  <a:cubicBezTo>
                    <a:pt x="373" y="113"/>
                    <a:pt x="372" y="113"/>
                    <a:pt x="372" y="113"/>
                  </a:cubicBezTo>
                  <a:cubicBezTo>
                    <a:pt x="372" y="113"/>
                    <a:pt x="372" y="113"/>
                    <a:pt x="371" y="112"/>
                  </a:cubicBezTo>
                  <a:cubicBezTo>
                    <a:pt x="371" y="112"/>
                    <a:pt x="370" y="112"/>
                    <a:pt x="370" y="112"/>
                  </a:cubicBezTo>
                  <a:cubicBezTo>
                    <a:pt x="370" y="112"/>
                    <a:pt x="370" y="111"/>
                    <a:pt x="370" y="111"/>
                  </a:cubicBezTo>
                  <a:cubicBezTo>
                    <a:pt x="369" y="111"/>
                    <a:pt x="369" y="112"/>
                    <a:pt x="368" y="112"/>
                  </a:cubicBezTo>
                  <a:cubicBezTo>
                    <a:pt x="368" y="112"/>
                    <a:pt x="368" y="111"/>
                    <a:pt x="367" y="111"/>
                  </a:cubicBezTo>
                  <a:cubicBezTo>
                    <a:pt x="367" y="112"/>
                    <a:pt x="367" y="112"/>
                    <a:pt x="367" y="112"/>
                  </a:cubicBezTo>
                  <a:cubicBezTo>
                    <a:pt x="366" y="113"/>
                    <a:pt x="366" y="113"/>
                    <a:pt x="365" y="113"/>
                  </a:cubicBezTo>
                  <a:cubicBezTo>
                    <a:pt x="365" y="113"/>
                    <a:pt x="364" y="113"/>
                    <a:pt x="363" y="113"/>
                  </a:cubicBezTo>
                  <a:cubicBezTo>
                    <a:pt x="363" y="113"/>
                    <a:pt x="362" y="113"/>
                    <a:pt x="362" y="114"/>
                  </a:cubicBezTo>
                  <a:cubicBezTo>
                    <a:pt x="361" y="114"/>
                    <a:pt x="361" y="114"/>
                    <a:pt x="361" y="115"/>
                  </a:cubicBezTo>
                  <a:cubicBezTo>
                    <a:pt x="361" y="115"/>
                    <a:pt x="361" y="116"/>
                    <a:pt x="361" y="116"/>
                  </a:cubicBezTo>
                  <a:cubicBezTo>
                    <a:pt x="360" y="117"/>
                    <a:pt x="359" y="116"/>
                    <a:pt x="359" y="116"/>
                  </a:cubicBezTo>
                  <a:cubicBezTo>
                    <a:pt x="358" y="116"/>
                    <a:pt x="357" y="116"/>
                    <a:pt x="357" y="116"/>
                  </a:cubicBezTo>
                  <a:cubicBezTo>
                    <a:pt x="356" y="116"/>
                    <a:pt x="356" y="117"/>
                    <a:pt x="356" y="118"/>
                  </a:cubicBezTo>
                  <a:cubicBezTo>
                    <a:pt x="356" y="118"/>
                    <a:pt x="356" y="119"/>
                    <a:pt x="355" y="120"/>
                  </a:cubicBezTo>
                  <a:cubicBezTo>
                    <a:pt x="355" y="120"/>
                    <a:pt x="354" y="118"/>
                    <a:pt x="354" y="118"/>
                  </a:cubicBezTo>
                  <a:cubicBezTo>
                    <a:pt x="353" y="117"/>
                    <a:pt x="353" y="116"/>
                    <a:pt x="352" y="116"/>
                  </a:cubicBezTo>
                  <a:cubicBezTo>
                    <a:pt x="351" y="116"/>
                    <a:pt x="350" y="116"/>
                    <a:pt x="350" y="116"/>
                  </a:cubicBezTo>
                  <a:cubicBezTo>
                    <a:pt x="349" y="116"/>
                    <a:pt x="349" y="115"/>
                    <a:pt x="349" y="115"/>
                  </a:cubicBezTo>
                  <a:cubicBezTo>
                    <a:pt x="349" y="115"/>
                    <a:pt x="349" y="114"/>
                    <a:pt x="348" y="114"/>
                  </a:cubicBezTo>
                  <a:cubicBezTo>
                    <a:pt x="348" y="114"/>
                    <a:pt x="344" y="113"/>
                    <a:pt x="345" y="112"/>
                  </a:cubicBezTo>
                  <a:cubicBezTo>
                    <a:pt x="346" y="112"/>
                    <a:pt x="346" y="112"/>
                    <a:pt x="346" y="111"/>
                  </a:cubicBezTo>
                  <a:cubicBezTo>
                    <a:pt x="346" y="110"/>
                    <a:pt x="345" y="109"/>
                    <a:pt x="344" y="110"/>
                  </a:cubicBezTo>
                  <a:cubicBezTo>
                    <a:pt x="344" y="111"/>
                    <a:pt x="344" y="111"/>
                    <a:pt x="344" y="111"/>
                  </a:cubicBezTo>
                  <a:cubicBezTo>
                    <a:pt x="343" y="112"/>
                    <a:pt x="343" y="112"/>
                    <a:pt x="343" y="113"/>
                  </a:cubicBezTo>
                  <a:cubicBezTo>
                    <a:pt x="342" y="113"/>
                    <a:pt x="341" y="114"/>
                    <a:pt x="340" y="113"/>
                  </a:cubicBezTo>
                  <a:cubicBezTo>
                    <a:pt x="340" y="113"/>
                    <a:pt x="340" y="112"/>
                    <a:pt x="339" y="112"/>
                  </a:cubicBezTo>
                  <a:cubicBezTo>
                    <a:pt x="339" y="112"/>
                    <a:pt x="339" y="112"/>
                    <a:pt x="338" y="112"/>
                  </a:cubicBezTo>
                  <a:cubicBezTo>
                    <a:pt x="338" y="112"/>
                    <a:pt x="338" y="112"/>
                    <a:pt x="337" y="112"/>
                  </a:cubicBezTo>
                  <a:cubicBezTo>
                    <a:pt x="337" y="113"/>
                    <a:pt x="337" y="112"/>
                    <a:pt x="337" y="112"/>
                  </a:cubicBezTo>
                  <a:cubicBezTo>
                    <a:pt x="337" y="112"/>
                    <a:pt x="337" y="112"/>
                    <a:pt x="337" y="111"/>
                  </a:cubicBezTo>
                  <a:cubicBezTo>
                    <a:pt x="337" y="111"/>
                    <a:pt x="336" y="110"/>
                    <a:pt x="336" y="109"/>
                  </a:cubicBezTo>
                  <a:cubicBezTo>
                    <a:pt x="335" y="109"/>
                    <a:pt x="335" y="109"/>
                    <a:pt x="335" y="109"/>
                  </a:cubicBezTo>
                  <a:cubicBezTo>
                    <a:pt x="335" y="109"/>
                    <a:pt x="334" y="109"/>
                    <a:pt x="333" y="109"/>
                  </a:cubicBezTo>
                  <a:cubicBezTo>
                    <a:pt x="333" y="109"/>
                    <a:pt x="333" y="110"/>
                    <a:pt x="333" y="110"/>
                  </a:cubicBezTo>
                  <a:cubicBezTo>
                    <a:pt x="333" y="111"/>
                    <a:pt x="333" y="111"/>
                    <a:pt x="333" y="112"/>
                  </a:cubicBezTo>
                  <a:cubicBezTo>
                    <a:pt x="332" y="112"/>
                    <a:pt x="331" y="112"/>
                    <a:pt x="331" y="113"/>
                  </a:cubicBezTo>
                  <a:cubicBezTo>
                    <a:pt x="331" y="113"/>
                    <a:pt x="331" y="113"/>
                    <a:pt x="331" y="113"/>
                  </a:cubicBezTo>
                  <a:cubicBezTo>
                    <a:pt x="331" y="113"/>
                    <a:pt x="330" y="113"/>
                    <a:pt x="330" y="113"/>
                  </a:cubicBezTo>
                  <a:cubicBezTo>
                    <a:pt x="330" y="113"/>
                    <a:pt x="329" y="114"/>
                    <a:pt x="329" y="114"/>
                  </a:cubicBezTo>
                  <a:cubicBezTo>
                    <a:pt x="329" y="115"/>
                    <a:pt x="329" y="115"/>
                    <a:pt x="329" y="116"/>
                  </a:cubicBezTo>
                  <a:cubicBezTo>
                    <a:pt x="330" y="116"/>
                    <a:pt x="329" y="116"/>
                    <a:pt x="329" y="117"/>
                  </a:cubicBezTo>
                  <a:cubicBezTo>
                    <a:pt x="329" y="117"/>
                    <a:pt x="329" y="118"/>
                    <a:pt x="329" y="118"/>
                  </a:cubicBezTo>
                  <a:cubicBezTo>
                    <a:pt x="327" y="118"/>
                    <a:pt x="326" y="117"/>
                    <a:pt x="326" y="116"/>
                  </a:cubicBezTo>
                  <a:cubicBezTo>
                    <a:pt x="326" y="115"/>
                    <a:pt x="326" y="115"/>
                    <a:pt x="326" y="114"/>
                  </a:cubicBezTo>
                  <a:cubicBezTo>
                    <a:pt x="326" y="114"/>
                    <a:pt x="326" y="113"/>
                    <a:pt x="326" y="113"/>
                  </a:cubicBezTo>
                  <a:cubicBezTo>
                    <a:pt x="326" y="112"/>
                    <a:pt x="326" y="112"/>
                    <a:pt x="326" y="111"/>
                  </a:cubicBezTo>
                  <a:cubicBezTo>
                    <a:pt x="326" y="111"/>
                    <a:pt x="326" y="110"/>
                    <a:pt x="325" y="110"/>
                  </a:cubicBezTo>
                  <a:cubicBezTo>
                    <a:pt x="325" y="110"/>
                    <a:pt x="325" y="111"/>
                    <a:pt x="324" y="111"/>
                  </a:cubicBezTo>
                  <a:cubicBezTo>
                    <a:pt x="324" y="112"/>
                    <a:pt x="324" y="112"/>
                    <a:pt x="324" y="112"/>
                  </a:cubicBezTo>
                  <a:cubicBezTo>
                    <a:pt x="323" y="112"/>
                    <a:pt x="323" y="112"/>
                    <a:pt x="323" y="112"/>
                  </a:cubicBezTo>
                  <a:cubicBezTo>
                    <a:pt x="322" y="111"/>
                    <a:pt x="322" y="111"/>
                    <a:pt x="321" y="112"/>
                  </a:cubicBezTo>
                  <a:cubicBezTo>
                    <a:pt x="321" y="112"/>
                    <a:pt x="321" y="112"/>
                    <a:pt x="321" y="112"/>
                  </a:cubicBezTo>
                  <a:cubicBezTo>
                    <a:pt x="320" y="113"/>
                    <a:pt x="320" y="113"/>
                    <a:pt x="320" y="113"/>
                  </a:cubicBezTo>
                  <a:cubicBezTo>
                    <a:pt x="320" y="114"/>
                    <a:pt x="319" y="114"/>
                    <a:pt x="318" y="114"/>
                  </a:cubicBezTo>
                  <a:cubicBezTo>
                    <a:pt x="317" y="114"/>
                    <a:pt x="317" y="113"/>
                    <a:pt x="316" y="113"/>
                  </a:cubicBezTo>
                  <a:cubicBezTo>
                    <a:pt x="316" y="112"/>
                    <a:pt x="317" y="112"/>
                    <a:pt x="317" y="111"/>
                  </a:cubicBezTo>
                  <a:cubicBezTo>
                    <a:pt x="316" y="110"/>
                    <a:pt x="314" y="111"/>
                    <a:pt x="313" y="111"/>
                  </a:cubicBezTo>
                  <a:cubicBezTo>
                    <a:pt x="313" y="111"/>
                    <a:pt x="313" y="111"/>
                    <a:pt x="312" y="110"/>
                  </a:cubicBezTo>
                  <a:cubicBezTo>
                    <a:pt x="312" y="110"/>
                    <a:pt x="312" y="109"/>
                    <a:pt x="312" y="109"/>
                  </a:cubicBezTo>
                  <a:cubicBezTo>
                    <a:pt x="312" y="108"/>
                    <a:pt x="311" y="108"/>
                    <a:pt x="310" y="108"/>
                  </a:cubicBezTo>
                  <a:cubicBezTo>
                    <a:pt x="310" y="107"/>
                    <a:pt x="310" y="107"/>
                    <a:pt x="309" y="107"/>
                  </a:cubicBezTo>
                  <a:cubicBezTo>
                    <a:pt x="309" y="107"/>
                    <a:pt x="308" y="107"/>
                    <a:pt x="308" y="108"/>
                  </a:cubicBezTo>
                  <a:cubicBezTo>
                    <a:pt x="308" y="108"/>
                    <a:pt x="307" y="108"/>
                    <a:pt x="307" y="109"/>
                  </a:cubicBezTo>
                  <a:cubicBezTo>
                    <a:pt x="306" y="109"/>
                    <a:pt x="306" y="109"/>
                    <a:pt x="306" y="110"/>
                  </a:cubicBezTo>
                  <a:cubicBezTo>
                    <a:pt x="305" y="110"/>
                    <a:pt x="304" y="111"/>
                    <a:pt x="303" y="111"/>
                  </a:cubicBezTo>
                  <a:cubicBezTo>
                    <a:pt x="303" y="112"/>
                    <a:pt x="303" y="112"/>
                    <a:pt x="302" y="112"/>
                  </a:cubicBezTo>
                  <a:cubicBezTo>
                    <a:pt x="301" y="112"/>
                    <a:pt x="301" y="112"/>
                    <a:pt x="300" y="111"/>
                  </a:cubicBezTo>
                  <a:cubicBezTo>
                    <a:pt x="300" y="111"/>
                    <a:pt x="299" y="111"/>
                    <a:pt x="299" y="110"/>
                  </a:cubicBezTo>
                  <a:cubicBezTo>
                    <a:pt x="298" y="110"/>
                    <a:pt x="299" y="108"/>
                    <a:pt x="299" y="108"/>
                  </a:cubicBezTo>
                  <a:cubicBezTo>
                    <a:pt x="299" y="108"/>
                    <a:pt x="299" y="107"/>
                    <a:pt x="299" y="107"/>
                  </a:cubicBezTo>
                  <a:cubicBezTo>
                    <a:pt x="299" y="107"/>
                    <a:pt x="299" y="107"/>
                    <a:pt x="298" y="107"/>
                  </a:cubicBezTo>
                  <a:cubicBezTo>
                    <a:pt x="297" y="107"/>
                    <a:pt x="296" y="106"/>
                    <a:pt x="296" y="106"/>
                  </a:cubicBezTo>
                  <a:cubicBezTo>
                    <a:pt x="295" y="106"/>
                    <a:pt x="295" y="106"/>
                    <a:pt x="295" y="105"/>
                  </a:cubicBezTo>
                  <a:cubicBezTo>
                    <a:pt x="295" y="104"/>
                    <a:pt x="294" y="103"/>
                    <a:pt x="294" y="102"/>
                  </a:cubicBezTo>
                  <a:cubicBezTo>
                    <a:pt x="294" y="102"/>
                    <a:pt x="294" y="101"/>
                    <a:pt x="294" y="100"/>
                  </a:cubicBezTo>
                  <a:cubicBezTo>
                    <a:pt x="293" y="100"/>
                    <a:pt x="293" y="101"/>
                    <a:pt x="292" y="102"/>
                  </a:cubicBezTo>
                  <a:cubicBezTo>
                    <a:pt x="291" y="102"/>
                    <a:pt x="290" y="101"/>
                    <a:pt x="289" y="101"/>
                  </a:cubicBezTo>
                  <a:cubicBezTo>
                    <a:pt x="288" y="100"/>
                    <a:pt x="287" y="100"/>
                    <a:pt x="286" y="100"/>
                  </a:cubicBezTo>
                  <a:cubicBezTo>
                    <a:pt x="285" y="100"/>
                    <a:pt x="285" y="101"/>
                    <a:pt x="285" y="101"/>
                  </a:cubicBezTo>
                  <a:cubicBezTo>
                    <a:pt x="284" y="102"/>
                    <a:pt x="284" y="102"/>
                    <a:pt x="284" y="102"/>
                  </a:cubicBezTo>
                  <a:cubicBezTo>
                    <a:pt x="283" y="103"/>
                    <a:pt x="282" y="103"/>
                    <a:pt x="281" y="103"/>
                  </a:cubicBezTo>
                  <a:cubicBezTo>
                    <a:pt x="280" y="102"/>
                    <a:pt x="279" y="101"/>
                    <a:pt x="278" y="100"/>
                  </a:cubicBezTo>
                  <a:cubicBezTo>
                    <a:pt x="277" y="99"/>
                    <a:pt x="275" y="100"/>
                    <a:pt x="273" y="100"/>
                  </a:cubicBezTo>
                  <a:cubicBezTo>
                    <a:pt x="273" y="101"/>
                    <a:pt x="272" y="101"/>
                    <a:pt x="271" y="101"/>
                  </a:cubicBezTo>
                  <a:cubicBezTo>
                    <a:pt x="271" y="101"/>
                    <a:pt x="270" y="99"/>
                    <a:pt x="269" y="100"/>
                  </a:cubicBezTo>
                  <a:cubicBezTo>
                    <a:pt x="269" y="100"/>
                    <a:pt x="268" y="100"/>
                    <a:pt x="268" y="100"/>
                  </a:cubicBezTo>
                  <a:cubicBezTo>
                    <a:pt x="267" y="100"/>
                    <a:pt x="267" y="99"/>
                    <a:pt x="266" y="99"/>
                  </a:cubicBezTo>
                  <a:cubicBezTo>
                    <a:pt x="266" y="99"/>
                    <a:pt x="265" y="98"/>
                    <a:pt x="265" y="98"/>
                  </a:cubicBezTo>
                  <a:cubicBezTo>
                    <a:pt x="265" y="98"/>
                    <a:pt x="264" y="97"/>
                    <a:pt x="264" y="97"/>
                  </a:cubicBezTo>
                  <a:cubicBezTo>
                    <a:pt x="263" y="97"/>
                    <a:pt x="263" y="97"/>
                    <a:pt x="263" y="98"/>
                  </a:cubicBezTo>
                  <a:cubicBezTo>
                    <a:pt x="262" y="98"/>
                    <a:pt x="262" y="98"/>
                    <a:pt x="261" y="98"/>
                  </a:cubicBezTo>
                  <a:cubicBezTo>
                    <a:pt x="260" y="98"/>
                    <a:pt x="259" y="97"/>
                    <a:pt x="258" y="97"/>
                  </a:cubicBezTo>
                  <a:cubicBezTo>
                    <a:pt x="258" y="97"/>
                    <a:pt x="257" y="97"/>
                    <a:pt x="257" y="97"/>
                  </a:cubicBezTo>
                  <a:cubicBezTo>
                    <a:pt x="256" y="96"/>
                    <a:pt x="256" y="94"/>
                    <a:pt x="256" y="93"/>
                  </a:cubicBezTo>
                  <a:cubicBezTo>
                    <a:pt x="256" y="93"/>
                    <a:pt x="256" y="92"/>
                    <a:pt x="255" y="92"/>
                  </a:cubicBezTo>
                  <a:cubicBezTo>
                    <a:pt x="255" y="92"/>
                    <a:pt x="255" y="91"/>
                    <a:pt x="254" y="91"/>
                  </a:cubicBezTo>
                  <a:cubicBezTo>
                    <a:pt x="254" y="90"/>
                    <a:pt x="254" y="90"/>
                    <a:pt x="254" y="90"/>
                  </a:cubicBezTo>
                  <a:cubicBezTo>
                    <a:pt x="254" y="89"/>
                    <a:pt x="253" y="90"/>
                    <a:pt x="253" y="89"/>
                  </a:cubicBezTo>
                  <a:cubicBezTo>
                    <a:pt x="253" y="89"/>
                    <a:pt x="252" y="89"/>
                    <a:pt x="252" y="88"/>
                  </a:cubicBezTo>
                  <a:cubicBezTo>
                    <a:pt x="252" y="88"/>
                    <a:pt x="252" y="88"/>
                    <a:pt x="251" y="88"/>
                  </a:cubicBezTo>
                  <a:cubicBezTo>
                    <a:pt x="251" y="87"/>
                    <a:pt x="251" y="87"/>
                    <a:pt x="251" y="87"/>
                  </a:cubicBezTo>
                  <a:cubicBezTo>
                    <a:pt x="250" y="88"/>
                    <a:pt x="250" y="88"/>
                    <a:pt x="250" y="89"/>
                  </a:cubicBezTo>
                  <a:cubicBezTo>
                    <a:pt x="250" y="89"/>
                    <a:pt x="250" y="90"/>
                    <a:pt x="249" y="91"/>
                  </a:cubicBezTo>
                  <a:cubicBezTo>
                    <a:pt x="249" y="91"/>
                    <a:pt x="248" y="90"/>
                    <a:pt x="248" y="90"/>
                  </a:cubicBezTo>
                  <a:cubicBezTo>
                    <a:pt x="247" y="90"/>
                    <a:pt x="246" y="89"/>
                    <a:pt x="246" y="89"/>
                  </a:cubicBezTo>
                  <a:cubicBezTo>
                    <a:pt x="245" y="89"/>
                    <a:pt x="245" y="89"/>
                    <a:pt x="244" y="89"/>
                  </a:cubicBezTo>
                  <a:cubicBezTo>
                    <a:pt x="244" y="89"/>
                    <a:pt x="243" y="90"/>
                    <a:pt x="243" y="90"/>
                  </a:cubicBezTo>
                  <a:cubicBezTo>
                    <a:pt x="242" y="90"/>
                    <a:pt x="241" y="90"/>
                    <a:pt x="240" y="90"/>
                  </a:cubicBezTo>
                  <a:cubicBezTo>
                    <a:pt x="240" y="90"/>
                    <a:pt x="239" y="90"/>
                    <a:pt x="238" y="90"/>
                  </a:cubicBezTo>
                  <a:cubicBezTo>
                    <a:pt x="238" y="90"/>
                    <a:pt x="238" y="89"/>
                    <a:pt x="238" y="89"/>
                  </a:cubicBezTo>
                  <a:cubicBezTo>
                    <a:pt x="237" y="88"/>
                    <a:pt x="236" y="87"/>
                    <a:pt x="236" y="87"/>
                  </a:cubicBezTo>
                  <a:cubicBezTo>
                    <a:pt x="235" y="86"/>
                    <a:pt x="234" y="85"/>
                    <a:pt x="233" y="84"/>
                  </a:cubicBezTo>
                  <a:cubicBezTo>
                    <a:pt x="233" y="83"/>
                    <a:pt x="232" y="83"/>
                    <a:pt x="231" y="82"/>
                  </a:cubicBezTo>
                  <a:cubicBezTo>
                    <a:pt x="231" y="82"/>
                    <a:pt x="231" y="82"/>
                    <a:pt x="230" y="82"/>
                  </a:cubicBezTo>
                  <a:cubicBezTo>
                    <a:pt x="230" y="83"/>
                    <a:pt x="229" y="83"/>
                    <a:pt x="229" y="82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3" y="189"/>
                    <a:pt x="123" y="189"/>
                    <a:pt x="123" y="189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0" y="190"/>
                    <a:pt x="0" y="19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1" y="191"/>
                    <a:pt x="1" y="191"/>
                    <a:pt x="1" y="191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2"/>
                    <a:pt x="0" y="193"/>
                    <a:pt x="0" y="193"/>
                  </a:cubicBezTo>
                  <a:cubicBezTo>
                    <a:pt x="0" y="193"/>
                    <a:pt x="0" y="194"/>
                    <a:pt x="0" y="195"/>
                  </a:cubicBezTo>
                  <a:cubicBezTo>
                    <a:pt x="1" y="195"/>
                    <a:pt x="2" y="196"/>
                    <a:pt x="2" y="196"/>
                  </a:cubicBezTo>
                  <a:cubicBezTo>
                    <a:pt x="3" y="196"/>
                    <a:pt x="4" y="197"/>
                    <a:pt x="4" y="197"/>
                  </a:cubicBezTo>
                  <a:cubicBezTo>
                    <a:pt x="5" y="199"/>
                    <a:pt x="5" y="199"/>
                    <a:pt x="5" y="199"/>
                  </a:cubicBezTo>
                  <a:cubicBezTo>
                    <a:pt x="6" y="198"/>
                    <a:pt x="6" y="198"/>
                    <a:pt x="6" y="198"/>
                  </a:cubicBezTo>
                  <a:cubicBezTo>
                    <a:pt x="9" y="201"/>
                    <a:pt x="9" y="201"/>
                    <a:pt x="9" y="201"/>
                  </a:cubicBezTo>
                  <a:cubicBezTo>
                    <a:pt x="12" y="206"/>
                    <a:pt x="12" y="206"/>
                    <a:pt x="12" y="206"/>
                  </a:cubicBezTo>
                  <a:cubicBezTo>
                    <a:pt x="15" y="210"/>
                    <a:pt x="15" y="210"/>
                    <a:pt x="15" y="210"/>
                  </a:cubicBezTo>
                  <a:cubicBezTo>
                    <a:pt x="15" y="210"/>
                    <a:pt x="19" y="212"/>
                    <a:pt x="19" y="212"/>
                  </a:cubicBezTo>
                  <a:cubicBezTo>
                    <a:pt x="19" y="212"/>
                    <a:pt x="22" y="214"/>
                    <a:pt x="22" y="214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28" y="220"/>
                    <a:pt x="28" y="220"/>
                    <a:pt x="28" y="220"/>
                  </a:cubicBezTo>
                  <a:cubicBezTo>
                    <a:pt x="30" y="223"/>
                    <a:pt x="30" y="223"/>
                    <a:pt x="30" y="223"/>
                  </a:cubicBezTo>
                  <a:cubicBezTo>
                    <a:pt x="36" y="226"/>
                    <a:pt x="36" y="226"/>
                    <a:pt x="36" y="226"/>
                  </a:cubicBezTo>
                  <a:cubicBezTo>
                    <a:pt x="37" y="230"/>
                    <a:pt x="37" y="230"/>
                    <a:pt x="37" y="230"/>
                  </a:cubicBezTo>
                  <a:cubicBezTo>
                    <a:pt x="42" y="233"/>
                    <a:pt x="42" y="233"/>
                    <a:pt x="42" y="233"/>
                  </a:cubicBezTo>
                  <a:cubicBezTo>
                    <a:pt x="42" y="235"/>
                    <a:pt x="42" y="235"/>
                    <a:pt x="42" y="235"/>
                  </a:cubicBezTo>
                  <a:cubicBezTo>
                    <a:pt x="47" y="237"/>
                    <a:pt x="47" y="237"/>
                    <a:pt x="47" y="237"/>
                  </a:cubicBezTo>
                  <a:cubicBezTo>
                    <a:pt x="49" y="237"/>
                    <a:pt x="49" y="237"/>
                    <a:pt x="49" y="237"/>
                  </a:cubicBezTo>
                  <a:cubicBezTo>
                    <a:pt x="49" y="237"/>
                    <a:pt x="49" y="238"/>
                    <a:pt x="49" y="238"/>
                  </a:cubicBezTo>
                  <a:cubicBezTo>
                    <a:pt x="49" y="238"/>
                    <a:pt x="52" y="239"/>
                    <a:pt x="52" y="239"/>
                  </a:cubicBezTo>
                  <a:cubicBezTo>
                    <a:pt x="52" y="239"/>
                    <a:pt x="54" y="242"/>
                    <a:pt x="54" y="242"/>
                  </a:cubicBezTo>
                  <a:cubicBezTo>
                    <a:pt x="56" y="242"/>
                    <a:pt x="56" y="242"/>
                    <a:pt x="56" y="242"/>
                  </a:cubicBezTo>
                  <a:cubicBezTo>
                    <a:pt x="57" y="245"/>
                    <a:pt x="57" y="245"/>
                    <a:pt x="57" y="245"/>
                  </a:cubicBezTo>
                  <a:cubicBezTo>
                    <a:pt x="59" y="245"/>
                    <a:pt x="59" y="245"/>
                    <a:pt x="59" y="245"/>
                  </a:cubicBezTo>
                  <a:cubicBezTo>
                    <a:pt x="61" y="249"/>
                    <a:pt x="61" y="249"/>
                    <a:pt x="61" y="249"/>
                  </a:cubicBezTo>
                  <a:cubicBezTo>
                    <a:pt x="61" y="254"/>
                    <a:pt x="61" y="254"/>
                    <a:pt x="61" y="254"/>
                  </a:cubicBezTo>
                  <a:cubicBezTo>
                    <a:pt x="67" y="260"/>
                    <a:pt x="67" y="260"/>
                    <a:pt x="67" y="260"/>
                  </a:cubicBezTo>
                  <a:cubicBezTo>
                    <a:pt x="67" y="272"/>
                    <a:pt x="67" y="272"/>
                    <a:pt x="67" y="272"/>
                  </a:cubicBezTo>
                  <a:cubicBezTo>
                    <a:pt x="67" y="272"/>
                    <a:pt x="71" y="277"/>
                    <a:pt x="71" y="277"/>
                  </a:cubicBezTo>
                  <a:cubicBezTo>
                    <a:pt x="71" y="277"/>
                    <a:pt x="72" y="283"/>
                    <a:pt x="72" y="283"/>
                  </a:cubicBezTo>
                  <a:cubicBezTo>
                    <a:pt x="75" y="286"/>
                    <a:pt x="75" y="286"/>
                    <a:pt x="75" y="286"/>
                  </a:cubicBezTo>
                  <a:cubicBezTo>
                    <a:pt x="75" y="286"/>
                    <a:pt x="80" y="288"/>
                    <a:pt x="80" y="288"/>
                  </a:cubicBezTo>
                  <a:cubicBezTo>
                    <a:pt x="80" y="288"/>
                    <a:pt x="83" y="289"/>
                    <a:pt x="83" y="289"/>
                  </a:cubicBezTo>
                  <a:cubicBezTo>
                    <a:pt x="83" y="289"/>
                    <a:pt x="85" y="293"/>
                    <a:pt x="85" y="293"/>
                  </a:cubicBezTo>
                  <a:cubicBezTo>
                    <a:pt x="85" y="293"/>
                    <a:pt x="89" y="296"/>
                    <a:pt x="89" y="296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8" y="298"/>
                    <a:pt x="98" y="298"/>
                    <a:pt x="98" y="298"/>
                  </a:cubicBezTo>
                  <a:cubicBezTo>
                    <a:pt x="98" y="300"/>
                    <a:pt x="98" y="300"/>
                    <a:pt x="98" y="300"/>
                  </a:cubicBezTo>
                  <a:cubicBezTo>
                    <a:pt x="98" y="300"/>
                    <a:pt x="100" y="300"/>
                    <a:pt x="100" y="300"/>
                  </a:cubicBezTo>
                  <a:cubicBezTo>
                    <a:pt x="100" y="300"/>
                    <a:pt x="100" y="302"/>
                    <a:pt x="100" y="302"/>
                  </a:cubicBezTo>
                  <a:cubicBezTo>
                    <a:pt x="100" y="302"/>
                    <a:pt x="103" y="302"/>
                    <a:pt x="103" y="302"/>
                  </a:cubicBezTo>
                  <a:cubicBezTo>
                    <a:pt x="103" y="302"/>
                    <a:pt x="106" y="302"/>
                    <a:pt x="106" y="302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12" y="309"/>
                    <a:pt x="112" y="309"/>
                    <a:pt x="112" y="309"/>
                  </a:cubicBezTo>
                  <a:cubicBezTo>
                    <a:pt x="114" y="307"/>
                    <a:pt x="114" y="307"/>
                    <a:pt x="114" y="307"/>
                  </a:cubicBezTo>
                  <a:cubicBezTo>
                    <a:pt x="115" y="310"/>
                    <a:pt x="115" y="310"/>
                    <a:pt x="115" y="310"/>
                  </a:cubicBezTo>
                  <a:cubicBezTo>
                    <a:pt x="121" y="310"/>
                    <a:pt x="121" y="310"/>
                    <a:pt x="121" y="310"/>
                  </a:cubicBezTo>
                  <a:cubicBezTo>
                    <a:pt x="122" y="307"/>
                    <a:pt x="122" y="307"/>
                    <a:pt x="122" y="307"/>
                  </a:cubicBezTo>
                  <a:cubicBezTo>
                    <a:pt x="122" y="307"/>
                    <a:pt x="125" y="304"/>
                    <a:pt x="125" y="304"/>
                  </a:cubicBezTo>
                  <a:cubicBezTo>
                    <a:pt x="125" y="304"/>
                    <a:pt x="125" y="303"/>
                    <a:pt x="125" y="303"/>
                  </a:cubicBezTo>
                  <a:cubicBezTo>
                    <a:pt x="125" y="303"/>
                    <a:pt x="126" y="301"/>
                    <a:pt x="126" y="301"/>
                  </a:cubicBezTo>
                  <a:cubicBezTo>
                    <a:pt x="126" y="301"/>
                    <a:pt x="127" y="302"/>
                    <a:pt x="127" y="302"/>
                  </a:cubicBezTo>
                  <a:cubicBezTo>
                    <a:pt x="130" y="300"/>
                    <a:pt x="130" y="300"/>
                    <a:pt x="130" y="300"/>
                  </a:cubicBezTo>
                  <a:cubicBezTo>
                    <a:pt x="130" y="300"/>
                    <a:pt x="129" y="299"/>
                    <a:pt x="129" y="299"/>
                  </a:cubicBezTo>
                  <a:cubicBezTo>
                    <a:pt x="128" y="298"/>
                    <a:pt x="128" y="298"/>
                    <a:pt x="129" y="298"/>
                  </a:cubicBezTo>
                  <a:cubicBezTo>
                    <a:pt x="129" y="298"/>
                    <a:pt x="129" y="297"/>
                    <a:pt x="129" y="297"/>
                  </a:cubicBezTo>
                  <a:cubicBezTo>
                    <a:pt x="129" y="297"/>
                    <a:pt x="129" y="296"/>
                    <a:pt x="129" y="296"/>
                  </a:cubicBezTo>
                  <a:cubicBezTo>
                    <a:pt x="129" y="295"/>
                    <a:pt x="130" y="294"/>
                    <a:pt x="130" y="294"/>
                  </a:cubicBezTo>
                  <a:cubicBezTo>
                    <a:pt x="130" y="294"/>
                    <a:pt x="132" y="293"/>
                    <a:pt x="132" y="293"/>
                  </a:cubicBezTo>
                  <a:cubicBezTo>
                    <a:pt x="132" y="288"/>
                    <a:pt x="132" y="288"/>
                    <a:pt x="132" y="288"/>
                  </a:cubicBezTo>
                  <a:cubicBezTo>
                    <a:pt x="137" y="279"/>
                    <a:pt x="137" y="279"/>
                    <a:pt x="137" y="279"/>
                  </a:cubicBezTo>
                  <a:cubicBezTo>
                    <a:pt x="138" y="280"/>
                    <a:pt x="138" y="280"/>
                    <a:pt x="138" y="280"/>
                  </a:cubicBezTo>
                  <a:cubicBezTo>
                    <a:pt x="140" y="278"/>
                    <a:pt x="140" y="278"/>
                    <a:pt x="140" y="278"/>
                  </a:cubicBezTo>
                  <a:cubicBezTo>
                    <a:pt x="141" y="279"/>
                    <a:pt x="141" y="279"/>
                    <a:pt x="141" y="279"/>
                  </a:cubicBezTo>
                  <a:cubicBezTo>
                    <a:pt x="143" y="277"/>
                    <a:pt x="143" y="277"/>
                    <a:pt x="143" y="277"/>
                  </a:cubicBezTo>
                  <a:cubicBezTo>
                    <a:pt x="143" y="277"/>
                    <a:pt x="145" y="278"/>
                    <a:pt x="145" y="278"/>
                  </a:cubicBezTo>
                  <a:cubicBezTo>
                    <a:pt x="145" y="278"/>
                    <a:pt x="146" y="279"/>
                    <a:pt x="146" y="279"/>
                  </a:cubicBezTo>
                  <a:cubicBezTo>
                    <a:pt x="147" y="276"/>
                    <a:pt x="147" y="276"/>
                    <a:pt x="147" y="276"/>
                  </a:cubicBezTo>
                  <a:cubicBezTo>
                    <a:pt x="149" y="274"/>
                    <a:pt x="149" y="274"/>
                    <a:pt x="149" y="274"/>
                  </a:cubicBezTo>
                  <a:cubicBezTo>
                    <a:pt x="158" y="278"/>
                    <a:pt x="158" y="278"/>
                    <a:pt x="158" y="278"/>
                  </a:cubicBezTo>
                  <a:cubicBezTo>
                    <a:pt x="160" y="276"/>
                    <a:pt x="160" y="276"/>
                    <a:pt x="160" y="276"/>
                  </a:cubicBezTo>
                  <a:cubicBezTo>
                    <a:pt x="162" y="278"/>
                    <a:pt x="162" y="278"/>
                    <a:pt x="162" y="278"/>
                  </a:cubicBezTo>
                  <a:cubicBezTo>
                    <a:pt x="164" y="277"/>
                    <a:pt x="164" y="277"/>
                    <a:pt x="164" y="277"/>
                  </a:cubicBezTo>
                  <a:cubicBezTo>
                    <a:pt x="166" y="277"/>
                    <a:pt x="166" y="277"/>
                    <a:pt x="166" y="277"/>
                  </a:cubicBezTo>
                  <a:cubicBezTo>
                    <a:pt x="167" y="277"/>
                    <a:pt x="167" y="277"/>
                    <a:pt x="167" y="277"/>
                  </a:cubicBezTo>
                  <a:cubicBezTo>
                    <a:pt x="167" y="278"/>
                    <a:pt x="167" y="278"/>
                    <a:pt x="167" y="278"/>
                  </a:cubicBezTo>
                  <a:cubicBezTo>
                    <a:pt x="167" y="278"/>
                    <a:pt x="169" y="278"/>
                    <a:pt x="169" y="278"/>
                  </a:cubicBezTo>
                  <a:cubicBezTo>
                    <a:pt x="170" y="278"/>
                    <a:pt x="171" y="279"/>
                    <a:pt x="171" y="279"/>
                  </a:cubicBezTo>
                  <a:cubicBezTo>
                    <a:pt x="171" y="279"/>
                    <a:pt x="173" y="279"/>
                    <a:pt x="173" y="279"/>
                  </a:cubicBezTo>
                  <a:cubicBezTo>
                    <a:pt x="173" y="279"/>
                    <a:pt x="175" y="278"/>
                    <a:pt x="175" y="278"/>
                  </a:cubicBezTo>
                  <a:cubicBezTo>
                    <a:pt x="176" y="277"/>
                    <a:pt x="176" y="277"/>
                    <a:pt x="176" y="277"/>
                  </a:cubicBezTo>
                  <a:cubicBezTo>
                    <a:pt x="176" y="279"/>
                    <a:pt x="176" y="279"/>
                    <a:pt x="176" y="279"/>
                  </a:cubicBezTo>
                  <a:cubicBezTo>
                    <a:pt x="176" y="279"/>
                    <a:pt x="178" y="278"/>
                    <a:pt x="178" y="278"/>
                  </a:cubicBezTo>
                  <a:cubicBezTo>
                    <a:pt x="178" y="278"/>
                    <a:pt x="178" y="278"/>
                    <a:pt x="178" y="278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80" y="279"/>
                    <a:pt x="180" y="279"/>
                    <a:pt x="180" y="279"/>
                  </a:cubicBezTo>
                  <a:cubicBezTo>
                    <a:pt x="180" y="280"/>
                    <a:pt x="180" y="280"/>
                    <a:pt x="180" y="280"/>
                  </a:cubicBezTo>
                  <a:cubicBezTo>
                    <a:pt x="182" y="283"/>
                    <a:pt x="182" y="283"/>
                    <a:pt x="182" y="283"/>
                  </a:cubicBezTo>
                  <a:cubicBezTo>
                    <a:pt x="184" y="283"/>
                    <a:pt x="184" y="283"/>
                    <a:pt x="184" y="283"/>
                  </a:cubicBezTo>
                  <a:cubicBezTo>
                    <a:pt x="184" y="286"/>
                    <a:pt x="184" y="286"/>
                    <a:pt x="184" y="286"/>
                  </a:cubicBezTo>
                  <a:cubicBezTo>
                    <a:pt x="186" y="284"/>
                    <a:pt x="186" y="284"/>
                    <a:pt x="186" y="284"/>
                  </a:cubicBezTo>
                  <a:cubicBezTo>
                    <a:pt x="186" y="288"/>
                    <a:pt x="186" y="288"/>
                    <a:pt x="186" y="288"/>
                  </a:cubicBezTo>
                  <a:cubicBezTo>
                    <a:pt x="192" y="290"/>
                    <a:pt x="192" y="290"/>
                    <a:pt x="192" y="290"/>
                  </a:cubicBezTo>
                  <a:cubicBezTo>
                    <a:pt x="194" y="294"/>
                    <a:pt x="194" y="294"/>
                    <a:pt x="194" y="294"/>
                  </a:cubicBezTo>
                  <a:cubicBezTo>
                    <a:pt x="201" y="298"/>
                    <a:pt x="201" y="298"/>
                    <a:pt x="201" y="298"/>
                  </a:cubicBezTo>
                  <a:cubicBezTo>
                    <a:pt x="202" y="302"/>
                    <a:pt x="202" y="302"/>
                    <a:pt x="202" y="302"/>
                  </a:cubicBezTo>
                  <a:cubicBezTo>
                    <a:pt x="206" y="305"/>
                    <a:pt x="206" y="305"/>
                    <a:pt x="206" y="305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0" y="316"/>
                    <a:pt x="210" y="316"/>
                    <a:pt x="210" y="316"/>
                  </a:cubicBezTo>
                  <a:cubicBezTo>
                    <a:pt x="211" y="321"/>
                    <a:pt x="211" y="321"/>
                    <a:pt x="211" y="321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5" y="328"/>
                    <a:pt x="215" y="328"/>
                    <a:pt x="215" y="328"/>
                  </a:cubicBezTo>
                  <a:cubicBezTo>
                    <a:pt x="218" y="328"/>
                    <a:pt x="218" y="328"/>
                    <a:pt x="218" y="328"/>
                  </a:cubicBezTo>
                  <a:cubicBezTo>
                    <a:pt x="216" y="330"/>
                    <a:pt x="216" y="330"/>
                    <a:pt x="216" y="330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18" y="335"/>
                    <a:pt x="218" y="335"/>
                    <a:pt x="218" y="335"/>
                  </a:cubicBezTo>
                  <a:cubicBezTo>
                    <a:pt x="219" y="337"/>
                    <a:pt x="219" y="337"/>
                    <a:pt x="219" y="337"/>
                  </a:cubicBezTo>
                  <a:cubicBezTo>
                    <a:pt x="221" y="339"/>
                    <a:pt x="221" y="339"/>
                    <a:pt x="221" y="339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6" y="342"/>
                    <a:pt x="226" y="342"/>
                    <a:pt x="226" y="342"/>
                  </a:cubicBezTo>
                  <a:cubicBezTo>
                    <a:pt x="229" y="348"/>
                    <a:pt x="229" y="348"/>
                    <a:pt x="229" y="348"/>
                  </a:cubicBezTo>
                  <a:cubicBezTo>
                    <a:pt x="231" y="349"/>
                    <a:pt x="231" y="349"/>
                    <a:pt x="231" y="349"/>
                  </a:cubicBezTo>
                  <a:cubicBezTo>
                    <a:pt x="234" y="357"/>
                    <a:pt x="234" y="357"/>
                    <a:pt x="234" y="357"/>
                  </a:cubicBezTo>
                  <a:cubicBezTo>
                    <a:pt x="236" y="357"/>
                    <a:pt x="236" y="357"/>
                    <a:pt x="236" y="357"/>
                  </a:cubicBezTo>
                  <a:cubicBezTo>
                    <a:pt x="239" y="361"/>
                    <a:pt x="239" y="361"/>
                    <a:pt x="239" y="361"/>
                  </a:cubicBezTo>
                  <a:cubicBezTo>
                    <a:pt x="244" y="363"/>
                    <a:pt x="244" y="363"/>
                    <a:pt x="244" y="363"/>
                  </a:cubicBezTo>
                  <a:cubicBezTo>
                    <a:pt x="245" y="365"/>
                    <a:pt x="245" y="365"/>
                    <a:pt x="245" y="365"/>
                  </a:cubicBezTo>
                  <a:cubicBezTo>
                    <a:pt x="247" y="370"/>
                    <a:pt x="247" y="370"/>
                    <a:pt x="247" y="370"/>
                  </a:cubicBezTo>
                  <a:cubicBezTo>
                    <a:pt x="247" y="370"/>
                    <a:pt x="246" y="372"/>
                    <a:pt x="246" y="372"/>
                  </a:cubicBezTo>
                  <a:cubicBezTo>
                    <a:pt x="246" y="372"/>
                    <a:pt x="245" y="375"/>
                    <a:pt x="245" y="375"/>
                  </a:cubicBezTo>
                  <a:cubicBezTo>
                    <a:pt x="248" y="377"/>
                    <a:pt x="248" y="377"/>
                    <a:pt x="248" y="377"/>
                  </a:cubicBezTo>
                  <a:cubicBezTo>
                    <a:pt x="249" y="383"/>
                    <a:pt x="249" y="383"/>
                    <a:pt x="249" y="383"/>
                  </a:cubicBezTo>
                  <a:cubicBezTo>
                    <a:pt x="248" y="385"/>
                    <a:pt x="248" y="385"/>
                    <a:pt x="248" y="385"/>
                  </a:cubicBezTo>
                  <a:cubicBezTo>
                    <a:pt x="250" y="388"/>
                    <a:pt x="250" y="388"/>
                    <a:pt x="250" y="388"/>
                  </a:cubicBezTo>
                  <a:cubicBezTo>
                    <a:pt x="250" y="389"/>
                    <a:pt x="250" y="389"/>
                    <a:pt x="250" y="389"/>
                  </a:cubicBezTo>
                  <a:cubicBezTo>
                    <a:pt x="252" y="390"/>
                    <a:pt x="252" y="390"/>
                    <a:pt x="252" y="390"/>
                  </a:cubicBezTo>
                  <a:cubicBezTo>
                    <a:pt x="252" y="392"/>
                    <a:pt x="252" y="392"/>
                    <a:pt x="252" y="392"/>
                  </a:cubicBezTo>
                  <a:cubicBezTo>
                    <a:pt x="254" y="393"/>
                    <a:pt x="254" y="393"/>
                    <a:pt x="254" y="393"/>
                  </a:cubicBezTo>
                  <a:cubicBezTo>
                    <a:pt x="256" y="397"/>
                    <a:pt x="256" y="397"/>
                    <a:pt x="256" y="397"/>
                  </a:cubicBezTo>
                  <a:cubicBezTo>
                    <a:pt x="256" y="397"/>
                    <a:pt x="257" y="399"/>
                    <a:pt x="257" y="400"/>
                  </a:cubicBezTo>
                  <a:cubicBezTo>
                    <a:pt x="257" y="400"/>
                    <a:pt x="257" y="405"/>
                    <a:pt x="257" y="405"/>
                  </a:cubicBezTo>
                  <a:cubicBezTo>
                    <a:pt x="260" y="407"/>
                    <a:pt x="260" y="407"/>
                    <a:pt x="260" y="407"/>
                  </a:cubicBezTo>
                  <a:cubicBezTo>
                    <a:pt x="260" y="407"/>
                    <a:pt x="259" y="409"/>
                    <a:pt x="259" y="409"/>
                  </a:cubicBezTo>
                  <a:cubicBezTo>
                    <a:pt x="259" y="409"/>
                    <a:pt x="260" y="410"/>
                    <a:pt x="260" y="410"/>
                  </a:cubicBezTo>
                  <a:cubicBezTo>
                    <a:pt x="264" y="410"/>
                    <a:pt x="264" y="410"/>
                    <a:pt x="264" y="410"/>
                  </a:cubicBezTo>
                  <a:cubicBezTo>
                    <a:pt x="265" y="411"/>
                    <a:pt x="265" y="411"/>
                    <a:pt x="265" y="411"/>
                  </a:cubicBezTo>
                  <a:cubicBezTo>
                    <a:pt x="266" y="410"/>
                    <a:pt x="266" y="410"/>
                    <a:pt x="266" y="410"/>
                  </a:cubicBezTo>
                  <a:cubicBezTo>
                    <a:pt x="267" y="412"/>
                    <a:pt x="267" y="412"/>
                    <a:pt x="267" y="412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0" y="411"/>
                    <a:pt x="270" y="411"/>
                    <a:pt x="270" y="411"/>
                  </a:cubicBezTo>
                  <a:cubicBezTo>
                    <a:pt x="275" y="417"/>
                    <a:pt x="275" y="417"/>
                    <a:pt x="275" y="417"/>
                  </a:cubicBezTo>
                  <a:cubicBezTo>
                    <a:pt x="278" y="416"/>
                    <a:pt x="278" y="416"/>
                    <a:pt x="278" y="416"/>
                  </a:cubicBezTo>
                  <a:cubicBezTo>
                    <a:pt x="281" y="418"/>
                    <a:pt x="281" y="418"/>
                    <a:pt x="281" y="418"/>
                  </a:cubicBezTo>
                  <a:cubicBezTo>
                    <a:pt x="283" y="417"/>
                    <a:pt x="283" y="417"/>
                    <a:pt x="283" y="417"/>
                  </a:cubicBezTo>
                  <a:cubicBezTo>
                    <a:pt x="284" y="419"/>
                    <a:pt x="284" y="419"/>
                    <a:pt x="284" y="419"/>
                  </a:cubicBezTo>
                  <a:cubicBezTo>
                    <a:pt x="286" y="419"/>
                    <a:pt x="286" y="419"/>
                    <a:pt x="286" y="419"/>
                  </a:cubicBezTo>
                  <a:cubicBezTo>
                    <a:pt x="287" y="422"/>
                    <a:pt x="287" y="422"/>
                    <a:pt x="287" y="422"/>
                  </a:cubicBezTo>
                  <a:cubicBezTo>
                    <a:pt x="288" y="421"/>
                    <a:pt x="288" y="421"/>
                    <a:pt x="288" y="421"/>
                  </a:cubicBezTo>
                  <a:cubicBezTo>
                    <a:pt x="288" y="422"/>
                    <a:pt x="288" y="422"/>
                    <a:pt x="288" y="422"/>
                  </a:cubicBezTo>
                  <a:cubicBezTo>
                    <a:pt x="292" y="424"/>
                    <a:pt x="292" y="424"/>
                    <a:pt x="292" y="424"/>
                  </a:cubicBezTo>
                  <a:cubicBezTo>
                    <a:pt x="293" y="423"/>
                    <a:pt x="293" y="423"/>
                    <a:pt x="293" y="423"/>
                  </a:cubicBezTo>
                  <a:cubicBezTo>
                    <a:pt x="295" y="423"/>
                    <a:pt x="295" y="423"/>
                    <a:pt x="295" y="423"/>
                  </a:cubicBezTo>
                  <a:cubicBezTo>
                    <a:pt x="295" y="424"/>
                    <a:pt x="295" y="424"/>
                    <a:pt x="295" y="424"/>
                  </a:cubicBezTo>
                  <a:cubicBezTo>
                    <a:pt x="297" y="423"/>
                    <a:pt x="297" y="423"/>
                    <a:pt x="297" y="423"/>
                  </a:cubicBezTo>
                  <a:cubicBezTo>
                    <a:pt x="303" y="423"/>
                    <a:pt x="303" y="423"/>
                    <a:pt x="303" y="423"/>
                  </a:cubicBezTo>
                  <a:cubicBezTo>
                    <a:pt x="306" y="424"/>
                    <a:pt x="306" y="424"/>
                    <a:pt x="306" y="424"/>
                  </a:cubicBezTo>
                  <a:cubicBezTo>
                    <a:pt x="310" y="425"/>
                    <a:pt x="310" y="425"/>
                    <a:pt x="310" y="425"/>
                  </a:cubicBezTo>
                  <a:cubicBezTo>
                    <a:pt x="310" y="425"/>
                    <a:pt x="318" y="432"/>
                    <a:pt x="318" y="432"/>
                  </a:cubicBezTo>
                  <a:cubicBezTo>
                    <a:pt x="318" y="432"/>
                    <a:pt x="318" y="431"/>
                    <a:pt x="318" y="431"/>
                  </a:cubicBezTo>
                  <a:cubicBezTo>
                    <a:pt x="318" y="430"/>
                    <a:pt x="319" y="432"/>
                    <a:pt x="319" y="432"/>
                  </a:cubicBezTo>
                  <a:cubicBezTo>
                    <a:pt x="319" y="432"/>
                    <a:pt x="320" y="431"/>
                    <a:pt x="320" y="430"/>
                  </a:cubicBezTo>
                  <a:cubicBezTo>
                    <a:pt x="320" y="430"/>
                    <a:pt x="320" y="428"/>
                    <a:pt x="320" y="428"/>
                  </a:cubicBezTo>
                  <a:cubicBezTo>
                    <a:pt x="320" y="428"/>
                    <a:pt x="324" y="428"/>
                    <a:pt x="324" y="428"/>
                  </a:cubicBezTo>
                  <a:cubicBezTo>
                    <a:pt x="325" y="428"/>
                    <a:pt x="327" y="428"/>
                    <a:pt x="327" y="428"/>
                  </a:cubicBezTo>
                  <a:cubicBezTo>
                    <a:pt x="327" y="428"/>
                    <a:pt x="327" y="427"/>
                    <a:pt x="327" y="426"/>
                  </a:cubicBezTo>
                  <a:cubicBezTo>
                    <a:pt x="328" y="426"/>
                    <a:pt x="327" y="426"/>
                    <a:pt x="327" y="426"/>
                  </a:cubicBezTo>
                  <a:cubicBezTo>
                    <a:pt x="327" y="426"/>
                    <a:pt x="326" y="427"/>
                    <a:pt x="326" y="427"/>
                  </a:cubicBezTo>
                  <a:cubicBezTo>
                    <a:pt x="326" y="427"/>
                    <a:pt x="325" y="427"/>
                    <a:pt x="325" y="426"/>
                  </a:cubicBezTo>
                  <a:cubicBezTo>
                    <a:pt x="325" y="426"/>
                    <a:pt x="326" y="426"/>
                    <a:pt x="326" y="425"/>
                  </a:cubicBezTo>
                  <a:cubicBezTo>
                    <a:pt x="326" y="425"/>
                    <a:pt x="326" y="424"/>
                    <a:pt x="326" y="424"/>
                  </a:cubicBezTo>
                  <a:cubicBezTo>
                    <a:pt x="326" y="423"/>
                    <a:pt x="326" y="423"/>
                    <a:pt x="325" y="423"/>
                  </a:cubicBezTo>
                  <a:cubicBezTo>
                    <a:pt x="324" y="423"/>
                    <a:pt x="324" y="423"/>
                    <a:pt x="323" y="422"/>
                  </a:cubicBezTo>
                  <a:cubicBezTo>
                    <a:pt x="323" y="421"/>
                    <a:pt x="322" y="421"/>
                    <a:pt x="322" y="420"/>
                  </a:cubicBezTo>
                  <a:cubicBezTo>
                    <a:pt x="322" y="420"/>
                    <a:pt x="322" y="419"/>
                    <a:pt x="322" y="418"/>
                  </a:cubicBezTo>
                  <a:cubicBezTo>
                    <a:pt x="321" y="418"/>
                    <a:pt x="322" y="417"/>
                    <a:pt x="322" y="416"/>
                  </a:cubicBezTo>
                  <a:cubicBezTo>
                    <a:pt x="321" y="415"/>
                    <a:pt x="321" y="415"/>
                    <a:pt x="321" y="415"/>
                  </a:cubicBezTo>
                  <a:cubicBezTo>
                    <a:pt x="321" y="415"/>
                    <a:pt x="321" y="414"/>
                    <a:pt x="321" y="413"/>
                  </a:cubicBezTo>
                  <a:cubicBezTo>
                    <a:pt x="321" y="413"/>
                    <a:pt x="320" y="412"/>
                    <a:pt x="320" y="411"/>
                  </a:cubicBezTo>
                  <a:cubicBezTo>
                    <a:pt x="319" y="410"/>
                    <a:pt x="318" y="409"/>
                    <a:pt x="318" y="409"/>
                  </a:cubicBezTo>
                  <a:cubicBezTo>
                    <a:pt x="318" y="409"/>
                    <a:pt x="318" y="407"/>
                    <a:pt x="318" y="407"/>
                  </a:cubicBezTo>
                  <a:cubicBezTo>
                    <a:pt x="318" y="407"/>
                    <a:pt x="318" y="407"/>
                    <a:pt x="318" y="406"/>
                  </a:cubicBezTo>
                  <a:cubicBezTo>
                    <a:pt x="319" y="406"/>
                    <a:pt x="318" y="405"/>
                    <a:pt x="318" y="404"/>
                  </a:cubicBezTo>
                  <a:cubicBezTo>
                    <a:pt x="318" y="404"/>
                    <a:pt x="318" y="404"/>
                    <a:pt x="318" y="403"/>
                  </a:cubicBezTo>
                  <a:cubicBezTo>
                    <a:pt x="317" y="403"/>
                    <a:pt x="318" y="402"/>
                    <a:pt x="318" y="402"/>
                  </a:cubicBezTo>
                  <a:cubicBezTo>
                    <a:pt x="318" y="402"/>
                    <a:pt x="318" y="401"/>
                    <a:pt x="317" y="401"/>
                  </a:cubicBezTo>
                  <a:cubicBezTo>
                    <a:pt x="317" y="400"/>
                    <a:pt x="317" y="400"/>
                    <a:pt x="317" y="399"/>
                  </a:cubicBezTo>
                  <a:cubicBezTo>
                    <a:pt x="317" y="399"/>
                    <a:pt x="317" y="397"/>
                    <a:pt x="316" y="397"/>
                  </a:cubicBezTo>
                  <a:cubicBezTo>
                    <a:pt x="316" y="396"/>
                    <a:pt x="314" y="395"/>
                    <a:pt x="314" y="394"/>
                  </a:cubicBezTo>
                  <a:cubicBezTo>
                    <a:pt x="313" y="393"/>
                    <a:pt x="313" y="393"/>
                    <a:pt x="313" y="393"/>
                  </a:cubicBezTo>
                  <a:cubicBezTo>
                    <a:pt x="313" y="392"/>
                    <a:pt x="314" y="393"/>
                    <a:pt x="314" y="392"/>
                  </a:cubicBezTo>
                  <a:cubicBezTo>
                    <a:pt x="314" y="392"/>
                    <a:pt x="314" y="392"/>
                    <a:pt x="314" y="392"/>
                  </a:cubicBezTo>
                  <a:cubicBezTo>
                    <a:pt x="314" y="391"/>
                    <a:pt x="314" y="389"/>
                    <a:pt x="314" y="389"/>
                  </a:cubicBezTo>
                  <a:cubicBezTo>
                    <a:pt x="314" y="389"/>
                    <a:pt x="314" y="388"/>
                    <a:pt x="314" y="388"/>
                  </a:cubicBezTo>
                  <a:cubicBezTo>
                    <a:pt x="315" y="387"/>
                    <a:pt x="317" y="388"/>
                    <a:pt x="317" y="388"/>
                  </a:cubicBezTo>
                  <a:cubicBezTo>
                    <a:pt x="317" y="388"/>
                    <a:pt x="317" y="387"/>
                    <a:pt x="317" y="387"/>
                  </a:cubicBezTo>
                  <a:cubicBezTo>
                    <a:pt x="317" y="387"/>
                    <a:pt x="317" y="386"/>
                    <a:pt x="317" y="386"/>
                  </a:cubicBezTo>
                  <a:cubicBezTo>
                    <a:pt x="317" y="386"/>
                    <a:pt x="316" y="385"/>
                    <a:pt x="316" y="385"/>
                  </a:cubicBezTo>
                  <a:cubicBezTo>
                    <a:pt x="316" y="385"/>
                    <a:pt x="317" y="384"/>
                    <a:pt x="317" y="384"/>
                  </a:cubicBezTo>
                  <a:cubicBezTo>
                    <a:pt x="317" y="384"/>
                    <a:pt x="317" y="383"/>
                    <a:pt x="317" y="381"/>
                  </a:cubicBezTo>
                  <a:cubicBezTo>
                    <a:pt x="317" y="381"/>
                    <a:pt x="317" y="381"/>
                    <a:pt x="317" y="380"/>
                  </a:cubicBezTo>
                  <a:cubicBezTo>
                    <a:pt x="317" y="380"/>
                    <a:pt x="317" y="380"/>
                    <a:pt x="317" y="380"/>
                  </a:cubicBezTo>
                  <a:cubicBezTo>
                    <a:pt x="317" y="379"/>
                    <a:pt x="318" y="379"/>
                    <a:pt x="318" y="379"/>
                  </a:cubicBezTo>
                  <a:cubicBezTo>
                    <a:pt x="318" y="378"/>
                    <a:pt x="316" y="378"/>
                    <a:pt x="316" y="378"/>
                  </a:cubicBezTo>
                  <a:cubicBezTo>
                    <a:pt x="315" y="378"/>
                    <a:pt x="315" y="379"/>
                    <a:pt x="315" y="379"/>
                  </a:cubicBezTo>
                  <a:cubicBezTo>
                    <a:pt x="315" y="379"/>
                    <a:pt x="314" y="378"/>
                    <a:pt x="314" y="378"/>
                  </a:cubicBezTo>
                  <a:cubicBezTo>
                    <a:pt x="313" y="378"/>
                    <a:pt x="312" y="378"/>
                    <a:pt x="311" y="378"/>
                  </a:cubicBezTo>
                  <a:cubicBezTo>
                    <a:pt x="311" y="378"/>
                    <a:pt x="310" y="378"/>
                    <a:pt x="309" y="378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08" y="377"/>
                    <a:pt x="308" y="377"/>
                    <a:pt x="309" y="377"/>
                  </a:cubicBezTo>
                  <a:cubicBezTo>
                    <a:pt x="309" y="376"/>
                    <a:pt x="310" y="377"/>
                    <a:pt x="310" y="376"/>
                  </a:cubicBezTo>
                  <a:cubicBezTo>
                    <a:pt x="310" y="376"/>
                    <a:pt x="311" y="376"/>
                    <a:pt x="311" y="376"/>
                  </a:cubicBezTo>
                  <a:cubicBezTo>
                    <a:pt x="312" y="376"/>
                    <a:pt x="312" y="376"/>
                    <a:pt x="313" y="375"/>
                  </a:cubicBezTo>
                  <a:cubicBezTo>
                    <a:pt x="313" y="375"/>
                    <a:pt x="314" y="374"/>
                    <a:pt x="315" y="375"/>
                  </a:cubicBezTo>
                  <a:cubicBezTo>
                    <a:pt x="315" y="375"/>
                    <a:pt x="314" y="376"/>
                    <a:pt x="314" y="376"/>
                  </a:cubicBezTo>
                  <a:cubicBezTo>
                    <a:pt x="314" y="376"/>
                    <a:pt x="315" y="377"/>
                    <a:pt x="315" y="377"/>
                  </a:cubicBezTo>
                  <a:cubicBezTo>
                    <a:pt x="315" y="376"/>
                    <a:pt x="315" y="376"/>
                    <a:pt x="316" y="376"/>
                  </a:cubicBezTo>
                  <a:cubicBezTo>
                    <a:pt x="316" y="376"/>
                    <a:pt x="317" y="376"/>
                    <a:pt x="317" y="376"/>
                  </a:cubicBezTo>
                  <a:cubicBezTo>
                    <a:pt x="318" y="376"/>
                    <a:pt x="318" y="375"/>
                    <a:pt x="318" y="375"/>
                  </a:cubicBezTo>
                  <a:cubicBezTo>
                    <a:pt x="319" y="375"/>
                    <a:pt x="319" y="375"/>
                    <a:pt x="319" y="375"/>
                  </a:cubicBezTo>
                  <a:cubicBezTo>
                    <a:pt x="319" y="374"/>
                    <a:pt x="319" y="374"/>
                    <a:pt x="319" y="374"/>
                  </a:cubicBezTo>
                  <a:cubicBezTo>
                    <a:pt x="319" y="373"/>
                    <a:pt x="319" y="373"/>
                    <a:pt x="320" y="372"/>
                  </a:cubicBezTo>
                  <a:cubicBezTo>
                    <a:pt x="320" y="372"/>
                    <a:pt x="320" y="372"/>
                    <a:pt x="320" y="371"/>
                  </a:cubicBezTo>
                  <a:cubicBezTo>
                    <a:pt x="320" y="371"/>
                    <a:pt x="320" y="370"/>
                    <a:pt x="321" y="369"/>
                  </a:cubicBezTo>
                  <a:cubicBezTo>
                    <a:pt x="321" y="369"/>
                    <a:pt x="320" y="368"/>
                    <a:pt x="321" y="367"/>
                  </a:cubicBezTo>
                  <a:cubicBezTo>
                    <a:pt x="321" y="367"/>
                    <a:pt x="321" y="366"/>
                    <a:pt x="322" y="366"/>
                  </a:cubicBezTo>
                  <a:cubicBezTo>
                    <a:pt x="322" y="365"/>
                    <a:pt x="322" y="365"/>
                    <a:pt x="322" y="365"/>
                  </a:cubicBezTo>
                  <a:cubicBezTo>
                    <a:pt x="323" y="364"/>
                    <a:pt x="323" y="364"/>
                    <a:pt x="323" y="363"/>
                  </a:cubicBezTo>
                  <a:cubicBezTo>
                    <a:pt x="323" y="363"/>
                    <a:pt x="323" y="362"/>
                    <a:pt x="324" y="362"/>
                  </a:cubicBezTo>
                  <a:cubicBezTo>
                    <a:pt x="324" y="362"/>
                    <a:pt x="324" y="361"/>
                    <a:pt x="324" y="361"/>
                  </a:cubicBezTo>
                  <a:cubicBezTo>
                    <a:pt x="324" y="361"/>
                    <a:pt x="323" y="360"/>
                    <a:pt x="323" y="360"/>
                  </a:cubicBezTo>
                  <a:cubicBezTo>
                    <a:pt x="323" y="360"/>
                    <a:pt x="322" y="360"/>
                    <a:pt x="321" y="360"/>
                  </a:cubicBezTo>
                  <a:cubicBezTo>
                    <a:pt x="321" y="359"/>
                    <a:pt x="320" y="359"/>
                    <a:pt x="320" y="358"/>
                  </a:cubicBezTo>
                  <a:cubicBezTo>
                    <a:pt x="320" y="358"/>
                    <a:pt x="320" y="358"/>
                    <a:pt x="320" y="358"/>
                  </a:cubicBezTo>
                  <a:cubicBezTo>
                    <a:pt x="320" y="357"/>
                    <a:pt x="319" y="357"/>
                    <a:pt x="319" y="357"/>
                  </a:cubicBezTo>
                  <a:cubicBezTo>
                    <a:pt x="319" y="357"/>
                    <a:pt x="319" y="356"/>
                    <a:pt x="319" y="356"/>
                  </a:cubicBezTo>
                  <a:cubicBezTo>
                    <a:pt x="319" y="356"/>
                    <a:pt x="319" y="356"/>
                    <a:pt x="319" y="355"/>
                  </a:cubicBezTo>
                  <a:cubicBezTo>
                    <a:pt x="319" y="355"/>
                    <a:pt x="318" y="355"/>
                    <a:pt x="318" y="354"/>
                  </a:cubicBezTo>
                  <a:cubicBezTo>
                    <a:pt x="318" y="354"/>
                    <a:pt x="318" y="354"/>
                    <a:pt x="319" y="354"/>
                  </a:cubicBezTo>
                  <a:cubicBezTo>
                    <a:pt x="319" y="354"/>
                    <a:pt x="320" y="354"/>
                    <a:pt x="321" y="354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21" y="353"/>
                    <a:pt x="322" y="353"/>
                    <a:pt x="322" y="353"/>
                  </a:cubicBezTo>
                  <a:cubicBezTo>
                    <a:pt x="323" y="353"/>
                    <a:pt x="323" y="353"/>
                    <a:pt x="324" y="353"/>
                  </a:cubicBezTo>
                  <a:cubicBezTo>
                    <a:pt x="324" y="354"/>
                    <a:pt x="324" y="354"/>
                    <a:pt x="325" y="354"/>
                  </a:cubicBezTo>
                  <a:cubicBezTo>
                    <a:pt x="325" y="355"/>
                    <a:pt x="325" y="355"/>
                    <a:pt x="326" y="355"/>
                  </a:cubicBezTo>
                  <a:cubicBezTo>
                    <a:pt x="326" y="355"/>
                    <a:pt x="327" y="355"/>
                    <a:pt x="327" y="355"/>
                  </a:cubicBezTo>
                  <a:cubicBezTo>
                    <a:pt x="327" y="355"/>
                    <a:pt x="327" y="355"/>
                    <a:pt x="327" y="355"/>
                  </a:cubicBezTo>
                  <a:cubicBezTo>
                    <a:pt x="327" y="354"/>
                    <a:pt x="327" y="354"/>
                    <a:pt x="327" y="354"/>
                  </a:cubicBezTo>
                  <a:cubicBezTo>
                    <a:pt x="328" y="353"/>
                    <a:pt x="329" y="352"/>
                    <a:pt x="329" y="351"/>
                  </a:cubicBezTo>
                  <a:cubicBezTo>
                    <a:pt x="330" y="350"/>
                    <a:pt x="330" y="349"/>
                    <a:pt x="331" y="348"/>
                  </a:cubicBezTo>
                  <a:cubicBezTo>
                    <a:pt x="331" y="347"/>
                    <a:pt x="331" y="346"/>
                    <a:pt x="331" y="346"/>
                  </a:cubicBezTo>
                  <a:cubicBezTo>
                    <a:pt x="331" y="346"/>
                    <a:pt x="331" y="346"/>
                    <a:pt x="330" y="346"/>
                  </a:cubicBezTo>
                  <a:cubicBezTo>
                    <a:pt x="330" y="346"/>
                    <a:pt x="330" y="346"/>
                    <a:pt x="329" y="346"/>
                  </a:cubicBezTo>
                  <a:cubicBezTo>
                    <a:pt x="329" y="346"/>
                    <a:pt x="329" y="347"/>
                    <a:pt x="329" y="347"/>
                  </a:cubicBezTo>
                  <a:cubicBezTo>
                    <a:pt x="328" y="347"/>
                    <a:pt x="328" y="347"/>
                    <a:pt x="327" y="347"/>
                  </a:cubicBezTo>
                  <a:cubicBezTo>
                    <a:pt x="326" y="346"/>
                    <a:pt x="326" y="346"/>
                    <a:pt x="326" y="345"/>
                  </a:cubicBezTo>
                  <a:cubicBezTo>
                    <a:pt x="325" y="345"/>
                    <a:pt x="326" y="345"/>
                    <a:pt x="326" y="345"/>
                  </a:cubicBezTo>
                  <a:cubicBezTo>
                    <a:pt x="327" y="345"/>
                    <a:pt x="327" y="344"/>
                    <a:pt x="328" y="344"/>
                  </a:cubicBezTo>
                  <a:cubicBezTo>
                    <a:pt x="328" y="344"/>
                    <a:pt x="328" y="343"/>
                    <a:pt x="329" y="343"/>
                  </a:cubicBezTo>
                  <a:cubicBezTo>
                    <a:pt x="329" y="343"/>
                    <a:pt x="329" y="343"/>
                    <a:pt x="329" y="343"/>
                  </a:cubicBezTo>
                  <a:cubicBezTo>
                    <a:pt x="330" y="343"/>
                    <a:pt x="330" y="343"/>
                    <a:pt x="330" y="342"/>
                  </a:cubicBezTo>
                  <a:cubicBezTo>
                    <a:pt x="330" y="342"/>
                    <a:pt x="331" y="342"/>
                    <a:pt x="331" y="342"/>
                  </a:cubicBezTo>
                  <a:cubicBezTo>
                    <a:pt x="331" y="342"/>
                    <a:pt x="331" y="341"/>
                    <a:pt x="332" y="341"/>
                  </a:cubicBezTo>
                  <a:cubicBezTo>
                    <a:pt x="332" y="341"/>
                    <a:pt x="333" y="341"/>
                    <a:pt x="333" y="341"/>
                  </a:cubicBezTo>
                  <a:cubicBezTo>
                    <a:pt x="333" y="342"/>
                    <a:pt x="333" y="342"/>
                    <a:pt x="333" y="343"/>
                  </a:cubicBezTo>
                  <a:cubicBezTo>
                    <a:pt x="333" y="343"/>
                    <a:pt x="333" y="343"/>
                    <a:pt x="334" y="343"/>
                  </a:cubicBezTo>
                  <a:cubicBezTo>
                    <a:pt x="334" y="343"/>
                    <a:pt x="335" y="343"/>
                    <a:pt x="336" y="343"/>
                  </a:cubicBezTo>
                  <a:cubicBezTo>
                    <a:pt x="336" y="343"/>
                    <a:pt x="337" y="342"/>
                    <a:pt x="338" y="342"/>
                  </a:cubicBezTo>
                  <a:cubicBezTo>
                    <a:pt x="338" y="341"/>
                    <a:pt x="339" y="340"/>
                    <a:pt x="340" y="340"/>
                  </a:cubicBezTo>
                  <a:cubicBezTo>
                    <a:pt x="340" y="339"/>
                    <a:pt x="340" y="339"/>
                    <a:pt x="340" y="338"/>
                  </a:cubicBezTo>
                  <a:cubicBezTo>
                    <a:pt x="340" y="338"/>
                    <a:pt x="340" y="338"/>
                    <a:pt x="340" y="337"/>
                  </a:cubicBezTo>
                  <a:cubicBezTo>
                    <a:pt x="340" y="337"/>
                    <a:pt x="340" y="337"/>
                    <a:pt x="340" y="336"/>
                  </a:cubicBezTo>
                  <a:cubicBezTo>
                    <a:pt x="340" y="336"/>
                    <a:pt x="340" y="336"/>
                    <a:pt x="340" y="336"/>
                  </a:cubicBezTo>
                  <a:cubicBezTo>
                    <a:pt x="339" y="336"/>
                    <a:pt x="340" y="335"/>
                    <a:pt x="340" y="335"/>
                  </a:cubicBezTo>
                  <a:cubicBezTo>
                    <a:pt x="340" y="334"/>
                    <a:pt x="339" y="334"/>
                    <a:pt x="339" y="333"/>
                  </a:cubicBezTo>
                  <a:cubicBezTo>
                    <a:pt x="338" y="333"/>
                    <a:pt x="338" y="333"/>
                    <a:pt x="339" y="332"/>
                  </a:cubicBezTo>
                  <a:cubicBezTo>
                    <a:pt x="340" y="332"/>
                    <a:pt x="342" y="332"/>
                    <a:pt x="343" y="333"/>
                  </a:cubicBezTo>
                  <a:cubicBezTo>
                    <a:pt x="343" y="333"/>
                    <a:pt x="343" y="334"/>
                    <a:pt x="343" y="335"/>
                  </a:cubicBezTo>
                  <a:cubicBezTo>
                    <a:pt x="343" y="336"/>
                    <a:pt x="343" y="335"/>
                    <a:pt x="344" y="335"/>
                  </a:cubicBezTo>
                  <a:cubicBezTo>
                    <a:pt x="345" y="335"/>
                    <a:pt x="345" y="336"/>
                    <a:pt x="346" y="335"/>
                  </a:cubicBezTo>
                  <a:cubicBezTo>
                    <a:pt x="347" y="335"/>
                    <a:pt x="348" y="334"/>
                    <a:pt x="348" y="334"/>
                  </a:cubicBezTo>
                  <a:cubicBezTo>
                    <a:pt x="349" y="333"/>
                    <a:pt x="350" y="333"/>
                    <a:pt x="351" y="332"/>
                  </a:cubicBezTo>
                  <a:cubicBezTo>
                    <a:pt x="352" y="332"/>
                    <a:pt x="353" y="332"/>
                    <a:pt x="353" y="331"/>
                  </a:cubicBezTo>
                  <a:cubicBezTo>
                    <a:pt x="353" y="330"/>
                    <a:pt x="352" y="330"/>
                    <a:pt x="352" y="329"/>
                  </a:cubicBezTo>
                  <a:cubicBezTo>
                    <a:pt x="352" y="329"/>
                    <a:pt x="352" y="329"/>
                    <a:pt x="351" y="328"/>
                  </a:cubicBezTo>
                  <a:cubicBezTo>
                    <a:pt x="351" y="328"/>
                    <a:pt x="350" y="327"/>
                    <a:pt x="349" y="327"/>
                  </a:cubicBezTo>
                  <a:cubicBezTo>
                    <a:pt x="349" y="326"/>
                    <a:pt x="348" y="326"/>
                    <a:pt x="347" y="326"/>
                  </a:cubicBezTo>
                  <a:cubicBezTo>
                    <a:pt x="347" y="326"/>
                    <a:pt x="347" y="326"/>
                    <a:pt x="347" y="325"/>
                  </a:cubicBezTo>
                  <a:cubicBezTo>
                    <a:pt x="346" y="325"/>
                    <a:pt x="346" y="325"/>
                    <a:pt x="346" y="325"/>
                  </a:cubicBezTo>
                  <a:cubicBezTo>
                    <a:pt x="346" y="325"/>
                    <a:pt x="346" y="324"/>
                    <a:pt x="346" y="324"/>
                  </a:cubicBezTo>
                  <a:cubicBezTo>
                    <a:pt x="346" y="323"/>
                    <a:pt x="346" y="322"/>
                    <a:pt x="346" y="322"/>
                  </a:cubicBezTo>
                  <a:cubicBezTo>
                    <a:pt x="346" y="322"/>
                    <a:pt x="346" y="321"/>
                    <a:pt x="347" y="321"/>
                  </a:cubicBezTo>
                  <a:cubicBezTo>
                    <a:pt x="347" y="321"/>
                    <a:pt x="347" y="320"/>
                    <a:pt x="347" y="321"/>
                  </a:cubicBezTo>
                  <a:cubicBezTo>
                    <a:pt x="348" y="321"/>
                    <a:pt x="347" y="322"/>
                    <a:pt x="348" y="323"/>
                  </a:cubicBezTo>
                  <a:cubicBezTo>
                    <a:pt x="348" y="323"/>
                    <a:pt x="349" y="323"/>
                    <a:pt x="349" y="323"/>
                  </a:cubicBezTo>
                  <a:cubicBezTo>
                    <a:pt x="350" y="323"/>
                    <a:pt x="351" y="323"/>
                    <a:pt x="351" y="324"/>
                  </a:cubicBezTo>
                  <a:cubicBezTo>
                    <a:pt x="352" y="324"/>
                    <a:pt x="351" y="324"/>
                    <a:pt x="352" y="324"/>
                  </a:cubicBezTo>
                  <a:cubicBezTo>
                    <a:pt x="352" y="324"/>
                    <a:pt x="353" y="324"/>
                    <a:pt x="353" y="324"/>
                  </a:cubicBezTo>
                  <a:cubicBezTo>
                    <a:pt x="354" y="324"/>
                    <a:pt x="353" y="323"/>
                    <a:pt x="353" y="322"/>
                  </a:cubicBezTo>
                  <a:cubicBezTo>
                    <a:pt x="353" y="322"/>
                    <a:pt x="354" y="321"/>
                    <a:pt x="354" y="321"/>
                  </a:cubicBezTo>
                  <a:cubicBezTo>
                    <a:pt x="354" y="321"/>
                    <a:pt x="355" y="322"/>
                    <a:pt x="355" y="322"/>
                  </a:cubicBezTo>
                  <a:cubicBezTo>
                    <a:pt x="355" y="323"/>
                    <a:pt x="355" y="323"/>
                    <a:pt x="355" y="323"/>
                  </a:cubicBezTo>
                  <a:cubicBezTo>
                    <a:pt x="356" y="323"/>
                    <a:pt x="356" y="323"/>
                    <a:pt x="356" y="323"/>
                  </a:cubicBezTo>
                  <a:cubicBezTo>
                    <a:pt x="357" y="323"/>
                    <a:pt x="357" y="322"/>
                    <a:pt x="357" y="322"/>
                  </a:cubicBezTo>
                  <a:cubicBezTo>
                    <a:pt x="358" y="322"/>
                    <a:pt x="358" y="321"/>
                    <a:pt x="359" y="321"/>
                  </a:cubicBezTo>
                  <a:cubicBezTo>
                    <a:pt x="359" y="321"/>
                    <a:pt x="360" y="320"/>
                    <a:pt x="360" y="321"/>
                  </a:cubicBezTo>
                  <a:cubicBezTo>
                    <a:pt x="360" y="321"/>
                    <a:pt x="360" y="321"/>
                    <a:pt x="360" y="322"/>
                  </a:cubicBezTo>
                  <a:cubicBezTo>
                    <a:pt x="360" y="322"/>
                    <a:pt x="360" y="323"/>
                    <a:pt x="360" y="323"/>
                  </a:cubicBezTo>
                  <a:cubicBezTo>
                    <a:pt x="360" y="324"/>
                    <a:pt x="360" y="324"/>
                    <a:pt x="360" y="324"/>
                  </a:cubicBezTo>
                  <a:cubicBezTo>
                    <a:pt x="360" y="325"/>
                    <a:pt x="360" y="325"/>
                    <a:pt x="360" y="325"/>
                  </a:cubicBezTo>
                  <a:cubicBezTo>
                    <a:pt x="360" y="326"/>
                    <a:pt x="360" y="325"/>
                    <a:pt x="361" y="325"/>
                  </a:cubicBezTo>
                  <a:cubicBezTo>
                    <a:pt x="361" y="325"/>
                    <a:pt x="361" y="325"/>
                    <a:pt x="362" y="325"/>
                  </a:cubicBezTo>
                  <a:cubicBezTo>
                    <a:pt x="362" y="325"/>
                    <a:pt x="363" y="325"/>
                    <a:pt x="363" y="325"/>
                  </a:cubicBezTo>
                  <a:cubicBezTo>
                    <a:pt x="363" y="325"/>
                    <a:pt x="363" y="324"/>
                    <a:pt x="364" y="324"/>
                  </a:cubicBezTo>
                  <a:cubicBezTo>
                    <a:pt x="364" y="324"/>
                    <a:pt x="365" y="324"/>
                    <a:pt x="365" y="324"/>
                  </a:cubicBezTo>
                  <a:cubicBezTo>
                    <a:pt x="366" y="324"/>
                    <a:pt x="366" y="324"/>
                    <a:pt x="366" y="324"/>
                  </a:cubicBezTo>
                  <a:cubicBezTo>
                    <a:pt x="366" y="323"/>
                    <a:pt x="367" y="323"/>
                    <a:pt x="367" y="323"/>
                  </a:cubicBezTo>
                  <a:cubicBezTo>
                    <a:pt x="367" y="323"/>
                    <a:pt x="367" y="323"/>
                    <a:pt x="367" y="323"/>
                  </a:cubicBezTo>
                  <a:cubicBezTo>
                    <a:pt x="368" y="323"/>
                    <a:pt x="368" y="323"/>
                    <a:pt x="368" y="323"/>
                  </a:cubicBezTo>
                  <a:cubicBezTo>
                    <a:pt x="368" y="324"/>
                    <a:pt x="368" y="324"/>
                    <a:pt x="368" y="325"/>
                  </a:cubicBezTo>
                  <a:cubicBezTo>
                    <a:pt x="367" y="325"/>
                    <a:pt x="367" y="325"/>
                    <a:pt x="366" y="326"/>
                  </a:cubicBezTo>
                  <a:cubicBezTo>
                    <a:pt x="365" y="326"/>
                    <a:pt x="365" y="326"/>
                    <a:pt x="364" y="327"/>
                  </a:cubicBezTo>
                  <a:cubicBezTo>
                    <a:pt x="362" y="327"/>
                    <a:pt x="361" y="328"/>
                    <a:pt x="359" y="329"/>
                  </a:cubicBezTo>
                  <a:cubicBezTo>
                    <a:pt x="359" y="329"/>
                    <a:pt x="358" y="330"/>
                    <a:pt x="357" y="330"/>
                  </a:cubicBezTo>
                  <a:cubicBezTo>
                    <a:pt x="357" y="330"/>
                    <a:pt x="356" y="331"/>
                    <a:pt x="357" y="331"/>
                  </a:cubicBezTo>
                  <a:cubicBezTo>
                    <a:pt x="357" y="332"/>
                    <a:pt x="357" y="331"/>
                    <a:pt x="357" y="331"/>
                  </a:cubicBezTo>
                  <a:cubicBezTo>
                    <a:pt x="358" y="331"/>
                    <a:pt x="359" y="330"/>
                    <a:pt x="359" y="330"/>
                  </a:cubicBezTo>
                  <a:cubicBezTo>
                    <a:pt x="360" y="330"/>
                    <a:pt x="361" y="329"/>
                    <a:pt x="362" y="328"/>
                  </a:cubicBezTo>
                  <a:cubicBezTo>
                    <a:pt x="363" y="328"/>
                    <a:pt x="364" y="327"/>
                    <a:pt x="365" y="327"/>
                  </a:cubicBezTo>
                  <a:cubicBezTo>
                    <a:pt x="366" y="326"/>
                    <a:pt x="367" y="326"/>
                    <a:pt x="368" y="326"/>
                  </a:cubicBezTo>
                  <a:cubicBezTo>
                    <a:pt x="369" y="325"/>
                    <a:pt x="369" y="325"/>
                    <a:pt x="370" y="324"/>
                  </a:cubicBezTo>
                  <a:cubicBezTo>
                    <a:pt x="370" y="324"/>
                    <a:pt x="370" y="324"/>
                    <a:pt x="370" y="323"/>
                  </a:cubicBezTo>
                  <a:cubicBezTo>
                    <a:pt x="370" y="323"/>
                    <a:pt x="370" y="323"/>
                    <a:pt x="370" y="323"/>
                  </a:cubicBezTo>
                  <a:cubicBezTo>
                    <a:pt x="370" y="321"/>
                    <a:pt x="372" y="320"/>
                    <a:pt x="374" y="320"/>
                  </a:cubicBezTo>
                  <a:cubicBezTo>
                    <a:pt x="375" y="319"/>
                    <a:pt x="375" y="319"/>
                    <a:pt x="376" y="319"/>
                  </a:cubicBezTo>
                  <a:cubicBezTo>
                    <a:pt x="377" y="319"/>
                    <a:pt x="378" y="319"/>
                    <a:pt x="379" y="319"/>
                  </a:cubicBezTo>
                  <a:cubicBezTo>
                    <a:pt x="380" y="318"/>
                    <a:pt x="381" y="318"/>
                    <a:pt x="381" y="318"/>
                  </a:cubicBezTo>
                  <a:cubicBezTo>
                    <a:pt x="382" y="317"/>
                    <a:pt x="383" y="317"/>
                    <a:pt x="383" y="316"/>
                  </a:cubicBezTo>
                  <a:cubicBezTo>
                    <a:pt x="384" y="316"/>
                    <a:pt x="385" y="315"/>
                    <a:pt x="386" y="315"/>
                  </a:cubicBezTo>
                  <a:cubicBezTo>
                    <a:pt x="388" y="314"/>
                    <a:pt x="389" y="314"/>
                    <a:pt x="389" y="314"/>
                  </a:cubicBezTo>
                  <a:cubicBezTo>
                    <a:pt x="391" y="313"/>
                    <a:pt x="392" y="312"/>
                    <a:pt x="393" y="311"/>
                  </a:cubicBezTo>
                  <a:cubicBezTo>
                    <a:pt x="393" y="310"/>
                    <a:pt x="393" y="310"/>
                    <a:pt x="394" y="310"/>
                  </a:cubicBezTo>
                  <a:cubicBezTo>
                    <a:pt x="394" y="309"/>
                    <a:pt x="395" y="309"/>
                    <a:pt x="395" y="309"/>
                  </a:cubicBezTo>
                  <a:cubicBezTo>
                    <a:pt x="396" y="309"/>
                    <a:pt x="397" y="308"/>
                    <a:pt x="397" y="307"/>
                  </a:cubicBezTo>
                  <a:cubicBezTo>
                    <a:pt x="397" y="307"/>
                    <a:pt x="397" y="306"/>
                    <a:pt x="397" y="306"/>
                  </a:cubicBezTo>
                  <a:cubicBezTo>
                    <a:pt x="397" y="306"/>
                    <a:pt x="397" y="306"/>
                    <a:pt x="396" y="306"/>
                  </a:cubicBezTo>
                  <a:cubicBezTo>
                    <a:pt x="396" y="306"/>
                    <a:pt x="396" y="306"/>
                    <a:pt x="396" y="305"/>
                  </a:cubicBezTo>
                  <a:cubicBezTo>
                    <a:pt x="396" y="305"/>
                    <a:pt x="395" y="305"/>
                    <a:pt x="395" y="305"/>
                  </a:cubicBezTo>
                  <a:cubicBezTo>
                    <a:pt x="395" y="305"/>
                    <a:pt x="396" y="304"/>
                    <a:pt x="396" y="304"/>
                  </a:cubicBezTo>
                  <a:cubicBezTo>
                    <a:pt x="396" y="304"/>
                    <a:pt x="396" y="303"/>
                    <a:pt x="396" y="303"/>
                  </a:cubicBezTo>
                  <a:cubicBezTo>
                    <a:pt x="397" y="303"/>
                    <a:pt x="397" y="303"/>
                    <a:pt x="398" y="302"/>
                  </a:cubicBezTo>
                  <a:cubicBezTo>
                    <a:pt x="399" y="302"/>
                    <a:pt x="400" y="302"/>
                    <a:pt x="400" y="301"/>
                  </a:cubicBezTo>
                  <a:cubicBezTo>
                    <a:pt x="401" y="300"/>
                    <a:pt x="402" y="300"/>
                    <a:pt x="402" y="299"/>
                  </a:cubicBezTo>
                  <a:cubicBezTo>
                    <a:pt x="403" y="299"/>
                    <a:pt x="403" y="299"/>
                    <a:pt x="403" y="299"/>
                  </a:cubicBezTo>
                  <a:cubicBezTo>
                    <a:pt x="403" y="298"/>
                    <a:pt x="404" y="298"/>
                    <a:pt x="404" y="298"/>
                  </a:cubicBezTo>
                  <a:cubicBezTo>
                    <a:pt x="404" y="298"/>
                    <a:pt x="405" y="298"/>
                    <a:pt x="406" y="297"/>
                  </a:cubicBezTo>
                  <a:cubicBezTo>
                    <a:pt x="406" y="297"/>
                    <a:pt x="406" y="296"/>
                    <a:pt x="406" y="296"/>
                  </a:cubicBezTo>
                  <a:cubicBezTo>
                    <a:pt x="406" y="295"/>
                    <a:pt x="406" y="295"/>
                    <a:pt x="406" y="294"/>
                  </a:cubicBezTo>
                  <a:cubicBezTo>
                    <a:pt x="406" y="293"/>
                    <a:pt x="406" y="293"/>
                    <a:pt x="405" y="292"/>
                  </a:cubicBezTo>
                  <a:cubicBezTo>
                    <a:pt x="405" y="292"/>
                    <a:pt x="405" y="292"/>
                    <a:pt x="405" y="292"/>
                  </a:cubicBezTo>
                  <a:cubicBezTo>
                    <a:pt x="405" y="292"/>
                    <a:pt x="404" y="292"/>
                    <a:pt x="404" y="291"/>
                  </a:cubicBezTo>
                  <a:cubicBezTo>
                    <a:pt x="403" y="291"/>
                    <a:pt x="404" y="291"/>
                    <a:pt x="404" y="290"/>
                  </a:cubicBezTo>
                  <a:cubicBezTo>
                    <a:pt x="404" y="290"/>
                    <a:pt x="405" y="290"/>
                    <a:pt x="404" y="289"/>
                  </a:cubicBezTo>
                  <a:cubicBezTo>
                    <a:pt x="404" y="289"/>
                    <a:pt x="403" y="289"/>
                    <a:pt x="403" y="289"/>
                  </a:cubicBezTo>
                  <a:cubicBezTo>
                    <a:pt x="403" y="289"/>
                    <a:pt x="403" y="289"/>
                    <a:pt x="402" y="289"/>
                  </a:cubicBezTo>
                  <a:cubicBezTo>
                    <a:pt x="402" y="288"/>
                    <a:pt x="402" y="288"/>
                    <a:pt x="401" y="287"/>
                  </a:cubicBezTo>
                  <a:cubicBezTo>
                    <a:pt x="402" y="287"/>
                    <a:pt x="402" y="287"/>
                    <a:pt x="402" y="286"/>
                  </a:cubicBezTo>
                  <a:cubicBezTo>
                    <a:pt x="402" y="286"/>
                    <a:pt x="402" y="285"/>
                    <a:pt x="401" y="285"/>
                  </a:cubicBezTo>
                  <a:cubicBezTo>
                    <a:pt x="402" y="285"/>
                    <a:pt x="402" y="285"/>
                    <a:pt x="402" y="284"/>
                  </a:cubicBezTo>
                  <a:cubicBezTo>
                    <a:pt x="402" y="284"/>
                    <a:pt x="402" y="283"/>
                    <a:pt x="402" y="283"/>
                  </a:cubicBezTo>
                  <a:cubicBezTo>
                    <a:pt x="402" y="281"/>
                    <a:pt x="401" y="281"/>
                    <a:pt x="400" y="281"/>
                  </a:cubicBezTo>
                  <a:cubicBezTo>
                    <a:pt x="400" y="281"/>
                    <a:pt x="399" y="280"/>
                    <a:pt x="399" y="280"/>
                  </a:cubicBezTo>
                  <a:cubicBezTo>
                    <a:pt x="399" y="279"/>
                    <a:pt x="399" y="279"/>
                    <a:pt x="399" y="279"/>
                  </a:cubicBezTo>
                  <a:cubicBezTo>
                    <a:pt x="399" y="278"/>
                    <a:pt x="399" y="277"/>
                    <a:pt x="399" y="277"/>
                  </a:cubicBezTo>
                  <a:cubicBezTo>
                    <a:pt x="400" y="276"/>
                    <a:pt x="400" y="277"/>
                    <a:pt x="400" y="278"/>
                  </a:cubicBezTo>
                  <a:cubicBezTo>
                    <a:pt x="401" y="278"/>
                    <a:pt x="401" y="279"/>
                    <a:pt x="401" y="279"/>
                  </a:cubicBezTo>
                  <a:cubicBezTo>
                    <a:pt x="401" y="280"/>
                    <a:pt x="402" y="280"/>
                    <a:pt x="402" y="280"/>
                  </a:cubicBezTo>
                  <a:cubicBezTo>
                    <a:pt x="403" y="281"/>
                    <a:pt x="404" y="282"/>
                    <a:pt x="404" y="282"/>
                  </a:cubicBezTo>
                  <a:cubicBezTo>
                    <a:pt x="405" y="283"/>
                    <a:pt x="406" y="283"/>
                    <a:pt x="407" y="282"/>
                  </a:cubicBezTo>
                  <a:cubicBezTo>
                    <a:pt x="407" y="282"/>
                    <a:pt x="407" y="281"/>
                    <a:pt x="407" y="281"/>
                  </a:cubicBezTo>
                  <a:cubicBezTo>
                    <a:pt x="408" y="280"/>
                    <a:pt x="408" y="279"/>
                    <a:pt x="409" y="279"/>
                  </a:cubicBezTo>
                  <a:cubicBezTo>
                    <a:pt x="410" y="279"/>
                    <a:pt x="411" y="279"/>
                    <a:pt x="412" y="279"/>
                  </a:cubicBezTo>
                  <a:cubicBezTo>
                    <a:pt x="412" y="279"/>
                    <a:pt x="412" y="279"/>
                    <a:pt x="412" y="280"/>
                  </a:cubicBezTo>
                  <a:cubicBezTo>
                    <a:pt x="413" y="280"/>
                    <a:pt x="412" y="281"/>
                    <a:pt x="412" y="281"/>
                  </a:cubicBezTo>
                  <a:cubicBezTo>
                    <a:pt x="412" y="282"/>
                    <a:pt x="412" y="282"/>
                    <a:pt x="412" y="283"/>
                  </a:cubicBezTo>
                  <a:cubicBezTo>
                    <a:pt x="412" y="283"/>
                    <a:pt x="412" y="284"/>
                    <a:pt x="412" y="285"/>
                  </a:cubicBezTo>
                  <a:cubicBezTo>
                    <a:pt x="412" y="285"/>
                    <a:pt x="411" y="286"/>
                    <a:pt x="411" y="286"/>
                  </a:cubicBezTo>
                  <a:cubicBezTo>
                    <a:pt x="411" y="287"/>
                    <a:pt x="411" y="287"/>
                    <a:pt x="411" y="288"/>
                  </a:cubicBezTo>
                  <a:cubicBezTo>
                    <a:pt x="411" y="289"/>
                    <a:pt x="412" y="288"/>
                    <a:pt x="412" y="288"/>
                  </a:cubicBezTo>
                  <a:cubicBezTo>
                    <a:pt x="413" y="288"/>
                    <a:pt x="414" y="288"/>
                    <a:pt x="415" y="287"/>
                  </a:cubicBezTo>
                  <a:cubicBezTo>
                    <a:pt x="416" y="287"/>
                    <a:pt x="417" y="287"/>
                    <a:pt x="417" y="287"/>
                  </a:cubicBezTo>
                  <a:cubicBezTo>
                    <a:pt x="418" y="287"/>
                    <a:pt x="419" y="287"/>
                    <a:pt x="419" y="288"/>
                  </a:cubicBezTo>
                  <a:cubicBezTo>
                    <a:pt x="419" y="288"/>
                    <a:pt x="418" y="288"/>
                    <a:pt x="418" y="289"/>
                  </a:cubicBezTo>
                  <a:cubicBezTo>
                    <a:pt x="417" y="289"/>
                    <a:pt x="416" y="290"/>
                    <a:pt x="416" y="290"/>
                  </a:cubicBezTo>
                  <a:cubicBezTo>
                    <a:pt x="415" y="291"/>
                    <a:pt x="413" y="291"/>
                    <a:pt x="412" y="291"/>
                  </a:cubicBezTo>
                  <a:cubicBezTo>
                    <a:pt x="412" y="292"/>
                    <a:pt x="411" y="293"/>
                    <a:pt x="411" y="293"/>
                  </a:cubicBezTo>
                  <a:cubicBezTo>
                    <a:pt x="410" y="293"/>
                    <a:pt x="410" y="294"/>
                    <a:pt x="410" y="294"/>
                  </a:cubicBezTo>
                  <a:cubicBezTo>
                    <a:pt x="410" y="294"/>
                    <a:pt x="411" y="293"/>
                    <a:pt x="412" y="293"/>
                  </a:cubicBezTo>
                  <a:cubicBezTo>
                    <a:pt x="413" y="293"/>
                    <a:pt x="414" y="292"/>
                    <a:pt x="415" y="291"/>
                  </a:cubicBezTo>
                  <a:cubicBezTo>
                    <a:pt x="417" y="290"/>
                    <a:pt x="419" y="289"/>
                    <a:pt x="421" y="289"/>
                  </a:cubicBezTo>
                  <a:cubicBezTo>
                    <a:pt x="423" y="288"/>
                    <a:pt x="425" y="287"/>
                    <a:pt x="427" y="286"/>
                  </a:cubicBezTo>
                  <a:cubicBezTo>
                    <a:pt x="428" y="286"/>
                    <a:pt x="429" y="285"/>
                    <a:pt x="431" y="284"/>
                  </a:cubicBezTo>
                  <a:cubicBezTo>
                    <a:pt x="432" y="284"/>
                    <a:pt x="433" y="284"/>
                    <a:pt x="434" y="283"/>
                  </a:cubicBezTo>
                  <a:cubicBezTo>
                    <a:pt x="434" y="283"/>
                    <a:pt x="435" y="283"/>
                    <a:pt x="435" y="283"/>
                  </a:cubicBezTo>
                  <a:cubicBezTo>
                    <a:pt x="436" y="282"/>
                    <a:pt x="438" y="282"/>
                    <a:pt x="439" y="282"/>
                  </a:cubicBezTo>
                  <a:cubicBezTo>
                    <a:pt x="440" y="283"/>
                    <a:pt x="441" y="283"/>
                    <a:pt x="441" y="282"/>
                  </a:cubicBezTo>
                  <a:cubicBezTo>
                    <a:pt x="442" y="281"/>
                    <a:pt x="441" y="281"/>
                    <a:pt x="441" y="280"/>
                  </a:cubicBezTo>
                  <a:cubicBezTo>
                    <a:pt x="440" y="280"/>
                    <a:pt x="439" y="279"/>
                    <a:pt x="439" y="279"/>
                  </a:cubicBezTo>
                  <a:cubicBezTo>
                    <a:pt x="439" y="278"/>
                    <a:pt x="439" y="277"/>
                    <a:pt x="439" y="277"/>
                  </a:cubicBezTo>
                  <a:cubicBezTo>
                    <a:pt x="439" y="276"/>
                    <a:pt x="439" y="276"/>
                    <a:pt x="440" y="275"/>
                  </a:cubicBezTo>
                  <a:cubicBezTo>
                    <a:pt x="440" y="274"/>
                    <a:pt x="440" y="274"/>
                    <a:pt x="441" y="273"/>
                  </a:cubicBezTo>
                  <a:cubicBezTo>
                    <a:pt x="441" y="272"/>
                    <a:pt x="440" y="272"/>
                    <a:pt x="441" y="271"/>
                  </a:cubicBezTo>
                  <a:cubicBezTo>
                    <a:pt x="441" y="270"/>
                    <a:pt x="443" y="270"/>
                    <a:pt x="443" y="271"/>
                  </a:cubicBezTo>
                  <a:cubicBezTo>
                    <a:pt x="444" y="269"/>
                    <a:pt x="446" y="267"/>
                    <a:pt x="446" y="267"/>
                  </a:cubicBezTo>
                  <a:cubicBezTo>
                    <a:pt x="446" y="266"/>
                    <a:pt x="446" y="262"/>
                    <a:pt x="446" y="262"/>
                  </a:cubicBezTo>
                  <a:cubicBezTo>
                    <a:pt x="446" y="261"/>
                    <a:pt x="446" y="259"/>
                    <a:pt x="446" y="258"/>
                  </a:cubicBezTo>
                  <a:cubicBezTo>
                    <a:pt x="446" y="258"/>
                    <a:pt x="445" y="257"/>
                    <a:pt x="444" y="256"/>
                  </a:cubicBezTo>
                  <a:cubicBezTo>
                    <a:pt x="444" y="255"/>
                    <a:pt x="445" y="255"/>
                    <a:pt x="445" y="254"/>
                  </a:cubicBezTo>
                  <a:cubicBezTo>
                    <a:pt x="445" y="254"/>
                    <a:pt x="446" y="253"/>
                    <a:pt x="446" y="252"/>
                  </a:cubicBezTo>
                  <a:cubicBezTo>
                    <a:pt x="446" y="252"/>
                    <a:pt x="446" y="249"/>
                    <a:pt x="446" y="249"/>
                  </a:cubicBezTo>
                  <a:cubicBezTo>
                    <a:pt x="446" y="248"/>
                    <a:pt x="445" y="247"/>
                    <a:pt x="445" y="247"/>
                  </a:cubicBezTo>
                  <a:cubicBezTo>
                    <a:pt x="445" y="246"/>
                    <a:pt x="447" y="246"/>
                    <a:pt x="447" y="245"/>
                  </a:cubicBezTo>
                  <a:cubicBezTo>
                    <a:pt x="448" y="245"/>
                    <a:pt x="449" y="242"/>
                    <a:pt x="450" y="241"/>
                  </a:cubicBezTo>
                  <a:cubicBezTo>
                    <a:pt x="450" y="240"/>
                    <a:pt x="451" y="237"/>
                    <a:pt x="451" y="237"/>
                  </a:cubicBezTo>
                  <a:cubicBezTo>
                    <a:pt x="451" y="236"/>
                    <a:pt x="452" y="234"/>
                    <a:pt x="452" y="234"/>
                  </a:cubicBezTo>
                  <a:cubicBezTo>
                    <a:pt x="452" y="233"/>
                    <a:pt x="452" y="232"/>
                    <a:pt x="452" y="232"/>
                  </a:cubicBezTo>
                  <a:cubicBezTo>
                    <a:pt x="452" y="231"/>
                    <a:pt x="451" y="230"/>
                    <a:pt x="451" y="229"/>
                  </a:cubicBez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4D9A052D-2182-4373-B50B-4E5598E58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7308" y="3574395"/>
              <a:ext cx="1179673" cy="284179"/>
            </a:xfrm>
            <a:custGeom>
              <a:avLst/>
              <a:gdLst>
                <a:gd name="T0" fmla="*/ 211 w 298"/>
                <a:gd name="T1" fmla="*/ 62 h 72"/>
                <a:gd name="T2" fmla="*/ 216 w 298"/>
                <a:gd name="T3" fmla="*/ 58 h 72"/>
                <a:gd name="T4" fmla="*/ 217 w 298"/>
                <a:gd name="T5" fmla="*/ 54 h 72"/>
                <a:gd name="T6" fmla="*/ 226 w 298"/>
                <a:gd name="T7" fmla="*/ 48 h 72"/>
                <a:gd name="T8" fmla="*/ 240 w 298"/>
                <a:gd name="T9" fmla="*/ 44 h 72"/>
                <a:gd name="T10" fmla="*/ 243 w 298"/>
                <a:gd name="T11" fmla="*/ 41 h 72"/>
                <a:gd name="T12" fmla="*/ 248 w 298"/>
                <a:gd name="T13" fmla="*/ 38 h 72"/>
                <a:gd name="T14" fmla="*/ 254 w 298"/>
                <a:gd name="T15" fmla="*/ 37 h 72"/>
                <a:gd name="T16" fmla="*/ 257 w 298"/>
                <a:gd name="T17" fmla="*/ 31 h 72"/>
                <a:gd name="T18" fmla="*/ 263 w 298"/>
                <a:gd name="T19" fmla="*/ 27 h 72"/>
                <a:gd name="T20" fmla="*/ 265 w 298"/>
                <a:gd name="T21" fmla="*/ 30 h 72"/>
                <a:gd name="T22" fmla="*/ 272 w 298"/>
                <a:gd name="T23" fmla="*/ 26 h 72"/>
                <a:gd name="T24" fmla="*/ 279 w 298"/>
                <a:gd name="T25" fmla="*/ 22 h 72"/>
                <a:gd name="T26" fmla="*/ 286 w 298"/>
                <a:gd name="T27" fmla="*/ 23 h 72"/>
                <a:gd name="T28" fmla="*/ 293 w 298"/>
                <a:gd name="T29" fmla="*/ 14 h 72"/>
                <a:gd name="T30" fmla="*/ 296 w 298"/>
                <a:gd name="T31" fmla="*/ 11 h 72"/>
                <a:gd name="T32" fmla="*/ 298 w 298"/>
                <a:gd name="T33" fmla="*/ 4 h 72"/>
                <a:gd name="T34" fmla="*/ 214 w 298"/>
                <a:gd name="T35" fmla="*/ 3 h 72"/>
                <a:gd name="T36" fmla="*/ 104 w 298"/>
                <a:gd name="T37" fmla="*/ 2 h 72"/>
                <a:gd name="T38" fmla="*/ 77 w 298"/>
                <a:gd name="T39" fmla="*/ 0 h 72"/>
                <a:gd name="T40" fmla="*/ 30 w 298"/>
                <a:gd name="T41" fmla="*/ 8 h 72"/>
                <a:gd name="T42" fmla="*/ 28 w 298"/>
                <a:gd name="T43" fmla="*/ 8 h 72"/>
                <a:gd name="T44" fmla="*/ 28 w 298"/>
                <a:gd name="T45" fmla="*/ 5 h 72"/>
                <a:gd name="T46" fmla="*/ 26 w 298"/>
                <a:gd name="T47" fmla="*/ 6 h 72"/>
                <a:gd name="T48" fmla="*/ 25 w 298"/>
                <a:gd name="T49" fmla="*/ 14 h 72"/>
                <a:gd name="T50" fmla="*/ 25 w 298"/>
                <a:gd name="T51" fmla="*/ 17 h 72"/>
                <a:gd name="T52" fmla="*/ 22 w 298"/>
                <a:gd name="T53" fmla="*/ 18 h 72"/>
                <a:gd name="T54" fmla="*/ 23 w 298"/>
                <a:gd name="T55" fmla="*/ 20 h 72"/>
                <a:gd name="T56" fmla="*/ 22 w 298"/>
                <a:gd name="T57" fmla="*/ 25 h 72"/>
                <a:gd name="T58" fmla="*/ 21 w 298"/>
                <a:gd name="T59" fmla="*/ 27 h 72"/>
                <a:gd name="T60" fmla="*/ 20 w 298"/>
                <a:gd name="T61" fmla="*/ 29 h 72"/>
                <a:gd name="T62" fmla="*/ 21 w 298"/>
                <a:gd name="T63" fmla="*/ 34 h 72"/>
                <a:gd name="T64" fmla="*/ 19 w 298"/>
                <a:gd name="T65" fmla="*/ 36 h 72"/>
                <a:gd name="T66" fmla="*/ 17 w 298"/>
                <a:gd name="T67" fmla="*/ 38 h 72"/>
                <a:gd name="T68" fmla="*/ 14 w 298"/>
                <a:gd name="T69" fmla="*/ 40 h 72"/>
                <a:gd name="T70" fmla="*/ 13 w 298"/>
                <a:gd name="T71" fmla="*/ 43 h 72"/>
                <a:gd name="T72" fmla="*/ 14 w 298"/>
                <a:gd name="T73" fmla="*/ 46 h 72"/>
                <a:gd name="T74" fmla="*/ 13 w 298"/>
                <a:gd name="T75" fmla="*/ 49 h 72"/>
                <a:gd name="T76" fmla="*/ 9 w 298"/>
                <a:gd name="T77" fmla="*/ 49 h 72"/>
                <a:gd name="T78" fmla="*/ 8 w 298"/>
                <a:gd name="T79" fmla="*/ 54 h 72"/>
                <a:gd name="T80" fmla="*/ 8 w 298"/>
                <a:gd name="T81" fmla="*/ 51 h 72"/>
                <a:gd name="T82" fmla="*/ 6 w 298"/>
                <a:gd name="T83" fmla="*/ 55 h 72"/>
                <a:gd name="T84" fmla="*/ 8 w 298"/>
                <a:gd name="T85" fmla="*/ 56 h 72"/>
                <a:gd name="T86" fmla="*/ 6 w 298"/>
                <a:gd name="T87" fmla="*/ 59 h 72"/>
                <a:gd name="T88" fmla="*/ 6 w 298"/>
                <a:gd name="T89" fmla="*/ 62 h 72"/>
                <a:gd name="T90" fmla="*/ 7 w 298"/>
                <a:gd name="T91" fmla="*/ 64 h 72"/>
                <a:gd name="T92" fmla="*/ 5 w 298"/>
                <a:gd name="T93" fmla="*/ 66 h 72"/>
                <a:gd name="T94" fmla="*/ 0 w 298"/>
                <a:gd name="T95" fmla="*/ 72 h 72"/>
                <a:gd name="T96" fmla="*/ 207 w 298"/>
                <a:gd name="T97" fmla="*/ 6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8" h="72">
                  <a:moveTo>
                    <a:pt x="207" y="62"/>
                  </a:moveTo>
                  <a:cubicBezTo>
                    <a:pt x="208" y="61"/>
                    <a:pt x="209" y="60"/>
                    <a:pt x="210" y="60"/>
                  </a:cubicBezTo>
                  <a:cubicBezTo>
                    <a:pt x="210" y="60"/>
                    <a:pt x="211" y="62"/>
                    <a:pt x="211" y="62"/>
                  </a:cubicBezTo>
                  <a:cubicBezTo>
                    <a:pt x="211" y="62"/>
                    <a:pt x="213" y="61"/>
                    <a:pt x="213" y="61"/>
                  </a:cubicBezTo>
                  <a:cubicBezTo>
                    <a:pt x="214" y="61"/>
                    <a:pt x="215" y="60"/>
                    <a:pt x="216" y="60"/>
                  </a:cubicBezTo>
                  <a:cubicBezTo>
                    <a:pt x="216" y="60"/>
                    <a:pt x="217" y="59"/>
                    <a:pt x="216" y="58"/>
                  </a:cubicBezTo>
                  <a:cubicBezTo>
                    <a:pt x="216" y="58"/>
                    <a:pt x="216" y="57"/>
                    <a:pt x="216" y="57"/>
                  </a:cubicBezTo>
                  <a:cubicBezTo>
                    <a:pt x="216" y="57"/>
                    <a:pt x="217" y="56"/>
                    <a:pt x="217" y="56"/>
                  </a:cubicBezTo>
                  <a:cubicBezTo>
                    <a:pt x="217" y="55"/>
                    <a:pt x="217" y="54"/>
                    <a:pt x="217" y="54"/>
                  </a:cubicBezTo>
                  <a:cubicBezTo>
                    <a:pt x="217" y="54"/>
                    <a:pt x="220" y="51"/>
                    <a:pt x="220" y="51"/>
                  </a:cubicBezTo>
                  <a:cubicBezTo>
                    <a:pt x="220" y="51"/>
                    <a:pt x="224" y="48"/>
                    <a:pt x="224" y="48"/>
                  </a:cubicBezTo>
                  <a:cubicBezTo>
                    <a:pt x="224" y="48"/>
                    <a:pt x="226" y="48"/>
                    <a:pt x="226" y="48"/>
                  </a:cubicBezTo>
                  <a:cubicBezTo>
                    <a:pt x="235" y="48"/>
                    <a:pt x="235" y="48"/>
                    <a:pt x="235" y="48"/>
                  </a:cubicBezTo>
                  <a:cubicBezTo>
                    <a:pt x="235" y="48"/>
                    <a:pt x="238" y="45"/>
                    <a:pt x="238" y="45"/>
                  </a:cubicBezTo>
                  <a:cubicBezTo>
                    <a:pt x="239" y="44"/>
                    <a:pt x="240" y="44"/>
                    <a:pt x="240" y="44"/>
                  </a:cubicBezTo>
                  <a:cubicBezTo>
                    <a:pt x="240" y="43"/>
                    <a:pt x="242" y="43"/>
                    <a:pt x="242" y="43"/>
                  </a:cubicBezTo>
                  <a:cubicBezTo>
                    <a:pt x="242" y="43"/>
                    <a:pt x="243" y="43"/>
                    <a:pt x="243" y="42"/>
                  </a:cubicBezTo>
                  <a:cubicBezTo>
                    <a:pt x="243" y="42"/>
                    <a:pt x="243" y="41"/>
                    <a:pt x="243" y="41"/>
                  </a:cubicBezTo>
                  <a:cubicBezTo>
                    <a:pt x="244" y="41"/>
                    <a:pt x="245" y="41"/>
                    <a:pt x="245" y="41"/>
                  </a:cubicBezTo>
                  <a:cubicBezTo>
                    <a:pt x="245" y="40"/>
                    <a:pt x="246" y="40"/>
                    <a:pt x="247" y="39"/>
                  </a:cubicBezTo>
                  <a:cubicBezTo>
                    <a:pt x="247" y="39"/>
                    <a:pt x="247" y="39"/>
                    <a:pt x="248" y="38"/>
                  </a:cubicBezTo>
                  <a:cubicBezTo>
                    <a:pt x="248" y="38"/>
                    <a:pt x="250" y="38"/>
                    <a:pt x="250" y="38"/>
                  </a:cubicBezTo>
                  <a:cubicBezTo>
                    <a:pt x="251" y="38"/>
                    <a:pt x="252" y="38"/>
                    <a:pt x="252" y="38"/>
                  </a:cubicBezTo>
                  <a:cubicBezTo>
                    <a:pt x="253" y="38"/>
                    <a:pt x="253" y="37"/>
                    <a:pt x="254" y="37"/>
                  </a:cubicBezTo>
                  <a:cubicBezTo>
                    <a:pt x="254" y="36"/>
                    <a:pt x="255" y="35"/>
                    <a:pt x="255" y="34"/>
                  </a:cubicBezTo>
                  <a:cubicBezTo>
                    <a:pt x="255" y="34"/>
                    <a:pt x="255" y="33"/>
                    <a:pt x="255" y="32"/>
                  </a:cubicBezTo>
                  <a:cubicBezTo>
                    <a:pt x="256" y="32"/>
                    <a:pt x="257" y="31"/>
                    <a:pt x="257" y="31"/>
                  </a:cubicBezTo>
                  <a:cubicBezTo>
                    <a:pt x="258" y="32"/>
                    <a:pt x="259" y="32"/>
                    <a:pt x="259" y="32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60" y="29"/>
                    <a:pt x="262" y="27"/>
                    <a:pt x="263" y="27"/>
                  </a:cubicBezTo>
                  <a:cubicBezTo>
                    <a:pt x="263" y="27"/>
                    <a:pt x="264" y="26"/>
                    <a:pt x="265" y="26"/>
                  </a:cubicBezTo>
                  <a:cubicBezTo>
                    <a:pt x="265" y="26"/>
                    <a:pt x="266" y="28"/>
                    <a:pt x="266" y="28"/>
                  </a:cubicBezTo>
                  <a:cubicBezTo>
                    <a:pt x="266" y="28"/>
                    <a:pt x="265" y="29"/>
                    <a:pt x="265" y="30"/>
                  </a:cubicBezTo>
                  <a:cubicBezTo>
                    <a:pt x="265" y="30"/>
                    <a:pt x="267" y="31"/>
                    <a:pt x="268" y="31"/>
                  </a:cubicBezTo>
                  <a:cubicBezTo>
                    <a:pt x="269" y="30"/>
                    <a:pt x="270" y="30"/>
                    <a:pt x="271" y="29"/>
                  </a:cubicBezTo>
                  <a:cubicBezTo>
                    <a:pt x="271" y="28"/>
                    <a:pt x="271" y="27"/>
                    <a:pt x="272" y="26"/>
                  </a:cubicBezTo>
                  <a:cubicBezTo>
                    <a:pt x="273" y="25"/>
                    <a:pt x="273" y="24"/>
                    <a:pt x="274" y="24"/>
                  </a:cubicBezTo>
                  <a:cubicBezTo>
                    <a:pt x="276" y="23"/>
                    <a:pt x="277" y="24"/>
                    <a:pt x="278" y="23"/>
                  </a:cubicBezTo>
                  <a:cubicBezTo>
                    <a:pt x="278" y="23"/>
                    <a:pt x="279" y="23"/>
                    <a:pt x="279" y="22"/>
                  </a:cubicBezTo>
                  <a:cubicBezTo>
                    <a:pt x="280" y="22"/>
                    <a:pt x="280" y="23"/>
                    <a:pt x="281" y="23"/>
                  </a:cubicBezTo>
                  <a:cubicBezTo>
                    <a:pt x="282" y="24"/>
                    <a:pt x="283" y="25"/>
                    <a:pt x="284" y="25"/>
                  </a:cubicBezTo>
                  <a:cubicBezTo>
                    <a:pt x="284" y="24"/>
                    <a:pt x="285" y="24"/>
                    <a:pt x="286" y="23"/>
                  </a:cubicBezTo>
                  <a:cubicBezTo>
                    <a:pt x="286" y="23"/>
                    <a:pt x="288" y="18"/>
                    <a:pt x="289" y="17"/>
                  </a:cubicBezTo>
                  <a:cubicBezTo>
                    <a:pt x="290" y="16"/>
                    <a:pt x="291" y="15"/>
                    <a:pt x="292" y="15"/>
                  </a:cubicBezTo>
                  <a:cubicBezTo>
                    <a:pt x="292" y="14"/>
                    <a:pt x="293" y="13"/>
                    <a:pt x="293" y="14"/>
                  </a:cubicBezTo>
                  <a:cubicBezTo>
                    <a:pt x="294" y="14"/>
                    <a:pt x="296" y="14"/>
                    <a:pt x="296" y="15"/>
                  </a:cubicBezTo>
                  <a:cubicBezTo>
                    <a:pt x="297" y="15"/>
                    <a:pt x="296" y="13"/>
                    <a:pt x="296" y="13"/>
                  </a:cubicBezTo>
                  <a:cubicBezTo>
                    <a:pt x="296" y="12"/>
                    <a:pt x="295" y="12"/>
                    <a:pt x="296" y="11"/>
                  </a:cubicBezTo>
                  <a:cubicBezTo>
                    <a:pt x="296" y="10"/>
                    <a:pt x="297" y="10"/>
                    <a:pt x="297" y="9"/>
                  </a:cubicBezTo>
                  <a:cubicBezTo>
                    <a:pt x="297" y="9"/>
                    <a:pt x="296" y="7"/>
                    <a:pt x="296" y="7"/>
                  </a:cubicBezTo>
                  <a:cubicBezTo>
                    <a:pt x="296" y="6"/>
                    <a:pt x="298" y="4"/>
                    <a:pt x="298" y="4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60" y="3"/>
                    <a:pt x="260" y="3"/>
                    <a:pt x="260" y="3"/>
                  </a:cubicBezTo>
                  <a:cubicBezTo>
                    <a:pt x="214" y="3"/>
                    <a:pt x="214" y="3"/>
                    <a:pt x="214" y="3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9"/>
                    <a:pt x="29" y="9"/>
                  </a:cubicBezTo>
                  <a:cubicBezTo>
                    <a:pt x="29" y="9"/>
                    <a:pt x="29" y="10"/>
                    <a:pt x="28" y="9"/>
                  </a:cubicBezTo>
                  <a:cubicBezTo>
                    <a:pt x="28" y="9"/>
                    <a:pt x="28" y="9"/>
                    <a:pt x="28" y="8"/>
                  </a:cubicBezTo>
                  <a:cubicBezTo>
                    <a:pt x="28" y="8"/>
                    <a:pt x="27" y="8"/>
                    <a:pt x="27" y="8"/>
                  </a:cubicBezTo>
                  <a:cubicBezTo>
                    <a:pt x="27" y="8"/>
                    <a:pt x="28" y="7"/>
                    <a:pt x="28" y="7"/>
                  </a:cubicBezTo>
                  <a:cubicBezTo>
                    <a:pt x="28" y="6"/>
                    <a:pt x="28" y="5"/>
                    <a:pt x="28" y="5"/>
                  </a:cubicBezTo>
                  <a:cubicBezTo>
                    <a:pt x="28" y="4"/>
                    <a:pt x="27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7"/>
                    <a:pt x="26" y="8"/>
                    <a:pt x="26" y="8"/>
                  </a:cubicBezTo>
                  <a:cubicBezTo>
                    <a:pt x="27" y="10"/>
                    <a:pt x="27" y="12"/>
                    <a:pt x="27" y="14"/>
                  </a:cubicBezTo>
                  <a:cubicBezTo>
                    <a:pt x="26" y="14"/>
                    <a:pt x="26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5"/>
                  </a:cubicBezTo>
                  <a:cubicBezTo>
                    <a:pt x="24" y="16"/>
                    <a:pt x="24" y="16"/>
                    <a:pt x="25" y="17"/>
                  </a:cubicBezTo>
                  <a:cubicBezTo>
                    <a:pt x="25" y="17"/>
                    <a:pt x="26" y="18"/>
                    <a:pt x="26" y="18"/>
                  </a:cubicBezTo>
                  <a:cubicBezTo>
                    <a:pt x="26" y="18"/>
                    <a:pt x="25" y="18"/>
                    <a:pt x="25" y="18"/>
                  </a:cubicBezTo>
                  <a:cubicBezTo>
                    <a:pt x="24" y="18"/>
                    <a:pt x="23" y="18"/>
                    <a:pt x="22" y="18"/>
                  </a:cubicBezTo>
                  <a:cubicBezTo>
                    <a:pt x="22" y="18"/>
                    <a:pt x="21" y="18"/>
                    <a:pt x="21" y="18"/>
                  </a:cubicBezTo>
                  <a:cubicBezTo>
                    <a:pt x="21" y="18"/>
                    <a:pt x="21" y="19"/>
                    <a:pt x="22" y="19"/>
                  </a:cubicBezTo>
                  <a:cubicBezTo>
                    <a:pt x="22" y="20"/>
                    <a:pt x="23" y="20"/>
                    <a:pt x="23" y="20"/>
                  </a:cubicBezTo>
                  <a:cubicBezTo>
                    <a:pt x="23" y="21"/>
                    <a:pt x="24" y="21"/>
                    <a:pt x="24" y="22"/>
                  </a:cubicBezTo>
                  <a:cubicBezTo>
                    <a:pt x="24" y="22"/>
                    <a:pt x="24" y="23"/>
                    <a:pt x="24" y="24"/>
                  </a:cubicBezTo>
                  <a:cubicBezTo>
                    <a:pt x="23" y="24"/>
                    <a:pt x="23" y="24"/>
                    <a:pt x="22" y="25"/>
                  </a:cubicBezTo>
                  <a:cubicBezTo>
                    <a:pt x="22" y="25"/>
                    <a:pt x="22" y="26"/>
                    <a:pt x="22" y="26"/>
                  </a:cubicBezTo>
                  <a:cubicBezTo>
                    <a:pt x="22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7"/>
                  </a:cubicBezTo>
                  <a:cubicBezTo>
                    <a:pt x="21" y="27"/>
                    <a:pt x="21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9"/>
                    <a:pt x="20" y="29"/>
                  </a:cubicBezTo>
                  <a:cubicBezTo>
                    <a:pt x="20" y="29"/>
                    <a:pt x="22" y="32"/>
                    <a:pt x="22" y="33"/>
                  </a:cubicBezTo>
                  <a:cubicBezTo>
                    <a:pt x="22" y="33"/>
                    <a:pt x="23" y="33"/>
                    <a:pt x="22" y="34"/>
                  </a:cubicBezTo>
                  <a:cubicBezTo>
                    <a:pt x="22" y="34"/>
                    <a:pt x="22" y="34"/>
                    <a:pt x="21" y="34"/>
                  </a:cubicBezTo>
                  <a:cubicBezTo>
                    <a:pt x="21" y="33"/>
                    <a:pt x="21" y="33"/>
                    <a:pt x="20" y="33"/>
                  </a:cubicBezTo>
                  <a:cubicBezTo>
                    <a:pt x="20" y="33"/>
                    <a:pt x="19" y="33"/>
                    <a:pt x="18" y="34"/>
                  </a:cubicBezTo>
                  <a:cubicBezTo>
                    <a:pt x="18" y="34"/>
                    <a:pt x="18" y="35"/>
                    <a:pt x="19" y="36"/>
                  </a:cubicBezTo>
                  <a:cubicBezTo>
                    <a:pt x="19" y="36"/>
                    <a:pt x="20" y="36"/>
                    <a:pt x="20" y="36"/>
                  </a:cubicBezTo>
                  <a:cubicBezTo>
                    <a:pt x="20" y="37"/>
                    <a:pt x="19" y="37"/>
                    <a:pt x="19" y="37"/>
                  </a:cubicBezTo>
                  <a:cubicBezTo>
                    <a:pt x="18" y="37"/>
                    <a:pt x="18" y="37"/>
                    <a:pt x="17" y="38"/>
                  </a:cubicBezTo>
                  <a:cubicBezTo>
                    <a:pt x="17" y="38"/>
                    <a:pt x="17" y="38"/>
                    <a:pt x="16" y="39"/>
                  </a:cubicBezTo>
                  <a:cubicBezTo>
                    <a:pt x="16" y="39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3" y="40"/>
                    <a:pt x="13" y="39"/>
                    <a:pt x="12" y="40"/>
                  </a:cubicBezTo>
                  <a:cubicBezTo>
                    <a:pt x="12" y="41"/>
                    <a:pt x="12" y="42"/>
                    <a:pt x="12" y="4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3"/>
                    <a:pt x="14" y="43"/>
                    <a:pt x="15" y="43"/>
                  </a:cubicBezTo>
                  <a:cubicBezTo>
                    <a:pt x="15" y="44"/>
                    <a:pt x="15" y="44"/>
                    <a:pt x="15" y="45"/>
                  </a:cubicBezTo>
                  <a:cubicBezTo>
                    <a:pt x="15" y="45"/>
                    <a:pt x="14" y="45"/>
                    <a:pt x="14" y="46"/>
                  </a:cubicBezTo>
                  <a:cubicBezTo>
                    <a:pt x="13" y="46"/>
                    <a:pt x="12" y="46"/>
                    <a:pt x="12" y="47"/>
                  </a:cubicBezTo>
                  <a:cubicBezTo>
                    <a:pt x="12" y="48"/>
                    <a:pt x="13" y="48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9"/>
                    <a:pt x="12" y="49"/>
                    <a:pt x="12" y="49"/>
                  </a:cubicBezTo>
                  <a:cubicBezTo>
                    <a:pt x="12" y="49"/>
                    <a:pt x="11" y="48"/>
                    <a:pt x="11" y="48"/>
                  </a:cubicBezTo>
                  <a:cubicBezTo>
                    <a:pt x="10" y="48"/>
                    <a:pt x="10" y="48"/>
                    <a:pt x="9" y="49"/>
                  </a:cubicBezTo>
                  <a:cubicBezTo>
                    <a:pt x="9" y="49"/>
                    <a:pt x="9" y="50"/>
                    <a:pt x="9" y="51"/>
                  </a:cubicBezTo>
                  <a:cubicBezTo>
                    <a:pt x="10" y="52"/>
                    <a:pt x="10" y="52"/>
                    <a:pt x="9" y="53"/>
                  </a:cubicBezTo>
                  <a:cubicBezTo>
                    <a:pt x="9" y="53"/>
                    <a:pt x="8" y="54"/>
                    <a:pt x="8" y="54"/>
                  </a:cubicBezTo>
                  <a:cubicBezTo>
                    <a:pt x="8" y="54"/>
                    <a:pt x="8" y="54"/>
                    <a:pt x="8" y="53"/>
                  </a:cubicBezTo>
                  <a:cubicBezTo>
                    <a:pt x="8" y="53"/>
                    <a:pt x="8" y="53"/>
                    <a:pt x="8" y="52"/>
                  </a:cubicBezTo>
                  <a:cubicBezTo>
                    <a:pt x="8" y="52"/>
                    <a:pt x="8" y="52"/>
                    <a:pt x="8" y="51"/>
                  </a:cubicBezTo>
                  <a:cubicBezTo>
                    <a:pt x="6" y="51"/>
                    <a:pt x="6" y="52"/>
                    <a:pt x="6" y="53"/>
                  </a:cubicBezTo>
                  <a:cubicBezTo>
                    <a:pt x="5" y="54"/>
                    <a:pt x="4" y="54"/>
                    <a:pt x="4" y="55"/>
                  </a:cubicBezTo>
                  <a:cubicBezTo>
                    <a:pt x="5" y="55"/>
                    <a:pt x="5" y="55"/>
                    <a:pt x="6" y="55"/>
                  </a:cubicBezTo>
                  <a:cubicBezTo>
                    <a:pt x="6" y="55"/>
                    <a:pt x="6" y="54"/>
                    <a:pt x="7" y="54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5"/>
                    <a:pt x="8" y="56"/>
                  </a:cubicBezTo>
                  <a:cubicBezTo>
                    <a:pt x="8" y="56"/>
                    <a:pt x="7" y="57"/>
                    <a:pt x="7" y="57"/>
                  </a:cubicBezTo>
                  <a:cubicBezTo>
                    <a:pt x="7" y="57"/>
                    <a:pt x="7" y="58"/>
                    <a:pt x="7" y="58"/>
                  </a:cubicBezTo>
                  <a:cubicBezTo>
                    <a:pt x="7" y="58"/>
                    <a:pt x="6" y="59"/>
                    <a:pt x="6" y="59"/>
                  </a:cubicBezTo>
                  <a:cubicBezTo>
                    <a:pt x="6" y="59"/>
                    <a:pt x="5" y="59"/>
                    <a:pt x="5" y="59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1"/>
                    <a:pt x="6" y="61"/>
                    <a:pt x="6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4"/>
                    <a:pt x="7" y="65"/>
                    <a:pt x="7" y="65"/>
                  </a:cubicBezTo>
                  <a:cubicBezTo>
                    <a:pt x="7" y="65"/>
                    <a:pt x="7" y="66"/>
                    <a:pt x="7" y="66"/>
                  </a:cubicBezTo>
                  <a:cubicBezTo>
                    <a:pt x="6" y="66"/>
                    <a:pt x="5" y="66"/>
                    <a:pt x="5" y="66"/>
                  </a:cubicBezTo>
                  <a:cubicBezTo>
                    <a:pt x="4" y="67"/>
                    <a:pt x="4" y="69"/>
                    <a:pt x="4" y="69"/>
                  </a:cubicBezTo>
                  <a:cubicBezTo>
                    <a:pt x="3" y="70"/>
                    <a:pt x="1" y="69"/>
                    <a:pt x="0" y="70"/>
                  </a:cubicBezTo>
                  <a:cubicBezTo>
                    <a:pt x="0" y="71"/>
                    <a:pt x="0" y="71"/>
                    <a:pt x="0" y="72"/>
                  </a:cubicBezTo>
                  <a:cubicBezTo>
                    <a:pt x="206" y="72"/>
                    <a:pt x="206" y="72"/>
                    <a:pt x="206" y="72"/>
                  </a:cubicBezTo>
                  <a:cubicBezTo>
                    <a:pt x="206" y="72"/>
                    <a:pt x="207" y="65"/>
                    <a:pt x="207" y="65"/>
                  </a:cubicBezTo>
                  <a:cubicBezTo>
                    <a:pt x="207" y="64"/>
                    <a:pt x="207" y="62"/>
                    <a:pt x="207" y="62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4AA02263-3B88-46FB-9833-E18BD29FD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448" y="1877579"/>
              <a:ext cx="1040888" cy="660882"/>
            </a:xfrm>
            <a:custGeom>
              <a:avLst/>
              <a:gdLst>
                <a:gd name="T0" fmla="*/ 193 w 263"/>
                <a:gd name="T1" fmla="*/ 147 h 167"/>
                <a:gd name="T2" fmla="*/ 203 w 263"/>
                <a:gd name="T3" fmla="*/ 150 h 167"/>
                <a:gd name="T4" fmla="*/ 207 w 263"/>
                <a:gd name="T5" fmla="*/ 154 h 167"/>
                <a:gd name="T6" fmla="*/ 212 w 263"/>
                <a:gd name="T7" fmla="*/ 153 h 167"/>
                <a:gd name="T8" fmla="*/ 214 w 263"/>
                <a:gd name="T9" fmla="*/ 149 h 167"/>
                <a:gd name="T10" fmla="*/ 219 w 263"/>
                <a:gd name="T11" fmla="*/ 151 h 167"/>
                <a:gd name="T12" fmla="*/ 222 w 263"/>
                <a:gd name="T13" fmla="*/ 151 h 167"/>
                <a:gd name="T14" fmla="*/ 227 w 263"/>
                <a:gd name="T15" fmla="*/ 150 h 167"/>
                <a:gd name="T16" fmla="*/ 229 w 263"/>
                <a:gd name="T17" fmla="*/ 149 h 167"/>
                <a:gd name="T18" fmla="*/ 232 w 263"/>
                <a:gd name="T19" fmla="*/ 150 h 167"/>
                <a:gd name="T20" fmla="*/ 235 w 263"/>
                <a:gd name="T21" fmla="*/ 150 h 167"/>
                <a:gd name="T22" fmla="*/ 236 w 263"/>
                <a:gd name="T23" fmla="*/ 152 h 167"/>
                <a:gd name="T24" fmla="*/ 239 w 263"/>
                <a:gd name="T25" fmla="*/ 154 h 167"/>
                <a:gd name="T26" fmla="*/ 244 w 263"/>
                <a:gd name="T27" fmla="*/ 155 h 167"/>
                <a:gd name="T28" fmla="*/ 244 w 263"/>
                <a:gd name="T29" fmla="*/ 156 h 167"/>
                <a:gd name="T30" fmla="*/ 249 w 263"/>
                <a:gd name="T31" fmla="*/ 156 h 167"/>
                <a:gd name="T32" fmla="*/ 251 w 263"/>
                <a:gd name="T33" fmla="*/ 159 h 167"/>
                <a:gd name="T34" fmla="*/ 254 w 263"/>
                <a:gd name="T35" fmla="*/ 159 h 167"/>
                <a:gd name="T36" fmla="*/ 253 w 263"/>
                <a:gd name="T37" fmla="*/ 162 h 167"/>
                <a:gd name="T38" fmla="*/ 257 w 263"/>
                <a:gd name="T39" fmla="*/ 166 h 167"/>
                <a:gd name="T40" fmla="*/ 258 w 263"/>
                <a:gd name="T41" fmla="*/ 166 h 167"/>
                <a:gd name="T42" fmla="*/ 261 w 263"/>
                <a:gd name="T43" fmla="*/ 167 h 167"/>
                <a:gd name="T44" fmla="*/ 262 w 263"/>
                <a:gd name="T45" fmla="*/ 165 h 167"/>
                <a:gd name="T46" fmla="*/ 260 w 263"/>
                <a:gd name="T47" fmla="*/ 162 h 167"/>
                <a:gd name="T48" fmla="*/ 260 w 263"/>
                <a:gd name="T49" fmla="*/ 160 h 167"/>
                <a:gd name="T50" fmla="*/ 256 w 263"/>
                <a:gd name="T51" fmla="*/ 156 h 167"/>
                <a:gd name="T52" fmla="*/ 256 w 263"/>
                <a:gd name="T53" fmla="*/ 154 h 167"/>
                <a:gd name="T54" fmla="*/ 259 w 263"/>
                <a:gd name="T55" fmla="*/ 151 h 167"/>
                <a:gd name="T56" fmla="*/ 259 w 263"/>
                <a:gd name="T57" fmla="*/ 147 h 167"/>
                <a:gd name="T58" fmla="*/ 261 w 263"/>
                <a:gd name="T59" fmla="*/ 146 h 167"/>
                <a:gd name="T60" fmla="*/ 260 w 263"/>
                <a:gd name="T61" fmla="*/ 142 h 167"/>
                <a:gd name="T62" fmla="*/ 261 w 263"/>
                <a:gd name="T63" fmla="*/ 141 h 167"/>
                <a:gd name="T64" fmla="*/ 263 w 263"/>
                <a:gd name="T65" fmla="*/ 140 h 167"/>
                <a:gd name="T66" fmla="*/ 263 w 263"/>
                <a:gd name="T67" fmla="*/ 138 h 167"/>
                <a:gd name="T68" fmla="*/ 262 w 263"/>
                <a:gd name="T69" fmla="*/ 133 h 167"/>
                <a:gd name="T70" fmla="*/ 258 w 263"/>
                <a:gd name="T71" fmla="*/ 132 h 167"/>
                <a:gd name="T72" fmla="*/ 258 w 263"/>
                <a:gd name="T73" fmla="*/ 130 h 167"/>
                <a:gd name="T74" fmla="*/ 258 w 263"/>
                <a:gd name="T75" fmla="*/ 129 h 167"/>
                <a:gd name="T76" fmla="*/ 260 w 263"/>
                <a:gd name="T77" fmla="*/ 128 h 167"/>
                <a:gd name="T78" fmla="*/ 260 w 263"/>
                <a:gd name="T79" fmla="*/ 124 h 167"/>
                <a:gd name="T80" fmla="*/ 257 w 263"/>
                <a:gd name="T81" fmla="*/ 122 h 167"/>
                <a:gd name="T82" fmla="*/ 257 w 263"/>
                <a:gd name="T83" fmla="*/ 120 h 167"/>
                <a:gd name="T84" fmla="*/ 262 w 263"/>
                <a:gd name="T85" fmla="*/ 120 h 167"/>
                <a:gd name="T86" fmla="*/ 262 w 263"/>
                <a:gd name="T87" fmla="*/ 32 h 167"/>
                <a:gd name="T88" fmla="*/ 261 w 263"/>
                <a:gd name="T89" fmla="*/ 30 h 167"/>
                <a:gd name="T90" fmla="*/ 258 w 263"/>
                <a:gd name="T91" fmla="*/ 28 h 167"/>
                <a:gd name="T92" fmla="*/ 254 w 263"/>
                <a:gd name="T93" fmla="*/ 27 h 167"/>
                <a:gd name="T94" fmla="*/ 251 w 263"/>
                <a:gd name="T95" fmla="*/ 21 h 167"/>
                <a:gd name="T96" fmla="*/ 249 w 263"/>
                <a:gd name="T97" fmla="*/ 17 h 167"/>
                <a:gd name="T98" fmla="*/ 249 w 263"/>
                <a:gd name="T99" fmla="*/ 15 h 167"/>
                <a:gd name="T100" fmla="*/ 251 w 263"/>
                <a:gd name="T101" fmla="*/ 14 h 167"/>
                <a:gd name="T102" fmla="*/ 255 w 263"/>
                <a:gd name="T103" fmla="*/ 11 h 167"/>
                <a:gd name="T104" fmla="*/ 258 w 263"/>
                <a:gd name="T105" fmla="*/ 6 h 167"/>
                <a:gd name="T106" fmla="*/ 258 w 263"/>
                <a:gd name="T107" fmla="*/ 0 h 167"/>
                <a:gd name="T108" fmla="*/ 0 w 263"/>
                <a:gd name="T109" fmla="*/ 0 h 167"/>
                <a:gd name="T110" fmla="*/ 0 w 263"/>
                <a:gd name="T111" fmla="*/ 47 h 167"/>
                <a:gd name="T112" fmla="*/ 0 w 263"/>
                <a:gd name="T113" fmla="*/ 143 h 167"/>
                <a:gd name="T114" fmla="*/ 192 w 263"/>
                <a:gd name="T115" fmla="*/ 143 h 167"/>
                <a:gd name="T116" fmla="*/ 193 w 263"/>
                <a:gd name="T117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167">
                  <a:moveTo>
                    <a:pt x="193" y="147"/>
                  </a:moveTo>
                  <a:cubicBezTo>
                    <a:pt x="193" y="147"/>
                    <a:pt x="203" y="150"/>
                    <a:pt x="203" y="150"/>
                  </a:cubicBezTo>
                  <a:cubicBezTo>
                    <a:pt x="203" y="150"/>
                    <a:pt x="207" y="154"/>
                    <a:pt x="207" y="154"/>
                  </a:cubicBezTo>
                  <a:cubicBezTo>
                    <a:pt x="207" y="155"/>
                    <a:pt x="212" y="153"/>
                    <a:pt x="212" y="153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9"/>
                    <a:pt x="219" y="151"/>
                    <a:pt x="219" y="151"/>
                  </a:cubicBezTo>
                  <a:cubicBezTo>
                    <a:pt x="220" y="151"/>
                    <a:pt x="221" y="151"/>
                    <a:pt x="222" y="151"/>
                  </a:cubicBezTo>
                  <a:cubicBezTo>
                    <a:pt x="222" y="151"/>
                    <a:pt x="227" y="150"/>
                    <a:pt x="227" y="150"/>
                  </a:cubicBezTo>
                  <a:cubicBezTo>
                    <a:pt x="228" y="150"/>
                    <a:pt x="229" y="149"/>
                    <a:pt x="229" y="149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35" y="150"/>
                    <a:pt x="235" y="150"/>
                    <a:pt x="235" y="150"/>
                  </a:cubicBezTo>
                  <a:cubicBezTo>
                    <a:pt x="235" y="150"/>
                    <a:pt x="236" y="152"/>
                    <a:pt x="236" y="152"/>
                  </a:cubicBezTo>
                  <a:cubicBezTo>
                    <a:pt x="236" y="153"/>
                    <a:pt x="239" y="154"/>
                    <a:pt x="239" y="154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4" y="156"/>
                    <a:pt x="244" y="156"/>
                    <a:pt x="244" y="156"/>
                  </a:cubicBezTo>
                  <a:cubicBezTo>
                    <a:pt x="249" y="156"/>
                    <a:pt x="249" y="156"/>
                    <a:pt x="249" y="156"/>
                  </a:cubicBezTo>
                  <a:cubicBezTo>
                    <a:pt x="249" y="156"/>
                    <a:pt x="251" y="159"/>
                    <a:pt x="251" y="159"/>
                  </a:cubicBezTo>
                  <a:cubicBezTo>
                    <a:pt x="251" y="159"/>
                    <a:pt x="254" y="159"/>
                    <a:pt x="254" y="159"/>
                  </a:cubicBezTo>
                  <a:cubicBezTo>
                    <a:pt x="254" y="159"/>
                    <a:pt x="253" y="162"/>
                    <a:pt x="253" y="162"/>
                  </a:cubicBezTo>
                  <a:cubicBezTo>
                    <a:pt x="253" y="162"/>
                    <a:pt x="257" y="166"/>
                    <a:pt x="257" y="166"/>
                  </a:cubicBezTo>
                  <a:cubicBezTo>
                    <a:pt x="258" y="166"/>
                    <a:pt x="258" y="166"/>
                    <a:pt x="258" y="166"/>
                  </a:cubicBezTo>
                  <a:cubicBezTo>
                    <a:pt x="261" y="167"/>
                    <a:pt x="261" y="167"/>
                    <a:pt x="261" y="167"/>
                  </a:cubicBezTo>
                  <a:cubicBezTo>
                    <a:pt x="261" y="167"/>
                    <a:pt x="262" y="165"/>
                    <a:pt x="262" y="165"/>
                  </a:cubicBezTo>
                  <a:cubicBezTo>
                    <a:pt x="262" y="165"/>
                    <a:pt x="260" y="162"/>
                    <a:pt x="260" y="162"/>
                  </a:cubicBezTo>
                  <a:cubicBezTo>
                    <a:pt x="260" y="161"/>
                    <a:pt x="260" y="161"/>
                    <a:pt x="260" y="160"/>
                  </a:cubicBezTo>
                  <a:cubicBezTo>
                    <a:pt x="260" y="160"/>
                    <a:pt x="256" y="157"/>
                    <a:pt x="256" y="156"/>
                  </a:cubicBezTo>
                  <a:cubicBezTo>
                    <a:pt x="256" y="156"/>
                    <a:pt x="256" y="154"/>
                    <a:pt x="256" y="154"/>
                  </a:cubicBezTo>
                  <a:cubicBezTo>
                    <a:pt x="256" y="154"/>
                    <a:pt x="259" y="151"/>
                    <a:pt x="259" y="151"/>
                  </a:cubicBezTo>
                  <a:cubicBezTo>
                    <a:pt x="259" y="151"/>
                    <a:pt x="259" y="148"/>
                    <a:pt x="259" y="147"/>
                  </a:cubicBezTo>
                  <a:cubicBezTo>
                    <a:pt x="259" y="147"/>
                    <a:pt x="261" y="146"/>
                    <a:pt x="261" y="146"/>
                  </a:cubicBezTo>
                  <a:cubicBezTo>
                    <a:pt x="261" y="145"/>
                    <a:pt x="260" y="142"/>
                    <a:pt x="260" y="142"/>
                  </a:cubicBezTo>
                  <a:cubicBezTo>
                    <a:pt x="260" y="141"/>
                    <a:pt x="261" y="141"/>
                    <a:pt x="261" y="141"/>
                  </a:cubicBezTo>
                  <a:cubicBezTo>
                    <a:pt x="262" y="140"/>
                    <a:pt x="263" y="140"/>
                    <a:pt x="263" y="140"/>
                  </a:cubicBezTo>
                  <a:cubicBezTo>
                    <a:pt x="263" y="139"/>
                    <a:pt x="263" y="138"/>
                    <a:pt x="263" y="138"/>
                  </a:cubicBezTo>
                  <a:cubicBezTo>
                    <a:pt x="263" y="137"/>
                    <a:pt x="262" y="133"/>
                    <a:pt x="262" y="133"/>
                  </a:cubicBezTo>
                  <a:cubicBezTo>
                    <a:pt x="262" y="133"/>
                    <a:pt x="258" y="132"/>
                    <a:pt x="258" y="132"/>
                  </a:cubicBezTo>
                  <a:cubicBezTo>
                    <a:pt x="258" y="130"/>
                    <a:pt x="258" y="130"/>
                    <a:pt x="258" y="130"/>
                  </a:cubicBezTo>
                  <a:cubicBezTo>
                    <a:pt x="258" y="129"/>
                    <a:pt x="258" y="129"/>
                    <a:pt x="258" y="129"/>
                  </a:cubicBezTo>
                  <a:cubicBezTo>
                    <a:pt x="260" y="128"/>
                    <a:pt x="260" y="128"/>
                    <a:pt x="260" y="128"/>
                  </a:cubicBezTo>
                  <a:cubicBezTo>
                    <a:pt x="260" y="128"/>
                    <a:pt x="260" y="125"/>
                    <a:pt x="260" y="124"/>
                  </a:cubicBezTo>
                  <a:cubicBezTo>
                    <a:pt x="260" y="124"/>
                    <a:pt x="258" y="122"/>
                    <a:pt x="257" y="122"/>
                  </a:cubicBezTo>
                  <a:cubicBezTo>
                    <a:pt x="257" y="121"/>
                    <a:pt x="257" y="120"/>
                    <a:pt x="257" y="120"/>
                  </a:cubicBezTo>
                  <a:cubicBezTo>
                    <a:pt x="262" y="120"/>
                    <a:pt x="262" y="120"/>
                    <a:pt x="262" y="120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32"/>
                    <a:pt x="262" y="30"/>
                    <a:pt x="261" y="30"/>
                  </a:cubicBezTo>
                  <a:cubicBezTo>
                    <a:pt x="261" y="29"/>
                    <a:pt x="258" y="28"/>
                    <a:pt x="258" y="28"/>
                  </a:cubicBezTo>
                  <a:cubicBezTo>
                    <a:pt x="258" y="28"/>
                    <a:pt x="254" y="27"/>
                    <a:pt x="254" y="27"/>
                  </a:cubicBezTo>
                  <a:cubicBezTo>
                    <a:pt x="254" y="27"/>
                    <a:pt x="251" y="22"/>
                    <a:pt x="251" y="21"/>
                  </a:cubicBezTo>
                  <a:cubicBezTo>
                    <a:pt x="250" y="21"/>
                    <a:pt x="249" y="17"/>
                    <a:pt x="249" y="17"/>
                  </a:cubicBezTo>
                  <a:cubicBezTo>
                    <a:pt x="249" y="17"/>
                    <a:pt x="249" y="15"/>
                    <a:pt x="249" y="15"/>
                  </a:cubicBezTo>
                  <a:cubicBezTo>
                    <a:pt x="249" y="15"/>
                    <a:pt x="250" y="15"/>
                    <a:pt x="251" y="14"/>
                  </a:cubicBezTo>
                  <a:cubicBezTo>
                    <a:pt x="251" y="14"/>
                    <a:pt x="255" y="11"/>
                    <a:pt x="255" y="11"/>
                  </a:cubicBezTo>
                  <a:cubicBezTo>
                    <a:pt x="255" y="11"/>
                    <a:pt x="258" y="6"/>
                    <a:pt x="258" y="6"/>
                  </a:cubicBezTo>
                  <a:cubicBezTo>
                    <a:pt x="259" y="6"/>
                    <a:pt x="258" y="0"/>
                    <a:pt x="25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92" y="143"/>
                    <a:pt x="192" y="143"/>
                    <a:pt x="192" y="143"/>
                  </a:cubicBezTo>
                  <a:lnTo>
                    <a:pt x="193" y="14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7A590DE0-712E-46D3-91C9-59AE3DC0C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2369" y="3823877"/>
              <a:ext cx="662534" cy="515488"/>
            </a:xfrm>
            <a:custGeom>
              <a:avLst/>
              <a:gdLst>
                <a:gd name="T0" fmla="*/ 84 w 167"/>
                <a:gd name="T1" fmla="*/ 5 h 130"/>
                <a:gd name="T2" fmla="*/ 81 w 167"/>
                <a:gd name="T3" fmla="*/ 2 h 130"/>
                <a:gd name="T4" fmla="*/ 37 w 167"/>
                <a:gd name="T5" fmla="*/ 0 h 130"/>
                <a:gd name="T6" fmla="*/ 25 w 167"/>
                <a:gd name="T7" fmla="*/ 3 h 130"/>
                <a:gd name="T8" fmla="*/ 9 w 167"/>
                <a:gd name="T9" fmla="*/ 9 h 130"/>
                <a:gd name="T10" fmla="*/ 2 w 167"/>
                <a:gd name="T11" fmla="*/ 22 h 130"/>
                <a:gd name="T12" fmla="*/ 16 w 167"/>
                <a:gd name="T13" fmla="*/ 30 h 130"/>
                <a:gd name="T14" fmla="*/ 24 w 167"/>
                <a:gd name="T15" fmla="*/ 45 h 130"/>
                <a:gd name="T16" fmla="*/ 41 w 167"/>
                <a:gd name="T17" fmla="*/ 66 h 130"/>
                <a:gd name="T18" fmla="*/ 50 w 167"/>
                <a:gd name="T19" fmla="*/ 78 h 130"/>
                <a:gd name="T20" fmla="*/ 55 w 167"/>
                <a:gd name="T21" fmla="*/ 83 h 130"/>
                <a:gd name="T22" fmla="*/ 65 w 167"/>
                <a:gd name="T23" fmla="*/ 97 h 130"/>
                <a:gd name="T24" fmla="*/ 75 w 167"/>
                <a:gd name="T25" fmla="*/ 114 h 130"/>
                <a:gd name="T26" fmla="*/ 78 w 167"/>
                <a:gd name="T27" fmla="*/ 124 h 130"/>
                <a:gd name="T28" fmla="*/ 84 w 167"/>
                <a:gd name="T29" fmla="*/ 129 h 130"/>
                <a:gd name="T30" fmla="*/ 88 w 167"/>
                <a:gd name="T31" fmla="*/ 124 h 130"/>
                <a:gd name="T32" fmla="*/ 93 w 167"/>
                <a:gd name="T33" fmla="*/ 125 h 130"/>
                <a:gd name="T34" fmla="*/ 91 w 167"/>
                <a:gd name="T35" fmla="*/ 123 h 130"/>
                <a:gd name="T36" fmla="*/ 88 w 167"/>
                <a:gd name="T37" fmla="*/ 121 h 130"/>
                <a:gd name="T38" fmla="*/ 87 w 167"/>
                <a:gd name="T39" fmla="*/ 116 h 130"/>
                <a:gd name="T40" fmla="*/ 87 w 167"/>
                <a:gd name="T41" fmla="*/ 112 h 130"/>
                <a:gd name="T42" fmla="*/ 88 w 167"/>
                <a:gd name="T43" fmla="*/ 111 h 130"/>
                <a:gd name="T44" fmla="*/ 90 w 167"/>
                <a:gd name="T45" fmla="*/ 117 h 130"/>
                <a:gd name="T46" fmla="*/ 94 w 167"/>
                <a:gd name="T47" fmla="*/ 115 h 130"/>
                <a:gd name="T48" fmla="*/ 94 w 167"/>
                <a:gd name="T49" fmla="*/ 120 h 130"/>
                <a:gd name="T50" fmla="*/ 100 w 167"/>
                <a:gd name="T51" fmla="*/ 118 h 130"/>
                <a:gd name="T52" fmla="*/ 98 w 167"/>
                <a:gd name="T53" fmla="*/ 115 h 130"/>
                <a:gd name="T54" fmla="*/ 92 w 167"/>
                <a:gd name="T55" fmla="*/ 112 h 130"/>
                <a:gd name="T56" fmla="*/ 93 w 167"/>
                <a:gd name="T57" fmla="*/ 110 h 130"/>
                <a:gd name="T58" fmla="*/ 97 w 167"/>
                <a:gd name="T59" fmla="*/ 109 h 130"/>
                <a:gd name="T60" fmla="*/ 99 w 167"/>
                <a:gd name="T61" fmla="*/ 108 h 130"/>
                <a:gd name="T62" fmla="*/ 104 w 167"/>
                <a:gd name="T63" fmla="*/ 112 h 130"/>
                <a:gd name="T64" fmla="*/ 109 w 167"/>
                <a:gd name="T65" fmla="*/ 110 h 130"/>
                <a:gd name="T66" fmla="*/ 105 w 167"/>
                <a:gd name="T67" fmla="*/ 107 h 130"/>
                <a:gd name="T68" fmla="*/ 108 w 167"/>
                <a:gd name="T69" fmla="*/ 105 h 130"/>
                <a:gd name="T70" fmla="*/ 110 w 167"/>
                <a:gd name="T71" fmla="*/ 110 h 130"/>
                <a:gd name="T72" fmla="*/ 116 w 167"/>
                <a:gd name="T73" fmla="*/ 108 h 130"/>
                <a:gd name="T74" fmla="*/ 120 w 167"/>
                <a:gd name="T75" fmla="*/ 106 h 130"/>
                <a:gd name="T76" fmla="*/ 120 w 167"/>
                <a:gd name="T77" fmla="*/ 103 h 130"/>
                <a:gd name="T78" fmla="*/ 118 w 167"/>
                <a:gd name="T79" fmla="*/ 101 h 130"/>
                <a:gd name="T80" fmla="*/ 125 w 167"/>
                <a:gd name="T81" fmla="*/ 101 h 130"/>
                <a:gd name="T82" fmla="*/ 128 w 167"/>
                <a:gd name="T83" fmla="*/ 98 h 130"/>
                <a:gd name="T84" fmla="*/ 131 w 167"/>
                <a:gd name="T85" fmla="*/ 92 h 130"/>
                <a:gd name="T86" fmla="*/ 137 w 167"/>
                <a:gd name="T87" fmla="*/ 92 h 130"/>
                <a:gd name="T88" fmla="*/ 141 w 167"/>
                <a:gd name="T89" fmla="*/ 87 h 130"/>
                <a:gd name="T90" fmla="*/ 144 w 167"/>
                <a:gd name="T91" fmla="*/ 85 h 130"/>
                <a:gd name="T92" fmla="*/ 142 w 167"/>
                <a:gd name="T93" fmla="*/ 80 h 130"/>
                <a:gd name="T94" fmla="*/ 147 w 167"/>
                <a:gd name="T95" fmla="*/ 74 h 130"/>
                <a:gd name="T96" fmla="*/ 154 w 167"/>
                <a:gd name="T97" fmla="*/ 66 h 130"/>
                <a:gd name="T98" fmla="*/ 159 w 167"/>
                <a:gd name="T99" fmla="*/ 60 h 130"/>
                <a:gd name="T100" fmla="*/ 164 w 167"/>
                <a:gd name="T101" fmla="*/ 5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130">
                  <a:moveTo>
                    <a:pt x="128" y="17"/>
                  </a:moveTo>
                  <a:cubicBezTo>
                    <a:pt x="89" y="16"/>
                    <a:pt x="89" y="16"/>
                    <a:pt x="89" y="16"/>
                  </a:cubicBezTo>
                  <a:cubicBezTo>
                    <a:pt x="89" y="16"/>
                    <a:pt x="89" y="11"/>
                    <a:pt x="89" y="11"/>
                  </a:cubicBezTo>
                  <a:cubicBezTo>
                    <a:pt x="89" y="11"/>
                    <a:pt x="85" y="5"/>
                    <a:pt x="85" y="5"/>
                  </a:cubicBezTo>
                  <a:cubicBezTo>
                    <a:pt x="85" y="5"/>
                    <a:pt x="84" y="5"/>
                    <a:pt x="84" y="5"/>
                  </a:cubicBezTo>
                  <a:cubicBezTo>
                    <a:pt x="84" y="5"/>
                    <a:pt x="83" y="5"/>
                    <a:pt x="82" y="5"/>
                  </a:cubicBezTo>
                  <a:cubicBezTo>
                    <a:pt x="82" y="5"/>
                    <a:pt x="81" y="6"/>
                    <a:pt x="81" y="6"/>
                  </a:cubicBezTo>
                  <a:cubicBezTo>
                    <a:pt x="81" y="6"/>
                    <a:pt x="80" y="5"/>
                    <a:pt x="80" y="5"/>
                  </a:cubicBezTo>
                  <a:cubicBezTo>
                    <a:pt x="80" y="5"/>
                    <a:pt x="81" y="4"/>
                    <a:pt x="81" y="4"/>
                  </a:cubicBezTo>
                  <a:cubicBezTo>
                    <a:pt x="81" y="4"/>
                    <a:pt x="81" y="2"/>
                    <a:pt x="81" y="2"/>
                  </a:cubicBezTo>
                  <a:cubicBezTo>
                    <a:pt x="81" y="2"/>
                    <a:pt x="75" y="2"/>
                    <a:pt x="75" y="2"/>
                  </a:cubicBezTo>
                  <a:cubicBezTo>
                    <a:pt x="75" y="2"/>
                    <a:pt x="66" y="1"/>
                    <a:pt x="66" y="1"/>
                  </a:cubicBezTo>
                  <a:cubicBezTo>
                    <a:pt x="66" y="1"/>
                    <a:pt x="47" y="0"/>
                    <a:pt x="47" y="0"/>
                  </a:cubicBezTo>
                  <a:cubicBezTo>
                    <a:pt x="47" y="0"/>
                    <a:pt x="42" y="0"/>
                    <a:pt x="42" y="0"/>
                  </a:cubicBezTo>
                  <a:cubicBezTo>
                    <a:pt x="41" y="0"/>
                    <a:pt x="38" y="0"/>
                    <a:pt x="37" y="0"/>
                  </a:cubicBezTo>
                  <a:cubicBezTo>
                    <a:pt x="36" y="1"/>
                    <a:pt x="35" y="1"/>
                    <a:pt x="35" y="0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3" y="0"/>
                    <a:pt x="32" y="1"/>
                    <a:pt x="31" y="2"/>
                  </a:cubicBezTo>
                  <a:cubicBezTo>
                    <a:pt x="31" y="2"/>
                    <a:pt x="30" y="2"/>
                    <a:pt x="29" y="2"/>
                  </a:cubicBezTo>
                  <a:cubicBezTo>
                    <a:pt x="29" y="2"/>
                    <a:pt x="26" y="3"/>
                    <a:pt x="25" y="3"/>
                  </a:cubicBezTo>
                  <a:cubicBezTo>
                    <a:pt x="24" y="3"/>
                    <a:pt x="24" y="4"/>
                    <a:pt x="23" y="4"/>
                  </a:cubicBezTo>
                  <a:cubicBezTo>
                    <a:pt x="22" y="4"/>
                    <a:pt x="22" y="5"/>
                    <a:pt x="22" y="5"/>
                  </a:cubicBezTo>
                  <a:cubicBezTo>
                    <a:pt x="22" y="5"/>
                    <a:pt x="20" y="5"/>
                    <a:pt x="19" y="5"/>
                  </a:cubicBezTo>
                  <a:cubicBezTo>
                    <a:pt x="19" y="5"/>
                    <a:pt x="18" y="6"/>
                    <a:pt x="18" y="6"/>
                  </a:cubicBezTo>
                  <a:cubicBezTo>
                    <a:pt x="18" y="6"/>
                    <a:pt x="9" y="9"/>
                    <a:pt x="9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5" y="14"/>
                    <a:pt x="4" y="14"/>
                  </a:cubicBezTo>
                  <a:cubicBezTo>
                    <a:pt x="4" y="15"/>
                    <a:pt x="3" y="16"/>
                    <a:pt x="2" y="17"/>
                  </a:cubicBezTo>
                  <a:cubicBezTo>
                    <a:pt x="1" y="17"/>
                    <a:pt x="1" y="20"/>
                    <a:pt x="1" y="21"/>
                  </a:cubicBezTo>
                  <a:cubicBezTo>
                    <a:pt x="0" y="22"/>
                    <a:pt x="1" y="22"/>
                    <a:pt x="2" y="22"/>
                  </a:cubicBezTo>
                  <a:cubicBezTo>
                    <a:pt x="2" y="23"/>
                    <a:pt x="3" y="23"/>
                    <a:pt x="3" y="24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9" y="27"/>
                    <a:pt x="10" y="28"/>
                    <a:pt x="11" y="29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8" y="30"/>
                    <a:pt x="18" y="31"/>
                    <a:pt x="18" y="32"/>
                  </a:cubicBezTo>
                  <a:cubicBezTo>
                    <a:pt x="18" y="33"/>
                    <a:pt x="19" y="35"/>
                    <a:pt x="19" y="36"/>
                  </a:cubicBezTo>
                  <a:cubicBezTo>
                    <a:pt x="19" y="36"/>
                    <a:pt x="21" y="39"/>
                    <a:pt x="22" y="39"/>
                  </a:cubicBezTo>
                  <a:cubicBezTo>
                    <a:pt x="22" y="40"/>
                    <a:pt x="22" y="42"/>
                    <a:pt x="22" y="43"/>
                  </a:cubicBezTo>
                  <a:cubicBezTo>
                    <a:pt x="22" y="45"/>
                    <a:pt x="24" y="45"/>
                    <a:pt x="24" y="45"/>
                  </a:cubicBezTo>
                  <a:cubicBezTo>
                    <a:pt x="25" y="46"/>
                    <a:pt x="26" y="48"/>
                    <a:pt x="27" y="49"/>
                  </a:cubicBezTo>
                  <a:cubicBezTo>
                    <a:pt x="27" y="50"/>
                    <a:pt x="28" y="52"/>
                    <a:pt x="28" y="53"/>
                  </a:cubicBezTo>
                  <a:cubicBezTo>
                    <a:pt x="29" y="53"/>
                    <a:pt x="35" y="57"/>
                    <a:pt x="36" y="57"/>
                  </a:cubicBezTo>
                  <a:cubicBezTo>
                    <a:pt x="37" y="58"/>
                    <a:pt x="40" y="62"/>
                    <a:pt x="40" y="62"/>
                  </a:cubicBezTo>
                  <a:cubicBezTo>
                    <a:pt x="40" y="63"/>
                    <a:pt x="40" y="66"/>
                    <a:pt x="41" y="66"/>
                  </a:cubicBezTo>
                  <a:cubicBezTo>
                    <a:pt x="41" y="67"/>
                    <a:pt x="45" y="69"/>
                    <a:pt x="46" y="69"/>
                  </a:cubicBezTo>
                  <a:cubicBezTo>
                    <a:pt x="47" y="70"/>
                    <a:pt x="48" y="72"/>
                    <a:pt x="49" y="72"/>
                  </a:cubicBezTo>
                  <a:cubicBezTo>
                    <a:pt x="50" y="73"/>
                    <a:pt x="50" y="74"/>
                    <a:pt x="50" y="74"/>
                  </a:cubicBezTo>
                  <a:cubicBezTo>
                    <a:pt x="50" y="74"/>
                    <a:pt x="49" y="75"/>
                    <a:pt x="49" y="76"/>
                  </a:cubicBezTo>
                  <a:cubicBezTo>
                    <a:pt x="49" y="76"/>
                    <a:pt x="50" y="78"/>
                    <a:pt x="50" y="78"/>
                  </a:cubicBezTo>
                  <a:cubicBezTo>
                    <a:pt x="50" y="78"/>
                    <a:pt x="51" y="78"/>
                    <a:pt x="52" y="79"/>
                  </a:cubicBezTo>
                  <a:cubicBezTo>
                    <a:pt x="53" y="79"/>
                    <a:pt x="52" y="79"/>
                    <a:pt x="52" y="80"/>
                  </a:cubicBezTo>
                  <a:cubicBezTo>
                    <a:pt x="52" y="80"/>
                    <a:pt x="53" y="81"/>
                    <a:pt x="53" y="81"/>
                  </a:cubicBezTo>
                  <a:cubicBezTo>
                    <a:pt x="53" y="81"/>
                    <a:pt x="53" y="82"/>
                    <a:pt x="53" y="82"/>
                  </a:cubicBezTo>
                  <a:cubicBezTo>
                    <a:pt x="54" y="82"/>
                    <a:pt x="55" y="83"/>
                    <a:pt x="55" y="83"/>
                  </a:cubicBezTo>
                  <a:cubicBezTo>
                    <a:pt x="56" y="83"/>
                    <a:pt x="56" y="85"/>
                    <a:pt x="56" y="85"/>
                  </a:cubicBezTo>
                  <a:cubicBezTo>
                    <a:pt x="56" y="86"/>
                    <a:pt x="56" y="86"/>
                    <a:pt x="57" y="86"/>
                  </a:cubicBezTo>
                  <a:cubicBezTo>
                    <a:pt x="57" y="86"/>
                    <a:pt x="61" y="88"/>
                    <a:pt x="62" y="88"/>
                  </a:cubicBezTo>
                  <a:cubicBezTo>
                    <a:pt x="62" y="89"/>
                    <a:pt x="64" y="91"/>
                    <a:pt x="65" y="92"/>
                  </a:cubicBezTo>
                  <a:cubicBezTo>
                    <a:pt x="65" y="92"/>
                    <a:pt x="65" y="96"/>
                    <a:pt x="65" y="97"/>
                  </a:cubicBezTo>
                  <a:cubicBezTo>
                    <a:pt x="66" y="97"/>
                    <a:pt x="67" y="99"/>
                    <a:pt x="67" y="99"/>
                  </a:cubicBezTo>
                  <a:cubicBezTo>
                    <a:pt x="68" y="100"/>
                    <a:pt x="67" y="104"/>
                    <a:pt x="68" y="104"/>
                  </a:cubicBezTo>
                  <a:cubicBezTo>
                    <a:pt x="68" y="104"/>
                    <a:pt x="68" y="105"/>
                    <a:pt x="68" y="106"/>
                  </a:cubicBezTo>
                  <a:cubicBezTo>
                    <a:pt x="68" y="106"/>
                    <a:pt x="68" y="107"/>
                    <a:pt x="68" y="108"/>
                  </a:cubicBezTo>
                  <a:cubicBezTo>
                    <a:pt x="68" y="108"/>
                    <a:pt x="75" y="114"/>
                    <a:pt x="75" y="114"/>
                  </a:cubicBezTo>
                  <a:cubicBezTo>
                    <a:pt x="75" y="114"/>
                    <a:pt x="75" y="115"/>
                    <a:pt x="75" y="115"/>
                  </a:cubicBezTo>
                  <a:cubicBezTo>
                    <a:pt x="75" y="116"/>
                    <a:pt x="75" y="117"/>
                    <a:pt x="76" y="117"/>
                  </a:cubicBezTo>
                  <a:cubicBezTo>
                    <a:pt x="76" y="117"/>
                    <a:pt x="76" y="118"/>
                    <a:pt x="77" y="119"/>
                  </a:cubicBezTo>
                  <a:cubicBezTo>
                    <a:pt x="78" y="120"/>
                    <a:pt x="78" y="120"/>
                    <a:pt x="78" y="121"/>
                  </a:cubicBezTo>
                  <a:cubicBezTo>
                    <a:pt x="78" y="122"/>
                    <a:pt x="78" y="124"/>
                    <a:pt x="78" y="124"/>
                  </a:cubicBezTo>
                  <a:cubicBezTo>
                    <a:pt x="78" y="125"/>
                    <a:pt x="78" y="128"/>
                    <a:pt x="78" y="128"/>
                  </a:cubicBezTo>
                  <a:cubicBezTo>
                    <a:pt x="78" y="129"/>
                    <a:pt x="79" y="129"/>
                    <a:pt x="80" y="129"/>
                  </a:cubicBezTo>
                  <a:cubicBezTo>
                    <a:pt x="80" y="129"/>
                    <a:pt x="82" y="129"/>
                    <a:pt x="82" y="129"/>
                  </a:cubicBezTo>
                  <a:cubicBezTo>
                    <a:pt x="83" y="129"/>
                    <a:pt x="83" y="130"/>
                    <a:pt x="83" y="130"/>
                  </a:cubicBezTo>
                  <a:cubicBezTo>
                    <a:pt x="84" y="130"/>
                    <a:pt x="84" y="130"/>
                    <a:pt x="84" y="129"/>
                  </a:cubicBezTo>
                  <a:cubicBezTo>
                    <a:pt x="84" y="129"/>
                    <a:pt x="84" y="129"/>
                    <a:pt x="85" y="128"/>
                  </a:cubicBezTo>
                  <a:cubicBezTo>
                    <a:pt x="85" y="128"/>
                    <a:pt x="85" y="127"/>
                    <a:pt x="86" y="127"/>
                  </a:cubicBezTo>
                  <a:cubicBezTo>
                    <a:pt x="86" y="126"/>
                    <a:pt x="87" y="126"/>
                    <a:pt x="87" y="125"/>
                  </a:cubicBezTo>
                  <a:cubicBezTo>
                    <a:pt x="87" y="125"/>
                    <a:pt x="87" y="124"/>
                    <a:pt x="87" y="124"/>
                  </a:cubicBezTo>
                  <a:cubicBezTo>
                    <a:pt x="87" y="124"/>
                    <a:pt x="87" y="124"/>
                    <a:pt x="88" y="124"/>
                  </a:cubicBezTo>
                  <a:cubicBezTo>
                    <a:pt x="88" y="124"/>
                    <a:pt x="88" y="125"/>
                    <a:pt x="89" y="125"/>
                  </a:cubicBezTo>
                  <a:cubicBezTo>
                    <a:pt x="89" y="125"/>
                    <a:pt x="90" y="125"/>
                    <a:pt x="90" y="126"/>
                  </a:cubicBezTo>
                  <a:cubicBezTo>
                    <a:pt x="90" y="126"/>
                    <a:pt x="90" y="127"/>
                    <a:pt x="90" y="127"/>
                  </a:cubicBezTo>
                  <a:cubicBezTo>
                    <a:pt x="90" y="128"/>
                    <a:pt x="91" y="127"/>
                    <a:pt x="91" y="127"/>
                  </a:cubicBezTo>
                  <a:cubicBezTo>
                    <a:pt x="92" y="126"/>
                    <a:pt x="92" y="126"/>
                    <a:pt x="93" y="125"/>
                  </a:cubicBezTo>
                  <a:cubicBezTo>
                    <a:pt x="93" y="125"/>
                    <a:pt x="94" y="125"/>
                    <a:pt x="94" y="124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2" y="123"/>
                    <a:pt x="91" y="123"/>
                    <a:pt x="91" y="123"/>
                  </a:cubicBezTo>
                  <a:cubicBezTo>
                    <a:pt x="91" y="123"/>
                    <a:pt x="90" y="124"/>
                    <a:pt x="90" y="124"/>
                  </a:cubicBezTo>
                  <a:cubicBezTo>
                    <a:pt x="90" y="124"/>
                    <a:pt x="89" y="124"/>
                    <a:pt x="89" y="123"/>
                  </a:cubicBezTo>
                  <a:cubicBezTo>
                    <a:pt x="89" y="123"/>
                    <a:pt x="89" y="123"/>
                    <a:pt x="89" y="122"/>
                  </a:cubicBezTo>
                  <a:cubicBezTo>
                    <a:pt x="89" y="122"/>
                    <a:pt x="89" y="122"/>
                    <a:pt x="89" y="121"/>
                  </a:cubicBezTo>
                  <a:cubicBezTo>
                    <a:pt x="88" y="121"/>
                    <a:pt x="88" y="121"/>
                    <a:pt x="88" y="121"/>
                  </a:cubicBezTo>
                  <a:cubicBezTo>
                    <a:pt x="88" y="121"/>
                    <a:pt x="87" y="120"/>
                    <a:pt x="87" y="120"/>
                  </a:cubicBezTo>
                  <a:cubicBezTo>
                    <a:pt x="87" y="120"/>
                    <a:pt x="87" y="119"/>
                    <a:pt x="87" y="119"/>
                  </a:cubicBezTo>
                  <a:cubicBezTo>
                    <a:pt x="87" y="119"/>
                    <a:pt x="88" y="118"/>
                    <a:pt x="88" y="118"/>
                  </a:cubicBezTo>
                  <a:cubicBezTo>
                    <a:pt x="88" y="118"/>
                    <a:pt x="88" y="117"/>
                    <a:pt x="88" y="117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7" y="115"/>
                    <a:pt x="87" y="115"/>
                    <a:pt x="87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8" y="114"/>
                    <a:pt x="88" y="113"/>
                    <a:pt x="88" y="113"/>
                  </a:cubicBezTo>
                  <a:cubicBezTo>
                    <a:pt x="88" y="113"/>
                    <a:pt x="88" y="112"/>
                    <a:pt x="87" y="112"/>
                  </a:cubicBezTo>
                  <a:cubicBezTo>
                    <a:pt x="87" y="112"/>
                    <a:pt x="87" y="112"/>
                    <a:pt x="87" y="111"/>
                  </a:cubicBezTo>
                  <a:cubicBezTo>
                    <a:pt x="87" y="111"/>
                    <a:pt x="87" y="111"/>
                    <a:pt x="86" y="111"/>
                  </a:cubicBezTo>
                  <a:cubicBezTo>
                    <a:pt x="86" y="111"/>
                    <a:pt x="86" y="111"/>
                    <a:pt x="86" y="111"/>
                  </a:cubicBezTo>
                  <a:cubicBezTo>
                    <a:pt x="86" y="111"/>
                    <a:pt x="86" y="111"/>
                    <a:pt x="87" y="111"/>
                  </a:cubicBezTo>
                  <a:cubicBezTo>
                    <a:pt x="87" y="111"/>
                    <a:pt x="87" y="111"/>
                    <a:pt x="88" y="111"/>
                  </a:cubicBezTo>
                  <a:cubicBezTo>
                    <a:pt x="88" y="111"/>
                    <a:pt x="88" y="112"/>
                    <a:pt x="88" y="112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0" y="112"/>
                    <a:pt x="90" y="113"/>
                    <a:pt x="90" y="113"/>
                  </a:cubicBezTo>
                  <a:cubicBezTo>
                    <a:pt x="90" y="114"/>
                    <a:pt x="90" y="115"/>
                    <a:pt x="90" y="116"/>
                  </a:cubicBezTo>
                  <a:cubicBezTo>
                    <a:pt x="90" y="116"/>
                    <a:pt x="90" y="117"/>
                    <a:pt x="90" y="117"/>
                  </a:cubicBezTo>
                  <a:cubicBezTo>
                    <a:pt x="90" y="117"/>
                    <a:pt x="90" y="117"/>
                    <a:pt x="91" y="117"/>
                  </a:cubicBezTo>
                  <a:cubicBezTo>
                    <a:pt x="91" y="117"/>
                    <a:pt x="91" y="118"/>
                    <a:pt x="92" y="118"/>
                  </a:cubicBezTo>
                  <a:cubicBezTo>
                    <a:pt x="92" y="118"/>
                    <a:pt x="93" y="118"/>
                    <a:pt x="93" y="118"/>
                  </a:cubicBezTo>
                  <a:cubicBezTo>
                    <a:pt x="93" y="117"/>
                    <a:pt x="93" y="117"/>
                    <a:pt x="93" y="117"/>
                  </a:cubicBezTo>
                  <a:cubicBezTo>
                    <a:pt x="93" y="116"/>
                    <a:pt x="93" y="115"/>
                    <a:pt x="94" y="115"/>
                  </a:cubicBezTo>
                  <a:cubicBezTo>
                    <a:pt x="95" y="115"/>
                    <a:pt x="94" y="116"/>
                    <a:pt x="94" y="116"/>
                  </a:cubicBezTo>
                  <a:cubicBezTo>
                    <a:pt x="94" y="117"/>
                    <a:pt x="93" y="117"/>
                    <a:pt x="94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4" y="119"/>
                    <a:pt x="94" y="119"/>
                    <a:pt x="94" y="119"/>
                  </a:cubicBezTo>
                  <a:cubicBezTo>
                    <a:pt x="94" y="119"/>
                    <a:pt x="94" y="120"/>
                    <a:pt x="94" y="120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5" y="121"/>
                    <a:pt x="95" y="121"/>
                    <a:pt x="96" y="121"/>
                  </a:cubicBezTo>
                  <a:cubicBezTo>
                    <a:pt x="96" y="121"/>
                    <a:pt x="97" y="120"/>
                    <a:pt x="98" y="120"/>
                  </a:cubicBezTo>
                  <a:cubicBezTo>
                    <a:pt x="98" y="119"/>
                    <a:pt x="99" y="119"/>
                    <a:pt x="99" y="119"/>
                  </a:cubicBezTo>
                  <a:cubicBezTo>
                    <a:pt x="99" y="118"/>
                    <a:pt x="99" y="118"/>
                    <a:pt x="100" y="118"/>
                  </a:cubicBezTo>
                  <a:cubicBezTo>
                    <a:pt x="100" y="118"/>
                    <a:pt x="101" y="117"/>
                    <a:pt x="101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99" y="116"/>
                    <a:pt x="99" y="116"/>
                    <a:pt x="99" y="115"/>
                  </a:cubicBezTo>
                  <a:cubicBezTo>
                    <a:pt x="99" y="115"/>
                    <a:pt x="98" y="115"/>
                    <a:pt x="98" y="115"/>
                  </a:cubicBezTo>
                  <a:cubicBezTo>
                    <a:pt x="98" y="115"/>
                    <a:pt x="97" y="114"/>
                    <a:pt x="97" y="114"/>
                  </a:cubicBezTo>
                  <a:cubicBezTo>
                    <a:pt x="97" y="114"/>
                    <a:pt x="96" y="114"/>
                    <a:pt x="96" y="114"/>
                  </a:cubicBezTo>
                  <a:cubicBezTo>
                    <a:pt x="96" y="114"/>
                    <a:pt x="95" y="114"/>
                    <a:pt x="95" y="114"/>
                  </a:cubicBezTo>
                  <a:cubicBezTo>
                    <a:pt x="95" y="113"/>
                    <a:pt x="94" y="113"/>
                    <a:pt x="94" y="113"/>
                  </a:cubicBezTo>
                  <a:cubicBezTo>
                    <a:pt x="93" y="113"/>
                    <a:pt x="93" y="113"/>
                    <a:pt x="92" y="112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2" y="112"/>
                    <a:pt x="91" y="112"/>
                    <a:pt x="91" y="111"/>
                  </a:cubicBezTo>
                  <a:cubicBezTo>
                    <a:pt x="91" y="111"/>
                    <a:pt x="91" y="111"/>
                    <a:pt x="91" y="11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3" y="110"/>
                    <a:pt x="93" y="110"/>
                    <a:pt x="93" y="110"/>
                  </a:cubicBezTo>
                  <a:cubicBezTo>
                    <a:pt x="93" y="110"/>
                    <a:pt x="93" y="109"/>
                    <a:pt x="93" y="109"/>
                  </a:cubicBezTo>
                  <a:cubicBezTo>
                    <a:pt x="94" y="109"/>
                    <a:pt x="94" y="109"/>
                    <a:pt x="94" y="109"/>
                  </a:cubicBezTo>
                  <a:cubicBezTo>
                    <a:pt x="94" y="109"/>
                    <a:pt x="95" y="109"/>
                    <a:pt x="96" y="109"/>
                  </a:cubicBezTo>
                  <a:cubicBezTo>
                    <a:pt x="96" y="109"/>
                    <a:pt x="96" y="110"/>
                    <a:pt x="96" y="110"/>
                  </a:cubicBezTo>
                  <a:cubicBezTo>
                    <a:pt x="96" y="110"/>
                    <a:pt x="97" y="110"/>
                    <a:pt x="97" y="109"/>
                  </a:cubicBezTo>
                  <a:cubicBezTo>
                    <a:pt x="97" y="109"/>
                    <a:pt x="97" y="109"/>
                    <a:pt x="98" y="109"/>
                  </a:cubicBezTo>
                  <a:cubicBezTo>
                    <a:pt x="98" y="109"/>
                    <a:pt x="98" y="109"/>
                    <a:pt x="98" y="108"/>
                  </a:cubicBezTo>
                  <a:cubicBezTo>
                    <a:pt x="98" y="108"/>
                    <a:pt x="98" y="108"/>
                    <a:pt x="98" y="108"/>
                  </a:cubicBezTo>
                  <a:cubicBezTo>
                    <a:pt x="98" y="107"/>
                    <a:pt x="99" y="107"/>
                    <a:pt x="99" y="108"/>
                  </a:cubicBezTo>
                  <a:cubicBezTo>
                    <a:pt x="99" y="108"/>
                    <a:pt x="99" y="108"/>
                    <a:pt x="99" y="108"/>
                  </a:cubicBezTo>
                  <a:cubicBezTo>
                    <a:pt x="99" y="109"/>
                    <a:pt x="99" y="109"/>
                    <a:pt x="99" y="110"/>
                  </a:cubicBezTo>
                  <a:cubicBezTo>
                    <a:pt x="100" y="110"/>
                    <a:pt x="100" y="111"/>
                    <a:pt x="101" y="111"/>
                  </a:cubicBezTo>
                  <a:cubicBezTo>
                    <a:pt x="101" y="111"/>
                    <a:pt x="102" y="112"/>
                    <a:pt x="102" y="112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3" y="112"/>
                    <a:pt x="104" y="112"/>
                    <a:pt x="104" y="112"/>
                  </a:cubicBezTo>
                  <a:cubicBezTo>
                    <a:pt x="104" y="113"/>
                    <a:pt x="105" y="113"/>
                    <a:pt x="105" y="113"/>
                  </a:cubicBezTo>
                  <a:cubicBezTo>
                    <a:pt x="106" y="114"/>
                    <a:pt x="106" y="113"/>
                    <a:pt x="107" y="113"/>
                  </a:cubicBezTo>
                  <a:cubicBezTo>
                    <a:pt x="107" y="112"/>
                    <a:pt x="108" y="112"/>
                    <a:pt x="108" y="112"/>
                  </a:cubicBezTo>
                  <a:cubicBezTo>
                    <a:pt x="108" y="112"/>
                    <a:pt x="108" y="111"/>
                    <a:pt x="109" y="111"/>
                  </a:cubicBezTo>
                  <a:cubicBezTo>
                    <a:pt x="109" y="111"/>
                    <a:pt x="109" y="111"/>
                    <a:pt x="109" y="110"/>
                  </a:cubicBezTo>
                  <a:cubicBezTo>
                    <a:pt x="109" y="110"/>
                    <a:pt x="109" y="109"/>
                    <a:pt x="109" y="109"/>
                  </a:cubicBezTo>
                  <a:cubicBezTo>
                    <a:pt x="109" y="109"/>
                    <a:pt x="108" y="109"/>
                    <a:pt x="108" y="109"/>
                  </a:cubicBezTo>
                  <a:cubicBezTo>
                    <a:pt x="108" y="109"/>
                    <a:pt x="108" y="109"/>
                    <a:pt x="107" y="109"/>
                  </a:cubicBezTo>
                  <a:cubicBezTo>
                    <a:pt x="107" y="108"/>
                    <a:pt x="107" y="108"/>
                    <a:pt x="106" y="108"/>
                  </a:cubicBezTo>
                  <a:cubicBezTo>
                    <a:pt x="106" y="107"/>
                    <a:pt x="106" y="107"/>
                    <a:pt x="105" y="107"/>
                  </a:cubicBezTo>
                  <a:cubicBezTo>
                    <a:pt x="105" y="106"/>
                    <a:pt x="105" y="106"/>
                    <a:pt x="104" y="106"/>
                  </a:cubicBezTo>
                  <a:cubicBezTo>
                    <a:pt x="104" y="106"/>
                    <a:pt x="105" y="106"/>
                    <a:pt x="105" y="105"/>
                  </a:cubicBezTo>
                  <a:cubicBezTo>
                    <a:pt x="106" y="105"/>
                    <a:pt x="107" y="106"/>
                    <a:pt x="107" y="106"/>
                  </a:cubicBezTo>
                  <a:cubicBezTo>
                    <a:pt x="108" y="106"/>
                    <a:pt x="108" y="106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9" y="105"/>
                    <a:pt x="109" y="106"/>
                    <a:pt x="109" y="106"/>
                  </a:cubicBezTo>
                  <a:cubicBezTo>
                    <a:pt x="109" y="106"/>
                    <a:pt x="109" y="106"/>
                    <a:pt x="108" y="107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8" y="108"/>
                    <a:pt x="109" y="109"/>
                    <a:pt x="109" y="109"/>
                  </a:cubicBezTo>
                  <a:cubicBezTo>
                    <a:pt x="109" y="109"/>
                    <a:pt x="110" y="109"/>
                    <a:pt x="110" y="110"/>
                  </a:cubicBezTo>
                  <a:cubicBezTo>
                    <a:pt x="110" y="110"/>
                    <a:pt x="110" y="110"/>
                    <a:pt x="111" y="110"/>
                  </a:cubicBezTo>
                  <a:cubicBezTo>
                    <a:pt x="111" y="110"/>
                    <a:pt x="112" y="109"/>
                    <a:pt x="112" y="109"/>
                  </a:cubicBezTo>
                  <a:cubicBezTo>
                    <a:pt x="112" y="109"/>
                    <a:pt x="113" y="109"/>
                    <a:pt x="114" y="109"/>
                  </a:cubicBezTo>
                  <a:cubicBezTo>
                    <a:pt x="114" y="109"/>
                    <a:pt x="115" y="109"/>
                    <a:pt x="115" y="109"/>
                  </a:cubicBezTo>
                  <a:cubicBezTo>
                    <a:pt x="116" y="109"/>
                    <a:pt x="116" y="109"/>
                    <a:pt x="116" y="108"/>
                  </a:cubicBezTo>
                  <a:cubicBezTo>
                    <a:pt x="116" y="108"/>
                    <a:pt x="116" y="108"/>
                    <a:pt x="116" y="107"/>
                  </a:cubicBezTo>
                  <a:cubicBezTo>
                    <a:pt x="117" y="107"/>
                    <a:pt x="116" y="107"/>
                    <a:pt x="117" y="107"/>
                  </a:cubicBezTo>
                  <a:cubicBezTo>
                    <a:pt x="117" y="106"/>
                    <a:pt x="117" y="107"/>
                    <a:pt x="118" y="107"/>
                  </a:cubicBezTo>
                  <a:cubicBezTo>
                    <a:pt x="118" y="107"/>
                    <a:pt x="119" y="107"/>
                    <a:pt x="119" y="106"/>
                  </a:cubicBezTo>
                  <a:cubicBezTo>
                    <a:pt x="119" y="106"/>
                    <a:pt x="119" y="106"/>
                    <a:pt x="120" y="106"/>
                  </a:cubicBezTo>
                  <a:cubicBezTo>
                    <a:pt x="120" y="106"/>
                    <a:pt x="120" y="106"/>
                    <a:pt x="120" y="106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0" y="104"/>
                    <a:pt x="121" y="104"/>
                    <a:pt x="121" y="104"/>
                  </a:cubicBezTo>
                  <a:cubicBezTo>
                    <a:pt x="121" y="104"/>
                    <a:pt x="121" y="104"/>
                    <a:pt x="120" y="104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19" y="102"/>
                    <a:pt x="119" y="102"/>
                    <a:pt x="118" y="102"/>
                  </a:cubicBezTo>
                  <a:cubicBezTo>
                    <a:pt x="118" y="102"/>
                    <a:pt x="118" y="101"/>
                    <a:pt x="117" y="100"/>
                  </a:cubicBezTo>
                  <a:cubicBezTo>
                    <a:pt x="117" y="100"/>
                    <a:pt x="117" y="100"/>
                    <a:pt x="117" y="99"/>
                  </a:cubicBezTo>
                  <a:cubicBezTo>
                    <a:pt x="118" y="99"/>
                    <a:pt x="118" y="100"/>
                    <a:pt x="118" y="100"/>
                  </a:cubicBezTo>
                  <a:cubicBezTo>
                    <a:pt x="118" y="100"/>
                    <a:pt x="118" y="101"/>
                    <a:pt x="118" y="101"/>
                  </a:cubicBezTo>
                  <a:cubicBezTo>
                    <a:pt x="119" y="101"/>
                    <a:pt x="119" y="102"/>
                    <a:pt x="119" y="102"/>
                  </a:cubicBezTo>
                  <a:cubicBezTo>
                    <a:pt x="120" y="102"/>
                    <a:pt x="120" y="102"/>
                    <a:pt x="121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3" y="101"/>
                    <a:pt x="124" y="101"/>
                    <a:pt x="124" y="101"/>
                  </a:cubicBezTo>
                  <a:cubicBezTo>
                    <a:pt x="125" y="101"/>
                    <a:pt x="125" y="101"/>
                    <a:pt x="125" y="101"/>
                  </a:cubicBezTo>
                  <a:cubicBezTo>
                    <a:pt x="126" y="101"/>
                    <a:pt x="126" y="101"/>
                    <a:pt x="126" y="100"/>
                  </a:cubicBezTo>
                  <a:cubicBezTo>
                    <a:pt x="126" y="100"/>
                    <a:pt x="126" y="100"/>
                    <a:pt x="126" y="100"/>
                  </a:cubicBezTo>
                  <a:cubicBezTo>
                    <a:pt x="126" y="99"/>
                    <a:pt x="125" y="99"/>
                    <a:pt x="125" y="99"/>
                  </a:cubicBezTo>
                  <a:cubicBezTo>
                    <a:pt x="125" y="99"/>
                    <a:pt x="125" y="98"/>
                    <a:pt x="126" y="98"/>
                  </a:cubicBezTo>
                  <a:cubicBezTo>
                    <a:pt x="126" y="98"/>
                    <a:pt x="127" y="98"/>
                    <a:pt x="128" y="98"/>
                  </a:cubicBezTo>
                  <a:cubicBezTo>
                    <a:pt x="128" y="97"/>
                    <a:pt x="129" y="97"/>
                    <a:pt x="129" y="96"/>
                  </a:cubicBezTo>
                  <a:cubicBezTo>
                    <a:pt x="129" y="96"/>
                    <a:pt x="130" y="95"/>
                    <a:pt x="130" y="95"/>
                  </a:cubicBezTo>
                  <a:cubicBezTo>
                    <a:pt x="130" y="95"/>
                    <a:pt x="130" y="94"/>
                    <a:pt x="130" y="94"/>
                  </a:cubicBezTo>
                  <a:cubicBezTo>
                    <a:pt x="130" y="94"/>
                    <a:pt x="131" y="94"/>
                    <a:pt x="131" y="93"/>
                  </a:cubicBezTo>
                  <a:cubicBezTo>
                    <a:pt x="131" y="93"/>
                    <a:pt x="131" y="93"/>
                    <a:pt x="131" y="92"/>
                  </a:cubicBezTo>
                  <a:cubicBezTo>
                    <a:pt x="131" y="92"/>
                    <a:pt x="132" y="91"/>
                    <a:pt x="132" y="91"/>
                  </a:cubicBezTo>
                  <a:cubicBezTo>
                    <a:pt x="133" y="91"/>
                    <a:pt x="133" y="91"/>
                    <a:pt x="134" y="91"/>
                  </a:cubicBezTo>
                  <a:cubicBezTo>
                    <a:pt x="134" y="91"/>
                    <a:pt x="134" y="91"/>
                    <a:pt x="135" y="91"/>
                  </a:cubicBezTo>
                  <a:cubicBezTo>
                    <a:pt x="135" y="91"/>
                    <a:pt x="135" y="91"/>
                    <a:pt x="135" y="92"/>
                  </a:cubicBezTo>
                  <a:cubicBezTo>
                    <a:pt x="136" y="92"/>
                    <a:pt x="136" y="92"/>
                    <a:pt x="137" y="92"/>
                  </a:cubicBezTo>
                  <a:cubicBezTo>
                    <a:pt x="137" y="91"/>
                    <a:pt x="138" y="92"/>
                    <a:pt x="138" y="91"/>
                  </a:cubicBezTo>
                  <a:cubicBezTo>
                    <a:pt x="138" y="91"/>
                    <a:pt x="138" y="90"/>
                    <a:pt x="138" y="90"/>
                  </a:cubicBezTo>
                  <a:cubicBezTo>
                    <a:pt x="138" y="89"/>
                    <a:pt x="139" y="89"/>
                    <a:pt x="139" y="89"/>
                  </a:cubicBezTo>
                  <a:cubicBezTo>
                    <a:pt x="139" y="89"/>
                    <a:pt x="140" y="88"/>
                    <a:pt x="140" y="88"/>
                  </a:cubicBezTo>
                  <a:cubicBezTo>
                    <a:pt x="140" y="88"/>
                    <a:pt x="141" y="87"/>
                    <a:pt x="141" y="87"/>
                  </a:cubicBezTo>
                  <a:cubicBezTo>
                    <a:pt x="141" y="87"/>
                    <a:pt x="141" y="86"/>
                    <a:pt x="142" y="86"/>
                  </a:cubicBezTo>
                  <a:cubicBezTo>
                    <a:pt x="142" y="86"/>
                    <a:pt x="142" y="86"/>
                    <a:pt x="142" y="86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6"/>
                    <a:pt x="144" y="86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4"/>
                    <a:pt x="145" y="83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1"/>
                    <a:pt x="143" y="81"/>
                    <a:pt x="143" y="81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8"/>
                    <a:pt x="144" y="79"/>
                    <a:pt x="144" y="79"/>
                  </a:cubicBezTo>
                  <a:cubicBezTo>
                    <a:pt x="145" y="78"/>
                    <a:pt x="146" y="78"/>
                    <a:pt x="146" y="77"/>
                  </a:cubicBezTo>
                  <a:cubicBezTo>
                    <a:pt x="146" y="77"/>
                    <a:pt x="147" y="76"/>
                    <a:pt x="147" y="75"/>
                  </a:cubicBezTo>
                  <a:cubicBezTo>
                    <a:pt x="147" y="75"/>
                    <a:pt x="147" y="74"/>
                    <a:pt x="147" y="74"/>
                  </a:cubicBezTo>
                  <a:cubicBezTo>
                    <a:pt x="148" y="73"/>
                    <a:pt x="148" y="72"/>
                    <a:pt x="149" y="72"/>
                  </a:cubicBezTo>
                  <a:cubicBezTo>
                    <a:pt x="149" y="71"/>
                    <a:pt x="149" y="71"/>
                    <a:pt x="150" y="70"/>
                  </a:cubicBezTo>
                  <a:cubicBezTo>
                    <a:pt x="151" y="70"/>
                    <a:pt x="151" y="69"/>
                    <a:pt x="151" y="68"/>
                  </a:cubicBezTo>
                  <a:cubicBezTo>
                    <a:pt x="152" y="68"/>
                    <a:pt x="152" y="67"/>
                    <a:pt x="153" y="67"/>
                  </a:cubicBezTo>
                  <a:cubicBezTo>
                    <a:pt x="153" y="66"/>
                    <a:pt x="154" y="66"/>
                    <a:pt x="154" y="66"/>
                  </a:cubicBezTo>
                  <a:cubicBezTo>
                    <a:pt x="154" y="65"/>
                    <a:pt x="154" y="65"/>
                    <a:pt x="155" y="64"/>
                  </a:cubicBezTo>
                  <a:cubicBezTo>
                    <a:pt x="155" y="64"/>
                    <a:pt x="155" y="64"/>
                    <a:pt x="155" y="63"/>
                  </a:cubicBezTo>
                  <a:cubicBezTo>
                    <a:pt x="156" y="63"/>
                    <a:pt x="156" y="63"/>
                    <a:pt x="156" y="63"/>
                  </a:cubicBezTo>
                  <a:cubicBezTo>
                    <a:pt x="157" y="62"/>
                    <a:pt x="157" y="62"/>
                    <a:pt x="158" y="61"/>
                  </a:cubicBezTo>
                  <a:cubicBezTo>
                    <a:pt x="158" y="61"/>
                    <a:pt x="159" y="61"/>
                    <a:pt x="159" y="60"/>
                  </a:cubicBezTo>
                  <a:cubicBezTo>
                    <a:pt x="159" y="60"/>
                    <a:pt x="160" y="60"/>
                    <a:pt x="160" y="60"/>
                  </a:cubicBezTo>
                  <a:cubicBezTo>
                    <a:pt x="160" y="60"/>
                    <a:pt x="160" y="60"/>
                    <a:pt x="161" y="59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2" y="59"/>
                    <a:pt x="162" y="59"/>
                    <a:pt x="163" y="59"/>
                  </a:cubicBezTo>
                  <a:cubicBezTo>
                    <a:pt x="163" y="59"/>
                    <a:pt x="164" y="58"/>
                    <a:pt x="164" y="58"/>
                  </a:cubicBezTo>
                  <a:cubicBezTo>
                    <a:pt x="165" y="58"/>
                    <a:pt x="165" y="58"/>
                    <a:pt x="166" y="57"/>
                  </a:cubicBezTo>
                  <a:cubicBezTo>
                    <a:pt x="166" y="57"/>
                    <a:pt x="166" y="57"/>
                    <a:pt x="167" y="57"/>
                  </a:cubicBezTo>
                  <a:cubicBezTo>
                    <a:pt x="167" y="57"/>
                    <a:pt x="167" y="57"/>
                    <a:pt x="167" y="57"/>
                  </a:cubicBezTo>
                  <a:lnTo>
                    <a:pt x="128" y="1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E4ADE0DB-D19C-47B6-9408-85FDBF55C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0223" y="2626029"/>
              <a:ext cx="102437" cy="127219"/>
            </a:xfrm>
            <a:custGeom>
              <a:avLst/>
              <a:gdLst>
                <a:gd name="T0" fmla="*/ 18 w 26"/>
                <a:gd name="T1" fmla="*/ 25 h 32"/>
                <a:gd name="T2" fmla="*/ 18 w 26"/>
                <a:gd name="T3" fmla="*/ 24 h 32"/>
                <a:gd name="T4" fmla="*/ 19 w 26"/>
                <a:gd name="T5" fmla="*/ 23 h 32"/>
                <a:gd name="T6" fmla="*/ 19 w 26"/>
                <a:gd name="T7" fmla="*/ 21 h 32"/>
                <a:gd name="T8" fmla="*/ 20 w 26"/>
                <a:gd name="T9" fmla="*/ 20 h 32"/>
                <a:gd name="T10" fmla="*/ 21 w 26"/>
                <a:gd name="T11" fmla="*/ 22 h 32"/>
                <a:gd name="T12" fmla="*/ 20 w 26"/>
                <a:gd name="T13" fmla="*/ 25 h 32"/>
                <a:gd name="T14" fmla="*/ 19 w 26"/>
                <a:gd name="T15" fmla="*/ 26 h 32"/>
                <a:gd name="T16" fmla="*/ 18 w 26"/>
                <a:gd name="T17" fmla="*/ 26 h 32"/>
                <a:gd name="T18" fmla="*/ 17 w 26"/>
                <a:gd name="T19" fmla="*/ 25 h 32"/>
                <a:gd name="T20" fmla="*/ 17 w 26"/>
                <a:gd name="T21" fmla="*/ 24 h 32"/>
                <a:gd name="T22" fmla="*/ 16 w 26"/>
                <a:gd name="T23" fmla="*/ 23 h 32"/>
                <a:gd name="T24" fmla="*/ 16 w 26"/>
                <a:gd name="T25" fmla="*/ 24 h 32"/>
                <a:gd name="T26" fmla="*/ 17 w 26"/>
                <a:gd name="T27" fmla="*/ 25 h 32"/>
                <a:gd name="T28" fmla="*/ 23 w 26"/>
                <a:gd name="T29" fmla="*/ 16 h 32"/>
                <a:gd name="T30" fmla="*/ 23 w 26"/>
                <a:gd name="T31" fmla="*/ 17 h 32"/>
                <a:gd name="T32" fmla="*/ 22 w 26"/>
                <a:gd name="T33" fmla="*/ 18 h 32"/>
                <a:gd name="T34" fmla="*/ 21 w 26"/>
                <a:gd name="T35" fmla="*/ 20 h 32"/>
                <a:gd name="T36" fmla="*/ 22 w 26"/>
                <a:gd name="T37" fmla="*/ 21 h 32"/>
                <a:gd name="T38" fmla="*/ 23 w 26"/>
                <a:gd name="T39" fmla="*/ 23 h 32"/>
                <a:gd name="T40" fmla="*/ 23 w 26"/>
                <a:gd name="T41" fmla="*/ 26 h 32"/>
                <a:gd name="T42" fmla="*/ 24 w 26"/>
                <a:gd name="T43" fmla="*/ 25 h 32"/>
                <a:gd name="T44" fmla="*/ 26 w 26"/>
                <a:gd name="T45" fmla="*/ 25 h 32"/>
                <a:gd name="T46" fmla="*/ 24 w 26"/>
                <a:gd name="T47" fmla="*/ 17 h 32"/>
                <a:gd name="T48" fmla="*/ 16 w 26"/>
                <a:gd name="T49" fmla="*/ 4 h 32"/>
                <a:gd name="T50" fmla="*/ 1 w 26"/>
                <a:gd name="T51" fmla="*/ 0 h 32"/>
                <a:gd name="T52" fmla="*/ 0 w 26"/>
                <a:gd name="T53" fmla="*/ 30 h 32"/>
                <a:gd name="T54" fmla="*/ 3 w 26"/>
                <a:gd name="T55" fmla="*/ 32 h 32"/>
                <a:gd name="T56" fmla="*/ 4 w 26"/>
                <a:gd name="T57" fmla="*/ 31 h 32"/>
                <a:gd name="T58" fmla="*/ 7 w 26"/>
                <a:gd name="T59" fmla="*/ 31 h 32"/>
                <a:gd name="T60" fmla="*/ 9 w 26"/>
                <a:gd name="T61" fmla="*/ 30 h 32"/>
                <a:gd name="T62" fmla="*/ 12 w 26"/>
                <a:gd name="T63" fmla="*/ 30 h 32"/>
                <a:gd name="T64" fmla="*/ 13 w 26"/>
                <a:gd name="T65" fmla="*/ 29 h 32"/>
                <a:gd name="T66" fmla="*/ 14 w 26"/>
                <a:gd name="T67" fmla="*/ 27 h 32"/>
                <a:gd name="T68" fmla="*/ 14 w 26"/>
                <a:gd name="T69" fmla="*/ 25 h 32"/>
                <a:gd name="T70" fmla="*/ 15 w 26"/>
                <a:gd name="T71" fmla="*/ 23 h 32"/>
                <a:gd name="T72" fmla="*/ 15 w 26"/>
                <a:gd name="T73" fmla="*/ 21 h 32"/>
                <a:gd name="T74" fmla="*/ 15 w 26"/>
                <a:gd name="T75" fmla="*/ 20 h 32"/>
                <a:gd name="T76" fmla="*/ 15 w 26"/>
                <a:gd name="T77" fmla="*/ 19 h 32"/>
                <a:gd name="T78" fmla="*/ 14 w 26"/>
                <a:gd name="T79" fmla="*/ 18 h 32"/>
                <a:gd name="T80" fmla="*/ 15 w 26"/>
                <a:gd name="T81" fmla="*/ 17 h 32"/>
                <a:gd name="T82" fmla="*/ 16 w 26"/>
                <a:gd name="T83" fmla="*/ 17 h 32"/>
                <a:gd name="T84" fmla="*/ 16 w 26"/>
                <a:gd name="T85" fmla="*/ 14 h 32"/>
                <a:gd name="T86" fmla="*/ 16 w 26"/>
                <a:gd name="T87" fmla="*/ 11 h 32"/>
                <a:gd name="T88" fmla="*/ 17 w 26"/>
                <a:gd name="T89" fmla="*/ 11 h 32"/>
                <a:gd name="T90" fmla="*/ 18 w 26"/>
                <a:gd name="T91" fmla="*/ 12 h 32"/>
                <a:gd name="T92" fmla="*/ 19 w 26"/>
                <a:gd name="T93" fmla="*/ 14 h 32"/>
                <a:gd name="T94" fmla="*/ 19 w 26"/>
                <a:gd name="T95" fmla="*/ 15 h 32"/>
                <a:gd name="T96" fmla="*/ 21 w 26"/>
                <a:gd name="T97" fmla="*/ 14 h 32"/>
                <a:gd name="T98" fmla="*/ 17 w 26"/>
                <a:gd name="T99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" h="32">
                  <a:moveTo>
                    <a:pt x="18" y="25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2"/>
                    <a:pt x="19" y="22"/>
                  </a:cubicBezTo>
                  <a:cubicBezTo>
                    <a:pt x="19" y="22"/>
                    <a:pt x="19" y="21"/>
                    <a:pt x="19" y="21"/>
                  </a:cubicBezTo>
                  <a:cubicBezTo>
                    <a:pt x="19" y="21"/>
                    <a:pt x="19" y="21"/>
                    <a:pt x="19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19"/>
                    <a:pt x="21" y="19"/>
                    <a:pt x="21" y="20"/>
                  </a:cubicBezTo>
                  <a:cubicBezTo>
                    <a:pt x="21" y="21"/>
                    <a:pt x="21" y="21"/>
                    <a:pt x="21" y="22"/>
                  </a:cubicBezTo>
                  <a:cubicBezTo>
                    <a:pt x="21" y="23"/>
                    <a:pt x="21" y="24"/>
                    <a:pt x="21" y="24"/>
                  </a:cubicBezTo>
                  <a:cubicBezTo>
                    <a:pt x="21" y="25"/>
                    <a:pt x="21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5"/>
                  </a:cubicBezTo>
                  <a:close/>
                  <a:moveTo>
                    <a:pt x="17" y="25"/>
                  </a:moveTo>
                  <a:cubicBezTo>
                    <a:pt x="17" y="25"/>
                    <a:pt x="17" y="25"/>
                    <a:pt x="17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3"/>
                    <a:pt x="17" y="22"/>
                  </a:cubicBezTo>
                  <a:cubicBezTo>
                    <a:pt x="17" y="22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4"/>
                    <a:pt x="16" y="24"/>
                  </a:cubicBezTo>
                  <a:cubicBezTo>
                    <a:pt x="16" y="24"/>
                    <a:pt x="16" y="24"/>
                    <a:pt x="16" y="25"/>
                  </a:cubicBezTo>
                  <a:cubicBezTo>
                    <a:pt x="16" y="25"/>
                    <a:pt x="16" y="25"/>
                    <a:pt x="17" y="25"/>
                  </a:cubicBezTo>
                  <a:close/>
                  <a:moveTo>
                    <a:pt x="24" y="17"/>
                  </a:moveTo>
                  <a:cubicBezTo>
                    <a:pt x="23" y="16"/>
                    <a:pt x="23" y="16"/>
                    <a:pt x="23" y="16"/>
                  </a:cubicBezTo>
                  <a:cubicBezTo>
                    <a:pt x="23" y="16"/>
                    <a:pt x="23" y="16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1" y="18"/>
                    <a:pt x="21" y="19"/>
                  </a:cubicBezTo>
                  <a:cubicBezTo>
                    <a:pt x="21" y="19"/>
                    <a:pt x="21" y="19"/>
                    <a:pt x="21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1"/>
                  </a:cubicBezTo>
                  <a:cubicBezTo>
                    <a:pt x="22" y="21"/>
                    <a:pt x="22" y="21"/>
                    <a:pt x="22" y="22"/>
                  </a:cubicBezTo>
                  <a:cubicBezTo>
                    <a:pt x="23" y="22"/>
                    <a:pt x="23" y="23"/>
                    <a:pt x="23" y="23"/>
                  </a:cubicBezTo>
                  <a:cubicBezTo>
                    <a:pt x="23" y="24"/>
                    <a:pt x="23" y="24"/>
                    <a:pt x="23" y="25"/>
                  </a:cubicBezTo>
                  <a:cubicBezTo>
                    <a:pt x="23" y="25"/>
                    <a:pt x="23" y="26"/>
                    <a:pt x="23" y="26"/>
                  </a:cubicBezTo>
                  <a:cubicBezTo>
                    <a:pt x="23" y="26"/>
                    <a:pt x="24" y="26"/>
                    <a:pt x="24" y="26"/>
                  </a:cubicBezTo>
                  <a:cubicBezTo>
                    <a:pt x="24" y="26"/>
                    <a:pt x="24" y="25"/>
                    <a:pt x="24" y="25"/>
                  </a:cubicBezTo>
                  <a:cubicBezTo>
                    <a:pt x="24" y="25"/>
                    <a:pt x="25" y="25"/>
                    <a:pt x="25" y="25"/>
                  </a:cubicBezTo>
                  <a:cubicBezTo>
                    <a:pt x="25" y="24"/>
                    <a:pt x="26" y="25"/>
                    <a:pt x="26" y="25"/>
                  </a:cubicBezTo>
                  <a:cubicBezTo>
                    <a:pt x="26" y="23"/>
                    <a:pt x="25" y="19"/>
                    <a:pt x="25" y="19"/>
                  </a:cubicBezTo>
                  <a:cubicBezTo>
                    <a:pt x="25" y="19"/>
                    <a:pt x="24" y="17"/>
                    <a:pt x="24" y="17"/>
                  </a:cubicBezTo>
                  <a:close/>
                  <a:moveTo>
                    <a:pt x="17" y="6"/>
                  </a:moveTo>
                  <a:cubicBezTo>
                    <a:pt x="17" y="6"/>
                    <a:pt x="16" y="5"/>
                    <a:pt x="16" y="4"/>
                  </a:cubicBezTo>
                  <a:cubicBezTo>
                    <a:pt x="16" y="4"/>
                    <a:pt x="16" y="0"/>
                    <a:pt x="1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32"/>
                    <a:pt x="2" y="32"/>
                    <a:pt x="3" y="32"/>
                  </a:cubicBezTo>
                  <a:cubicBezTo>
                    <a:pt x="3" y="32"/>
                    <a:pt x="3" y="32"/>
                    <a:pt x="4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5" y="31"/>
                    <a:pt x="6" y="31"/>
                    <a:pt x="6" y="31"/>
                  </a:cubicBezTo>
                  <a:cubicBezTo>
                    <a:pt x="6" y="31"/>
                    <a:pt x="7" y="31"/>
                    <a:pt x="7" y="31"/>
                  </a:cubicBezTo>
                  <a:cubicBezTo>
                    <a:pt x="7" y="31"/>
                    <a:pt x="7" y="31"/>
                    <a:pt x="8" y="31"/>
                  </a:cubicBezTo>
                  <a:cubicBezTo>
                    <a:pt x="8" y="30"/>
                    <a:pt x="8" y="30"/>
                    <a:pt x="9" y="30"/>
                  </a:cubicBezTo>
                  <a:cubicBezTo>
                    <a:pt x="9" y="31"/>
                    <a:pt x="10" y="31"/>
                    <a:pt x="10" y="31"/>
                  </a:cubicBezTo>
                  <a:cubicBezTo>
                    <a:pt x="11" y="31"/>
                    <a:pt x="11" y="31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29"/>
                    <a:pt x="13" y="29"/>
                  </a:cubicBezTo>
                  <a:cubicBezTo>
                    <a:pt x="13" y="29"/>
                    <a:pt x="13" y="29"/>
                    <a:pt x="14" y="28"/>
                  </a:cubicBezTo>
                  <a:cubicBezTo>
                    <a:pt x="14" y="28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4"/>
                  </a:cubicBezTo>
                  <a:cubicBezTo>
                    <a:pt x="15" y="24"/>
                    <a:pt x="15" y="24"/>
                    <a:pt x="15" y="23"/>
                  </a:cubicBezTo>
                  <a:cubicBezTo>
                    <a:pt x="15" y="23"/>
                    <a:pt x="15" y="23"/>
                    <a:pt x="15" y="22"/>
                  </a:cubicBezTo>
                  <a:cubicBezTo>
                    <a:pt x="15" y="22"/>
                    <a:pt x="15" y="22"/>
                    <a:pt x="1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5" y="17"/>
                    <a:pt x="15" y="17"/>
                  </a:cubicBezTo>
                  <a:cubicBezTo>
                    <a:pt x="15" y="17"/>
                    <a:pt x="15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5"/>
                    <a:pt x="16" y="15"/>
                    <a:pt x="16" y="14"/>
                  </a:cubicBezTo>
                  <a:cubicBezTo>
                    <a:pt x="16" y="14"/>
                    <a:pt x="16" y="13"/>
                    <a:pt x="16" y="12"/>
                  </a:cubicBezTo>
                  <a:cubicBezTo>
                    <a:pt x="16" y="12"/>
                    <a:pt x="16" y="12"/>
                    <a:pt x="16" y="11"/>
                  </a:cubicBezTo>
                  <a:cubicBezTo>
                    <a:pt x="16" y="11"/>
                    <a:pt x="16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2"/>
                    <a:pt x="17" y="12"/>
                  </a:cubicBezTo>
                  <a:cubicBezTo>
                    <a:pt x="17" y="12"/>
                    <a:pt x="17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5"/>
                  </a:cubicBezTo>
                  <a:cubicBezTo>
                    <a:pt x="19" y="15"/>
                    <a:pt x="20" y="15"/>
                    <a:pt x="20" y="15"/>
                  </a:cubicBezTo>
                  <a:cubicBezTo>
                    <a:pt x="20" y="15"/>
                    <a:pt x="21" y="15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6"/>
                    <a:pt x="17" y="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A957E606-E698-4971-8AA0-17134C019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5593" y="2583071"/>
              <a:ext cx="796362" cy="459313"/>
            </a:xfrm>
            <a:custGeom>
              <a:avLst/>
              <a:gdLst>
                <a:gd name="T0" fmla="*/ 191 w 201"/>
                <a:gd name="T1" fmla="*/ 85 h 116"/>
                <a:gd name="T2" fmla="*/ 188 w 201"/>
                <a:gd name="T3" fmla="*/ 79 h 116"/>
                <a:gd name="T4" fmla="*/ 183 w 201"/>
                <a:gd name="T5" fmla="*/ 77 h 116"/>
                <a:gd name="T6" fmla="*/ 186 w 201"/>
                <a:gd name="T7" fmla="*/ 67 h 116"/>
                <a:gd name="T8" fmla="*/ 188 w 201"/>
                <a:gd name="T9" fmla="*/ 64 h 116"/>
                <a:gd name="T10" fmla="*/ 186 w 201"/>
                <a:gd name="T11" fmla="*/ 58 h 116"/>
                <a:gd name="T12" fmla="*/ 191 w 201"/>
                <a:gd name="T13" fmla="*/ 52 h 116"/>
                <a:gd name="T14" fmla="*/ 196 w 201"/>
                <a:gd name="T15" fmla="*/ 45 h 116"/>
                <a:gd name="T16" fmla="*/ 201 w 201"/>
                <a:gd name="T17" fmla="*/ 41 h 116"/>
                <a:gd name="T18" fmla="*/ 199 w 201"/>
                <a:gd name="T19" fmla="*/ 39 h 116"/>
                <a:gd name="T20" fmla="*/ 194 w 201"/>
                <a:gd name="T21" fmla="*/ 38 h 116"/>
                <a:gd name="T22" fmla="*/ 193 w 201"/>
                <a:gd name="T23" fmla="*/ 36 h 116"/>
                <a:gd name="T24" fmla="*/ 188 w 201"/>
                <a:gd name="T25" fmla="*/ 30 h 116"/>
                <a:gd name="T26" fmla="*/ 189 w 201"/>
                <a:gd name="T27" fmla="*/ 29 h 116"/>
                <a:gd name="T28" fmla="*/ 188 w 201"/>
                <a:gd name="T29" fmla="*/ 26 h 116"/>
                <a:gd name="T30" fmla="*/ 187 w 201"/>
                <a:gd name="T31" fmla="*/ 23 h 116"/>
                <a:gd name="T32" fmla="*/ 188 w 201"/>
                <a:gd name="T33" fmla="*/ 20 h 116"/>
                <a:gd name="T34" fmla="*/ 182 w 201"/>
                <a:gd name="T35" fmla="*/ 18 h 116"/>
                <a:gd name="T36" fmla="*/ 180 w 201"/>
                <a:gd name="T37" fmla="*/ 14 h 116"/>
                <a:gd name="T38" fmla="*/ 26 w 201"/>
                <a:gd name="T39" fmla="*/ 12 h 116"/>
                <a:gd name="T40" fmla="*/ 24 w 201"/>
                <a:gd name="T41" fmla="*/ 1 h 116"/>
                <a:gd name="T42" fmla="*/ 18 w 201"/>
                <a:gd name="T43" fmla="*/ 4 h 116"/>
                <a:gd name="T44" fmla="*/ 14 w 201"/>
                <a:gd name="T45" fmla="*/ 6 h 116"/>
                <a:gd name="T46" fmla="*/ 12 w 201"/>
                <a:gd name="T47" fmla="*/ 6 h 116"/>
                <a:gd name="T48" fmla="*/ 9 w 201"/>
                <a:gd name="T49" fmla="*/ 9 h 116"/>
                <a:gd name="T50" fmla="*/ 6 w 201"/>
                <a:gd name="T51" fmla="*/ 10 h 116"/>
                <a:gd name="T52" fmla="*/ 1 w 201"/>
                <a:gd name="T53" fmla="*/ 13 h 116"/>
                <a:gd name="T54" fmla="*/ 0 w 201"/>
                <a:gd name="T55" fmla="*/ 116 h 116"/>
                <a:gd name="T56" fmla="*/ 169 w 201"/>
                <a:gd name="T57" fmla="*/ 111 h 116"/>
                <a:gd name="T58" fmla="*/ 179 w 201"/>
                <a:gd name="T59" fmla="*/ 110 h 116"/>
                <a:gd name="T60" fmla="*/ 182 w 201"/>
                <a:gd name="T61" fmla="*/ 109 h 116"/>
                <a:gd name="T62" fmla="*/ 185 w 201"/>
                <a:gd name="T63" fmla="*/ 109 h 116"/>
                <a:gd name="T64" fmla="*/ 195 w 201"/>
                <a:gd name="T65" fmla="*/ 99 h 116"/>
                <a:gd name="T66" fmla="*/ 199 w 201"/>
                <a:gd name="T67" fmla="*/ 95 h 116"/>
                <a:gd name="T68" fmla="*/ 192 w 201"/>
                <a:gd name="T69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1" h="116">
                  <a:moveTo>
                    <a:pt x="192" y="88"/>
                  </a:move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3" y="77"/>
                    <a:pt x="183" y="77"/>
                    <a:pt x="183" y="77"/>
                  </a:cubicBezTo>
                  <a:cubicBezTo>
                    <a:pt x="183" y="69"/>
                    <a:pt x="183" y="69"/>
                    <a:pt x="183" y="69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6" y="61"/>
                    <a:pt x="186" y="61"/>
                    <a:pt x="186" y="61"/>
                  </a:cubicBezTo>
                  <a:cubicBezTo>
                    <a:pt x="186" y="58"/>
                    <a:pt x="186" y="58"/>
                    <a:pt x="186" y="58"/>
                  </a:cubicBezTo>
                  <a:cubicBezTo>
                    <a:pt x="191" y="54"/>
                    <a:pt x="191" y="54"/>
                    <a:pt x="191" y="54"/>
                  </a:cubicBezTo>
                  <a:cubicBezTo>
                    <a:pt x="191" y="52"/>
                    <a:pt x="191" y="52"/>
                    <a:pt x="191" y="52"/>
                  </a:cubicBezTo>
                  <a:cubicBezTo>
                    <a:pt x="194" y="50"/>
                    <a:pt x="194" y="50"/>
                    <a:pt x="194" y="50"/>
                  </a:cubicBezTo>
                  <a:cubicBezTo>
                    <a:pt x="196" y="45"/>
                    <a:pt x="196" y="45"/>
                    <a:pt x="196" y="45"/>
                  </a:cubicBezTo>
                  <a:cubicBezTo>
                    <a:pt x="197" y="43"/>
                    <a:pt x="197" y="43"/>
                    <a:pt x="197" y="43"/>
                  </a:cubicBezTo>
                  <a:cubicBezTo>
                    <a:pt x="201" y="41"/>
                    <a:pt x="201" y="41"/>
                    <a:pt x="201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199" y="39"/>
                    <a:pt x="199" y="39"/>
                  </a:cubicBezTo>
                  <a:cubicBezTo>
                    <a:pt x="199" y="38"/>
                    <a:pt x="198" y="38"/>
                    <a:pt x="198" y="38"/>
                  </a:cubicBezTo>
                  <a:cubicBezTo>
                    <a:pt x="197" y="38"/>
                    <a:pt x="195" y="38"/>
                    <a:pt x="194" y="38"/>
                  </a:cubicBezTo>
                  <a:cubicBezTo>
                    <a:pt x="193" y="38"/>
                    <a:pt x="193" y="37"/>
                    <a:pt x="193" y="37"/>
                  </a:cubicBezTo>
                  <a:cubicBezTo>
                    <a:pt x="193" y="37"/>
                    <a:pt x="193" y="36"/>
                    <a:pt x="193" y="36"/>
                  </a:cubicBezTo>
                  <a:cubicBezTo>
                    <a:pt x="192" y="36"/>
                    <a:pt x="191" y="36"/>
                    <a:pt x="190" y="36"/>
                  </a:cubicBezTo>
                  <a:cubicBezTo>
                    <a:pt x="190" y="36"/>
                    <a:pt x="188" y="30"/>
                    <a:pt x="188" y="30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9" y="30"/>
                    <a:pt x="189" y="29"/>
                    <a:pt x="189" y="29"/>
                  </a:cubicBezTo>
                  <a:cubicBezTo>
                    <a:pt x="189" y="29"/>
                    <a:pt x="188" y="28"/>
                    <a:pt x="188" y="27"/>
                  </a:cubicBezTo>
                  <a:cubicBezTo>
                    <a:pt x="188" y="27"/>
                    <a:pt x="188" y="26"/>
                    <a:pt x="188" y="26"/>
                  </a:cubicBezTo>
                  <a:cubicBezTo>
                    <a:pt x="188" y="26"/>
                    <a:pt x="188" y="24"/>
                    <a:pt x="188" y="24"/>
                  </a:cubicBezTo>
                  <a:cubicBezTo>
                    <a:pt x="188" y="23"/>
                    <a:pt x="187" y="23"/>
                    <a:pt x="187" y="23"/>
                  </a:cubicBezTo>
                  <a:cubicBezTo>
                    <a:pt x="187" y="22"/>
                    <a:pt x="187" y="22"/>
                    <a:pt x="187" y="22"/>
                  </a:cubicBezTo>
                  <a:cubicBezTo>
                    <a:pt x="187" y="22"/>
                    <a:pt x="188" y="20"/>
                    <a:pt x="188" y="20"/>
                  </a:cubicBezTo>
                  <a:cubicBezTo>
                    <a:pt x="188" y="20"/>
                    <a:pt x="184" y="18"/>
                    <a:pt x="184" y="18"/>
                  </a:cubicBezTo>
                  <a:cubicBezTo>
                    <a:pt x="184" y="17"/>
                    <a:pt x="183" y="18"/>
                    <a:pt x="182" y="18"/>
                  </a:cubicBezTo>
                  <a:cubicBezTo>
                    <a:pt x="182" y="18"/>
                    <a:pt x="181" y="18"/>
                    <a:pt x="181" y="18"/>
                  </a:cubicBezTo>
                  <a:cubicBezTo>
                    <a:pt x="181" y="18"/>
                    <a:pt x="180" y="15"/>
                    <a:pt x="180" y="14"/>
                  </a:cubicBezTo>
                  <a:cubicBezTo>
                    <a:pt x="180" y="14"/>
                    <a:pt x="178" y="12"/>
                    <a:pt x="178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1"/>
                    <a:pt x="24" y="1"/>
                  </a:cubicBezTo>
                  <a:cubicBezTo>
                    <a:pt x="23" y="1"/>
                    <a:pt x="23" y="2"/>
                    <a:pt x="22" y="2"/>
                  </a:cubicBezTo>
                  <a:cubicBezTo>
                    <a:pt x="20" y="3"/>
                    <a:pt x="19" y="3"/>
                    <a:pt x="18" y="4"/>
                  </a:cubicBezTo>
                  <a:cubicBezTo>
                    <a:pt x="17" y="5"/>
                    <a:pt x="16" y="5"/>
                    <a:pt x="15" y="6"/>
                  </a:cubicBezTo>
                  <a:cubicBezTo>
                    <a:pt x="15" y="6"/>
                    <a:pt x="14" y="6"/>
                    <a:pt x="14" y="6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3" y="5"/>
                    <a:pt x="12" y="6"/>
                    <a:pt x="12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8"/>
                    <a:pt x="10" y="8"/>
                    <a:pt x="9" y="9"/>
                  </a:cubicBezTo>
                  <a:cubicBezTo>
                    <a:pt x="9" y="9"/>
                    <a:pt x="8" y="9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5" y="11"/>
                    <a:pt x="5" y="11"/>
                    <a:pt x="4" y="12"/>
                  </a:cubicBezTo>
                  <a:cubicBezTo>
                    <a:pt x="3" y="12"/>
                    <a:pt x="2" y="13"/>
                    <a:pt x="1" y="13"/>
                  </a:cubicBezTo>
                  <a:cubicBezTo>
                    <a:pt x="1" y="13"/>
                    <a:pt x="0" y="13"/>
                    <a:pt x="0" y="14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9" y="111"/>
                    <a:pt x="169" y="111"/>
                    <a:pt x="169" y="111"/>
                  </a:cubicBezTo>
                  <a:cubicBezTo>
                    <a:pt x="176" y="112"/>
                    <a:pt x="176" y="112"/>
                    <a:pt x="176" y="112"/>
                  </a:cubicBezTo>
                  <a:cubicBezTo>
                    <a:pt x="176" y="111"/>
                    <a:pt x="178" y="110"/>
                    <a:pt x="179" y="110"/>
                  </a:cubicBezTo>
                  <a:cubicBezTo>
                    <a:pt x="179" y="110"/>
                    <a:pt x="180" y="110"/>
                    <a:pt x="180" y="110"/>
                  </a:cubicBezTo>
                  <a:cubicBezTo>
                    <a:pt x="181" y="110"/>
                    <a:pt x="182" y="109"/>
                    <a:pt x="182" y="109"/>
                  </a:cubicBezTo>
                  <a:cubicBezTo>
                    <a:pt x="183" y="109"/>
                    <a:pt x="183" y="109"/>
                    <a:pt x="184" y="108"/>
                  </a:cubicBezTo>
                  <a:cubicBezTo>
                    <a:pt x="184" y="108"/>
                    <a:pt x="185" y="108"/>
                    <a:pt x="185" y="109"/>
                  </a:cubicBezTo>
                  <a:cubicBezTo>
                    <a:pt x="185" y="105"/>
                    <a:pt x="185" y="105"/>
                    <a:pt x="185" y="105"/>
                  </a:cubicBezTo>
                  <a:cubicBezTo>
                    <a:pt x="195" y="99"/>
                    <a:pt x="195" y="99"/>
                    <a:pt x="195" y="99"/>
                  </a:cubicBezTo>
                  <a:cubicBezTo>
                    <a:pt x="198" y="98"/>
                    <a:pt x="198" y="98"/>
                    <a:pt x="198" y="98"/>
                  </a:cubicBezTo>
                  <a:cubicBezTo>
                    <a:pt x="199" y="95"/>
                    <a:pt x="199" y="95"/>
                    <a:pt x="199" y="95"/>
                  </a:cubicBezTo>
                  <a:cubicBezTo>
                    <a:pt x="198" y="94"/>
                    <a:pt x="198" y="94"/>
                    <a:pt x="198" y="94"/>
                  </a:cubicBezTo>
                  <a:lnTo>
                    <a:pt x="192" y="8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F43CCDD4-8D71-496F-A239-6030AAE1C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006" y="1826361"/>
              <a:ext cx="1105325" cy="804623"/>
            </a:xfrm>
            <a:custGeom>
              <a:avLst/>
              <a:gdLst>
                <a:gd name="T0" fmla="*/ 262 w 279"/>
                <a:gd name="T1" fmla="*/ 99 h 203"/>
                <a:gd name="T2" fmla="*/ 254 w 279"/>
                <a:gd name="T3" fmla="*/ 94 h 203"/>
                <a:gd name="T4" fmla="*/ 253 w 279"/>
                <a:gd name="T5" fmla="*/ 86 h 203"/>
                <a:gd name="T6" fmla="*/ 262 w 279"/>
                <a:gd name="T7" fmla="*/ 72 h 203"/>
                <a:gd name="T8" fmla="*/ 267 w 279"/>
                <a:gd name="T9" fmla="*/ 61 h 203"/>
                <a:gd name="T10" fmla="*/ 277 w 279"/>
                <a:gd name="T11" fmla="*/ 36 h 203"/>
                <a:gd name="T12" fmla="*/ 277 w 279"/>
                <a:gd name="T13" fmla="*/ 23 h 203"/>
                <a:gd name="T14" fmla="*/ 191 w 279"/>
                <a:gd name="T15" fmla="*/ 11 h 203"/>
                <a:gd name="T16" fmla="*/ 181 w 279"/>
                <a:gd name="T17" fmla="*/ 14 h 203"/>
                <a:gd name="T18" fmla="*/ 173 w 279"/>
                <a:gd name="T19" fmla="*/ 15 h 203"/>
                <a:gd name="T20" fmla="*/ 165 w 279"/>
                <a:gd name="T21" fmla="*/ 19 h 203"/>
                <a:gd name="T22" fmla="*/ 151 w 279"/>
                <a:gd name="T23" fmla="*/ 24 h 203"/>
                <a:gd name="T24" fmla="*/ 137 w 279"/>
                <a:gd name="T25" fmla="*/ 24 h 203"/>
                <a:gd name="T26" fmla="*/ 124 w 279"/>
                <a:gd name="T27" fmla="*/ 28 h 203"/>
                <a:gd name="T28" fmla="*/ 115 w 279"/>
                <a:gd name="T29" fmla="*/ 28 h 203"/>
                <a:gd name="T30" fmla="*/ 109 w 279"/>
                <a:gd name="T31" fmla="*/ 26 h 203"/>
                <a:gd name="T32" fmla="*/ 101 w 279"/>
                <a:gd name="T33" fmla="*/ 26 h 203"/>
                <a:gd name="T34" fmla="*/ 84 w 279"/>
                <a:gd name="T35" fmla="*/ 32 h 203"/>
                <a:gd name="T36" fmla="*/ 69 w 279"/>
                <a:gd name="T37" fmla="*/ 32 h 203"/>
                <a:gd name="T38" fmla="*/ 59 w 279"/>
                <a:gd name="T39" fmla="*/ 12 h 203"/>
                <a:gd name="T40" fmla="*/ 49 w 279"/>
                <a:gd name="T41" fmla="*/ 2 h 203"/>
                <a:gd name="T42" fmla="*/ 40 w 279"/>
                <a:gd name="T43" fmla="*/ 3 h 203"/>
                <a:gd name="T44" fmla="*/ 35 w 279"/>
                <a:gd name="T45" fmla="*/ 1 h 203"/>
                <a:gd name="T46" fmla="*/ 29 w 279"/>
                <a:gd name="T47" fmla="*/ 2 h 203"/>
                <a:gd name="T48" fmla="*/ 24 w 279"/>
                <a:gd name="T49" fmla="*/ 2 h 203"/>
                <a:gd name="T50" fmla="*/ 21 w 279"/>
                <a:gd name="T51" fmla="*/ 6 h 203"/>
                <a:gd name="T52" fmla="*/ 21 w 279"/>
                <a:gd name="T53" fmla="*/ 22 h 203"/>
                <a:gd name="T54" fmla="*/ 22 w 279"/>
                <a:gd name="T55" fmla="*/ 32 h 203"/>
                <a:gd name="T56" fmla="*/ 21 w 279"/>
                <a:gd name="T57" fmla="*/ 37 h 203"/>
                <a:gd name="T58" fmla="*/ 20 w 279"/>
                <a:gd name="T59" fmla="*/ 53 h 203"/>
                <a:gd name="T60" fmla="*/ 19 w 279"/>
                <a:gd name="T61" fmla="*/ 62 h 203"/>
                <a:gd name="T62" fmla="*/ 17 w 279"/>
                <a:gd name="T63" fmla="*/ 81 h 203"/>
                <a:gd name="T64" fmla="*/ 17 w 279"/>
                <a:gd name="T65" fmla="*/ 87 h 203"/>
                <a:gd name="T66" fmla="*/ 16 w 279"/>
                <a:gd name="T67" fmla="*/ 101 h 203"/>
                <a:gd name="T68" fmla="*/ 15 w 279"/>
                <a:gd name="T69" fmla="*/ 108 h 203"/>
                <a:gd name="T70" fmla="*/ 14 w 279"/>
                <a:gd name="T71" fmla="*/ 118 h 203"/>
                <a:gd name="T72" fmla="*/ 15 w 279"/>
                <a:gd name="T73" fmla="*/ 122 h 203"/>
                <a:gd name="T74" fmla="*/ 13 w 279"/>
                <a:gd name="T75" fmla="*/ 124 h 203"/>
                <a:gd name="T76" fmla="*/ 11 w 279"/>
                <a:gd name="T77" fmla="*/ 133 h 203"/>
                <a:gd name="T78" fmla="*/ 7 w 279"/>
                <a:gd name="T79" fmla="*/ 141 h 203"/>
                <a:gd name="T80" fmla="*/ 6 w 279"/>
                <a:gd name="T81" fmla="*/ 144 h 203"/>
                <a:gd name="T82" fmla="*/ 5 w 279"/>
                <a:gd name="T83" fmla="*/ 151 h 203"/>
                <a:gd name="T84" fmla="*/ 3 w 279"/>
                <a:gd name="T85" fmla="*/ 156 h 203"/>
                <a:gd name="T86" fmla="*/ 4 w 279"/>
                <a:gd name="T87" fmla="*/ 160 h 203"/>
                <a:gd name="T88" fmla="*/ 6 w 279"/>
                <a:gd name="T89" fmla="*/ 161 h 203"/>
                <a:gd name="T90" fmla="*/ 0 w 279"/>
                <a:gd name="T91" fmla="*/ 164 h 203"/>
                <a:gd name="T92" fmla="*/ 3 w 279"/>
                <a:gd name="T93" fmla="*/ 170 h 203"/>
                <a:gd name="T94" fmla="*/ 6 w 279"/>
                <a:gd name="T95" fmla="*/ 176 h 203"/>
                <a:gd name="T96" fmla="*/ 5 w 279"/>
                <a:gd name="T97" fmla="*/ 180 h 203"/>
                <a:gd name="T98" fmla="*/ 7 w 279"/>
                <a:gd name="T99" fmla="*/ 196 h 203"/>
                <a:gd name="T100" fmla="*/ 9 w 279"/>
                <a:gd name="T101" fmla="*/ 200 h 203"/>
                <a:gd name="T102" fmla="*/ 260 w 279"/>
                <a:gd name="T10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9" h="203">
                  <a:moveTo>
                    <a:pt x="262" y="113"/>
                  </a:moveTo>
                  <a:cubicBezTo>
                    <a:pt x="262" y="111"/>
                    <a:pt x="263" y="110"/>
                    <a:pt x="263" y="109"/>
                  </a:cubicBezTo>
                  <a:cubicBezTo>
                    <a:pt x="263" y="107"/>
                    <a:pt x="261" y="106"/>
                    <a:pt x="262" y="104"/>
                  </a:cubicBezTo>
                  <a:cubicBezTo>
                    <a:pt x="263" y="104"/>
                    <a:pt x="265" y="101"/>
                    <a:pt x="264" y="100"/>
                  </a:cubicBezTo>
                  <a:cubicBezTo>
                    <a:pt x="263" y="100"/>
                    <a:pt x="262" y="100"/>
                    <a:pt x="262" y="99"/>
                  </a:cubicBezTo>
                  <a:cubicBezTo>
                    <a:pt x="262" y="99"/>
                    <a:pt x="262" y="97"/>
                    <a:pt x="262" y="97"/>
                  </a:cubicBezTo>
                  <a:cubicBezTo>
                    <a:pt x="261" y="96"/>
                    <a:pt x="261" y="97"/>
                    <a:pt x="260" y="97"/>
                  </a:cubicBezTo>
                  <a:cubicBezTo>
                    <a:pt x="260" y="97"/>
                    <a:pt x="260" y="97"/>
                    <a:pt x="259" y="97"/>
                  </a:cubicBezTo>
                  <a:cubicBezTo>
                    <a:pt x="258" y="96"/>
                    <a:pt x="257" y="95"/>
                    <a:pt x="256" y="95"/>
                  </a:cubicBezTo>
                  <a:cubicBezTo>
                    <a:pt x="256" y="96"/>
                    <a:pt x="254" y="95"/>
                    <a:pt x="254" y="94"/>
                  </a:cubicBezTo>
                  <a:cubicBezTo>
                    <a:pt x="254" y="94"/>
                    <a:pt x="254" y="93"/>
                    <a:pt x="254" y="93"/>
                  </a:cubicBezTo>
                  <a:cubicBezTo>
                    <a:pt x="254" y="92"/>
                    <a:pt x="254" y="91"/>
                    <a:pt x="253" y="91"/>
                  </a:cubicBezTo>
                  <a:cubicBezTo>
                    <a:pt x="253" y="90"/>
                    <a:pt x="252" y="90"/>
                    <a:pt x="252" y="90"/>
                  </a:cubicBezTo>
                  <a:cubicBezTo>
                    <a:pt x="252" y="89"/>
                    <a:pt x="253" y="89"/>
                    <a:pt x="253" y="89"/>
                  </a:cubicBezTo>
                  <a:cubicBezTo>
                    <a:pt x="254" y="88"/>
                    <a:pt x="253" y="87"/>
                    <a:pt x="253" y="86"/>
                  </a:cubicBezTo>
                  <a:cubicBezTo>
                    <a:pt x="254" y="84"/>
                    <a:pt x="255" y="84"/>
                    <a:pt x="256" y="82"/>
                  </a:cubicBezTo>
                  <a:cubicBezTo>
                    <a:pt x="257" y="81"/>
                    <a:pt x="257" y="79"/>
                    <a:pt x="257" y="78"/>
                  </a:cubicBezTo>
                  <a:cubicBezTo>
                    <a:pt x="258" y="77"/>
                    <a:pt x="258" y="75"/>
                    <a:pt x="259" y="74"/>
                  </a:cubicBezTo>
                  <a:cubicBezTo>
                    <a:pt x="259" y="73"/>
                    <a:pt x="259" y="73"/>
                    <a:pt x="260" y="73"/>
                  </a:cubicBezTo>
                  <a:cubicBezTo>
                    <a:pt x="260" y="72"/>
                    <a:pt x="261" y="72"/>
                    <a:pt x="262" y="72"/>
                  </a:cubicBezTo>
                  <a:cubicBezTo>
                    <a:pt x="263" y="71"/>
                    <a:pt x="263" y="71"/>
                    <a:pt x="263" y="70"/>
                  </a:cubicBezTo>
                  <a:cubicBezTo>
                    <a:pt x="264" y="69"/>
                    <a:pt x="264" y="68"/>
                    <a:pt x="265" y="67"/>
                  </a:cubicBezTo>
                  <a:cubicBezTo>
                    <a:pt x="266" y="66"/>
                    <a:pt x="266" y="65"/>
                    <a:pt x="266" y="64"/>
                  </a:cubicBezTo>
                  <a:cubicBezTo>
                    <a:pt x="266" y="63"/>
                    <a:pt x="266" y="63"/>
                    <a:pt x="267" y="62"/>
                  </a:cubicBezTo>
                  <a:cubicBezTo>
                    <a:pt x="267" y="61"/>
                    <a:pt x="267" y="61"/>
                    <a:pt x="267" y="61"/>
                  </a:cubicBezTo>
                  <a:cubicBezTo>
                    <a:pt x="266" y="60"/>
                    <a:pt x="266" y="60"/>
                    <a:pt x="266" y="60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70" y="53"/>
                    <a:pt x="270" y="53"/>
                    <a:pt x="270" y="53"/>
                  </a:cubicBezTo>
                  <a:cubicBezTo>
                    <a:pt x="270" y="53"/>
                    <a:pt x="272" y="46"/>
                    <a:pt x="272" y="46"/>
                  </a:cubicBezTo>
                  <a:cubicBezTo>
                    <a:pt x="272" y="46"/>
                    <a:pt x="277" y="36"/>
                    <a:pt x="277" y="36"/>
                  </a:cubicBezTo>
                  <a:cubicBezTo>
                    <a:pt x="277" y="36"/>
                    <a:pt x="277" y="35"/>
                    <a:pt x="277" y="34"/>
                  </a:cubicBezTo>
                  <a:cubicBezTo>
                    <a:pt x="278" y="34"/>
                    <a:pt x="279" y="31"/>
                    <a:pt x="279" y="31"/>
                  </a:cubicBezTo>
                  <a:cubicBezTo>
                    <a:pt x="278" y="28"/>
                    <a:pt x="278" y="28"/>
                    <a:pt x="278" y="28"/>
                  </a:cubicBezTo>
                  <a:cubicBezTo>
                    <a:pt x="278" y="28"/>
                    <a:pt x="277" y="26"/>
                    <a:pt x="277" y="26"/>
                  </a:cubicBezTo>
                  <a:cubicBezTo>
                    <a:pt x="277" y="25"/>
                    <a:pt x="277" y="23"/>
                    <a:pt x="277" y="23"/>
                  </a:cubicBezTo>
                  <a:cubicBezTo>
                    <a:pt x="277" y="23"/>
                    <a:pt x="273" y="21"/>
                    <a:pt x="273" y="21"/>
                  </a:cubicBezTo>
                  <a:cubicBezTo>
                    <a:pt x="272" y="21"/>
                    <a:pt x="269" y="19"/>
                    <a:pt x="269" y="19"/>
                  </a:cubicBezTo>
                  <a:cubicBezTo>
                    <a:pt x="264" y="11"/>
                    <a:pt x="264" y="11"/>
                    <a:pt x="264" y="11"/>
                  </a:cubicBezTo>
                  <a:cubicBezTo>
                    <a:pt x="193" y="11"/>
                    <a:pt x="193" y="11"/>
                    <a:pt x="193" y="11"/>
                  </a:cubicBezTo>
                  <a:cubicBezTo>
                    <a:pt x="192" y="11"/>
                    <a:pt x="192" y="11"/>
                    <a:pt x="191" y="11"/>
                  </a:cubicBezTo>
                  <a:cubicBezTo>
                    <a:pt x="191" y="12"/>
                    <a:pt x="190" y="12"/>
                    <a:pt x="190" y="12"/>
                  </a:cubicBezTo>
                  <a:cubicBezTo>
                    <a:pt x="189" y="13"/>
                    <a:pt x="189" y="13"/>
                    <a:pt x="188" y="14"/>
                  </a:cubicBezTo>
                  <a:cubicBezTo>
                    <a:pt x="187" y="14"/>
                    <a:pt x="187" y="14"/>
                    <a:pt x="186" y="14"/>
                  </a:cubicBezTo>
                  <a:cubicBezTo>
                    <a:pt x="185" y="14"/>
                    <a:pt x="183" y="14"/>
                    <a:pt x="182" y="14"/>
                  </a:cubicBezTo>
                  <a:cubicBezTo>
                    <a:pt x="182" y="14"/>
                    <a:pt x="181" y="14"/>
                    <a:pt x="181" y="14"/>
                  </a:cubicBezTo>
                  <a:cubicBezTo>
                    <a:pt x="181" y="14"/>
                    <a:pt x="180" y="14"/>
                    <a:pt x="180" y="14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78" y="15"/>
                    <a:pt x="177" y="15"/>
                    <a:pt x="177" y="15"/>
                  </a:cubicBezTo>
                  <a:cubicBezTo>
                    <a:pt x="176" y="15"/>
                    <a:pt x="176" y="16"/>
                    <a:pt x="175" y="15"/>
                  </a:cubicBezTo>
                  <a:cubicBezTo>
                    <a:pt x="175" y="15"/>
                    <a:pt x="174" y="15"/>
                    <a:pt x="173" y="15"/>
                  </a:cubicBezTo>
                  <a:cubicBezTo>
                    <a:pt x="172" y="15"/>
                    <a:pt x="171" y="15"/>
                    <a:pt x="171" y="15"/>
                  </a:cubicBezTo>
                  <a:cubicBezTo>
                    <a:pt x="170" y="16"/>
                    <a:pt x="170" y="16"/>
                    <a:pt x="170" y="16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8" y="18"/>
                    <a:pt x="167" y="18"/>
                    <a:pt x="166" y="19"/>
                  </a:cubicBezTo>
                  <a:cubicBezTo>
                    <a:pt x="166" y="19"/>
                    <a:pt x="165" y="19"/>
                    <a:pt x="165" y="19"/>
                  </a:cubicBezTo>
                  <a:cubicBezTo>
                    <a:pt x="164" y="19"/>
                    <a:pt x="163" y="19"/>
                    <a:pt x="163" y="19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20"/>
                    <a:pt x="161" y="20"/>
                    <a:pt x="160" y="20"/>
                  </a:cubicBezTo>
                  <a:cubicBezTo>
                    <a:pt x="159" y="20"/>
                    <a:pt x="158" y="20"/>
                    <a:pt x="157" y="21"/>
                  </a:cubicBezTo>
                  <a:cubicBezTo>
                    <a:pt x="155" y="21"/>
                    <a:pt x="153" y="23"/>
                    <a:pt x="151" y="24"/>
                  </a:cubicBezTo>
                  <a:cubicBezTo>
                    <a:pt x="150" y="25"/>
                    <a:pt x="149" y="25"/>
                    <a:pt x="148" y="25"/>
                  </a:cubicBezTo>
                  <a:cubicBezTo>
                    <a:pt x="147" y="26"/>
                    <a:pt x="145" y="26"/>
                    <a:pt x="144" y="26"/>
                  </a:cubicBezTo>
                  <a:cubicBezTo>
                    <a:pt x="143" y="26"/>
                    <a:pt x="141" y="26"/>
                    <a:pt x="140" y="26"/>
                  </a:cubicBezTo>
                  <a:cubicBezTo>
                    <a:pt x="139" y="25"/>
                    <a:pt x="139" y="25"/>
                    <a:pt x="138" y="25"/>
                  </a:cubicBezTo>
                  <a:cubicBezTo>
                    <a:pt x="138" y="24"/>
                    <a:pt x="137" y="24"/>
                    <a:pt x="137" y="24"/>
                  </a:cubicBezTo>
                  <a:cubicBezTo>
                    <a:pt x="136" y="24"/>
                    <a:pt x="135" y="24"/>
                    <a:pt x="135" y="24"/>
                  </a:cubicBezTo>
                  <a:cubicBezTo>
                    <a:pt x="134" y="25"/>
                    <a:pt x="133" y="25"/>
                    <a:pt x="133" y="25"/>
                  </a:cubicBezTo>
                  <a:cubicBezTo>
                    <a:pt x="132" y="26"/>
                    <a:pt x="131" y="26"/>
                    <a:pt x="130" y="27"/>
                  </a:cubicBezTo>
                  <a:cubicBezTo>
                    <a:pt x="129" y="28"/>
                    <a:pt x="128" y="28"/>
                    <a:pt x="127" y="29"/>
                  </a:cubicBezTo>
                  <a:cubicBezTo>
                    <a:pt x="126" y="29"/>
                    <a:pt x="125" y="28"/>
                    <a:pt x="124" y="28"/>
                  </a:cubicBezTo>
                  <a:cubicBezTo>
                    <a:pt x="123" y="28"/>
                    <a:pt x="122" y="28"/>
                    <a:pt x="122" y="28"/>
                  </a:cubicBezTo>
                  <a:cubicBezTo>
                    <a:pt x="121" y="28"/>
                    <a:pt x="120" y="28"/>
                    <a:pt x="120" y="29"/>
                  </a:cubicBezTo>
                  <a:cubicBezTo>
                    <a:pt x="119" y="29"/>
                    <a:pt x="119" y="30"/>
                    <a:pt x="118" y="30"/>
                  </a:cubicBezTo>
                  <a:cubicBezTo>
                    <a:pt x="118" y="31"/>
                    <a:pt x="117" y="31"/>
                    <a:pt x="116" y="30"/>
                  </a:cubicBezTo>
                  <a:cubicBezTo>
                    <a:pt x="115" y="30"/>
                    <a:pt x="116" y="29"/>
                    <a:pt x="115" y="28"/>
                  </a:cubicBezTo>
                  <a:cubicBezTo>
                    <a:pt x="115" y="28"/>
                    <a:pt x="115" y="28"/>
                    <a:pt x="115" y="27"/>
                  </a:cubicBezTo>
                  <a:cubicBezTo>
                    <a:pt x="114" y="27"/>
                    <a:pt x="114" y="27"/>
                    <a:pt x="113" y="27"/>
                  </a:cubicBezTo>
                  <a:cubicBezTo>
                    <a:pt x="112" y="26"/>
                    <a:pt x="112" y="26"/>
                    <a:pt x="111" y="26"/>
                  </a:cubicBezTo>
                  <a:cubicBezTo>
                    <a:pt x="111" y="26"/>
                    <a:pt x="110" y="26"/>
                    <a:pt x="110" y="26"/>
                  </a:cubicBezTo>
                  <a:cubicBezTo>
                    <a:pt x="110" y="26"/>
                    <a:pt x="109" y="26"/>
                    <a:pt x="109" y="26"/>
                  </a:cubicBezTo>
                  <a:cubicBezTo>
                    <a:pt x="108" y="26"/>
                    <a:pt x="108" y="26"/>
                    <a:pt x="107" y="26"/>
                  </a:cubicBezTo>
                  <a:cubicBezTo>
                    <a:pt x="107" y="26"/>
                    <a:pt x="107" y="26"/>
                    <a:pt x="106" y="25"/>
                  </a:cubicBezTo>
                  <a:cubicBezTo>
                    <a:pt x="105" y="25"/>
                    <a:pt x="104" y="25"/>
                    <a:pt x="103" y="25"/>
                  </a:cubicBezTo>
                  <a:cubicBezTo>
                    <a:pt x="103" y="25"/>
                    <a:pt x="102" y="25"/>
                    <a:pt x="102" y="25"/>
                  </a:cubicBezTo>
                  <a:cubicBezTo>
                    <a:pt x="102" y="26"/>
                    <a:pt x="101" y="26"/>
                    <a:pt x="101" y="26"/>
                  </a:cubicBezTo>
                  <a:cubicBezTo>
                    <a:pt x="100" y="27"/>
                    <a:pt x="98" y="26"/>
                    <a:pt x="96" y="26"/>
                  </a:cubicBezTo>
                  <a:cubicBezTo>
                    <a:pt x="96" y="26"/>
                    <a:pt x="95" y="26"/>
                    <a:pt x="95" y="26"/>
                  </a:cubicBezTo>
                  <a:cubicBezTo>
                    <a:pt x="94" y="26"/>
                    <a:pt x="93" y="27"/>
                    <a:pt x="92" y="27"/>
                  </a:cubicBezTo>
                  <a:cubicBezTo>
                    <a:pt x="91" y="28"/>
                    <a:pt x="90" y="28"/>
                    <a:pt x="89" y="29"/>
                  </a:cubicBezTo>
                  <a:cubicBezTo>
                    <a:pt x="88" y="30"/>
                    <a:pt x="86" y="31"/>
                    <a:pt x="84" y="32"/>
                  </a:cubicBezTo>
                  <a:cubicBezTo>
                    <a:pt x="83" y="32"/>
                    <a:pt x="82" y="33"/>
                    <a:pt x="81" y="33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7" y="33"/>
                    <a:pt x="76" y="33"/>
                    <a:pt x="75" y="33"/>
                  </a:cubicBezTo>
                  <a:cubicBezTo>
                    <a:pt x="74" y="33"/>
                    <a:pt x="73" y="33"/>
                    <a:pt x="72" y="33"/>
                  </a:cubicBezTo>
                  <a:cubicBezTo>
                    <a:pt x="71" y="33"/>
                    <a:pt x="70" y="32"/>
                    <a:pt x="69" y="32"/>
                  </a:cubicBezTo>
                  <a:cubicBezTo>
                    <a:pt x="68" y="32"/>
                    <a:pt x="66" y="31"/>
                    <a:pt x="64" y="30"/>
                  </a:cubicBezTo>
                  <a:cubicBezTo>
                    <a:pt x="62" y="29"/>
                    <a:pt x="62" y="26"/>
                    <a:pt x="62" y="24"/>
                  </a:cubicBezTo>
                  <a:cubicBezTo>
                    <a:pt x="61" y="22"/>
                    <a:pt x="61" y="20"/>
                    <a:pt x="61" y="18"/>
                  </a:cubicBezTo>
                  <a:cubicBezTo>
                    <a:pt x="61" y="17"/>
                    <a:pt x="60" y="16"/>
                    <a:pt x="60" y="15"/>
                  </a:cubicBezTo>
                  <a:cubicBezTo>
                    <a:pt x="60" y="14"/>
                    <a:pt x="59" y="13"/>
                    <a:pt x="59" y="12"/>
                  </a:cubicBezTo>
                  <a:cubicBezTo>
                    <a:pt x="59" y="11"/>
                    <a:pt x="58" y="11"/>
                    <a:pt x="58" y="10"/>
                  </a:cubicBezTo>
                  <a:cubicBezTo>
                    <a:pt x="58" y="9"/>
                    <a:pt x="58" y="8"/>
                    <a:pt x="57" y="8"/>
                  </a:cubicBezTo>
                  <a:cubicBezTo>
                    <a:pt x="57" y="7"/>
                    <a:pt x="55" y="6"/>
                    <a:pt x="54" y="6"/>
                  </a:cubicBezTo>
                  <a:cubicBezTo>
                    <a:pt x="53" y="5"/>
                    <a:pt x="53" y="4"/>
                    <a:pt x="52" y="4"/>
                  </a:cubicBezTo>
                  <a:cubicBezTo>
                    <a:pt x="51" y="3"/>
                    <a:pt x="50" y="2"/>
                    <a:pt x="49" y="2"/>
                  </a:cubicBezTo>
                  <a:cubicBezTo>
                    <a:pt x="48" y="2"/>
                    <a:pt x="47" y="3"/>
                    <a:pt x="47" y="3"/>
                  </a:cubicBezTo>
                  <a:cubicBezTo>
                    <a:pt x="46" y="4"/>
                    <a:pt x="45" y="4"/>
                    <a:pt x="43" y="4"/>
                  </a:cubicBezTo>
                  <a:cubicBezTo>
                    <a:pt x="43" y="4"/>
                    <a:pt x="42" y="4"/>
                    <a:pt x="42" y="4"/>
                  </a:cubicBezTo>
                  <a:cubicBezTo>
                    <a:pt x="41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2"/>
                    <a:pt x="39" y="2"/>
                    <a:pt x="39" y="2"/>
                  </a:cubicBezTo>
                  <a:cubicBezTo>
                    <a:pt x="39" y="2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37" y="0"/>
                    <a:pt x="36" y="0"/>
                    <a:pt x="36" y="0"/>
                  </a:cubicBezTo>
                  <a:cubicBezTo>
                    <a:pt x="36" y="0"/>
                    <a:pt x="35" y="1"/>
                    <a:pt x="35" y="1"/>
                  </a:cubicBezTo>
                  <a:cubicBezTo>
                    <a:pt x="35" y="1"/>
                    <a:pt x="34" y="1"/>
                    <a:pt x="34" y="2"/>
                  </a:cubicBezTo>
                  <a:cubicBezTo>
                    <a:pt x="34" y="2"/>
                    <a:pt x="33" y="2"/>
                    <a:pt x="33" y="2"/>
                  </a:cubicBezTo>
                  <a:cubicBezTo>
                    <a:pt x="33" y="2"/>
                    <a:pt x="32" y="2"/>
                    <a:pt x="32" y="3"/>
                  </a:cubicBezTo>
                  <a:cubicBezTo>
                    <a:pt x="32" y="3"/>
                    <a:pt x="32" y="3"/>
                    <a:pt x="31" y="3"/>
                  </a:cubicBezTo>
                  <a:cubicBezTo>
                    <a:pt x="31" y="3"/>
                    <a:pt x="30" y="3"/>
                    <a:pt x="29" y="2"/>
                  </a:cubicBezTo>
                  <a:cubicBezTo>
                    <a:pt x="29" y="2"/>
                    <a:pt x="28" y="2"/>
                    <a:pt x="28" y="2"/>
                  </a:cubicBezTo>
                  <a:cubicBezTo>
                    <a:pt x="28" y="2"/>
                    <a:pt x="28" y="1"/>
                    <a:pt x="28" y="1"/>
                  </a:cubicBezTo>
                  <a:cubicBezTo>
                    <a:pt x="27" y="1"/>
                    <a:pt x="27" y="2"/>
                    <a:pt x="27" y="2"/>
                  </a:cubicBezTo>
                  <a:cubicBezTo>
                    <a:pt x="26" y="3"/>
                    <a:pt x="26" y="3"/>
                    <a:pt x="25" y="2"/>
                  </a:cubicBezTo>
                  <a:cubicBezTo>
                    <a:pt x="25" y="2"/>
                    <a:pt x="25" y="2"/>
                    <a:pt x="24" y="2"/>
                  </a:cubicBezTo>
                  <a:cubicBezTo>
                    <a:pt x="24" y="2"/>
                    <a:pt x="23" y="2"/>
                    <a:pt x="22" y="1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1" y="1"/>
                    <a:pt x="21" y="2"/>
                    <a:pt x="21" y="3"/>
                  </a:cubicBezTo>
                  <a:cubicBezTo>
                    <a:pt x="21" y="3"/>
                    <a:pt x="21" y="4"/>
                    <a:pt x="21" y="4"/>
                  </a:cubicBezTo>
                  <a:cubicBezTo>
                    <a:pt x="21" y="5"/>
                    <a:pt x="21" y="6"/>
                    <a:pt x="21" y="6"/>
                  </a:cubicBezTo>
                  <a:cubicBezTo>
                    <a:pt x="21" y="7"/>
                    <a:pt x="21" y="7"/>
                    <a:pt x="22" y="8"/>
                  </a:cubicBezTo>
                  <a:cubicBezTo>
                    <a:pt x="22" y="9"/>
                    <a:pt x="22" y="10"/>
                    <a:pt x="22" y="10"/>
                  </a:cubicBezTo>
                  <a:cubicBezTo>
                    <a:pt x="22" y="11"/>
                    <a:pt x="22" y="12"/>
                    <a:pt x="21" y="13"/>
                  </a:cubicBezTo>
                  <a:cubicBezTo>
                    <a:pt x="21" y="14"/>
                    <a:pt x="21" y="15"/>
                    <a:pt x="21" y="16"/>
                  </a:cubicBezTo>
                  <a:cubicBezTo>
                    <a:pt x="21" y="18"/>
                    <a:pt x="21" y="20"/>
                    <a:pt x="21" y="22"/>
                  </a:cubicBezTo>
                  <a:cubicBezTo>
                    <a:pt x="21" y="22"/>
                    <a:pt x="21" y="23"/>
                    <a:pt x="21" y="24"/>
                  </a:cubicBezTo>
                  <a:cubicBezTo>
                    <a:pt x="21" y="25"/>
                    <a:pt x="21" y="26"/>
                    <a:pt x="21" y="27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2" y="29"/>
                    <a:pt x="22" y="29"/>
                    <a:pt x="22" y="30"/>
                  </a:cubicBezTo>
                  <a:cubicBezTo>
                    <a:pt x="22" y="31"/>
                    <a:pt x="22" y="31"/>
                    <a:pt x="22" y="32"/>
                  </a:cubicBezTo>
                  <a:cubicBezTo>
                    <a:pt x="23" y="32"/>
                    <a:pt x="22" y="33"/>
                    <a:pt x="23" y="33"/>
                  </a:cubicBezTo>
                  <a:cubicBezTo>
                    <a:pt x="22" y="33"/>
                    <a:pt x="23" y="34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6"/>
                    <a:pt x="21" y="36"/>
                    <a:pt x="21" y="37"/>
                  </a:cubicBezTo>
                  <a:cubicBezTo>
                    <a:pt x="21" y="37"/>
                    <a:pt x="21" y="38"/>
                    <a:pt x="21" y="38"/>
                  </a:cubicBezTo>
                  <a:cubicBezTo>
                    <a:pt x="21" y="39"/>
                    <a:pt x="22" y="39"/>
                    <a:pt x="22" y="40"/>
                  </a:cubicBezTo>
                  <a:cubicBezTo>
                    <a:pt x="22" y="41"/>
                    <a:pt x="21" y="42"/>
                    <a:pt x="21" y="43"/>
                  </a:cubicBezTo>
                  <a:cubicBezTo>
                    <a:pt x="20" y="44"/>
                    <a:pt x="20" y="45"/>
                    <a:pt x="20" y="46"/>
                  </a:cubicBezTo>
                  <a:cubicBezTo>
                    <a:pt x="20" y="48"/>
                    <a:pt x="20" y="51"/>
                    <a:pt x="20" y="53"/>
                  </a:cubicBezTo>
                  <a:cubicBezTo>
                    <a:pt x="20" y="54"/>
                    <a:pt x="21" y="55"/>
                    <a:pt x="20" y="56"/>
                  </a:cubicBezTo>
                  <a:cubicBezTo>
                    <a:pt x="20" y="56"/>
                    <a:pt x="20" y="57"/>
                    <a:pt x="20" y="57"/>
                  </a:cubicBezTo>
                  <a:cubicBezTo>
                    <a:pt x="19" y="57"/>
                    <a:pt x="20" y="58"/>
                    <a:pt x="20" y="58"/>
                  </a:cubicBezTo>
                  <a:cubicBezTo>
                    <a:pt x="20" y="59"/>
                    <a:pt x="20" y="60"/>
                    <a:pt x="19" y="61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3"/>
                    <a:pt x="19" y="64"/>
                    <a:pt x="19" y="64"/>
                  </a:cubicBezTo>
                  <a:cubicBezTo>
                    <a:pt x="19" y="65"/>
                    <a:pt x="18" y="66"/>
                    <a:pt x="18" y="67"/>
                  </a:cubicBezTo>
                  <a:cubicBezTo>
                    <a:pt x="18" y="67"/>
                    <a:pt x="17" y="68"/>
                    <a:pt x="17" y="69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79"/>
                    <a:pt x="17" y="80"/>
                    <a:pt x="17" y="81"/>
                  </a:cubicBezTo>
                  <a:cubicBezTo>
                    <a:pt x="17" y="81"/>
                    <a:pt x="17" y="81"/>
                    <a:pt x="17" y="82"/>
                  </a:cubicBezTo>
                  <a:cubicBezTo>
                    <a:pt x="17" y="82"/>
                    <a:pt x="17" y="82"/>
                    <a:pt x="18" y="82"/>
                  </a:cubicBezTo>
                  <a:cubicBezTo>
                    <a:pt x="17" y="83"/>
                    <a:pt x="17" y="83"/>
                    <a:pt x="17" y="82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6"/>
                    <a:pt x="16" y="86"/>
                    <a:pt x="17" y="87"/>
                  </a:cubicBezTo>
                  <a:cubicBezTo>
                    <a:pt x="17" y="88"/>
                    <a:pt x="17" y="89"/>
                    <a:pt x="17" y="90"/>
                  </a:cubicBezTo>
                  <a:cubicBezTo>
                    <a:pt x="17" y="91"/>
                    <a:pt x="16" y="92"/>
                    <a:pt x="16" y="92"/>
                  </a:cubicBezTo>
                  <a:cubicBezTo>
                    <a:pt x="16" y="93"/>
                    <a:pt x="16" y="93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1"/>
                    <a:pt x="16" y="102"/>
                  </a:cubicBezTo>
                  <a:cubicBezTo>
                    <a:pt x="16" y="102"/>
                    <a:pt x="16" y="102"/>
                    <a:pt x="15" y="103"/>
                  </a:cubicBezTo>
                  <a:cubicBezTo>
                    <a:pt x="15" y="103"/>
                    <a:pt x="15" y="104"/>
                    <a:pt x="15" y="104"/>
                  </a:cubicBezTo>
                  <a:cubicBezTo>
                    <a:pt x="15" y="105"/>
                    <a:pt x="15" y="105"/>
                    <a:pt x="15" y="106"/>
                  </a:cubicBezTo>
                  <a:cubicBezTo>
                    <a:pt x="15" y="106"/>
                    <a:pt x="15" y="107"/>
                    <a:pt x="15" y="108"/>
                  </a:cubicBezTo>
                  <a:cubicBezTo>
                    <a:pt x="15" y="109"/>
                    <a:pt x="15" y="110"/>
                    <a:pt x="15" y="111"/>
                  </a:cubicBezTo>
                  <a:cubicBezTo>
                    <a:pt x="15" y="111"/>
                    <a:pt x="14" y="112"/>
                    <a:pt x="14" y="113"/>
                  </a:cubicBezTo>
                  <a:cubicBezTo>
                    <a:pt x="14" y="113"/>
                    <a:pt x="14" y="114"/>
                    <a:pt x="14" y="115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9"/>
                    <a:pt x="13" y="119"/>
                    <a:pt x="13" y="120"/>
                  </a:cubicBezTo>
                  <a:cubicBezTo>
                    <a:pt x="13" y="121"/>
                    <a:pt x="13" y="122"/>
                    <a:pt x="14" y="122"/>
                  </a:cubicBezTo>
                  <a:cubicBezTo>
                    <a:pt x="14" y="122"/>
                    <a:pt x="14" y="121"/>
                    <a:pt x="15" y="121"/>
                  </a:cubicBezTo>
                  <a:cubicBezTo>
                    <a:pt x="15" y="121"/>
                    <a:pt x="15" y="122"/>
                    <a:pt x="15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3" y="124"/>
                    <a:pt x="13" y="123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3" y="123"/>
                    <a:pt x="13" y="123"/>
                    <a:pt x="13" y="124"/>
                  </a:cubicBezTo>
                  <a:cubicBezTo>
                    <a:pt x="12" y="124"/>
                    <a:pt x="13" y="125"/>
                    <a:pt x="13" y="126"/>
                  </a:cubicBezTo>
                  <a:cubicBezTo>
                    <a:pt x="13" y="126"/>
                    <a:pt x="13" y="126"/>
                    <a:pt x="12" y="126"/>
                  </a:cubicBezTo>
                  <a:cubicBezTo>
                    <a:pt x="12" y="127"/>
                    <a:pt x="12" y="128"/>
                    <a:pt x="12" y="129"/>
                  </a:cubicBezTo>
                  <a:cubicBezTo>
                    <a:pt x="12" y="130"/>
                    <a:pt x="12" y="130"/>
                    <a:pt x="11" y="131"/>
                  </a:cubicBezTo>
                  <a:cubicBezTo>
                    <a:pt x="11" y="132"/>
                    <a:pt x="11" y="132"/>
                    <a:pt x="11" y="133"/>
                  </a:cubicBezTo>
                  <a:cubicBezTo>
                    <a:pt x="11" y="133"/>
                    <a:pt x="10" y="134"/>
                    <a:pt x="10" y="134"/>
                  </a:cubicBezTo>
                  <a:cubicBezTo>
                    <a:pt x="10" y="136"/>
                    <a:pt x="10" y="137"/>
                    <a:pt x="10" y="138"/>
                  </a:cubicBezTo>
                  <a:cubicBezTo>
                    <a:pt x="9" y="138"/>
                    <a:pt x="9" y="139"/>
                    <a:pt x="9" y="139"/>
                  </a:cubicBezTo>
                  <a:cubicBezTo>
                    <a:pt x="9" y="140"/>
                    <a:pt x="8" y="141"/>
                    <a:pt x="8" y="141"/>
                  </a:cubicBezTo>
                  <a:cubicBezTo>
                    <a:pt x="8" y="141"/>
                    <a:pt x="7" y="141"/>
                    <a:pt x="7" y="141"/>
                  </a:cubicBezTo>
                  <a:cubicBezTo>
                    <a:pt x="7" y="141"/>
                    <a:pt x="6" y="141"/>
                    <a:pt x="6" y="142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6" y="143"/>
                  </a:cubicBezTo>
                  <a:cubicBezTo>
                    <a:pt x="6" y="143"/>
                    <a:pt x="6" y="144"/>
                    <a:pt x="6" y="144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6" y="146"/>
                    <a:pt x="6" y="147"/>
                    <a:pt x="6" y="147"/>
                  </a:cubicBezTo>
                  <a:cubicBezTo>
                    <a:pt x="6" y="148"/>
                    <a:pt x="5" y="148"/>
                    <a:pt x="5" y="149"/>
                  </a:cubicBezTo>
                  <a:cubicBezTo>
                    <a:pt x="5" y="150"/>
                    <a:pt x="5" y="150"/>
                    <a:pt x="5" y="151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4" y="152"/>
                    <a:pt x="4" y="153"/>
                    <a:pt x="4" y="153"/>
                  </a:cubicBezTo>
                  <a:cubicBezTo>
                    <a:pt x="4" y="153"/>
                    <a:pt x="4" y="154"/>
                    <a:pt x="4" y="154"/>
                  </a:cubicBezTo>
                  <a:cubicBezTo>
                    <a:pt x="4" y="155"/>
                    <a:pt x="4" y="155"/>
                    <a:pt x="4" y="155"/>
                  </a:cubicBezTo>
                  <a:cubicBezTo>
                    <a:pt x="3" y="155"/>
                    <a:pt x="3" y="156"/>
                    <a:pt x="3" y="156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3" y="158"/>
                    <a:pt x="3" y="158"/>
                    <a:pt x="3" y="159"/>
                  </a:cubicBezTo>
                  <a:cubicBezTo>
                    <a:pt x="3" y="159"/>
                    <a:pt x="3" y="159"/>
                    <a:pt x="3" y="160"/>
                  </a:cubicBezTo>
                  <a:cubicBezTo>
                    <a:pt x="3" y="160"/>
                    <a:pt x="3" y="160"/>
                    <a:pt x="3" y="160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4" y="161"/>
                    <a:pt x="5" y="161"/>
                    <a:pt x="5" y="161"/>
                  </a:cubicBezTo>
                  <a:cubicBezTo>
                    <a:pt x="5" y="161"/>
                    <a:pt x="6" y="161"/>
                    <a:pt x="6" y="161"/>
                  </a:cubicBezTo>
                  <a:cubicBezTo>
                    <a:pt x="6" y="161"/>
                    <a:pt x="7" y="160"/>
                    <a:pt x="7" y="160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6" y="161"/>
                    <a:pt x="6" y="161"/>
                  </a:cubicBezTo>
                  <a:cubicBezTo>
                    <a:pt x="5" y="161"/>
                    <a:pt x="4" y="161"/>
                    <a:pt x="3" y="161"/>
                  </a:cubicBezTo>
                  <a:cubicBezTo>
                    <a:pt x="3" y="161"/>
                    <a:pt x="2" y="161"/>
                    <a:pt x="2" y="162"/>
                  </a:cubicBezTo>
                  <a:cubicBezTo>
                    <a:pt x="2" y="162"/>
                    <a:pt x="2" y="162"/>
                    <a:pt x="1" y="162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4"/>
                    <a:pt x="1" y="163"/>
                    <a:pt x="0" y="164"/>
                  </a:cubicBezTo>
                  <a:cubicBezTo>
                    <a:pt x="0" y="165"/>
                    <a:pt x="0" y="165"/>
                    <a:pt x="1" y="166"/>
                  </a:cubicBezTo>
                  <a:cubicBezTo>
                    <a:pt x="1" y="166"/>
                    <a:pt x="1" y="166"/>
                    <a:pt x="1" y="166"/>
                  </a:cubicBezTo>
                  <a:cubicBezTo>
                    <a:pt x="1" y="167"/>
                    <a:pt x="1" y="167"/>
                    <a:pt x="1" y="167"/>
                  </a:cubicBezTo>
                  <a:cubicBezTo>
                    <a:pt x="1" y="168"/>
                    <a:pt x="2" y="168"/>
                    <a:pt x="2" y="168"/>
                  </a:cubicBezTo>
                  <a:cubicBezTo>
                    <a:pt x="2" y="169"/>
                    <a:pt x="3" y="169"/>
                    <a:pt x="3" y="170"/>
                  </a:cubicBezTo>
                  <a:cubicBezTo>
                    <a:pt x="3" y="170"/>
                    <a:pt x="3" y="170"/>
                    <a:pt x="4" y="171"/>
                  </a:cubicBezTo>
                  <a:cubicBezTo>
                    <a:pt x="4" y="171"/>
                    <a:pt x="4" y="171"/>
                    <a:pt x="5" y="172"/>
                  </a:cubicBezTo>
                  <a:cubicBezTo>
                    <a:pt x="5" y="172"/>
                    <a:pt x="5" y="172"/>
                    <a:pt x="5" y="173"/>
                  </a:cubicBezTo>
                  <a:cubicBezTo>
                    <a:pt x="6" y="173"/>
                    <a:pt x="6" y="174"/>
                    <a:pt x="6" y="175"/>
                  </a:cubicBezTo>
                  <a:cubicBezTo>
                    <a:pt x="6" y="176"/>
                    <a:pt x="6" y="176"/>
                    <a:pt x="6" y="176"/>
                  </a:cubicBezTo>
                  <a:cubicBezTo>
                    <a:pt x="6" y="177"/>
                    <a:pt x="6" y="177"/>
                    <a:pt x="6" y="178"/>
                  </a:cubicBezTo>
                  <a:cubicBezTo>
                    <a:pt x="6" y="178"/>
                    <a:pt x="6" y="178"/>
                    <a:pt x="6" y="178"/>
                  </a:cubicBezTo>
                  <a:cubicBezTo>
                    <a:pt x="6" y="179"/>
                    <a:pt x="6" y="179"/>
                    <a:pt x="6" y="179"/>
                  </a:cubicBezTo>
                  <a:cubicBezTo>
                    <a:pt x="6" y="179"/>
                    <a:pt x="6" y="180"/>
                    <a:pt x="5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5" y="190"/>
                    <a:pt x="5" y="190"/>
                    <a:pt x="5" y="190"/>
                  </a:cubicBezTo>
                  <a:cubicBezTo>
                    <a:pt x="5" y="191"/>
                    <a:pt x="5" y="192"/>
                    <a:pt x="5" y="192"/>
                  </a:cubicBezTo>
                  <a:cubicBezTo>
                    <a:pt x="6" y="192"/>
                    <a:pt x="6" y="193"/>
                    <a:pt x="6" y="193"/>
                  </a:cubicBezTo>
                  <a:cubicBezTo>
                    <a:pt x="6" y="194"/>
                    <a:pt x="6" y="194"/>
                    <a:pt x="6" y="194"/>
                  </a:cubicBezTo>
                  <a:cubicBezTo>
                    <a:pt x="6" y="195"/>
                    <a:pt x="6" y="195"/>
                    <a:pt x="7" y="196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7" y="197"/>
                    <a:pt x="7" y="197"/>
                    <a:pt x="7" y="197"/>
                  </a:cubicBezTo>
                  <a:cubicBezTo>
                    <a:pt x="7" y="198"/>
                    <a:pt x="8" y="198"/>
                    <a:pt x="8" y="198"/>
                  </a:cubicBezTo>
                  <a:cubicBezTo>
                    <a:pt x="8" y="198"/>
                    <a:pt x="8" y="199"/>
                    <a:pt x="8" y="199"/>
                  </a:cubicBezTo>
                  <a:cubicBezTo>
                    <a:pt x="8" y="199"/>
                    <a:pt x="8" y="199"/>
                    <a:pt x="9" y="200"/>
                  </a:cubicBezTo>
                  <a:cubicBezTo>
                    <a:pt x="9" y="200"/>
                    <a:pt x="9" y="200"/>
                    <a:pt x="10" y="201"/>
                  </a:cubicBezTo>
                  <a:cubicBezTo>
                    <a:pt x="10" y="201"/>
                    <a:pt x="11" y="201"/>
                    <a:pt x="11" y="202"/>
                  </a:cubicBezTo>
                  <a:cubicBezTo>
                    <a:pt x="11" y="202"/>
                    <a:pt x="12" y="203"/>
                    <a:pt x="12" y="203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260" y="203"/>
                    <a:pt x="260" y="203"/>
                    <a:pt x="260" y="203"/>
                  </a:cubicBezTo>
                  <a:cubicBezTo>
                    <a:pt x="260" y="116"/>
                    <a:pt x="260" y="116"/>
                    <a:pt x="260" y="116"/>
                  </a:cubicBezTo>
                  <a:cubicBezTo>
                    <a:pt x="261" y="116"/>
                    <a:pt x="261" y="114"/>
                    <a:pt x="262" y="113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FF689A18-D51A-4A12-A407-63E07BA87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537" y="3518220"/>
              <a:ext cx="1173065" cy="571663"/>
            </a:xfrm>
            <a:custGeom>
              <a:avLst/>
              <a:gdLst>
                <a:gd name="T0" fmla="*/ 0 w 296"/>
                <a:gd name="T1" fmla="*/ 0 h 144"/>
                <a:gd name="T2" fmla="*/ 104 w 296"/>
                <a:gd name="T3" fmla="*/ 103 h 144"/>
                <a:gd name="T4" fmla="*/ 108 w 296"/>
                <a:gd name="T5" fmla="*/ 105 h 144"/>
                <a:gd name="T6" fmla="*/ 113 w 296"/>
                <a:gd name="T7" fmla="*/ 111 h 144"/>
                <a:gd name="T8" fmla="*/ 119 w 296"/>
                <a:gd name="T9" fmla="*/ 110 h 144"/>
                <a:gd name="T10" fmla="*/ 124 w 296"/>
                <a:gd name="T11" fmla="*/ 112 h 144"/>
                <a:gd name="T12" fmla="*/ 126 w 296"/>
                <a:gd name="T13" fmla="*/ 109 h 144"/>
                <a:gd name="T14" fmla="*/ 129 w 296"/>
                <a:gd name="T15" fmla="*/ 111 h 144"/>
                <a:gd name="T16" fmla="*/ 131 w 296"/>
                <a:gd name="T17" fmla="*/ 114 h 144"/>
                <a:gd name="T18" fmla="*/ 136 w 296"/>
                <a:gd name="T19" fmla="*/ 119 h 144"/>
                <a:gd name="T20" fmla="*/ 140 w 296"/>
                <a:gd name="T21" fmla="*/ 119 h 144"/>
                <a:gd name="T22" fmla="*/ 144 w 296"/>
                <a:gd name="T23" fmla="*/ 121 h 144"/>
                <a:gd name="T24" fmla="*/ 153 w 296"/>
                <a:gd name="T25" fmla="*/ 121 h 144"/>
                <a:gd name="T26" fmla="*/ 160 w 296"/>
                <a:gd name="T27" fmla="*/ 122 h 144"/>
                <a:gd name="T28" fmla="*/ 167 w 296"/>
                <a:gd name="T29" fmla="*/ 123 h 144"/>
                <a:gd name="T30" fmla="*/ 170 w 296"/>
                <a:gd name="T31" fmla="*/ 126 h 144"/>
                <a:gd name="T32" fmla="*/ 174 w 296"/>
                <a:gd name="T33" fmla="*/ 128 h 144"/>
                <a:gd name="T34" fmla="*/ 175 w 296"/>
                <a:gd name="T35" fmla="*/ 132 h 144"/>
                <a:gd name="T36" fmla="*/ 181 w 296"/>
                <a:gd name="T37" fmla="*/ 131 h 144"/>
                <a:gd name="T38" fmla="*/ 184 w 296"/>
                <a:gd name="T39" fmla="*/ 128 h 144"/>
                <a:gd name="T40" fmla="*/ 187 w 296"/>
                <a:gd name="T41" fmla="*/ 131 h 144"/>
                <a:gd name="T42" fmla="*/ 191 w 296"/>
                <a:gd name="T43" fmla="*/ 134 h 144"/>
                <a:gd name="T44" fmla="*/ 196 w 296"/>
                <a:gd name="T45" fmla="*/ 133 h 144"/>
                <a:gd name="T46" fmla="*/ 199 w 296"/>
                <a:gd name="T47" fmla="*/ 133 h 144"/>
                <a:gd name="T48" fmla="*/ 201 w 296"/>
                <a:gd name="T49" fmla="*/ 132 h 144"/>
                <a:gd name="T50" fmla="*/ 201 w 296"/>
                <a:gd name="T51" fmla="*/ 137 h 144"/>
                <a:gd name="T52" fmla="*/ 204 w 296"/>
                <a:gd name="T53" fmla="*/ 137 h 144"/>
                <a:gd name="T54" fmla="*/ 206 w 296"/>
                <a:gd name="T55" fmla="*/ 134 h 144"/>
                <a:gd name="T56" fmla="*/ 208 w 296"/>
                <a:gd name="T57" fmla="*/ 131 h 144"/>
                <a:gd name="T58" fmla="*/ 211 w 296"/>
                <a:gd name="T59" fmla="*/ 130 h 144"/>
                <a:gd name="T60" fmla="*/ 212 w 296"/>
                <a:gd name="T61" fmla="*/ 133 h 144"/>
                <a:gd name="T62" fmla="*/ 215 w 296"/>
                <a:gd name="T63" fmla="*/ 134 h 144"/>
                <a:gd name="T64" fmla="*/ 219 w 296"/>
                <a:gd name="T65" fmla="*/ 131 h 144"/>
                <a:gd name="T66" fmla="*/ 223 w 296"/>
                <a:gd name="T67" fmla="*/ 135 h 144"/>
                <a:gd name="T68" fmla="*/ 227 w 296"/>
                <a:gd name="T69" fmla="*/ 137 h 144"/>
                <a:gd name="T70" fmla="*/ 231 w 296"/>
                <a:gd name="T71" fmla="*/ 139 h 144"/>
                <a:gd name="T72" fmla="*/ 236 w 296"/>
                <a:gd name="T73" fmla="*/ 137 h 144"/>
                <a:gd name="T74" fmla="*/ 238 w 296"/>
                <a:gd name="T75" fmla="*/ 134 h 144"/>
                <a:gd name="T76" fmla="*/ 242 w 296"/>
                <a:gd name="T77" fmla="*/ 132 h 144"/>
                <a:gd name="T78" fmla="*/ 245 w 296"/>
                <a:gd name="T79" fmla="*/ 133 h 144"/>
                <a:gd name="T80" fmla="*/ 248 w 296"/>
                <a:gd name="T81" fmla="*/ 134 h 144"/>
                <a:gd name="T82" fmla="*/ 251 w 296"/>
                <a:gd name="T83" fmla="*/ 133 h 144"/>
                <a:gd name="T84" fmla="*/ 254 w 296"/>
                <a:gd name="T85" fmla="*/ 131 h 144"/>
                <a:gd name="T86" fmla="*/ 257 w 296"/>
                <a:gd name="T87" fmla="*/ 132 h 144"/>
                <a:gd name="T88" fmla="*/ 260 w 296"/>
                <a:gd name="T89" fmla="*/ 132 h 144"/>
                <a:gd name="T90" fmla="*/ 267 w 296"/>
                <a:gd name="T91" fmla="*/ 132 h 144"/>
                <a:gd name="T92" fmla="*/ 269 w 296"/>
                <a:gd name="T93" fmla="*/ 129 h 144"/>
                <a:gd name="T94" fmla="*/ 273 w 296"/>
                <a:gd name="T95" fmla="*/ 131 h 144"/>
                <a:gd name="T96" fmla="*/ 278 w 296"/>
                <a:gd name="T97" fmla="*/ 134 h 144"/>
                <a:gd name="T98" fmla="*/ 279 w 296"/>
                <a:gd name="T99" fmla="*/ 136 h 144"/>
                <a:gd name="T100" fmla="*/ 282 w 296"/>
                <a:gd name="T101" fmla="*/ 138 h 144"/>
                <a:gd name="T102" fmla="*/ 285 w 296"/>
                <a:gd name="T103" fmla="*/ 138 h 144"/>
                <a:gd name="T104" fmla="*/ 285 w 296"/>
                <a:gd name="T105" fmla="*/ 139 h 144"/>
                <a:gd name="T106" fmla="*/ 288 w 296"/>
                <a:gd name="T107" fmla="*/ 141 h 144"/>
                <a:gd name="T108" fmla="*/ 290 w 296"/>
                <a:gd name="T109" fmla="*/ 141 h 144"/>
                <a:gd name="T110" fmla="*/ 292 w 296"/>
                <a:gd name="T111" fmla="*/ 142 h 144"/>
                <a:gd name="T112" fmla="*/ 296 w 296"/>
                <a:gd name="T113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6" h="144">
                  <a:moveTo>
                    <a:pt x="290" y="22"/>
                  </a:moveTo>
                  <a:cubicBezTo>
                    <a:pt x="290" y="0"/>
                    <a:pt x="290" y="0"/>
                    <a:pt x="29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04" y="104"/>
                    <a:pt x="105" y="104"/>
                    <a:pt x="105" y="103"/>
                  </a:cubicBezTo>
                  <a:cubicBezTo>
                    <a:pt x="106" y="103"/>
                    <a:pt x="106" y="103"/>
                    <a:pt x="106" y="103"/>
                  </a:cubicBezTo>
                  <a:cubicBezTo>
                    <a:pt x="107" y="104"/>
                    <a:pt x="108" y="104"/>
                    <a:pt x="108" y="105"/>
                  </a:cubicBezTo>
                  <a:cubicBezTo>
                    <a:pt x="109" y="106"/>
                    <a:pt x="110" y="107"/>
                    <a:pt x="111" y="108"/>
                  </a:cubicBezTo>
                  <a:cubicBezTo>
                    <a:pt x="111" y="108"/>
                    <a:pt x="112" y="109"/>
                    <a:pt x="113" y="110"/>
                  </a:cubicBezTo>
                  <a:cubicBezTo>
                    <a:pt x="113" y="110"/>
                    <a:pt x="113" y="111"/>
                    <a:pt x="113" y="111"/>
                  </a:cubicBezTo>
                  <a:cubicBezTo>
                    <a:pt x="114" y="111"/>
                    <a:pt x="115" y="111"/>
                    <a:pt x="115" y="111"/>
                  </a:cubicBezTo>
                  <a:cubicBezTo>
                    <a:pt x="116" y="111"/>
                    <a:pt x="117" y="111"/>
                    <a:pt x="118" y="111"/>
                  </a:cubicBezTo>
                  <a:cubicBezTo>
                    <a:pt x="118" y="111"/>
                    <a:pt x="119" y="110"/>
                    <a:pt x="119" y="110"/>
                  </a:cubicBezTo>
                  <a:cubicBezTo>
                    <a:pt x="120" y="110"/>
                    <a:pt x="120" y="110"/>
                    <a:pt x="121" y="110"/>
                  </a:cubicBezTo>
                  <a:cubicBezTo>
                    <a:pt x="121" y="110"/>
                    <a:pt x="122" y="111"/>
                    <a:pt x="123" y="111"/>
                  </a:cubicBezTo>
                  <a:cubicBezTo>
                    <a:pt x="123" y="111"/>
                    <a:pt x="124" y="112"/>
                    <a:pt x="124" y="112"/>
                  </a:cubicBezTo>
                  <a:cubicBezTo>
                    <a:pt x="125" y="111"/>
                    <a:pt x="125" y="110"/>
                    <a:pt x="125" y="110"/>
                  </a:cubicBezTo>
                  <a:cubicBezTo>
                    <a:pt x="125" y="109"/>
                    <a:pt x="125" y="109"/>
                    <a:pt x="126" y="108"/>
                  </a:cubicBezTo>
                  <a:cubicBezTo>
                    <a:pt x="126" y="108"/>
                    <a:pt x="126" y="108"/>
                    <a:pt x="126" y="109"/>
                  </a:cubicBezTo>
                  <a:cubicBezTo>
                    <a:pt x="127" y="109"/>
                    <a:pt x="127" y="109"/>
                    <a:pt x="127" y="109"/>
                  </a:cubicBezTo>
                  <a:cubicBezTo>
                    <a:pt x="127" y="110"/>
                    <a:pt x="128" y="110"/>
                    <a:pt x="128" y="110"/>
                  </a:cubicBezTo>
                  <a:cubicBezTo>
                    <a:pt x="128" y="111"/>
                    <a:pt x="129" y="110"/>
                    <a:pt x="129" y="111"/>
                  </a:cubicBezTo>
                  <a:cubicBezTo>
                    <a:pt x="129" y="111"/>
                    <a:pt x="129" y="111"/>
                    <a:pt x="129" y="112"/>
                  </a:cubicBezTo>
                  <a:cubicBezTo>
                    <a:pt x="130" y="112"/>
                    <a:pt x="130" y="113"/>
                    <a:pt x="130" y="113"/>
                  </a:cubicBezTo>
                  <a:cubicBezTo>
                    <a:pt x="131" y="113"/>
                    <a:pt x="131" y="114"/>
                    <a:pt x="131" y="114"/>
                  </a:cubicBezTo>
                  <a:cubicBezTo>
                    <a:pt x="131" y="115"/>
                    <a:pt x="131" y="117"/>
                    <a:pt x="132" y="118"/>
                  </a:cubicBezTo>
                  <a:cubicBezTo>
                    <a:pt x="132" y="118"/>
                    <a:pt x="133" y="118"/>
                    <a:pt x="133" y="118"/>
                  </a:cubicBezTo>
                  <a:cubicBezTo>
                    <a:pt x="134" y="118"/>
                    <a:pt x="135" y="119"/>
                    <a:pt x="136" y="119"/>
                  </a:cubicBezTo>
                  <a:cubicBezTo>
                    <a:pt x="137" y="119"/>
                    <a:pt x="137" y="119"/>
                    <a:pt x="138" y="119"/>
                  </a:cubicBezTo>
                  <a:cubicBezTo>
                    <a:pt x="138" y="118"/>
                    <a:pt x="138" y="118"/>
                    <a:pt x="139" y="118"/>
                  </a:cubicBezTo>
                  <a:cubicBezTo>
                    <a:pt x="139" y="118"/>
                    <a:pt x="140" y="119"/>
                    <a:pt x="140" y="119"/>
                  </a:cubicBezTo>
                  <a:cubicBezTo>
                    <a:pt x="140" y="119"/>
                    <a:pt x="141" y="120"/>
                    <a:pt x="141" y="120"/>
                  </a:cubicBezTo>
                  <a:cubicBezTo>
                    <a:pt x="142" y="120"/>
                    <a:pt x="142" y="121"/>
                    <a:pt x="143" y="121"/>
                  </a:cubicBezTo>
                  <a:cubicBezTo>
                    <a:pt x="143" y="121"/>
                    <a:pt x="144" y="121"/>
                    <a:pt x="144" y="121"/>
                  </a:cubicBezTo>
                  <a:cubicBezTo>
                    <a:pt x="145" y="120"/>
                    <a:pt x="146" y="122"/>
                    <a:pt x="146" y="122"/>
                  </a:cubicBezTo>
                  <a:cubicBezTo>
                    <a:pt x="147" y="122"/>
                    <a:pt x="148" y="122"/>
                    <a:pt x="148" y="121"/>
                  </a:cubicBezTo>
                  <a:cubicBezTo>
                    <a:pt x="150" y="121"/>
                    <a:pt x="152" y="120"/>
                    <a:pt x="153" y="121"/>
                  </a:cubicBezTo>
                  <a:cubicBezTo>
                    <a:pt x="154" y="122"/>
                    <a:pt x="155" y="123"/>
                    <a:pt x="156" y="124"/>
                  </a:cubicBezTo>
                  <a:cubicBezTo>
                    <a:pt x="157" y="124"/>
                    <a:pt x="158" y="124"/>
                    <a:pt x="159" y="123"/>
                  </a:cubicBezTo>
                  <a:cubicBezTo>
                    <a:pt x="159" y="123"/>
                    <a:pt x="159" y="123"/>
                    <a:pt x="160" y="122"/>
                  </a:cubicBezTo>
                  <a:cubicBezTo>
                    <a:pt x="160" y="122"/>
                    <a:pt x="160" y="121"/>
                    <a:pt x="161" y="121"/>
                  </a:cubicBezTo>
                  <a:cubicBezTo>
                    <a:pt x="162" y="121"/>
                    <a:pt x="163" y="121"/>
                    <a:pt x="164" y="122"/>
                  </a:cubicBezTo>
                  <a:cubicBezTo>
                    <a:pt x="165" y="122"/>
                    <a:pt x="166" y="123"/>
                    <a:pt x="167" y="123"/>
                  </a:cubicBezTo>
                  <a:cubicBezTo>
                    <a:pt x="168" y="122"/>
                    <a:pt x="168" y="121"/>
                    <a:pt x="169" y="121"/>
                  </a:cubicBezTo>
                  <a:cubicBezTo>
                    <a:pt x="169" y="122"/>
                    <a:pt x="169" y="123"/>
                    <a:pt x="169" y="123"/>
                  </a:cubicBezTo>
                  <a:cubicBezTo>
                    <a:pt x="169" y="124"/>
                    <a:pt x="170" y="125"/>
                    <a:pt x="170" y="126"/>
                  </a:cubicBezTo>
                  <a:cubicBezTo>
                    <a:pt x="170" y="127"/>
                    <a:pt x="170" y="127"/>
                    <a:pt x="171" y="127"/>
                  </a:cubicBezTo>
                  <a:cubicBezTo>
                    <a:pt x="171" y="127"/>
                    <a:pt x="172" y="128"/>
                    <a:pt x="173" y="128"/>
                  </a:cubicBezTo>
                  <a:cubicBezTo>
                    <a:pt x="174" y="128"/>
                    <a:pt x="174" y="128"/>
                    <a:pt x="174" y="128"/>
                  </a:cubicBezTo>
                  <a:cubicBezTo>
                    <a:pt x="174" y="128"/>
                    <a:pt x="174" y="129"/>
                    <a:pt x="174" y="129"/>
                  </a:cubicBezTo>
                  <a:cubicBezTo>
                    <a:pt x="174" y="129"/>
                    <a:pt x="173" y="131"/>
                    <a:pt x="174" y="131"/>
                  </a:cubicBezTo>
                  <a:cubicBezTo>
                    <a:pt x="174" y="132"/>
                    <a:pt x="175" y="132"/>
                    <a:pt x="175" y="132"/>
                  </a:cubicBezTo>
                  <a:cubicBezTo>
                    <a:pt x="176" y="133"/>
                    <a:pt x="176" y="133"/>
                    <a:pt x="177" y="133"/>
                  </a:cubicBezTo>
                  <a:cubicBezTo>
                    <a:pt x="178" y="133"/>
                    <a:pt x="178" y="133"/>
                    <a:pt x="178" y="132"/>
                  </a:cubicBezTo>
                  <a:cubicBezTo>
                    <a:pt x="179" y="132"/>
                    <a:pt x="180" y="131"/>
                    <a:pt x="181" y="131"/>
                  </a:cubicBezTo>
                  <a:cubicBezTo>
                    <a:pt x="181" y="130"/>
                    <a:pt x="181" y="130"/>
                    <a:pt x="182" y="130"/>
                  </a:cubicBezTo>
                  <a:cubicBezTo>
                    <a:pt x="182" y="129"/>
                    <a:pt x="183" y="129"/>
                    <a:pt x="183" y="129"/>
                  </a:cubicBezTo>
                  <a:cubicBezTo>
                    <a:pt x="183" y="128"/>
                    <a:pt x="184" y="128"/>
                    <a:pt x="184" y="128"/>
                  </a:cubicBezTo>
                  <a:cubicBezTo>
                    <a:pt x="185" y="128"/>
                    <a:pt x="185" y="128"/>
                    <a:pt x="185" y="129"/>
                  </a:cubicBezTo>
                  <a:cubicBezTo>
                    <a:pt x="186" y="129"/>
                    <a:pt x="187" y="129"/>
                    <a:pt x="187" y="130"/>
                  </a:cubicBezTo>
                  <a:cubicBezTo>
                    <a:pt x="187" y="130"/>
                    <a:pt x="187" y="131"/>
                    <a:pt x="187" y="131"/>
                  </a:cubicBezTo>
                  <a:cubicBezTo>
                    <a:pt x="188" y="132"/>
                    <a:pt x="188" y="132"/>
                    <a:pt x="188" y="132"/>
                  </a:cubicBezTo>
                  <a:cubicBezTo>
                    <a:pt x="189" y="132"/>
                    <a:pt x="191" y="131"/>
                    <a:pt x="192" y="132"/>
                  </a:cubicBezTo>
                  <a:cubicBezTo>
                    <a:pt x="192" y="133"/>
                    <a:pt x="191" y="133"/>
                    <a:pt x="191" y="134"/>
                  </a:cubicBezTo>
                  <a:cubicBezTo>
                    <a:pt x="192" y="134"/>
                    <a:pt x="192" y="135"/>
                    <a:pt x="193" y="135"/>
                  </a:cubicBezTo>
                  <a:cubicBezTo>
                    <a:pt x="194" y="135"/>
                    <a:pt x="195" y="135"/>
                    <a:pt x="195" y="134"/>
                  </a:cubicBezTo>
                  <a:cubicBezTo>
                    <a:pt x="195" y="134"/>
                    <a:pt x="195" y="134"/>
                    <a:pt x="196" y="133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197" y="132"/>
                    <a:pt x="197" y="132"/>
                    <a:pt x="198" y="133"/>
                  </a:cubicBezTo>
                  <a:cubicBezTo>
                    <a:pt x="198" y="133"/>
                    <a:pt x="198" y="133"/>
                    <a:pt x="199" y="133"/>
                  </a:cubicBezTo>
                  <a:cubicBezTo>
                    <a:pt x="199" y="133"/>
                    <a:pt x="199" y="133"/>
                    <a:pt x="199" y="132"/>
                  </a:cubicBezTo>
                  <a:cubicBezTo>
                    <a:pt x="200" y="132"/>
                    <a:pt x="200" y="131"/>
                    <a:pt x="200" y="131"/>
                  </a:cubicBezTo>
                  <a:cubicBezTo>
                    <a:pt x="201" y="131"/>
                    <a:pt x="201" y="132"/>
                    <a:pt x="201" y="132"/>
                  </a:cubicBezTo>
                  <a:cubicBezTo>
                    <a:pt x="201" y="133"/>
                    <a:pt x="201" y="133"/>
                    <a:pt x="201" y="134"/>
                  </a:cubicBezTo>
                  <a:cubicBezTo>
                    <a:pt x="201" y="134"/>
                    <a:pt x="201" y="135"/>
                    <a:pt x="201" y="135"/>
                  </a:cubicBezTo>
                  <a:cubicBezTo>
                    <a:pt x="201" y="136"/>
                    <a:pt x="201" y="136"/>
                    <a:pt x="201" y="137"/>
                  </a:cubicBezTo>
                  <a:cubicBezTo>
                    <a:pt x="201" y="138"/>
                    <a:pt x="202" y="139"/>
                    <a:pt x="204" y="139"/>
                  </a:cubicBezTo>
                  <a:cubicBezTo>
                    <a:pt x="204" y="139"/>
                    <a:pt x="204" y="138"/>
                    <a:pt x="204" y="138"/>
                  </a:cubicBezTo>
                  <a:cubicBezTo>
                    <a:pt x="204" y="137"/>
                    <a:pt x="205" y="137"/>
                    <a:pt x="204" y="137"/>
                  </a:cubicBezTo>
                  <a:cubicBezTo>
                    <a:pt x="204" y="136"/>
                    <a:pt x="204" y="136"/>
                    <a:pt x="204" y="135"/>
                  </a:cubicBezTo>
                  <a:cubicBezTo>
                    <a:pt x="204" y="135"/>
                    <a:pt x="205" y="134"/>
                    <a:pt x="205" y="134"/>
                  </a:cubicBezTo>
                  <a:cubicBezTo>
                    <a:pt x="205" y="134"/>
                    <a:pt x="206" y="134"/>
                    <a:pt x="206" y="134"/>
                  </a:cubicBezTo>
                  <a:cubicBezTo>
                    <a:pt x="206" y="134"/>
                    <a:pt x="206" y="134"/>
                    <a:pt x="206" y="134"/>
                  </a:cubicBezTo>
                  <a:cubicBezTo>
                    <a:pt x="206" y="133"/>
                    <a:pt x="207" y="133"/>
                    <a:pt x="208" y="133"/>
                  </a:cubicBezTo>
                  <a:cubicBezTo>
                    <a:pt x="208" y="132"/>
                    <a:pt x="208" y="132"/>
                    <a:pt x="208" y="131"/>
                  </a:cubicBezTo>
                  <a:cubicBezTo>
                    <a:pt x="208" y="131"/>
                    <a:pt x="208" y="130"/>
                    <a:pt x="208" y="130"/>
                  </a:cubicBezTo>
                  <a:cubicBezTo>
                    <a:pt x="209" y="130"/>
                    <a:pt x="210" y="130"/>
                    <a:pt x="210" y="130"/>
                  </a:cubicBezTo>
                  <a:cubicBezTo>
                    <a:pt x="210" y="130"/>
                    <a:pt x="210" y="130"/>
                    <a:pt x="211" y="130"/>
                  </a:cubicBezTo>
                  <a:cubicBezTo>
                    <a:pt x="211" y="131"/>
                    <a:pt x="212" y="132"/>
                    <a:pt x="212" y="132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2" y="133"/>
                    <a:pt x="212" y="134"/>
                    <a:pt x="212" y="133"/>
                  </a:cubicBezTo>
                  <a:cubicBezTo>
                    <a:pt x="213" y="133"/>
                    <a:pt x="213" y="133"/>
                    <a:pt x="213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5" y="133"/>
                    <a:pt x="215" y="134"/>
                    <a:pt x="215" y="134"/>
                  </a:cubicBezTo>
                  <a:cubicBezTo>
                    <a:pt x="216" y="135"/>
                    <a:pt x="217" y="134"/>
                    <a:pt x="218" y="134"/>
                  </a:cubicBezTo>
                  <a:cubicBezTo>
                    <a:pt x="218" y="133"/>
                    <a:pt x="218" y="133"/>
                    <a:pt x="219" y="132"/>
                  </a:cubicBezTo>
                  <a:cubicBezTo>
                    <a:pt x="219" y="132"/>
                    <a:pt x="219" y="132"/>
                    <a:pt x="219" y="131"/>
                  </a:cubicBezTo>
                  <a:cubicBezTo>
                    <a:pt x="220" y="130"/>
                    <a:pt x="221" y="131"/>
                    <a:pt x="221" y="132"/>
                  </a:cubicBezTo>
                  <a:cubicBezTo>
                    <a:pt x="221" y="133"/>
                    <a:pt x="221" y="133"/>
                    <a:pt x="220" y="133"/>
                  </a:cubicBezTo>
                  <a:cubicBezTo>
                    <a:pt x="219" y="134"/>
                    <a:pt x="223" y="135"/>
                    <a:pt x="223" y="135"/>
                  </a:cubicBezTo>
                  <a:cubicBezTo>
                    <a:pt x="224" y="135"/>
                    <a:pt x="224" y="136"/>
                    <a:pt x="224" y="136"/>
                  </a:cubicBezTo>
                  <a:cubicBezTo>
                    <a:pt x="224" y="136"/>
                    <a:pt x="224" y="137"/>
                    <a:pt x="225" y="137"/>
                  </a:cubicBezTo>
                  <a:cubicBezTo>
                    <a:pt x="225" y="137"/>
                    <a:pt x="226" y="137"/>
                    <a:pt x="227" y="137"/>
                  </a:cubicBezTo>
                  <a:cubicBezTo>
                    <a:pt x="228" y="137"/>
                    <a:pt x="228" y="138"/>
                    <a:pt x="229" y="139"/>
                  </a:cubicBezTo>
                  <a:cubicBezTo>
                    <a:pt x="229" y="139"/>
                    <a:pt x="230" y="141"/>
                    <a:pt x="230" y="141"/>
                  </a:cubicBezTo>
                  <a:cubicBezTo>
                    <a:pt x="231" y="140"/>
                    <a:pt x="231" y="139"/>
                    <a:pt x="231" y="139"/>
                  </a:cubicBezTo>
                  <a:cubicBezTo>
                    <a:pt x="231" y="138"/>
                    <a:pt x="231" y="137"/>
                    <a:pt x="232" y="137"/>
                  </a:cubicBezTo>
                  <a:cubicBezTo>
                    <a:pt x="232" y="137"/>
                    <a:pt x="233" y="137"/>
                    <a:pt x="234" y="137"/>
                  </a:cubicBezTo>
                  <a:cubicBezTo>
                    <a:pt x="234" y="137"/>
                    <a:pt x="235" y="138"/>
                    <a:pt x="236" y="137"/>
                  </a:cubicBezTo>
                  <a:cubicBezTo>
                    <a:pt x="236" y="137"/>
                    <a:pt x="236" y="136"/>
                    <a:pt x="236" y="136"/>
                  </a:cubicBezTo>
                  <a:cubicBezTo>
                    <a:pt x="236" y="135"/>
                    <a:pt x="236" y="135"/>
                    <a:pt x="237" y="135"/>
                  </a:cubicBezTo>
                  <a:cubicBezTo>
                    <a:pt x="237" y="134"/>
                    <a:pt x="238" y="134"/>
                    <a:pt x="238" y="134"/>
                  </a:cubicBezTo>
                  <a:cubicBezTo>
                    <a:pt x="239" y="134"/>
                    <a:pt x="240" y="134"/>
                    <a:pt x="240" y="134"/>
                  </a:cubicBezTo>
                  <a:cubicBezTo>
                    <a:pt x="241" y="134"/>
                    <a:pt x="241" y="134"/>
                    <a:pt x="242" y="133"/>
                  </a:cubicBezTo>
                  <a:cubicBezTo>
                    <a:pt x="242" y="133"/>
                    <a:pt x="242" y="133"/>
                    <a:pt x="242" y="132"/>
                  </a:cubicBezTo>
                  <a:cubicBezTo>
                    <a:pt x="243" y="132"/>
                    <a:pt x="243" y="133"/>
                    <a:pt x="243" y="133"/>
                  </a:cubicBezTo>
                  <a:cubicBezTo>
                    <a:pt x="244" y="133"/>
                    <a:pt x="244" y="132"/>
                    <a:pt x="245" y="132"/>
                  </a:cubicBezTo>
                  <a:cubicBezTo>
                    <a:pt x="245" y="132"/>
                    <a:pt x="245" y="133"/>
                    <a:pt x="245" y="133"/>
                  </a:cubicBezTo>
                  <a:cubicBezTo>
                    <a:pt x="245" y="133"/>
                    <a:pt x="246" y="133"/>
                    <a:pt x="246" y="133"/>
                  </a:cubicBezTo>
                  <a:cubicBezTo>
                    <a:pt x="247" y="134"/>
                    <a:pt x="247" y="134"/>
                    <a:pt x="247" y="134"/>
                  </a:cubicBezTo>
                  <a:cubicBezTo>
                    <a:pt x="247" y="134"/>
                    <a:pt x="248" y="134"/>
                    <a:pt x="248" y="134"/>
                  </a:cubicBezTo>
                  <a:cubicBezTo>
                    <a:pt x="248" y="134"/>
                    <a:pt x="248" y="134"/>
                    <a:pt x="249" y="133"/>
                  </a:cubicBezTo>
                  <a:cubicBezTo>
                    <a:pt x="249" y="133"/>
                    <a:pt x="250" y="133"/>
                    <a:pt x="250" y="133"/>
                  </a:cubicBezTo>
                  <a:cubicBezTo>
                    <a:pt x="251" y="133"/>
                    <a:pt x="251" y="133"/>
                    <a:pt x="251" y="133"/>
                  </a:cubicBezTo>
                  <a:cubicBezTo>
                    <a:pt x="251" y="132"/>
                    <a:pt x="251" y="132"/>
                    <a:pt x="251" y="132"/>
                  </a:cubicBezTo>
                  <a:cubicBezTo>
                    <a:pt x="252" y="131"/>
                    <a:pt x="253" y="132"/>
                    <a:pt x="254" y="131"/>
                  </a:cubicBezTo>
                  <a:cubicBezTo>
                    <a:pt x="254" y="131"/>
                    <a:pt x="254" y="131"/>
                    <a:pt x="254" y="131"/>
                  </a:cubicBezTo>
                  <a:cubicBezTo>
                    <a:pt x="255" y="131"/>
                    <a:pt x="255" y="130"/>
                    <a:pt x="256" y="130"/>
                  </a:cubicBezTo>
                  <a:cubicBezTo>
                    <a:pt x="256" y="130"/>
                    <a:pt x="256" y="130"/>
                    <a:pt x="257" y="131"/>
                  </a:cubicBezTo>
                  <a:cubicBezTo>
                    <a:pt x="257" y="131"/>
                    <a:pt x="257" y="131"/>
                    <a:pt x="257" y="132"/>
                  </a:cubicBezTo>
                  <a:cubicBezTo>
                    <a:pt x="258" y="132"/>
                    <a:pt x="258" y="132"/>
                    <a:pt x="258" y="132"/>
                  </a:cubicBezTo>
                  <a:cubicBezTo>
                    <a:pt x="259" y="132"/>
                    <a:pt x="259" y="132"/>
                    <a:pt x="259" y="132"/>
                  </a:cubicBezTo>
                  <a:cubicBezTo>
                    <a:pt x="259" y="132"/>
                    <a:pt x="260" y="132"/>
                    <a:pt x="260" y="132"/>
                  </a:cubicBezTo>
                  <a:cubicBezTo>
                    <a:pt x="260" y="133"/>
                    <a:pt x="260" y="133"/>
                    <a:pt x="261" y="133"/>
                  </a:cubicBezTo>
                  <a:cubicBezTo>
                    <a:pt x="262" y="133"/>
                    <a:pt x="263" y="133"/>
                    <a:pt x="264" y="133"/>
                  </a:cubicBezTo>
                  <a:cubicBezTo>
                    <a:pt x="265" y="133"/>
                    <a:pt x="266" y="133"/>
                    <a:pt x="267" y="132"/>
                  </a:cubicBezTo>
                  <a:cubicBezTo>
                    <a:pt x="267" y="132"/>
                    <a:pt x="267" y="131"/>
                    <a:pt x="268" y="131"/>
                  </a:cubicBezTo>
                  <a:cubicBezTo>
                    <a:pt x="268" y="131"/>
                    <a:pt x="268" y="131"/>
                    <a:pt x="268" y="131"/>
                  </a:cubicBezTo>
                  <a:cubicBezTo>
                    <a:pt x="268" y="130"/>
                    <a:pt x="268" y="129"/>
                    <a:pt x="269" y="129"/>
                  </a:cubicBezTo>
                  <a:cubicBezTo>
                    <a:pt x="270" y="129"/>
                    <a:pt x="271" y="129"/>
                    <a:pt x="272" y="130"/>
                  </a:cubicBezTo>
                  <a:cubicBezTo>
                    <a:pt x="272" y="130"/>
                    <a:pt x="272" y="132"/>
                    <a:pt x="273" y="132"/>
                  </a:cubicBezTo>
                  <a:cubicBezTo>
                    <a:pt x="273" y="132"/>
                    <a:pt x="273" y="131"/>
                    <a:pt x="273" y="131"/>
                  </a:cubicBezTo>
                  <a:cubicBezTo>
                    <a:pt x="274" y="131"/>
                    <a:pt x="274" y="131"/>
                    <a:pt x="274" y="132"/>
                  </a:cubicBezTo>
                  <a:cubicBezTo>
                    <a:pt x="274" y="133"/>
                    <a:pt x="275" y="133"/>
                    <a:pt x="276" y="133"/>
                  </a:cubicBezTo>
                  <a:cubicBezTo>
                    <a:pt x="277" y="133"/>
                    <a:pt x="278" y="133"/>
                    <a:pt x="278" y="134"/>
                  </a:cubicBezTo>
                  <a:cubicBezTo>
                    <a:pt x="278" y="134"/>
                    <a:pt x="278" y="135"/>
                    <a:pt x="278" y="135"/>
                  </a:cubicBezTo>
                  <a:cubicBezTo>
                    <a:pt x="279" y="135"/>
                    <a:pt x="279" y="135"/>
                    <a:pt x="279" y="136"/>
                  </a:cubicBezTo>
                  <a:cubicBezTo>
                    <a:pt x="279" y="136"/>
                    <a:pt x="279" y="136"/>
                    <a:pt x="279" y="136"/>
                  </a:cubicBezTo>
                  <a:cubicBezTo>
                    <a:pt x="280" y="137"/>
                    <a:pt x="280" y="137"/>
                    <a:pt x="280" y="137"/>
                  </a:cubicBezTo>
                  <a:cubicBezTo>
                    <a:pt x="280" y="137"/>
                    <a:pt x="281" y="137"/>
                    <a:pt x="281" y="137"/>
                  </a:cubicBezTo>
                  <a:cubicBezTo>
                    <a:pt x="281" y="137"/>
                    <a:pt x="281" y="138"/>
                    <a:pt x="282" y="138"/>
                  </a:cubicBezTo>
                  <a:cubicBezTo>
                    <a:pt x="282" y="138"/>
                    <a:pt x="282" y="139"/>
                    <a:pt x="282" y="139"/>
                  </a:cubicBezTo>
                  <a:cubicBezTo>
                    <a:pt x="283" y="139"/>
                    <a:pt x="283" y="138"/>
                    <a:pt x="283" y="138"/>
                  </a:cubicBezTo>
                  <a:cubicBezTo>
                    <a:pt x="283" y="138"/>
                    <a:pt x="284" y="137"/>
                    <a:pt x="285" y="138"/>
                  </a:cubicBezTo>
                  <a:cubicBezTo>
                    <a:pt x="285" y="138"/>
                    <a:pt x="284" y="138"/>
                    <a:pt x="284" y="138"/>
                  </a:cubicBezTo>
                  <a:cubicBezTo>
                    <a:pt x="284" y="138"/>
                    <a:pt x="285" y="138"/>
                    <a:pt x="285" y="138"/>
                  </a:cubicBezTo>
                  <a:cubicBezTo>
                    <a:pt x="285" y="139"/>
                    <a:pt x="285" y="139"/>
                    <a:pt x="285" y="139"/>
                  </a:cubicBezTo>
                  <a:cubicBezTo>
                    <a:pt x="285" y="140"/>
                    <a:pt x="286" y="140"/>
                    <a:pt x="286" y="140"/>
                  </a:cubicBezTo>
                  <a:cubicBezTo>
                    <a:pt x="286" y="140"/>
                    <a:pt x="286" y="140"/>
                    <a:pt x="286" y="140"/>
                  </a:cubicBezTo>
                  <a:cubicBezTo>
                    <a:pt x="287" y="141"/>
                    <a:pt x="288" y="141"/>
                    <a:pt x="288" y="141"/>
                  </a:cubicBezTo>
                  <a:cubicBezTo>
                    <a:pt x="288" y="141"/>
                    <a:pt x="288" y="140"/>
                    <a:pt x="289" y="140"/>
                  </a:cubicBezTo>
                  <a:cubicBezTo>
                    <a:pt x="289" y="140"/>
                    <a:pt x="289" y="140"/>
                    <a:pt x="289" y="141"/>
                  </a:cubicBezTo>
                  <a:cubicBezTo>
                    <a:pt x="290" y="141"/>
                    <a:pt x="290" y="141"/>
                    <a:pt x="290" y="141"/>
                  </a:cubicBezTo>
                  <a:cubicBezTo>
                    <a:pt x="290" y="141"/>
                    <a:pt x="291" y="141"/>
                    <a:pt x="291" y="141"/>
                  </a:cubicBezTo>
                  <a:cubicBezTo>
                    <a:pt x="291" y="141"/>
                    <a:pt x="291" y="141"/>
                    <a:pt x="291" y="142"/>
                  </a:cubicBezTo>
                  <a:cubicBezTo>
                    <a:pt x="292" y="142"/>
                    <a:pt x="292" y="142"/>
                    <a:pt x="292" y="142"/>
                  </a:cubicBezTo>
                  <a:cubicBezTo>
                    <a:pt x="293" y="143"/>
                    <a:pt x="293" y="143"/>
                    <a:pt x="293" y="144"/>
                  </a:cubicBezTo>
                  <a:cubicBezTo>
                    <a:pt x="295" y="142"/>
                    <a:pt x="295" y="142"/>
                    <a:pt x="295" y="142"/>
                  </a:cubicBezTo>
                  <a:cubicBezTo>
                    <a:pt x="296" y="72"/>
                    <a:pt x="296" y="72"/>
                    <a:pt x="296" y="72"/>
                  </a:cubicBezTo>
                  <a:cubicBezTo>
                    <a:pt x="296" y="65"/>
                    <a:pt x="296" y="65"/>
                    <a:pt x="296" y="65"/>
                  </a:cubicBezTo>
                  <a:lnTo>
                    <a:pt x="29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FECB9D2B-A025-4B3A-A6F0-62FC8DA9E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5756" y="2637594"/>
              <a:ext cx="589837" cy="639403"/>
            </a:xfrm>
            <a:custGeom>
              <a:avLst/>
              <a:gdLst>
                <a:gd name="T0" fmla="*/ 135 w 149"/>
                <a:gd name="T1" fmla="*/ 4 h 161"/>
                <a:gd name="T2" fmla="*/ 120 w 149"/>
                <a:gd name="T3" fmla="*/ 11 h 161"/>
                <a:gd name="T4" fmla="*/ 115 w 149"/>
                <a:gd name="T5" fmla="*/ 15 h 161"/>
                <a:gd name="T6" fmla="*/ 109 w 149"/>
                <a:gd name="T7" fmla="*/ 19 h 161"/>
                <a:gd name="T8" fmla="*/ 107 w 149"/>
                <a:gd name="T9" fmla="*/ 21 h 161"/>
                <a:gd name="T10" fmla="*/ 99 w 149"/>
                <a:gd name="T11" fmla="*/ 21 h 161"/>
                <a:gd name="T12" fmla="*/ 95 w 149"/>
                <a:gd name="T13" fmla="*/ 21 h 161"/>
                <a:gd name="T14" fmla="*/ 89 w 149"/>
                <a:gd name="T15" fmla="*/ 24 h 161"/>
                <a:gd name="T16" fmla="*/ 83 w 149"/>
                <a:gd name="T17" fmla="*/ 26 h 161"/>
                <a:gd name="T18" fmla="*/ 80 w 149"/>
                <a:gd name="T19" fmla="*/ 26 h 161"/>
                <a:gd name="T20" fmla="*/ 75 w 149"/>
                <a:gd name="T21" fmla="*/ 24 h 161"/>
                <a:gd name="T22" fmla="*/ 72 w 149"/>
                <a:gd name="T23" fmla="*/ 23 h 161"/>
                <a:gd name="T24" fmla="*/ 68 w 149"/>
                <a:gd name="T25" fmla="*/ 24 h 161"/>
                <a:gd name="T26" fmla="*/ 63 w 149"/>
                <a:gd name="T27" fmla="*/ 25 h 161"/>
                <a:gd name="T28" fmla="*/ 66 w 149"/>
                <a:gd name="T29" fmla="*/ 22 h 161"/>
                <a:gd name="T30" fmla="*/ 72 w 149"/>
                <a:gd name="T31" fmla="*/ 21 h 161"/>
                <a:gd name="T32" fmla="*/ 70 w 149"/>
                <a:gd name="T33" fmla="*/ 20 h 161"/>
                <a:gd name="T34" fmla="*/ 68 w 149"/>
                <a:gd name="T35" fmla="*/ 19 h 161"/>
                <a:gd name="T36" fmla="*/ 63 w 149"/>
                <a:gd name="T37" fmla="*/ 20 h 161"/>
                <a:gd name="T38" fmla="*/ 57 w 149"/>
                <a:gd name="T39" fmla="*/ 15 h 161"/>
                <a:gd name="T40" fmla="*/ 50 w 149"/>
                <a:gd name="T41" fmla="*/ 12 h 161"/>
                <a:gd name="T42" fmla="*/ 1 w 149"/>
                <a:gd name="T43" fmla="*/ 12 h 161"/>
                <a:gd name="T44" fmla="*/ 1 w 149"/>
                <a:gd name="T45" fmla="*/ 128 h 161"/>
                <a:gd name="T46" fmla="*/ 5 w 149"/>
                <a:gd name="T47" fmla="*/ 130 h 161"/>
                <a:gd name="T48" fmla="*/ 9 w 149"/>
                <a:gd name="T49" fmla="*/ 130 h 161"/>
                <a:gd name="T50" fmla="*/ 14 w 149"/>
                <a:gd name="T51" fmla="*/ 130 h 161"/>
                <a:gd name="T52" fmla="*/ 18 w 149"/>
                <a:gd name="T53" fmla="*/ 134 h 161"/>
                <a:gd name="T54" fmla="*/ 20 w 149"/>
                <a:gd name="T55" fmla="*/ 139 h 161"/>
                <a:gd name="T56" fmla="*/ 27 w 149"/>
                <a:gd name="T57" fmla="*/ 144 h 161"/>
                <a:gd name="T58" fmla="*/ 35 w 149"/>
                <a:gd name="T59" fmla="*/ 147 h 161"/>
                <a:gd name="T60" fmla="*/ 42 w 149"/>
                <a:gd name="T61" fmla="*/ 148 h 161"/>
                <a:gd name="T62" fmla="*/ 46 w 149"/>
                <a:gd name="T63" fmla="*/ 148 h 161"/>
                <a:gd name="T64" fmla="*/ 51 w 149"/>
                <a:gd name="T65" fmla="*/ 151 h 161"/>
                <a:gd name="T66" fmla="*/ 55 w 149"/>
                <a:gd name="T67" fmla="*/ 151 h 161"/>
                <a:gd name="T68" fmla="*/ 59 w 149"/>
                <a:gd name="T69" fmla="*/ 149 h 161"/>
                <a:gd name="T70" fmla="*/ 65 w 149"/>
                <a:gd name="T71" fmla="*/ 145 h 161"/>
                <a:gd name="T72" fmla="*/ 67 w 149"/>
                <a:gd name="T73" fmla="*/ 148 h 161"/>
                <a:gd name="T74" fmla="*/ 71 w 149"/>
                <a:gd name="T75" fmla="*/ 153 h 161"/>
                <a:gd name="T76" fmla="*/ 76 w 149"/>
                <a:gd name="T77" fmla="*/ 158 h 161"/>
                <a:gd name="T78" fmla="*/ 81 w 149"/>
                <a:gd name="T79" fmla="*/ 160 h 161"/>
                <a:gd name="T80" fmla="*/ 87 w 149"/>
                <a:gd name="T81" fmla="*/ 155 h 161"/>
                <a:gd name="T82" fmla="*/ 92 w 149"/>
                <a:gd name="T83" fmla="*/ 152 h 161"/>
                <a:gd name="T84" fmla="*/ 92 w 149"/>
                <a:gd name="T85" fmla="*/ 142 h 161"/>
                <a:gd name="T86" fmla="*/ 96 w 149"/>
                <a:gd name="T87" fmla="*/ 134 h 161"/>
                <a:gd name="T88" fmla="*/ 100 w 149"/>
                <a:gd name="T89" fmla="*/ 136 h 161"/>
                <a:gd name="T90" fmla="*/ 100 w 149"/>
                <a:gd name="T91" fmla="*/ 140 h 161"/>
                <a:gd name="T92" fmla="*/ 103 w 149"/>
                <a:gd name="T93" fmla="*/ 137 h 161"/>
                <a:gd name="T94" fmla="*/ 104 w 149"/>
                <a:gd name="T95" fmla="*/ 132 h 161"/>
                <a:gd name="T96" fmla="*/ 106 w 149"/>
                <a:gd name="T97" fmla="*/ 126 h 161"/>
                <a:gd name="T98" fmla="*/ 111 w 149"/>
                <a:gd name="T99" fmla="*/ 122 h 161"/>
                <a:gd name="T100" fmla="*/ 114 w 149"/>
                <a:gd name="T101" fmla="*/ 118 h 161"/>
                <a:gd name="T102" fmla="*/ 119 w 149"/>
                <a:gd name="T103" fmla="*/ 119 h 161"/>
                <a:gd name="T104" fmla="*/ 133 w 149"/>
                <a:gd name="T105" fmla="*/ 109 h 161"/>
                <a:gd name="T106" fmla="*/ 137 w 149"/>
                <a:gd name="T107" fmla="*/ 104 h 161"/>
                <a:gd name="T108" fmla="*/ 138 w 149"/>
                <a:gd name="T109" fmla="*/ 98 h 161"/>
                <a:gd name="T110" fmla="*/ 141 w 149"/>
                <a:gd name="T111" fmla="*/ 93 h 161"/>
                <a:gd name="T112" fmla="*/ 146 w 149"/>
                <a:gd name="T113" fmla="*/ 76 h 161"/>
                <a:gd name="T114" fmla="*/ 146 w 149"/>
                <a:gd name="T115" fmla="*/ 68 h 161"/>
                <a:gd name="T116" fmla="*/ 144 w 149"/>
                <a:gd name="T117" fmla="*/ 61 h 161"/>
                <a:gd name="T118" fmla="*/ 149 w 149"/>
                <a:gd name="T119" fmla="*/ 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9" h="161">
                  <a:moveTo>
                    <a:pt x="146" y="1"/>
                  </a:moveTo>
                  <a:cubicBezTo>
                    <a:pt x="145" y="1"/>
                    <a:pt x="143" y="2"/>
                    <a:pt x="142" y="2"/>
                  </a:cubicBezTo>
                  <a:cubicBezTo>
                    <a:pt x="140" y="3"/>
                    <a:pt x="138" y="4"/>
                    <a:pt x="135" y="4"/>
                  </a:cubicBezTo>
                  <a:cubicBezTo>
                    <a:pt x="134" y="5"/>
                    <a:pt x="132" y="6"/>
                    <a:pt x="130" y="7"/>
                  </a:cubicBezTo>
                  <a:cubicBezTo>
                    <a:pt x="128" y="7"/>
                    <a:pt x="127" y="8"/>
                    <a:pt x="125" y="8"/>
                  </a:cubicBezTo>
                  <a:cubicBezTo>
                    <a:pt x="123" y="9"/>
                    <a:pt x="122" y="10"/>
                    <a:pt x="120" y="11"/>
                  </a:cubicBezTo>
                  <a:cubicBezTo>
                    <a:pt x="119" y="11"/>
                    <a:pt x="118" y="12"/>
                    <a:pt x="118" y="13"/>
                  </a:cubicBezTo>
                  <a:cubicBezTo>
                    <a:pt x="117" y="13"/>
                    <a:pt x="117" y="14"/>
                    <a:pt x="116" y="14"/>
                  </a:cubicBezTo>
                  <a:cubicBezTo>
                    <a:pt x="116" y="15"/>
                    <a:pt x="115" y="15"/>
                    <a:pt x="115" y="15"/>
                  </a:cubicBezTo>
                  <a:cubicBezTo>
                    <a:pt x="115" y="15"/>
                    <a:pt x="115" y="16"/>
                    <a:pt x="114" y="16"/>
                  </a:cubicBezTo>
                  <a:cubicBezTo>
                    <a:pt x="113" y="16"/>
                    <a:pt x="112" y="17"/>
                    <a:pt x="112" y="18"/>
                  </a:cubicBezTo>
                  <a:cubicBezTo>
                    <a:pt x="111" y="18"/>
                    <a:pt x="110" y="19"/>
                    <a:pt x="109" y="19"/>
                  </a:cubicBezTo>
                  <a:cubicBezTo>
                    <a:pt x="108" y="20"/>
                    <a:pt x="108" y="20"/>
                    <a:pt x="108" y="21"/>
                  </a:cubicBezTo>
                  <a:cubicBezTo>
                    <a:pt x="108" y="21"/>
                    <a:pt x="108" y="21"/>
                    <a:pt x="107" y="21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5" y="21"/>
                    <a:pt x="104" y="21"/>
                    <a:pt x="102" y="21"/>
                  </a:cubicBezTo>
                  <a:cubicBezTo>
                    <a:pt x="102" y="21"/>
                    <a:pt x="101" y="21"/>
                    <a:pt x="101" y="21"/>
                  </a:cubicBezTo>
                  <a:cubicBezTo>
                    <a:pt x="100" y="21"/>
                    <a:pt x="100" y="21"/>
                    <a:pt x="99" y="21"/>
                  </a:cubicBezTo>
                  <a:cubicBezTo>
                    <a:pt x="99" y="21"/>
                    <a:pt x="98" y="21"/>
                    <a:pt x="98" y="21"/>
                  </a:cubicBezTo>
                  <a:cubicBezTo>
                    <a:pt x="97" y="21"/>
                    <a:pt x="97" y="21"/>
                    <a:pt x="96" y="21"/>
                  </a:cubicBezTo>
                  <a:cubicBezTo>
                    <a:pt x="96" y="21"/>
                    <a:pt x="95" y="21"/>
                    <a:pt x="95" y="21"/>
                  </a:cubicBezTo>
                  <a:cubicBezTo>
                    <a:pt x="95" y="21"/>
                    <a:pt x="94" y="22"/>
                    <a:pt x="94" y="22"/>
                  </a:cubicBezTo>
                  <a:cubicBezTo>
                    <a:pt x="94" y="22"/>
                    <a:pt x="93" y="22"/>
                    <a:pt x="93" y="22"/>
                  </a:cubicBezTo>
                  <a:cubicBezTo>
                    <a:pt x="91" y="23"/>
                    <a:pt x="90" y="23"/>
                    <a:pt x="89" y="24"/>
                  </a:cubicBezTo>
                  <a:cubicBezTo>
                    <a:pt x="88" y="24"/>
                    <a:pt x="87" y="24"/>
                    <a:pt x="87" y="24"/>
                  </a:cubicBezTo>
                  <a:cubicBezTo>
                    <a:pt x="86" y="24"/>
                    <a:pt x="86" y="25"/>
                    <a:pt x="85" y="25"/>
                  </a:cubicBezTo>
                  <a:cubicBezTo>
                    <a:pt x="85" y="25"/>
                    <a:pt x="84" y="25"/>
                    <a:pt x="83" y="26"/>
                  </a:cubicBezTo>
                  <a:cubicBezTo>
                    <a:pt x="83" y="26"/>
                    <a:pt x="82" y="26"/>
                    <a:pt x="82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79" y="26"/>
                    <a:pt x="79" y="26"/>
                    <a:pt x="79" y="25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6" y="25"/>
                    <a:pt x="76" y="25"/>
                    <a:pt x="75" y="24"/>
                  </a:cubicBezTo>
                  <a:cubicBezTo>
                    <a:pt x="75" y="24"/>
                    <a:pt x="74" y="24"/>
                    <a:pt x="74" y="24"/>
                  </a:cubicBezTo>
                  <a:cubicBezTo>
                    <a:pt x="74" y="24"/>
                    <a:pt x="73" y="24"/>
                    <a:pt x="73" y="24"/>
                  </a:cubicBezTo>
                  <a:cubicBezTo>
                    <a:pt x="73" y="24"/>
                    <a:pt x="72" y="24"/>
                    <a:pt x="72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69" y="23"/>
                    <a:pt x="69" y="23"/>
                  </a:cubicBezTo>
                  <a:cubicBezTo>
                    <a:pt x="69" y="24"/>
                    <a:pt x="68" y="24"/>
                    <a:pt x="68" y="24"/>
                  </a:cubicBezTo>
                  <a:cubicBezTo>
                    <a:pt x="68" y="24"/>
                    <a:pt x="67" y="24"/>
                    <a:pt x="67" y="24"/>
                  </a:cubicBezTo>
                  <a:cubicBezTo>
                    <a:pt x="66" y="25"/>
                    <a:pt x="66" y="25"/>
                    <a:pt x="65" y="25"/>
                  </a:cubicBezTo>
                  <a:cubicBezTo>
                    <a:pt x="64" y="25"/>
                    <a:pt x="63" y="25"/>
                    <a:pt x="63" y="25"/>
                  </a:cubicBezTo>
                  <a:cubicBezTo>
                    <a:pt x="62" y="25"/>
                    <a:pt x="61" y="25"/>
                    <a:pt x="62" y="25"/>
                  </a:cubicBezTo>
                  <a:cubicBezTo>
                    <a:pt x="62" y="24"/>
                    <a:pt x="63" y="23"/>
                    <a:pt x="63" y="23"/>
                  </a:cubicBezTo>
                  <a:cubicBezTo>
                    <a:pt x="64" y="22"/>
                    <a:pt x="65" y="22"/>
                    <a:pt x="66" y="22"/>
                  </a:cubicBezTo>
                  <a:cubicBezTo>
                    <a:pt x="67" y="22"/>
                    <a:pt x="68" y="22"/>
                    <a:pt x="69" y="22"/>
                  </a:cubicBezTo>
                  <a:cubicBezTo>
                    <a:pt x="69" y="22"/>
                    <a:pt x="70" y="22"/>
                    <a:pt x="70" y="22"/>
                  </a:cubicBezTo>
                  <a:cubicBezTo>
                    <a:pt x="71" y="21"/>
                    <a:pt x="71" y="21"/>
                    <a:pt x="72" y="21"/>
                  </a:cubicBezTo>
                  <a:cubicBezTo>
                    <a:pt x="72" y="21"/>
                    <a:pt x="72" y="20"/>
                    <a:pt x="72" y="20"/>
                  </a:cubicBezTo>
                  <a:cubicBezTo>
                    <a:pt x="72" y="20"/>
                    <a:pt x="71" y="20"/>
                    <a:pt x="71" y="20"/>
                  </a:cubicBezTo>
                  <a:cubicBezTo>
                    <a:pt x="71" y="20"/>
                    <a:pt x="70" y="20"/>
                    <a:pt x="70" y="20"/>
                  </a:cubicBezTo>
                  <a:cubicBezTo>
                    <a:pt x="70" y="20"/>
                    <a:pt x="69" y="20"/>
                    <a:pt x="69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19"/>
                    <a:pt x="67" y="20"/>
                    <a:pt x="66" y="20"/>
                  </a:cubicBezTo>
                  <a:cubicBezTo>
                    <a:pt x="66" y="21"/>
                    <a:pt x="65" y="21"/>
                    <a:pt x="65" y="20"/>
                  </a:cubicBezTo>
                  <a:cubicBezTo>
                    <a:pt x="64" y="20"/>
                    <a:pt x="64" y="20"/>
                    <a:pt x="63" y="20"/>
                  </a:cubicBezTo>
                  <a:cubicBezTo>
                    <a:pt x="63" y="19"/>
                    <a:pt x="62" y="19"/>
                    <a:pt x="62" y="18"/>
                  </a:cubicBezTo>
                  <a:cubicBezTo>
                    <a:pt x="61" y="17"/>
                    <a:pt x="60" y="16"/>
                    <a:pt x="58" y="16"/>
                  </a:cubicBezTo>
                  <a:cubicBezTo>
                    <a:pt x="58" y="15"/>
                    <a:pt x="57" y="15"/>
                    <a:pt x="57" y="15"/>
                  </a:cubicBezTo>
                  <a:cubicBezTo>
                    <a:pt x="56" y="15"/>
                    <a:pt x="56" y="14"/>
                    <a:pt x="56" y="14"/>
                  </a:cubicBezTo>
                  <a:cubicBezTo>
                    <a:pt x="55" y="14"/>
                    <a:pt x="54" y="13"/>
                    <a:pt x="52" y="13"/>
                  </a:cubicBezTo>
                  <a:cubicBezTo>
                    <a:pt x="51" y="12"/>
                    <a:pt x="51" y="12"/>
                    <a:pt x="50" y="12"/>
                  </a:cubicBezTo>
                  <a:cubicBezTo>
                    <a:pt x="49" y="12"/>
                    <a:pt x="48" y="12"/>
                    <a:pt x="47" y="12"/>
                  </a:cubicBezTo>
                  <a:cubicBezTo>
                    <a:pt x="47" y="12"/>
                    <a:pt x="47" y="11"/>
                    <a:pt x="47" y="1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1" y="128"/>
                    <a:pt x="1" y="128"/>
                  </a:cubicBezTo>
                  <a:cubicBezTo>
                    <a:pt x="1" y="128"/>
                    <a:pt x="2" y="128"/>
                    <a:pt x="2" y="128"/>
                  </a:cubicBezTo>
                  <a:cubicBezTo>
                    <a:pt x="3" y="128"/>
                    <a:pt x="3" y="128"/>
                    <a:pt x="4" y="129"/>
                  </a:cubicBezTo>
                  <a:cubicBezTo>
                    <a:pt x="4" y="129"/>
                    <a:pt x="4" y="130"/>
                    <a:pt x="5" y="130"/>
                  </a:cubicBezTo>
                  <a:cubicBezTo>
                    <a:pt x="5" y="130"/>
                    <a:pt x="6" y="131"/>
                    <a:pt x="7" y="131"/>
                  </a:cubicBezTo>
                  <a:cubicBezTo>
                    <a:pt x="7" y="131"/>
                    <a:pt x="8" y="131"/>
                    <a:pt x="8" y="131"/>
                  </a:cubicBezTo>
                  <a:cubicBezTo>
                    <a:pt x="8" y="130"/>
                    <a:pt x="9" y="130"/>
                    <a:pt x="9" y="130"/>
                  </a:cubicBezTo>
                  <a:cubicBezTo>
                    <a:pt x="10" y="130"/>
                    <a:pt x="11" y="129"/>
                    <a:pt x="11" y="129"/>
                  </a:cubicBezTo>
                  <a:cubicBezTo>
                    <a:pt x="12" y="129"/>
                    <a:pt x="13" y="129"/>
                    <a:pt x="13" y="129"/>
                  </a:cubicBezTo>
                  <a:cubicBezTo>
                    <a:pt x="13" y="130"/>
                    <a:pt x="13" y="130"/>
                    <a:pt x="14" y="130"/>
                  </a:cubicBezTo>
                  <a:cubicBezTo>
                    <a:pt x="14" y="131"/>
                    <a:pt x="15" y="132"/>
                    <a:pt x="16" y="132"/>
                  </a:cubicBezTo>
                  <a:cubicBezTo>
                    <a:pt x="16" y="132"/>
                    <a:pt x="17" y="133"/>
                    <a:pt x="17" y="133"/>
                  </a:cubicBezTo>
                  <a:cubicBezTo>
                    <a:pt x="17" y="133"/>
                    <a:pt x="18" y="134"/>
                    <a:pt x="18" y="134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6"/>
                    <a:pt x="19" y="136"/>
                    <a:pt x="19" y="136"/>
                  </a:cubicBezTo>
                  <a:cubicBezTo>
                    <a:pt x="19" y="137"/>
                    <a:pt x="19" y="138"/>
                    <a:pt x="20" y="139"/>
                  </a:cubicBezTo>
                  <a:cubicBezTo>
                    <a:pt x="20" y="140"/>
                    <a:pt x="21" y="141"/>
                    <a:pt x="21" y="142"/>
                  </a:cubicBezTo>
                  <a:cubicBezTo>
                    <a:pt x="22" y="143"/>
                    <a:pt x="22" y="144"/>
                    <a:pt x="23" y="144"/>
                  </a:cubicBezTo>
                  <a:cubicBezTo>
                    <a:pt x="25" y="144"/>
                    <a:pt x="26" y="144"/>
                    <a:pt x="27" y="144"/>
                  </a:cubicBezTo>
                  <a:cubicBezTo>
                    <a:pt x="28" y="144"/>
                    <a:pt x="30" y="143"/>
                    <a:pt x="31" y="144"/>
                  </a:cubicBezTo>
                  <a:cubicBezTo>
                    <a:pt x="32" y="144"/>
                    <a:pt x="33" y="145"/>
                    <a:pt x="33" y="145"/>
                  </a:cubicBezTo>
                  <a:cubicBezTo>
                    <a:pt x="34" y="146"/>
                    <a:pt x="34" y="146"/>
                    <a:pt x="35" y="147"/>
                  </a:cubicBezTo>
                  <a:cubicBezTo>
                    <a:pt x="36" y="148"/>
                    <a:pt x="36" y="149"/>
                    <a:pt x="37" y="150"/>
                  </a:cubicBezTo>
                  <a:cubicBezTo>
                    <a:pt x="38" y="151"/>
                    <a:pt x="40" y="150"/>
                    <a:pt x="40" y="150"/>
                  </a:cubicBezTo>
                  <a:cubicBezTo>
                    <a:pt x="41" y="149"/>
                    <a:pt x="41" y="149"/>
                    <a:pt x="42" y="148"/>
                  </a:cubicBezTo>
                  <a:cubicBezTo>
                    <a:pt x="42" y="148"/>
                    <a:pt x="43" y="148"/>
                    <a:pt x="43" y="148"/>
                  </a:cubicBezTo>
                  <a:cubicBezTo>
                    <a:pt x="44" y="148"/>
                    <a:pt x="45" y="147"/>
                    <a:pt x="45" y="147"/>
                  </a:cubicBezTo>
                  <a:cubicBezTo>
                    <a:pt x="46" y="147"/>
                    <a:pt x="46" y="147"/>
                    <a:pt x="46" y="148"/>
                  </a:cubicBezTo>
                  <a:cubicBezTo>
                    <a:pt x="46" y="148"/>
                    <a:pt x="47" y="148"/>
                    <a:pt x="47" y="148"/>
                  </a:cubicBezTo>
                  <a:cubicBezTo>
                    <a:pt x="47" y="148"/>
                    <a:pt x="48" y="149"/>
                    <a:pt x="48" y="149"/>
                  </a:cubicBezTo>
                  <a:cubicBezTo>
                    <a:pt x="49" y="149"/>
                    <a:pt x="50" y="150"/>
                    <a:pt x="51" y="151"/>
                  </a:cubicBezTo>
                  <a:cubicBezTo>
                    <a:pt x="51" y="151"/>
                    <a:pt x="52" y="152"/>
                    <a:pt x="52" y="152"/>
                  </a:cubicBezTo>
                  <a:cubicBezTo>
                    <a:pt x="52" y="152"/>
                    <a:pt x="53" y="151"/>
                    <a:pt x="54" y="151"/>
                  </a:cubicBezTo>
                  <a:cubicBezTo>
                    <a:pt x="54" y="151"/>
                    <a:pt x="54" y="151"/>
                    <a:pt x="55" y="151"/>
                  </a:cubicBezTo>
                  <a:cubicBezTo>
                    <a:pt x="55" y="151"/>
                    <a:pt x="56" y="151"/>
                    <a:pt x="56" y="151"/>
                  </a:cubicBezTo>
                  <a:cubicBezTo>
                    <a:pt x="57" y="151"/>
                    <a:pt x="57" y="151"/>
                    <a:pt x="58" y="150"/>
                  </a:cubicBezTo>
                  <a:cubicBezTo>
                    <a:pt x="58" y="150"/>
                    <a:pt x="59" y="150"/>
                    <a:pt x="59" y="149"/>
                  </a:cubicBezTo>
                  <a:cubicBezTo>
                    <a:pt x="60" y="149"/>
                    <a:pt x="60" y="148"/>
                    <a:pt x="61" y="148"/>
                  </a:cubicBezTo>
                  <a:cubicBezTo>
                    <a:pt x="61" y="147"/>
                    <a:pt x="62" y="146"/>
                    <a:pt x="62" y="146"/>
                  </a:cubicBezTo>
                  <a:cubicBezTo>
                    <a:pt x="63" y="146"/>
                    <a:pt x="64" y="146"/>
                    <a:pt x="65" y="145"/>
                  </a:cubicBezTo>
                  <a:cubicBezTo>
                    <a:pt x="65" y="145"/>
                    <a:pt x="66" y="145"/>
                    <a:pt x="67" y="146"/>
                  </a:cubicBezTo>
                  <a:cubicBezTo>
                    <a:pt x="67" y="146"/>
                    <a:pt x="67" y="146"/>
                    <a:pt x="67" y="147"/>
                  </a:cubicBezTo>
                  <a:cubicBezTo>
                    <a:pt x="67" y="147"/>
                    <a:pt x="67" y="147"/>
                    <a:pt x="67" y="148"/>
                  </a:cubicBezTo>
                  <a:cubicBezTo>
                    <a:pt x="67" y="149"/>
                    <a:pt x="67" y="150"/>
                    <a:pt x="67" y="151"/>
                  </a:cubicBezTo>
                  <a:cubicBezTo>
                    <a:pt x="68" y="151"/>
                    <a:pt x="68" y="152"/>
                    <a:pt x="69" y="153"/>
                  </a:cubicBezTo>
                  <a:cubicBezTo>
                    <a:pt x="70" y="153"/>
                    <a:pt x="70" y="153"/>
                    <a:pt x="71" y="153"/>
                  </a:cubicBezTo>
                  <a:cubicBezTo>
                    <a:pt x="71" y="154"/>
                    <a:pt x="72" y="154"/>
                    <a:pt x="72" y="154"/>
                  </a:cubicBezTo>
                  <a:cubicBezTo>
                    <a:pt x="73" y="154"/>
                    <a:pt x="74" y="155"/>
                    <a:pt x="75" y="156"/>
                  </a:cubicBezTo>
                  <a:cubicBezTo>
                    <a:pt x="76" y="156"/>
                    <a:pt x="76" y="157"/>
                    <a:pt x="76" y="158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160"/>
                    <a:pt x="84" y="160"/>
                    <a:pt x="85" y="159"/>
                  </a:cubicBezTo>
                  <a:cubicBezTo>
                    <a:pt x="85" y="159"/>
                    <a:pt x="86" y="158"/>
                    <a:pt x="86" y="158"/>
                  </a:cubicBezTo>
                  <a:cubicBezTo>
                    <a:pt x="86" y="158"/>
                    <a:pt x="87" y="156"/>
                    <a:pt x="87" y="155"/>
                  </a:cubicBezTo>
                  <a:cubicBezTo>
                    <a:pt x="87" y="155"/>
                    <a:pt x="87" y="153"/>
                    <a:pt x="87" y="153"/>
                  </a:cubicBezTo>
                  <a:cubicBezTo>
                    <a:pt x="87" y="153"/>
                    <a:pt x="89" y="153"/>
                    <a:pt x="89" y="152"/>
                  </a:cubicBezTo>
                  <a:cubicBezTo>
                    <a:pt x="89" y="152"/>
                    <a:pt x="92" y="152"/>
                    <a:pt x="92" y="152"/>
                  </a:cubicBezTo>
                  <a:cubicBezTo>
                    <a:pt x="92" y="152"/>
                    <a:pt x="91" y="148"/>
                    <a:pt x="91" y="148"/>
                  </a:cubicBezTo>
                  <a:cubicBezTo>
                    <a:pt x="91" y="147"/>
                    <a:pt x="90" y="144"/>
                    <a:pt x="90" y="144"/>
                  </a:cubicBezTo>
                  <a:cubicBezTo>
                    <a:pt x="90" y="144"/>
                    <a:pt x="92" y="142"/>
                    <a:pt x="92" y="142"/>
                  </a:cubicBezTo>
                  <a:cubicBezTo>
                    <a:pt x="92" y="142"/>
                    <a:pt x="93" y="140"/>
                    <a:pt x="93" y="139"/>
                  </a:cubicBezTo>
                  <a:cubicBezTo>
                    <a:pt x="93" y="139"/>
                    <a:pt x="95" y="136"/>
                    <a:pt x="95" y="135"/>
                  </a:cubicBezTo>
                  <a:cubicBezTo>
                    <a:pt x="95" y="135"/>
                    <a:pt x="96" y="134"/>
                    <a:pt x="96" y="134"/>
                  </a:cubicBezTo>
                  <a:cubicBezTo>
                    <a:pt x="96" y="133"/>
                    <a:pt x="97" y="133"/>
                    <a:pt x="97" y="133"/>
                  </a:cubicBezTo>
                  <a:cubicBezTo>
                    <a:pt x="97" y="134"/>
                    <a:pt x="99" y="135"/>
                    <a:pt x="99" y="135"/>
                  </a:cubicBezTo>
                  <a:cubicBezTo>
                    <a:pt x="99" y="135"/>
                    <a:pt x="100" y="136"/>
                    <a:pt x="100" y="136"/>
                  </a:cubicBezTo>
                  <a:cubicBezTo>
                    <a:pt x="100" y="136"/>
                    <a:pt x="101" y="137"/>
                    <a:pt x="101" y="137"/>
                  </a:cubicBezTo>
                  <a:cubicBezTo>
                    <a:pt x="101" y="137"/>
                    <a:pt x="100" y="138"/>
                    <a:pt x="100" y="138"/>
                  </a:cubicBezTo>
                  <a:cubicBezTo>
                    <a:pt x="100" y="138"/>
                    <a:pt x="100" y="140"/>
                    <a:pt x="100" y="140"/>
                  </a:cubicBezTo>
                  <a:cubicBezTo>
                    <a:pt x="100" y="140"/>
                    <a:pt x="102" y="140"/>
                    <a:pt x="102" y="140"/>
                  </a:cubicBezTo>
                  <a:cubicBezTo>
                    <a:pt x="102" y="140"/>
                    <a:pt x="103" y="139"/>
                    <a:pt x="103" y="139"/>
                  </a:cubicBezTo>
                  <a:cubicBezTo>
                    <a:pt x="103" y="138"/>
                    <a:pt x="103" y="137"/>
                    <a:pt x="103" y="137"/>
                  </a:cubicBezTo>
                  <a:cubicBezTo>
                    <a:pt x="105" y="138"/>
                    <a:pt x="105" y="138"/>
                    <a:pt x="105" y="138"/>
                  </a:cubicBezTo>
                  <a:cubicBezTo>
                    <a:pt x="105" y="138"/>
                    <a:pt x="105" y="133"/>
                    <a:pt x="105" y="133"/>
                  </a:cubicBezTo>
                  <a:cubicBezTo>
                    <a:pt x="105" y="133"/>
                    <a:pt x="104" y="132"/>
                    <a:pt x="104" y="132"/>
                  </a:cubicBezTo>
                  <a:cubicBezTo>
                    <a:pt x="104" y="131"/>
                    <a:pt x="105" y="131"/>
                    <a:pt x="105" y="131"/>
                  </a:cubicBezTo>
                  <a:cubicBezTo>
                    <a:pt x="105" y="131"/>
                    <a:pt x="106" y="130"/>
                    <a:pt x="106" y="130"/>
                  </a:cubicBezTo>
                  <a:cubicBezTo>
                    <a:pt x="106" y="130"/>
                    <a:pt x="106" y="126"/>
                    <a:pt x="106" y="126"/>
                  </a:cubicBezTo>
                  <a:cubicBezTo>
                    <a:pt x="106" y="126"/>
                    <a:pt x="107" y="125"/>
                    <a:pt x="108" y="125"/>
                  </a:cubicBezTo>
                  <a:cubicBezTo>
                    <a:pt x="108" y="125"/>
                    <a:pt x="109" y="122"/>
                    <a:pt x="109" y="122"/>
                  </a:cubicBezTo>
                  <a:cubicBezTo>
                    <a:pt x="109" y="122"/>
                    <a:pt x="110" y="122"/>
                    <a:pt x="111" y="122"/>
                  </a:cubicBezTo>
                  <a:cubicBezTo>
                    <a:pt x="111" y="122"/>
                    <a:pt x="112" y="123"/>
                    <a:pt x="112" y="123"/>
                  </a:cubicBezTo>
                  <a:cubicBezTo>
                    <a:pt x="112" y="123"/>
                    <a:pt x="113" y="119"/>
                    <a:pt x="113" y="119"/>
                  </a:cubicBezTo>
                  <a:cubicBezTo>
                    <a:pt x="113" y="119"/>
                    <a:pt x="114" y="118"/>
                    <a:pt x="114" y="118"/>
                  </a:cubicBezTo>
                  <a:cubicBezTo>
                    <a:pt x="115" y="118"/>
                    <a:pt x="115" y="116"/>
                    <a:pt x="116" y="116"/>
                  </a:cubicBezTo>
                  <a:cubicBezTo>
                    <a:pt x="116" y="116"/>
                    <a:pt x="117" y="116"/>
                    <a:pt x="117" y="116"/>
                  </a:cubicBezTo>
                  <a:cubicBezTo>
                    <a:pt x="117" y="116"/>
                    <a:pt x="119" y="119"/>
                    <a:pt x="119" y="119"/>
                  </a:cubicBezTo>
                  <a:cubicBezTo>
                    <a:pt x="119" y="119"/>
                    <a:pt x="121" y="119"/>
                    <a:pt x="121" y="119"/>
                  </a:cubicBezTo>
                  <a:cubicBezTo>
                    <a:pt x="121" y="119"/>
                    <a:pt x="126" y="116"/>
                    <a:pt x="126" y="116"/>
                  </a:cubicBezTo>
                  <a:cubicBezTo>
                    <a:pt x="133" y="109"/>
                    <a:pt x="133" y="109"/>
                    <a:pt x="133" y="109"/>
                  </a:cubicBezTo>
                  <a:cubicBezTo>
                    <a:pt x="133" y="109"/>
                    <a:pt x="134" y="107"/>
                    <a:pt x="134" y="107"/>
                  </a:cubicBezTo>
                  <a:cubicBezTo>
                    <a:pt x="134" y="107"/>
                    <a:pt x="136" y="107"/>
                    <a:pt x="136" y="107"/>
                  </a:cubicBezTo>
                  <a:cubicBezTo>
                    <a:pt x="136" y="107"/>
                    <a:pt x="136" y="104"/>
                    <a:pt x="137" y="104"/>
                  </a:cubicBezTo>
                  <a:cubicBezTo>
                    <a:pt x="137" y="103"/>
                    <a:pt x="138" y="103"/>
                    <a:pt x="138" y="103"/>
                  </a:cubicBezTo>
                  <a:cubicBezTo>
                    <a:pt x="138" y="103"/>
                    <a:pt x="136" y="101"/>
                    <a:pt x="136" y="100"/>
                  </a:cubicBezTo>
                  <a:cubicBezTo>
                    <a:pt x="136" y="100"/>
                    <a:pt x="137" y="98"/>
                    <a:pt x="138" y="98"/>
                  </a:cubicBezTo>
                  <a:cubicBezTo>
                    <a:pt x="138" y="98"/>
                    <a:pt x="139" y="96"/>
                    <a:pt x="139" y="96"/>
                  </a:cubicBezTo>
                  <a:cubicBezTo>
                    <a:pt x="139" y="96"/>
                    <a:pt x="139" y="94"/>
                    <a:pt x="139" y="94"/>
                  </a:cubicBezTo>
                  <a:cubicBezTo>
                    <a:pt x="139" y="94"/>
                    <a:pt x="141" y="93"/>
                    <a:pt x="141" y="93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141" y="85"/>
                    <a:pt x="141" y="85"/>
                    <a:pt x="141" y="85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4" y="73"/>
                    <a:pt x="144" y="72"/>
                  </a:cubicBezTo>
                  <a:cubicBezTo>
                    <a:pt x="144" y="72"/>
                    <a:pt x="145" y="71"/>
                    <a:pt x="145" y="70"/>
                  </a:cubicBezTo>
                  <a:cubicBezTo>
                    <a:pt x="145" y="70"/>
                    <a:pt x="146" y="68"/>
                    <a:pt x="146" y="68"/>
                  </a:cubicBezTo>
                  <a:cubicBezTo>
                    <a:pt x="146" y="68"/>
                    <a:pt x="145" y="66"/>
                    <a:pt x="145" y="66"/>
                  </a:cubicBezTo>
                  <a:cubicBezTo>
                    <a:pt x="145" y="66"/>
                    <a:pt x="143" y="63"/>
                    <a:pt x="143" y="63"/>
                  </a:cubicBezTo>
                  <a:cubicBezTo>
                    <a:pt x="143" y="63"/>
                    <a:pt x="144" y="62"/>
                    <a:pt x="144" y="61"/>
                  </a:cubicBezTo>
                  <a:cubicBezTo>
                    <a:pt x="144" y="61"/>
                    <a:pt x="145" y="61"/>
                    <a:pt x="145" y="61"/>
                  </a:cubicBezTo>
                  <a:cubicBezTo>
                    <a:pt x="147" y="62"/>
                    <a:pt x="147" y="62"/>
                    <a:pt x="147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8" y="0"/>
                    <a:pt x="147" y="0"/>
                    <a:pt x="146" y="1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A60DC027-859B-49D1-8CB3-5041E111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448" y="1258003"/>
              <a:ext cx="1021062" cy="619576"/>
            </a:xfrm>
            <a:custGeom>
              <a:avLst/>
              <a:gdLst>
                <a:gd name="T0" fmla="*/ 258 w 258"/>
                <a:gd name="T1" fmla="*/ 139 h 156"/>
                <a:gd name="T2" fmla="*/ 256 w 258"/>
                <a:gd name="T3" fmla="*/ 134 h 156"/>
                <a:gd name="T4" fmla="*/ 253 w 258"/>
                <a:gd name="T5" fmla="*/ 131 h 156"/>
                <a:gd name="T6" fmla="*/ 252 w 258"/>
                <a:gd name="T7" fmla="*/ 127 h 156"/>
                <a:gd name="T8" fmla="*/ 251 w 258"/>
                <a:gd name="T9" fmla="*/ 123 h 156"/>
                <a:gd name="T10" fmla="*/ 251 w 258"/>
                <a:gd name="T11" fmla="*/ 119 h 156"/>
                <a:gd name="T12" fmla="*/ 252 w 258"/>
                <a:gd name="T13" fmla="*/ 111 h 156"/>
                <a:gd name="T14" fmla="*/ 252 w 258"/>
                <a:gd name="T15" fmla="*/ 109 h 156"/>
                <a:gd name="T16" fmla="*/ 251 w 258"/>
                <a:gd name="T17" fmla="*/ 106 h 156"/>
                <a:gd name="T18" fmla="*/ 249 w 258"/>
                <a:gd name="T19" fmla="*/ 102 h 156"/>
                <a:gd name="T20" fmla="*/ 249 w 258"/>
                <a:gd name="T21" fmla="*/ 90 h 156"/>
                <a:gd name="T22" fmla="*/ 249 w 258"/>
                <a:gd name="T23" fmla="*/ 84 h 156"/>
                <a:gd name="T24" fmla="*/ 248 w 258"/>
                <a:gd name="T25" fmla="*/ 75 h 156"/>
                <a:gd name="T26" fmla="*/ 247 w 258"/>
                <a:gd name="T27" fmla="*/ 69 h 156"/>
                <a:gd name="T28" fmla="*/ 244 w 258"/>
                <a:gd name="T29" fmla="*/ 62 h 156"/>
                <a:gd name="T30" fmla="*/ 241 w 258"/>
                <a:gd name="T31" fmla="*/ 52 h 156"/>
                <a:gd name="T32" fmla="*/ 239 w 258"/>
                <a:gd name="T33" fmla="*/ 47 h 156"/>
                <a:gd name="T34" fmla="*/ 239 w 258"/>
                <a:gd name="T35" fmla="*/ 40 h 156"/>
                <a:gd name="T36" fmla="*/ 239 w 258"/>
                <a:gd name="T37" fmla="*/ 36 h 156"/>
                <a:gd name="T38" fmla="*/ 238 w 258"/>
                <a:gd name="T39" fmla="*/ 33 h 156"/>
                <a:gd name="T40" fmla="*/ 239 w 258"/>
                <a:gd name="T41" fmla="*/ 30 h 156"/>
                <a:gd name="T42" fmla="*/ 238 w 258"/>
                <a:gd name="T43" fmla="*/ 28 h 156"/>
                <a:gd name="T44" fmla="*/ 238 w 258"/>
                <a:gd name="T45" fmla="*/ 27 h 156"/>
                <a:gd name="T46" fmla="*/ 239 w 258"/>
                <a:gd name="T47" fmla="*/ 25 h 156"/>
                <a:gd name="T48" fmla="*/ 238 w 258"/>
                <a:gd name="T49" fmla="*/ 24 h 156"/>
                <a:gd name="T50" fmla="*/ 239 w 258"/>
                <a:gd name="T51" fmla="*/ 21 h 156"/>
                <a:gd name="T52" fmla="*/ 239 w 258"/>
                <a:gd name="T53" fmla="*/ 18 h 156"/>
                <a:gd name="T54" fmla="*/ 239 w 258"/>
                <a:gd name="T55" fmla="*/ 14 h 156"/>
                <a:gd name="T56" fmla="*/ 237 w 258"/>
                <a:gd name="T57" fmla="*/ 8 h 156"/>
                <a:gd name="T58" fmla="*/ 236 w 258"/>
                <a:gd name="T59" fmla="*/ 4 h 156"/>
                <a:gd name="T60" fmla="*/ 236 w 258"/>
                <a:gd name="T61" fmla="*/ 0 h 156"/>
                <a:gd name="T62" fmla="*/ 0 w 258"/>
                <a:gd name="T63" fmla="*/ 0 h 156"/>
                <a:gd name="T64" fmla="*/ 0 w 258"/>
                <a:gd name="T65" fmla="*/ 156 h 156"/>
                <a:gd name="T66" fmla="*/ 258 w 258"/>
                <a:gd name="T67" fmla="*/ 156 h 156"/>
                <a:gd name="T68" fmla="*/ 258 w 258"/>
                <a:gd name="T69" fmla="*/ 13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156">
                  <a:moveTo>
                    <a:pt x="258" y="139"/>
                  </a:moveTo>
                  <a:cubicBezTo>
                    <a:pt x="257" y="139"/>
                    <a:pt x="256" y="135"/>
                    <a:pt x="256" y="134"/>
                  </a:cubicBezTo>
                  <a:cubicBezTo>
                    <a:pt x="255" y="134"/>
                    <a:pt x="254" y="132"/>
                    <a:pt x="253" y="131"/>
                  </a:cubicBezTo>
                  <a:cubicBezTo>
                    <a:pt x="253" y="130"/>
                    <a:pt x="252" y="128"/>
                    <a:pt x="252" y="127"/>
                  </a:cubicBezTo>
                  <a:cubicBezTo>
                    <a:pt x="252" y="126"/>
                    <a:pt x="251" y="124"/>
                    <a:pt x="251" y="123"/>
                  </a:cubicBezTo>
                  <a:cubicBezTo>
                    <a:pt x="251" y="122"/>
                    <a:pt x="251" y="121"/>
                    <a:pt x="251" y="119"/>
                  </a:cubicBezTo>
                  <a:cubicBezTo>
                    <a:pt x="251" y="118"/>
                    <a:pt x="252" y="112"/>
                    <a:pt x="252" y="111"/>
                  </a:cubicBezTo>
                  <a:cubicBezTo>
                    <a:pt x="252" y="111"/>
                    <a:pt x="252" y="110"/>
                    <a:pt x="252" y="109"/>
                  </a:cubicBezTo>
                  <a:cubicBezTo>
                    <a:pt x="252" y="108"/>
                    <a:pt x="251" y="107"/>
                    <a:pt x="251" y="106"/>
                  </a:cubicBezTo>
                  <a:cubicBezTo>
                    <a:pt x="250" y="105"/>
                    <a:pt x="250" y="104"/>
                    <a:pt x="249" y="102"/>
                  </a:cubicBezTo>
                  <a:cubicBezTo>
                    <a:pt x="249" y="100"/>
                    <a:pt x="249" y="92"/>
                    <a:pt x="249" y="90"/>
                  </a:cubicBezTo>
                  <a:cubicBezTo>
                    <a:pt x="249" y="89"/>
                    <a:pt x="249" y="86"/>
                    <a:pt x="249" y="84"/>
                  </a:cubicBezTo>
                  <a:cubicBezTo>
                    <a:pt x="249" y="83"/>
                    <a:pt x="249" y="77"/>
                    <a:pt x="248" y="75"/>
                  </a:cubicBezTo>
                  <a:cubicBezTo>
                    <a:pt x="248" y="74"/>
                    <a:pt x="248" y="71"/>
                    <a:pt x="247" y="69"/>
                  </a:cubicBezTo>
                  <a:cubicBezTo>
                    <a:pt x="247" y="67"/>
                    <a:pt x="244" y="64"/>
                    <a:pt x="244" y="62"/>
                  </a:cubicBezTo>
                  <a:cubicBezTo>
                    <a:pt x="243" y="60"/>
                    <a:pt x="241" y="53"/>
                    <a:pt x="241" y="52"/>
                  </a:cubicBezTo>
                  <a:cubicBezTo>
                    <a:pt x="240" y="50"/>
                    <a:pt x="239" y="49"/>
                    <a:pt x="239" y="47"/>
                  </a:cubicBezTo>
                  <a:cubicBezTo>
                    <a:pt x="239" y="45"/>
                    <a:pt x="239" y="41"/>
                    <a:pt x="239" y="40"/>
                  </a:cubicBezTo>
                  <a:cubicBezTo>
                    <a:pt x="239" y="38"/>
                    <a:pt x="239" y="37"/>
                    <a:pt x="239" y="36"/>
                  </a:cubicBezTo>
                  <a:cubicBezTo>
                    <a:pt x="239" y="35"/>
                    <a:pt x="238" y="34"/>
                    <a:pt x="238" y="33"/>
                  </a:cubicBezTo>
                  <a:cubicBezTo>
                    <a:pt x="238" y="32"/>
                    <a:pt x="239" y="30"/>
                    <a:pt x="239" y="30"/>
                  </a:cubicBezTo>
                  <a:cubicBezTo>
                    <a:pt x="239" y="29"/>
                    <a:pt x="238" y="28"/>
                    <a:pt x="238" y="28"/>
                  </a:cubicBezTo>
                  <a:cubicBezTo>
                    <a:pt x="238" y="28"/>
                    <a:pt x="238" y="27"/>
                    <a:pt x="238" y="27"/>
                  </a:cubicBezTo>
                  <a:cubicBezTo>
                    <a:pt x="239" y="26"/>
                    <a:pt x="239" y="25"/>
                    <a:pt x="239" y="25"/>
                  </a:cubicBezTo>
                  <a:cubicBezTo>
                    <a:pt x="238" y="24"/>
                    <a:pt x="238" y="25"/>
                    <a:pt x="238" y="24"/>
                  </a:cubicBezTo>
                  <a:cubicBezTo>
                    <a:pt x="238" y="23"/>
                    <a:pt x="238" y="21"/>
                    <a:pt x="239" y="21"/>
                  </a:cubicBezTo>
                  <a:cubicBezTo>
                    <a:pt x="239" y="20"/>
                    <a:pt x="239" y="20"/>
                    <a:pt x="239" y="18"/>
                  </a:cubicBezTo>
                  <a:cubicBezTo>
                    <a:pt x="240" y="16"/>
                    <a:pt x="239" y="15"/>
                    <a:pt x="239" y="14"/>
                  </a:cubicBezTo>
                  <a:cubicBezTo>
                    <a:pt x="239" y="14"/>
                    <a:pt x="237" y="9"/>
                    <a:pt x="237" y="8"/>
                  </a:cubicBezTo>
                  <a:cubicBezTo>
                    <a:pt x="237" y="7"/>
                    <a:pt x="236" y="6"/>
                    <a:pt x="236" y="4"/>
                  </a:cubicBezTo>
                  <a:cubicBezTo>
                    <a:pt x="236" y="3"/>
                    <a:pt x="236" y="0"/>
                    <a:pt x="2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258" y="156"/>
                    <a:pt x="258" y="156"/>
                    <a:pt x="258" y="156"/>
                  </a:cubicBezTo>
                  <a:cubicBezTo>
                    <a:pt x="258" y="156"/>
                    <a:pt x="258" y="140"/>
                    <a:pt x="258" y="139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3C45AC45-338B-4586-9FEE-66AFCA2F65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1844" y="3589264"/>
              <a:ext cx="1196195" cy="460965"/>
            </a:xfrm>
            <a:custGeom>
              <a:avLst/>
              <a:gdLst>
                <a:gd name="T0" fmla="*/ 300 w 302"/>
                <a:gd name="T1" fmla="*/ 26 h 116"/>
                <a:gd name="T2" fmla="*/ 293 w 302"/>
                <a:gd name="T3" fmla="*/ 4 h 116"/>
                <a:gd name="T4" fmla="*/ 123 w 302"/>
                <a:gd name="T5" fmla="*/ 0 h 116"/>
                <a:gd name="T6" fmla="*/ 87 w 302"/>
                <a:gd name="T7" fmla="*/ 10 h 116"/>
                <a:gd name="T8" fmla="*/ 72 w 302"/>
                <a:gd name="T9" fmla="*/ 19 h 116"/>
                <a:gd name="T10" fmla="*/ 59 w 302"/>
                <a:gd name="T11" fmla="*/ 22 h 116"/>
                <a:gd name="T12" fmla="*/ 48 w 302"/>
                <a:gd name="T13" fmla="*/ 33 h 116"/>
                <a:gd name="T14" fmla="*/ 37 w 302"/>
                <a:gd name="T15" fmla="*/ 38 h 116"/>
                <a:gd name="T16" fmla="*/ 14 w 302"/>
                <a:gd name="T17" fmla="*/ 47 h 116"/>
                <a:gd name="T18" fmla="*/ 5 w 302"/>
                <a:gd name="T19" fmla="*/ 58 h 116"/>
                <a:gd name="T20" fmla="*/ 52 w 302"/>
                <a:gd name="T21" fmla="*/ 64 h 116"/>
                <a:gd name="T22" fmla="*/ 68 w 302"/>
                <a:gd name="T23" fmla="*/ 59 h 116"/>
                <a:gd name="T24" fmla="*/ 114 w 302"/>
                <a:gd name="T25" fmla="*/ 63 h 116"/>
                <a:gd name="T26" fmla="*/ 122 w 302"/>
                <a:gd name="T27" fmla="*/ 75 h 116"/>
                <a:gd name="T28" fmla="*/ 205 w 302"/>
                <a:gd name="T29" fmla="*/ 114 h 116"/>
                <a:gd name="T30" fmla="*/ 218 w 302"/>
                <a:gd name="T31" fmla="*/ 114 h 116"/>
                <a:gd name="T32" fmla="*/ 222 w 302"/>
                <a:gd name="T33" fmla="*/ 106 h 116"/>
                <a:gd name="T34" fmla="*/ 225 w 302"/>
                <a:gd name="T35" fmla="*/ 104 h 116"/>
                <a:gd name="T36" fmla="*/ 233 w 302"/>
                <a:gd name="T37" fmla="*/ 93 h 116"/>
                <a:gd name="T38" fmla="*/ 240 w 302"/>
                <a:gd name="T39" fmla="*/ 88 h 116"/>
                <a:gd name="T40" fmla="*/ 240 w 302"/>
                <a:gd name="T41" fmla="*/ 83 h 116"/>
                <a:gd name="T42" fmla="*/ 242 w 302"/>
                <a:gd name="T43" fmla="*/ 84 h 116"/>
                <a:gd name="T44" fmla="*/ 252 w 302"/>
                <a:gd name="T45" fmla="*/ 81 h 116"/>
                <a:gd name="T46" fmla="*/ 261 w 302"/>
                <a:gd name="T47" fmla="*/ 79 h 116"/>
                <a:gd name="T48" fmla="*/ 268 w 302"/>
                <a:gd name="T49" fmla="*/ 78 h 116"/>
                <a:gd name="T50" fmla="*/ 274 w 302"/>
                <a:gd name="T51" fmla="*/ 73 h 116"/>
                <a:gd name="T52" fmla="*/ 274 w 302"/>
                <a:gd name="T53" fmla="*/ 69 h 116"/>
                <a:gd name="T54" fmla="*/ 269 w 302"/>
                <a:gd name="T55" fmla="*/ 68 h 116"/>
                <a:gd name="T56" fmla="*/ 261 w 302"/>
                <a:gd name="T57" fmla="*/ 71 h 116"/>
                <a:gd name="T58" fmla="*/ 253 w 302"/>
                <a:gd name="T59" fmla="*/ 65 h 116"/>
                <a:gd name="T60" fmla="*/ 258 w 302"/>
                <a:gd name="T61" fmla="*/ 67 h 116"/>
                <a:gd name="T62" fmla="*/ 265 w 302"/>
                <a:gd name="T63" fmla="*/ 67 h 116"/>
                <a:gd name="T64" fmla="*/ 264 w 302"/>
                <a:gd name="T65" fmla="*/ 61 h 116"/>
                <a:gd name="T66" fmla="*/ 270 w 302"/>
                <a:gd name="T67" fmla="*/ 56 h 116"/>
                <a:gd name="T68" fmla="*/ 259 w 302"/>
                <a:gd name="T69" fmla="*/ 51 h 116"/>
                <a:gd name="T70" fmla="*/ 266 w 302"/>
                <a:gd name="T71" fmla="*/ 51 h 116"/>
                <a:gd name="T72" fmla="*/ 271 w 302"/>
                <a:gd name="T73" fmla="*/ 47 h 116"/>
                <a:gd name="T74" fmla="*/ 274 w 302"/>
                <a:gd name="T75" fmla="*/ 50 h 116"/>
                <a:gd name="T76" fmla="*/ 285 w 302"/>
                <a:gd name="T77" fmla="*/ 52 h 116"/>
                <a:gd name="T78" fmla="*/ 298 w 302"/>
                <a:gd name="T79" fmla="*/ 39 h 116"/>
                <a:gd name="T80" fmla="*/ 291 w 302"/>
                <a:gd name="T81" fmla="*/ 29 h 116"/>
                <a:gd name="T82" fmla="*/ 284 w 302"/>
                <a:gd name="T83" fmla="*/ 38 h 116"/>
                <a:gd name="T84" fmla="*/ 286 w 302"/>
                <a:gd name="T85" fmla="*/ 27 h 116"/>
                <a:gd name="T86" fmla="*/ 274 w 302"/>
                <a:gd name="T87" fmla="*/ 26 h 116"/>
                <a:gd name="T88" fmla="*/ 264 w 302"/>
                <a:gd name="T89" fmla="*/ 26 h 116"/>
                <a:gd name="T90" fmla="*/ 261 w 302"/>
                <a:gd name="T91" fmla="*/ 19 h 116"/>
                <a:gd name="T92" fmla="*/ 264 w 302"/>
                <a:gd name="T93" fmla="*/ 17 h 116"/>
                <a:gd name="T94" fmla="*/ 269 w 302"/>
                <a:gd name="T95" fmla="*/ 24 h 116"/>
                <a:gd name="T96" fmla="*/ 274 w 302"/>
                <a:gd name="T97" fmla="*/ 19 h 116"/>
                <a:gd name="T98" fmla="*/ 279 w 302"/>
                <a:gd name="T99" fmla="*/ 17 h 116"/>
                <a:gd name="T100" fmla="*/ 283 w 302"/>
                <a:gd name="T101" fmla="*/ 15 h 116"/>
                <a:gd name="T102" fmla="*/ 289 w 302"/>
                <a:gd name="T103" fmla="*/ 17 h 116"/>
                <a:gd name="T104" fmla="*/ 294 w 302"/>
                <a:gd name="T105" fmla="*/ 20 h 116"/>
                <a:gd name="T106" fmla="*/ 287 w 302"/>
                <a:gd name="T107" fmla="*/ 4 h 116"/>
                <a:gd name="T108" fmla="*/ 294 w 302"/>
                <a:gd name="T109" fmla="*/ 12 h 116"/>
                <a:gd name="T110" fmla="*/ 302 w 302"/>
                <a:gd name="T111" fmla="*/ 2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2" h="116">
                  <a:moveTo>
                    <a:pt x="298" y="29"/>
                  </a:moveTo>
                  <a:cubicBezTo>
                    <a:pt x="299" y="28"/>
                    <a:pt x="299" y="29"/>
                    <a:pt x="300" y="30"/>
                  </a:cubicBezTo>
                  <a:cubicBezTo>
                    <a:pt x="300" y="30"/>
                    <a:pt x="301" y="31"/>
                    <a:pt x="300" y="31"/>
                  </a:cubicBezTo>
                  <a:cubicBezTo>
                    <a:pt x="300" y="32"/>
                    <a:pt x="299" y="31"/>
                    <a:pt x="299" y="31"/>
                  </a:cubicBezTo>
                  <a:cubicBezTo>
                    <a:pt x="299" y="31"/>
                    <a:pt x="299" y="31"/>
                    <a:pt x="299" y="30"/>
                  </a:cubicBezTo>
                  <a:cubicBezTo>
                    <a:pt x="298" y="30"/>
                    <a:pt x="298" y="30"/>
                    <a:pt x="298" y="29"/>
                  </a:cubicBezTo>
                  <a:close/>
                  <a:moveTo>
                    <a:pt x="300" y="26"/>
                  </a:moveTo>
                  <a:cubicBezTo>
                    <a:pt x="300" y="25"/>
                    <a:pt x="299" y="24"/>
                    <a:pt x="299" y="23"/>
                  </a:cubicBezTo>
                  <a:cubicBezTo>
                    <a:pt x="298" y="21"/>
                    <a:pt x="298" y="20"/>
                    <a:pt x="297" y="19"/>
                  </a:cubicBezTo>
                  <a:cubicBezTo>
                    <a:pt x="297" y="18"/>
                    <a:pt x="296" y="17"/>
                    <a:pt x="296" y="16"/>
                  </a:cubicBezTo>
                  <a:cubicBezTo>
                    <a:pt x="296" y="15"/>
                    <a:pt x="295" y="13"/>
                    <a:pt x="295" y="12"/>
                  </a:cubicBezTo>
                  <a:cubicBezTo>
                    <a:pt x="295" y="11"/>
                    <a:pt x="294" y="10"/>
                    <a:pt x="294" y="9"/>
                  </a:cubicBezTo>
                  <a:cubicBezTo>
                    <a:pt x="294" y="8"/>
                    <a:pt x="294" y="8"/>
                    <a:pt x="294" y="7"/>
                  </a:cubicBezTo>
                  <a:cubicBezTo>
                    <a:pt x="294" y="6"/>
                    <a:pt x="293" y="5"/>
                    <a:pt x="293" y="4"/>
                  </a:cubicBezTo>
                  <a:cubicBezTo>
                    <a:pt x="293" y="3"/>
                    <a:pt x="293" y="2"/>
                    <a:pt x="293" y="2"/>
                  </a:cubicBezTo>
                  <a:cubicBezTo>
                    <a:pt x="291" y="2"/>
                    <a:pt x="291" y="2"/>
                    <a:pt x="291" y="2"/>
                  </a:cubicBezTo>
                  <a:cubicBezTo>
                    <a:pt x="291" y="2"/>
                    <a:pt x="291" y="2"/>
                    <a:pt x="291" y="2"/>
                  </a:cubicBezTo>
                  <a:cubicBezTo>
                    <a:pt x="291" y="2"/>
                    <a:pt x="291" y="2"/>
                    <a:pt x="290" y="2"/>
                  </a:cubicBezTo>
                  <a:cubicBezTo>
                    <a:pt x="290" y="2"/>
                    <a:pt x="290" y="2"/>
                    <a:pt x="290" y="2"/>
                  </a:cubicBezTo>
                  <a:cubicBezTo>
                    <a:pt x="187" y="2"/>
                    <a:pt x="187" y="2"/>
                    <a:pt x="187" y="2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0" y="2"/>
                    <a:pt x="90" y="3"/>
                  </a:cubicBezTo>
                  <a:cubicBezTo>
                    <a:pt x="90" y="3"/>
                    <a:pt x="91" y="5"/>
                    <a:pt x="91" y="5"/>
                  </a:cubicBezTo>
                  <a:cubicBezTo>
                    <a:pt x="91" y="6"/>
                    <a:pt x="90" y="6"/>
                    <a:pt x="90" y="7"/>
                  </a:cubicBezTo>
                  <a:cubicBezTo>
                    <a:pt x="89" y="8"/>
                    <a:pt x="90" y="8"/>
                    <a:pt x="90" y="9"/>
                  </a:cubicBezTo>
                  <a:cubicBezTo>
                    <a:pt x="90" y="9"/>
                    <a:pt x="91" y="11"/>
                    <a:pt x="90" y="11"/>
                  </a:cubicBezTo>
                  <a:cubicBezTo>
                    <a:pt x="90" y="10"/>
                    <a:pt x="88" y="10"/>
                    <a:pt x="87" y="10"/>
                  </a:cubicBezTo>
                  <a:cubicBezTo>
                    <a:pt x="87" y="9"/>
                    <a:pt x="86" y="10"/>
                    <a:pt x="86" y="11"/>
                  </a:cubicBezTo>
                  <a:cubicBezTo>
                    <a:pt x="85" y="11"/>
                    <a:pt x="84" y="12"/>
                    <a:pt x="83" y="13"/>
                  </a:cubicBezTo>
                  <a:cubicBezTo>
                    <a:pt x="82" y="14"/>
                    <a:pt x="80" y="19"/>
                    <a:pt x="80" y="19"/>
                  </a:cubicBezTo>
                  <a:cubicBezTo>
                    <a:pt x="79" y="20"/>
                    <a:pt x="78" y="20"/>
                    <a:pt x="78" y="21"/>
                  </a:cubicBezTo>
                  <a:cubicBezTo>
                    <a:pt x="77" y="21"/>
                    <a:pt x="76" y="20"/>
                    <a:pt x="75" y="19"/>
                  </a:cubicBezTo>
                  <a:cubicBezTo>
                    <a:pt x="74" y="19"/>
                    <a:pt x="74" y="18"/>
                    <a:pt x="73" y="18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71" y="20"/>
                    <a:pt x="70" y="19"/>
                    <a:pt x="68" y="20"/>
                  </a:cubicBezTo>
                  <a:cubicBezTo>
                    <a:pt x="67" y="20"/>
                    <a:pt x="67" y="21"/>
                    <a:pt x="66" y="22"/>
                  </a:cubicBezTo>
                  <a:cubicBezTo>
                    <a:pt x="65" y="23"/>
                    <a:pt x="65" y="24"/>
                    <a:pt x="65" y="25"/>
                  </a:cubicBezTo>
                  <a:cubicBezTo>
                    <a:pt x="64" y="26"/>
                    <a:pt x="63" y="26"/>
                    <a:pt x="62" y="27"/>
                  </a:cubicBezTo>
                  <a:cubicBezTo>
                    <a:pt x="61" y="27"/>
                    <a:pt x="59" y="26"/>
                    <a:pt x="59" y="26"/>
                  </a:cubicBezTo>
                  <a:cubicBezTo>
                    <a:pt x="59" y="25"/>
                    <a:pt x="60" y="24"/>
                    <a:pt x="60" y="24"/>
                  </a:cubicBezTo>
                  <a:cubicBezTo>
                    <a:pt x="60" y="24"/>
                    <a:pt x="59" y="22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6" y="23"/>
                    <a:pt x="54" y="25"/>
                    <a:pt x="54" y="25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8"/>
                    <a:pt x="51" y="27"/>
                  </a:cubicBezTo>
                  <a:cubicBezTo>
                    <a:pt x="51" y="27"/>
                    <a:pt x="50" y="28"/>
                    <a:pt x="49" y="28"/>
                  </a:cubicBezTo>
                  <a:cubicBezTo>
                    <a:pt x="49" y="29"/>
                    <a:pt x="49" y="30"/>
                    <a:pt x="49" y="30"/>
                  </a:cubicBezTo>
                  <a:cubicBezTo>
                    <a:pt x="49" y="31"/>
                    <a:pt x="48" y="32"/>
                    <a:pt x="48" y="33"/>
                  </a:cubicBezTo>
                  <a:cubicBezTo>
                    <a:pt x="47" y="33"/>
                    <a:pt x="47" y="34"/>
                    <a:pt x="46" y="34"/>
                  </a:cubicBezTo>
                  <a:cubicBezTo>
                    <a:pt x="46" y="34"/>
                    <a:pt x="45" y="34"/>
                    <a:pt x="44" y="34"/>
                  </a:cubicBezTo>
                  <a:cubicBezTo>
                    <a:pt x="44" y="34"/>
                    <a:pt x="42" y="34"/>
                    <a:pt x="42" y="34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0" y="36"/>
                    <a:pt x="39" y="36"/>
                    <a:pt x="39" y="37"/>
                  </a:cubicBezTo>
                  <a:cubicBezTo>
                    <a:pt x="39" y="37"/>
                    <a:pt x="38" y="37"/>
                    <a:pt x="37" y="37"/>
                  </a:cubicBezTo>
                  <a:cubicBezTo>
                    <a:pt x="37" y="37"/>
                    <a:pt x="37" y="38"/>
                    <a:pt x="37" y="38"/>
                  </a:cubicBezTo>
                  <a:cubicBezTo>
                    <a:pt x="37" y="39"/>
                    <a:pt x="36" y="39"/>
                    <a:pt x="36" y="39"/>
                  </a:cubicBezTo>
                  <a:cubicBezTo>
                    <a:pt x="36" y="39"/>
                    <a:pt x="34" y="39"/>
                    <a:pt x="34" y="40"/>
                  </a:cubicBezTo>
                  <a:cubicBezTo>
                    <a:pt x="34" y="40"/>
                    <a:pt x="33" y="40"/>
                    <a:pt x="32" y="41"/>
                  </a:cubicBezTo>
                  <a:cubicBezTo>
                    <a:pt x="32" y="41"/>
                    <a:pt x="29" y="44"/>
                    <a:pt x="29" y="44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0" y="44"/>
                    <a:pt x="18" y="44"/>
                    <a:pt x="18" y="44"/>
                  </a:cubicBezTo>
                  <a:cubicBezTo>
                    <a:pt x="18" y="44"/>
                    <a:pt x="14" y="47"/>
                    <a:pt x="14" y="47"/>
                  </a:cubicBezTo>
                  <a:cubicBezTo>
                    <a:pt x="14" y="47"/>
                    <a:pt x="11" y="50"/>
                    <a:pt x="11" y="50"/>
                  </a:cubicBezTo>
                  <a:cubicBezTo>
                    <a:pt x="11" y="50"/>
                    <a:pt x="11" y="51"/>
                    <a:pt x="11" y="52"/>
                  </a:cubicBezTo>
                  <a:cubicBezTo>
                    <a:pt x="11" y="52"/>
                    <a:pt x="10" y="53"/>
                    <a:pt x="10" y="53"/>
                  </a:cubicBezTo>
                  <a:cubicBezTo>
                    <a:pt x="10" y="53"/>
                    <a:pt x="10" y="54"/>
                    <a:pt x="10" y="54"/>
                  </a:cubicBezTo>
                  <a:cubicBezTo>
                    <a:pt x="11" y="55"/>
                    <a:pt x="10" y="56"/>
                    <a:pt x="10" y="56"/>
                  </a:cubicBezTo>
                  <a:cubicBezTo>
                    <a:pt x="9" y="56"/>
                    <a:pt x="8" y="57"/>
                    <a:pt x="7" y="57"/>
                  </a:cubicBezTo>
                  <a:cubicBezTo>
                    <a:pt x="7" y="57"/>
                    <a:pt x="5" y="58"/>
                    <a:pt x="5" y="58"/>
                  </a:cubicBezTo>
                  <a:cubicBezTo>
                    <a:pt x="5" y="58"/>
                    <a:pt x="4" y="56"/>
                    <a:pt x="4" y="56"/>
                  </a:cubicBezTo>
                  <a:cubicBezTo>
                    <a:pt x="3" y="56"/>
                    <a:pt x="2" y="57"/>
                    <a:pt x="1" y="58"/>
                  </a:cubicBezTo>
                  <a:cubicBezTo>
                    <a:pt x="1" y="58"/>
                    <a:pt x="1" y="60"/>
                    <a:pt x="1" y="61"/>
                  </a:cubicBezTo>
                  <a:cubicBezTo>
                    <a:pt x="1" y="61"/>
                    <a:pt x="0" y="68"/>
                    <a:pt x="0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68"/>
                    <a:pt x="51" y="65"/>
                    <a:pt x="51" y="65"/>
                  </a:cubicBezTo>
                  <a:cubicBezTo>
                    <a:pt x="51" y="65"/>
                    <a:pt x="52" y="64"/>
                    <a:pt x="52" y="64"/>
                  </a:cubicBezTo>
                  <a:cubicBezTo>
                    <a:pt x="53" y="64"/>
                    <a:pt x="55" y="64"/>
                    <a:pt x="55" y="64"/>
                  </a:cubicBezTo>
                  <a:cubicBezTo>
                    <a:pt x="55" y="64"/>
                    <a:pt x="55" y="63"/>
                    <a:pt x="56" y="63"/>
                  </a:cubicBezTo>
                  <a:cubicBezTo>
                    <a:pt x="57" y="63"/>
                    <a:pt x="57" y="62"/>
                    <a:pt x="58" y="62"/>
                  </a:cubicBezTo>
                  <a:cubicBezTo>
                    <a:pt x="59" y="62"/>
                    <a:pt x="62" y="61"/>
                    <a:pt x="62" y="61"/>
                  </a:cubicBezTo>
                  <a:cubicBezTo>
                    <a:pt x="63" y="61"/>
                    <a:pt x="64" y="61"/>
                    <a:pt x="64" y="61"/>
                  </a:cubicBezTo>
                  <a:cubicBezTo>
                    <a:pt x="65" y="60"/>
                    <a:pt x="66" y="59"/>
                    <a:pt x="66" y="59"/>
                  </a:cubicBezTo>
                  <a:cubicBezTo>
                    <a:pt x="67" y="59"/>
                    <a:pt x="68" y="59"/>
                    <a:pt x="68" y="59"/>
                  </a:cubicBezTo>
                  <a:cubicBezTo>
                    <a:pt x="68" y="60"/>
                    <a:pt x="69" y="60"/>
                    <a:pt x="70" y="59"/>
                  </a:cubicBezTo>
                  <a:cubicBezTo>
                    <a:pt x="71" y="59"/>
                    <a:pt x="74" y="59"/>
                    <a:pt x="75" y="59"/>
                  </a:cubicBezTo>
                  <a:cubicBezTo>
                    <a:pt x="75" y="59"/>
                    <a:pt x="80" y="59"/>
                    <a:pt x="80" y="59"/>
                  </a:cubicBezTo>
                  <a:cubicBezTo>
                    <a:pt x="80" y="59"/>
                    <a:pt x="99" y="60"/>
                    <a:pt x="99" y="60"/>
                  </a:cubicBezTo>
                  <a:cubicBezTo>
                    <a:pt x="99" y="60"/>
                    <a:pt x="108" y="61"/>
                    <a:pt x="108" y="61"/>
                  </a:cubicBezTo>
                  <a:cubicBezTo>
                    <a:pt x="108" y="61"/>
                    <a:pt x="114" y="61"/>
                    <a:pt x="114" y="61"/>
                  </a:cubicBezTo>
                  <a:cubicBezTo>
                    <a:pt x="114" y="61"/>
                    <a:pt x="114" y="63"/>
                    <a:pt x="114" y="63"/>
                  </a:cubicBezTo>
                  <a:cubicBezTo>
                    <a:pt x="114" y="63"/>
                    <a:pt x="113" y="64"/>
                    <a:pt x="113" y="64"/>
                  </a:cubicBezTo>
                  <a:cubicBezTo>
                    <a:pt x="113" y="64"/>
                    <a:pt x="114" y="65"/>
                    <a:pt x="114" y="65"/>
                  </a:cubicBezTo>
                  <a:cubicBezTo>
                    <a:pt x="114" y="65"/>
                    <a:pt x="115" y="64"/>
                    <a:pt x="115" y="64"/>
                  </a:cubicBezTo>
                  <a:cubicBezTo>
                    <a:pt x="116" y="64"/>
                    <a:pt x="117" y="64"/>
                    <a:pt x="117" y="64"/>
                  </a:cubicBezTo>
                  <a:cubicBezTo>
                    <a:pt x="117" y="64"/>
                    <a:pt x="118" y="64"/>
                    <a:pt x="118" y="64"/>
                  </a:cubicBezTo>
                  <a:cubicBezTo>
                    <a:pt x="118" y="64"/>
                    <a:pt x="122" y="70"/>
                    <a:pt x="122" y="70"/>
                  </a:cubicBezTo>
                  <a:cubicBezTo>
                    <a:pt x="122" y="70"/>
                    <a:pt x="122" y="75"/>
                    <a:pt x="122" y="75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0" y="116"/>
                    <a:pt x="201" y="116"/>
                    <a:pt x="201" y="115"/>
                  </a:cubicBezTo>
                  <a:cubicBezTo>
                    <a:pt x="201" y="115"/>
                    <a:pt x="201" y="115"/>
                    <a:pt x="202" y="115"/>
                  </a:cubicBezTo>
                  <a:cubicBezTo>
                    <a:pt x="202" y="115"/>
                    <a:pt x="202" y="115"/>
                    <a:pt x="203" y="114"/>
                  </a:cubicBezTo>
                  <a:cubicBezTo>
                    <a:pt x="203" y="114"/>
                    <a:pt x="203" y="114"/>
                    <a:pt x="203" y="114"/>
                  </a:cubicBezTo>
                  <a:cubicBezTo>
                    <a:pt x="204" y="114"/>
                    <a:pt x="205" y="114"/>
                    <a:pt x="205" y="114"/>
                  </a:cubicBezTo>
                  <a:cubicBezTo>
                    <a:pt x="206" y="114"/>
                    <a:pt x="206" y="113"/>
                    <a:pt x="206" y="113"/>
                  </a:cubicBezTo>
                  <a:cubicBezTo>
                    <a:pt x="207" y="113"/>
                    <a:pt x="208" y="113"/>
                    <a:pt x="209" y="113"/>
                  </a:cubicBezTo>
                  <a:cubicBezTo>
                    <a:pt x="210" y="113"/>
                    <a:pt x="211" y="113"/>
                    <a:pt x="213" y="113"/>
                  </a:cubicBezTo>
                  <a:cubicBezTo>
                    <a:pt x="213" y="113"/>
                    <a:pt x="214" y="113"/>
                    <a:pt x="215" y="113"/>
                  </a:cubicBezTo>
                  <a:cubicBezTo>
                    <a:pt x="215" y="114"/>
                    <a:pt x="215" y="114"/>
                    <a:pt x="216" y="114"/>
                  </a:cubicBezTo>
                  <a:cubicBezTo>
                    <a:pt x="216" y="114"/>
                    <a:pt x="217" y="114"/>
                    <a:pt x="217" y="114"/>
                  </a:cubicBezTo>
                  <a:cubicBezTo>
                    <a:pt x="218" y="114"/>
                    <a:pt x="218" y="114"/>
                    <a:pt x="218" y="114"/>
                  </a:cubicBezTo>
                  <a:cubicBezTo>
                    <a:pt x="219" y="113"/>
                    <a:pt x="219" y="113"/>
                    <a:pt x="219" y="113"/>
                  </a:cubicBezTo>
                  <a:cubicBezTo>
                    <a:pt x="219" y="112"/>
                    <a:pt x="220" y="112"/>
                    <a:pt x="220" y="111"/>
                  </a:cubicBezTo>
                  <a:cubicBezTo>
                    <a:pt x="220" y="111"/>
                    <a:pt x="220" y="110"/>
                    <a:pt x="220" y="109"/>
                  </a:cubicBezTo>
                  <a:cubicBezTo>
                    <a:pt x="220" y="108"/>
                    <a:pt x="220" y="108"/>
                    <a:pt x="220" y="107"/>
                  </a:cubicBezTo>
                  <a:cubicBezTo>
                    <a:pt x="220" y="106"/>
                    <a:pt x="221" y="106"/>
                    <a:pt x="221" y="106"/>
                  </a:cubicBezTo>
                  <a:cubicBezTo>
                    <a:pt x="221" y="105"/>
                    <a:pt x="221" y="105"/>
                    <a:pt x="221" y="105"/>
                  </a:cubicBezTo>
                  <a:cubicBezTo>
                    <a:pt x="221" y="105"/>
                    <a:pt x="222" y="106"/>
                    <a:pt x="222" y="106"/>
                  </a:cubicBezTo>
                  <a:cubicBezTo>
                    <a:pt x="222" y="107"/>
                    <a:pt x="221" y="107"/>
                    <a:pt x="222" y="108"/>
                  </a:cubicBezTo>
                  <a:cubicBezTo>
                    <a:pt x="222" y="108"/>
                    <a:pt x="222" y="108"/>
                    <a:pt x="222" y="109"/>
                  </a:cubicBezTo>
                  <a:cubicBezTo>
                    <a:pt x="222" y="109"/>
                    <a:pt x="222" y="108"/>
                    <a:pt x="223" y="108"/>
                  </a:cubicBezTo>
                  <a:cubicBezTo>
                    <a:pt x="223" y="108"/>
                    <a:pt x="223" y="107"/>
                    <a:pt x="223" y="107"/>
                  </a:cubicBezTo>
                  <a:cubicBezTo>
                    <a:pt x="223" y="107"/>
                    <a:pt x="223" y="106"/>
                    <a:pt x="223" y="106"/>
                  </a:cubicBezTo>
                  <a:cubicBezTo>
                    <a:pt x="223" y="106"/>
                    <a:pt x="224" y="105"/>
                    <a:pt x="224" y="105"/>
                  </a:cubicBezTo>
                  <a:cubicBezTo>
                    <a:pt x="224" y="105"/>
                    <a:pt x="224" y="104"/>
                    <a:pt x="225" y="104"/>
                  </a:cubicBezTo>
                  <a:cubicBezTo>
                    <a:pt x="225" y="104"/>
                    <a:pt x="225" y="103"/>
                    <a:pt x="225" y="103"/>
                  </a:cubicBezTo>
                  <a:cubicBezTo>
                    <a:pt x="225" y="102"/>
                    <a:pt x="225" y="102"/>
                    <a:pt x="225" y="101"/>
                  </a:cubicBezTo>
                  <a:cubicBezTo>
                    <a:pt x="225" y="100"/>
                    <a:pt x="226" y="100"/>
                    <a:pt x="227" y="100"/>
                  </a:cubicBezTo>
                  <a:cubicBezTo>
                    <a:pt x="228" y="99"/>
                    <a:pt x="228" y="98"/>
                    <a:pt x="229" y="98"/>
                  </a:cubicBezTo>
                  <a:cubicBezTo>
                    <a:pt x="230" y="97"/>
                    <a:pt x="230" y="97"/>
                    <a:pt x="230" y="97"/>
                  </a:cubicBezTo>
                  <a:cubicBezTo>
                    <a:pt x="230" y="96"/>
                    <a:pt x="231" y="96"/>
                    <a:pt x="231" y="95"/>
                  </a:cubicBezTo>
                  <a:cubicBezTo>
                    <a:pt x="231" y="95"/>
                    <a:pt x="232" y="94"/>
                    <a:pt x="233" y="93"/>
                  </a:cubicBezTo>
                  <a:cubicBezTo>
                    <a:pt x="233" y="93"/>
                    <a:pt x="234" y="92"/>
                    <a:pt x="234" y="91"/>
                  </a:cubicBezTo>
                  <a:cubicBezTo>
                    <a:pt x="235" y="91"/>
                    <a:pt x="235" y="91"/>
                    <a:pt x="235" y="91"/>
                  </a:cubicBezTo>
                  <a:cubicBezTo>
                    <a:pt x="235" y="91"/>
                    <a:pt x="235" y="91"/>
                    <a:pt x="236" y="91"/>
                  </a:cubicBezTo>
                  <a:cubicBezTo>
                    <a:pt x="236" y="91"/>
                    <a:pt x="236" y="91"/>
                    <a:pt x="237" y="90"/>
                  </a:cubicBezTo>
                  <a:cubicBezTo>
                    <a:pt x="237" y="90"/>
                    <a:pt x="238" y="89"/>
                    <a:pt x="239" y="89"/>
                  </a:cubicBezTo>
                  <a:cubicBezTo>
                    <a:pt x="239" y="89"/>
                    <a:pt x="239" y="89"/>
                    <a:pt x="240" y="89"/>
                  </a:cubicBezTo>
                  <a:cubicBezTo>
                    <a:pt x="240" y="89"/>
                    <a:pt x="240" y="88"/>
                    <a:pt x="240" y="88"/>
                  </a:cubicBezTo>
                  <a:cubicBezTo>
                    <a:pt x="240" y="88"/>
                    <a:pt x="242" y="87"/>
                    <a:pt x="242" y="87"/>
                  </a:cubicBezTo>
                  <a:cubicBezTo>
                    <a:pt x="242" y="87"/>
                    <a:pt x="241" y="86"/>
                    <a:pt x="241" y="86"/>
                  </a:cubicBezTo>
                  <a:cubicBezTo>
                    <a:pt x="241" y="86"/>
                    <a:pt x="240" y="86"/>
                    <a:pt x="240" y="86"/>
                  </a:cubicBezTo>
                  <a:cubicBezTo>
                    <a:pt x="239" y="86"/>
                    <a:pt x="239" y="85"/>
                    <a:pt x="239" y="85"/>
                  </a:cubicBezTo>
                  <a:cubicBezTo>
                    <a:pt x="239" y="85"/>
                    <a:pt x="238" y="84"/>
                    <a:pt x="238" y="84"/>
                  </a:cubicBezTo>
                  <a:cubicBezTo>
                    <a:pt x="238" y="84"/>
                    <a:pt x="239" y="84"/>
                    <a:pt x="239" y="84"/>
                  </a:cubicBezTo>
                  <a:cubicBezTo>
                    <a:pt x="239" y="84"/>
                    <a:pt x="240" y="83"/>
                    <a:pt x="240" y="83"/>
                  </a:cubicBezTo>
                  <a:cubicBezTo>
                    <a:pt x="241" y="82"/>
                    <a:pt x="240" y="82"/>
                    <a:pt x="239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39" y="80"/>
                    <a:pt x="240" y="80"/>
                    <a:pt x="240" y="80"/>
                  </a:cubicBezTo>
                  <a:cubicBezTo>
                    <a:pt x="240" y="80"/>
                    <a:pt x="241" y="81"/>
                    <a:pt x="241" y="81"/>
                  </a:cubicBezTo>
                  <a:cubicBezTo>
                    <a:pt x="241" y="82"/>
                    <a:pt x="241" y="82"/>
                    <a:pt x="241" y="83"/>
                  </a:cubicBezTo>
                  <a:cubicBezTo>
                    <a:pt x="242" y="83"/>
                    <a:pt x="242" y="83"/>
                    <a:pt x="242" y="83"/>
                  </a:cubicBezTo>
                  <a:cubicBezTo>
                    <a:pt x="242" y="84"/>
                    <a:pt x="242" y="84"/>
                    <a:pt x="242" y="84"/>
                  </a:cubicBezTo>
                  <a:cubicBezTo>
                    <a:pt x="242" y="85"/>
                    <a:pt x="242" y="85"/>
                    <a:pt x="242" y="86"/>
                  </a:cubicBezTo>
                  <a:cubicBezTo>
                    <a:pt x="242" y="86"/>
                    <a:pt x="242" y="87"/>
                    <a:pt x="243" y="86"/>
                  </a:cubicBezTo>
                  <a:cubicBezTo>
                    <a:pt x="243" y="86"/>
                    <a:pt x="244" y="86"/>
                    <a:pt x="244" y="86"/>
                  </a:cubicBezTo>
                  <a:cubicBezTo>
                    <a:pt x="245" y="85"/>
                    <a:pt x="246" y="84"/>
                    <a:pt x="247" y="84"/>
                  </a:cubicBezTo>
                  <a:cubicBezTo>
                    <a:pt x="247" y="83"/>
                    <a:pt x="248" y="82"/>
                    <a:pt x="249" y="82"/>
                  </a:cubicBezTo>
                  <a:cubicBezTo>
                    <a:pt x="249" y="82"/>
                    <a:pt x="250" y="82"/>
                    <a:pt x="250" y="82"/>
                  </a:cubicBezTo>
                  <a:cubicBezTo>
                    <a:pt x="250" y="81"/>
                    <a:pt x="251" y="81"/>
                    <a:pt x="252" y="81"/>
                  </a:cubicBezTo>
                  <a:cubicBezTo>
                    <a:pt x="252" y="81"/>
                    <a:pt x="252" y="81"/>
                    <a:pt x="253" y="81"/>
                  </a:cubicBezTo>
                  <a:cubicBezTo>
                    <a:pt x="253" y="81"/>
                    <a:pt x="253" y="81"/>
                    <a:pt x="254" y="81"/>
                  </a:cubicBezTo>
                  <a:cubicBezTo>
                    <a:pt x="254" y="81"/>
                    <a:pt x="255" y="81"/>
                    <a:pt x="255" y="81"/>
                  </a:cubicBezTo>
                  <a:cubicBezTo>
                    <a:pt x="256" y="81"/>
                    <a:pt x="256" y="80"/>
                    <a:pt x="256" y="80"/>
                  </a:cubicBezTo>
                  <a:cubicBezTo>
                    <a:pt x="257" y="80"/>
                    <a:pt x="258" y="80"/>
                    <a:pt x="259" y="80"/>
                  </a:cubicBezTo>
                  <a:cubicBezTo>
                    <a:pt x="259" y="80"/>
                    <a:pt x="260" y="80"/>
                    <a:pt x="260" y="79"/>
                  </a:cubicBezTo>
                  <a:cubicBezTo>
                    <a:pt x="260" y="79"/>
                    <a:pt x="260" y="79"/>
                    <a:pt x="261" y="79"/>
                  </a:cubicBezTo>
                  <a:cubicBezTo>
                    <a:pt x="261" y="79"/>
                    <a:pt x="261" y="78"/>
                    <a:pt x="262" y="78"/>
                  </a:cubicBezTo>
                  <a:cubicBezTo>
                    <a:pt x="262" y="78"/>
                    <a:pt x="263" y="78"/>
                    <a:pt x="264" y="77"/>
                  </a:cubicBezTo>
                  <a:cubicBezTo>
                    <a:pt x="264" y="77"/>
                    <a:pt x="265" y="77"/>
                    <a:pt x="265" y="78"/>
                  </a:cubicBezTo>
                  <a:cubicBezTo>
                    <a:pt x="265" y="78"/>
                    <a:pt x="265" y="78"/>
                    <a:pt x="265" y="79"/>
                  </a:cubicBezTo>
                  <a:cubicBezTo>
                    <a:pt x="265" y="79"/>
                    <a:pt x="265" y="79"/>
                    <a:pt x="266" y="80"/>
                  </a:cubicBezTo>
                  <a:cubicBezTo>
                    <a:pt x="266" y="80"/>
                    <a:pt x="266" y="80"/>
                    <a:pt x="266" y="79"/>
                  </a:cubicBezTo>
                  <a:cubicBezTo>
                    <a:pt x="267" y="79"/>
                    <a:pt x="266" y="77"/>
                    <a:pt x="268" y="78"/>
                  </a:cubicBezTo>
                  <a:cubicBezTo>
                    <a:pt x="268" y="78"/>
                    <a:pt x="268" y="79"/>
                    <a:pt x="268" y="79"/>
                  </a:cubicBezTo>
                  <a:cubicBezTo>
                    <a:pt x="268" y="79"/>
                    <a:pt x="269" y="79"/>
                    <a:pt x="269" y="79"/>
                  </a:cubicBezTo>
                  <a:cubicBezTo>
                    <a:pt x="270" y="79"/>
                    <a:pt x="270" y="79"/>
                    <a:pt x="271" y="79"/>
                  </a:cubicBezTo>
                  <a:cubicBezTo>
                    <a:pt x="271" y="78"/>
                    <a:pt x="271" y="78"/>
                    <a:pt x="271" y="78"/>
                  </a:cubicBezTo>
                  <a:cubicBezTo>
                    <a:pt x="272" y="77"/>
                    <a:pt x="272" y="76"/>
                    <a:pt x="272" y="75"/>
                  </a:cubicBezTo>
                  <a:cubicBezTo>
                    <a:pt x="273" y="75"/>
                    <a:pt x="273" y="74"/>
                    <a:pt x="273" y="73"/>
                  </a:cubicBezTo>
                  <a:cubicBezTo>
                    <a:pt x="274" y="73"/>
                    <a:pt x="274" y="72"/>
                    <a:pt x="274" y="73"/>
                  </a:cubicBezTo>
                  <a:cubicBezTo>
                    <a:pt x="275" y="73"/>
                    <a:pt x="275" y="73"/>
                    <a:pt x="275" y="73"/>
                  </a:cubicBezTo>
                  <a:cubicBezTo>
                    <a:pt x="275" y="73"/>
                    <a:pt x="275" y="73"/>
                    <a:pt x="276" y="73"/>
                  </a:cubicBezTo>
                  <a:cubicBezTo>
                    <a:pt x="276" y="73"/>
                    <a:pt x="276" y="73"/>
                    <a:pt x="277" y="72"/>
                  </a:cubicBezTo>
                  <a:cubicBezTo>
                    <a:pt x="277" y="72"/>
                    <a:pt x="278" y="71"/>
                    <a:pt x="278" y="71"/>
                  </a:cubicBezTo>
                  <a:cubicBezTo>
                    <a:pt x="278" y="70"/>
                    <a:pt x="279" y="70"/>
                    <a:pt x="278" y="69"/>
                  </a:cubicBezTo>
                  <a:cubicBezTo>
                    <a:pt x="277" y="69"/>
                    <a:pt x="277" y="69"/>
                    <a:pt x="276" y="69"/>
                  </a:cubicBezTo>
                  <a:cubicBezTo>
                    <a:pt x="276" y="69"/>
                    <a:pt x="275" y="69"/>
                    <a:pt x="274" y="69"/>
                  </a:cubicBezTo>
                  <a:cubicBezTo>
                    <a:pt x="273" y="69"/>
                    <a:pt x="273" y="69"/>
                    <a:pt x="273" y="68"/>
                  </a:cubicBezTo>
                  <a:cubicBezTo>
                    <a:pt x="273" y="68"/>
                    <a:pt x="273" y="67"/>
                    <a:pt x="273" y="66"/>
                  </a:cubicBezTo>
                  <a:cubicBezTo>
                    <a:pt x="273" y="66"/>
                    <a:pt x="273" y="66"/>
                    <a:pt x="272" y="66"/>
                  </a:cubicBezTo>
                  <a:cubicBezTo>
                    <a:pt x="272" y="66"/>
                    <a:pt x="272" y="66"/>
                    <a:pt x="272" y="67"/>
                  </a:cubicBezTo>
                  <a:cubicBezTo>
                    <a:pt x="272" y="67"/>
                    <a:pt x="272" y="67"/>
                    <a:pt x="271" y="67"/>
                  </a:cubicBezTo>
                  <a:cubicBezTo>
                    <a:pt x="271" y="67"/>
                    <a:pt x="271" y="68"/>
                    <a:pt x="270" y="68"/>
                  </a:cubicBezTo>
                  <a:cubicBezTo>
                    <a:pt x="269" y="68"/>
                    <a:pt x="269" y="68"/>
                    <a:pt x="269" y="68"/>
                  </a:cubicBezTo>
                  <a:cubicBezTo>
                    <a:pt x="268" y="68"/>
                    <a:pt x="268" y="68"/>
                    <a:pt x="267" y="69"/>
                  </a:cubicBezTo>
                  <a:cubicBezTo>
                    <a:pt x="267" y="69"/>
                    <a:pt x="266" y="69"/>
                    <a:pt x="266" y="69"/>
                  </a:cubicBezTo>
                  <a:cubicBezTo>
                    <a:pt x="266" y="69"/>
                    <a:pt x="265" y="70"/>
                    <a:pt x="265" y="70"/>
                  </a:cubicBezTo>
                  <a:cubicBezTo>
                    <a:pt x="264" y="70"/>
                    <a:pt x="264" y="70"/>
                    <a:pt x="264" y="70"/>
                  </a:cubicBezTo>
                  <a:cubicBezTo>
                    <a:pt x="264" y="70"/>
                    <a:pt x="264" y="70"/>
                    <a:pt x="263" y="70"/>
                  </a:cubicBezTo>
                  <a:cubicBezTo>
                    <a:pt x="263" y="71"/>
                    <a:pt x="263" y="71"/>
                    <a:pt x="262" y="71"/>
                  </a:cubicBezTo>
                  <a:cubicBezTo>
                    <a:pt x="262" y="71"/>
                    <a:pt x="261" y="71"/>
                    <a:pt x="261" y="71"/>
                  </a:cubicBezTo>
                  <a:cubicBezTo>
                    <a:pt x="261" y="71"/>
                    <a:pt x="260" y="71"/>
                    <a:pt x="260" y="71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8" y="69"/>
                    <a:pt x="257" y="69"/>
                    <a:pt x="257" y="69"/>
                  </a:cubicBezTo>
                  <a:cubicBezTo>
                    <a:pt x="256" y="69"/>
                    <a:pt x="255" y="69"/>
                    <a:pt x="255" y="68"/>
                  </a:cubicBezTo>
                  <a:cubicBezTo>
                    <a:pt x="255" y="68"/>
                    <a:pt x="255" y="67"/>
                    <a:pt x="254" y="67"/>
                  </a:cubicBezTo>
                  <a:cubicBezTo>
                    <a:pt x="254" y="66"/>
                    <a:pt x="254" y="66"/>
                    <a:pt x="253" y="65"/>
                  </a:cubicBezTo>
                  <a:cubicBezTo>
                    <a:pt x="253" y="65"/>
                    <a:pt x="253" y="64"/>
                    <a:pt x="252" y="64"/>
                  </a:cubicBezTo>
                  <a:cubicBezTo>
                    <a:pt x="252" y="64"/>
                    <a:pt x="252" y="64"/>
                    <a:pt x="252" y="64"/>
                  </a:cubicBezTo>
                  <a:cubicBezTo>
                    <a:pt x="253" y="63"/>
                    <a:pt x="253" y="64"/>
                    <a:pt x="254" y="64"/>
                  </a:cubicBezTo>
                  <a:cubicBezTo>
                    <a:pt x="254" y="64"/>
                    <a:pt x="254" y="64"/>
                    <a:pt x="254" y="64"/>
                  </a:cubicBezTo>
                  <a:cubicBezTo>
                    <a:pt x="254" y="65"/>
                    <a:pt x="255" y="65"/>
                    <a:pt x="255" y="65"/>
                  </a:cubicBezTo>
                  <a:cubicBezTo>
                    <a:pt x="255" y="65"/>
                    <a:pt x="255" y="65"/>
                    <a:pt x="256" y="66"/>
                  </a:cubicBezTo>
                  <a:cubicBezTo>
                    <a:pt x="256" y="66"/>
                    <a:pt x="257" y="67"/>
                    <a:pt x="258" y="67"/>
                  </a:cubicBezTo>
                  <a:cubicBezTo>
                    <a:pt x="258" y="67"/>
                    <a:pt x="258" y="68"/>
                    <a:pt x="258" y="68"/>
                  </a:cubicBezTo>
                  <a:cubicBezTo>
                    <a:pt x="259" y="68"/>
                    <a:pt x="259" y="68"/>
                    <a:pt x="259" y="68"/>
                  </a:cubicBezTo>
                  <a:cubicBezTo>
                    <a:pt x="260" y="69"/>
                    <a:pt x="260" y="69"/>
                    <a:pt x="260" y="69"/>
                  </a:cubicBezTo>
                  <a:cubicBezTo>
                    <a:pt x="261" y="69"/>
                    <a:pt x="261" y="69"/>
                    <a:pt x="262" y="68"/>
                  </a:cubicBezTo>
                  <a:cubicBezTo>
                    <a:pt x="262" y="68"/>
                    <a:pt x="263" y="68"/>
                    <a:pt x="263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5" y="67"/>
                    <a:pt x="265" y="67"/>
                  </a:cubicBezTo>
                  <a:cubicBezTo>
                    <a:pt x="265" y="66"/>
                    <a:pt x="265" y="66"/>
                    <a:pt x="265" y="66"/>
                  </a:cubicBezTo>
                  <a:cubicBezTo>
                    <a:pt x="266" y="66"/>
                    <a:pt x="266" y="66"/>
                    <a:pt x="266" y="65"/>
                  </a:cubicBezTo>
                  <a:cubicBezTo>
                    <a:pt x="267" y="65"/>
                    <a:pt x="267" y="65"/>
                    <a:pt x="267" y="65"/>
                  </a:cubicBezTo>
                  <a:cubicBezTo>
                    <a:pt x="268" y="64"/>
                    <a:pt x="268" y="64"/>
                    <a:pt x="268" y="63"/>
                  </a:cubicBezTo>
                  <a:cubicBezTo>
                    <a:pt x="268" y="63"/>
                    <a:pt x="268" y="62"/>
                    <a:pt x="268" y="61"/>
                  </a:cubicBezTo>
                  <a:cubicBezTo>
                    <a:pt x="267" y="60"/>
                    <a:pt x="266" y="61"/>
                    <a:pt x="265" y="61"/>
                  </a:cubicBezTo>
                  <a:cubicBezTo>
                    <a:pt x="265" y="61"/>
                    <a:pt x="265" y="61"/>
                    <a:pt x="264" y="61"/>
                  </a:cubicBezTo>
                  <a:cubicBezTo>
                    <a:pt x="264" y="62"/>
                    <a:pt x="264" y="61"/>
                    <a:pt x="264" y="61"/>
                  </a:cubicBezTo>
                  <a:cubicBezTo>
                    <a:pt x="264" y="61"/>
                    <a:pt x="264" y="61"/>
                    <a:pt x="265" y="60"/>
                  </a:cubicBezTo>
                  <a:cubicBezTo>
                    <a:pt x="265" y="60"/>
                    <a:pt x="265" y="60"/>
                    <a:pt x="265" y="60"/>
                  </a:cubicBezTo>
                  <a:cubicBezTo>
                    <a:pt x="266" y="59"/>
                    <a:pt x="266" y="59"/>
                    <a:pt x="267" y="59"/>
                  </a:cubicBezTo>
                  <a:cubicBezTo>
                    <a:pt x="267" y="59"/>
                    <a:pt x="268" y="60"/>
                    <a:pt x="269" y="59"/>
                  </a:cubicBezTo>
                  <a:cubicBezTo>
                    <a:pt x="269" y="59"/>
                    <a:pt x="270" y="59"/>
                    <a:pt x="270" y="59"/>
                  </a:cubicBezTo>
                  <a:cubicBezTo>
                    <a:pt x="270" y="58"/>
                    <a:pt x="270" y="57"/>
                    <a:pt x="270" y="56"/>
                  </a:cubicBezTo>
                  <a:cubicBezTo>
                    <a:pt x="271" y="56"/>
                    <a:pt x="271" y="56"/>
                    <a:pt x="271" y="55"/>
                  </a:cubicBezTo>
                  <a:cubicBezTo>
                    <a:pt x="270" y="54"/>
                    <a:pt x="268" y="54"/>
                    <a:pt x="267" y="54"/>
                  </a:cubicBezTo>
                  <a:cubicBezTo>
                    <a:pt x="266" y="54"/>
                    <a:pt x="266" y="53"/>
                    <a:pt x="265" y="53"/>
                  </a:cubicBezTo>
                  <a:cubicBezTo>
                    <a:pt x="265" y="53"/>
                    <a:pt x="264" y="53"/>
                    <a:pt x="264" y="53"/>
                  </a:cubicBezTo>
                  <a:cubicBezTo>
                    <a:pt x="264" y="53"/>
                    <a:pt x="263" y="53"/>
                    <a:pt x="263" y="53"/>
                  </a:cubicBezTo>
                  <a:cubicBezTo>
                    <a:pt x="263" y="52"/>
                    <a:pt x="263" y="52"/>
                    <a:pt x="262" y="52"/>
                  </a:cubicBezTo>
                  <a:cubicBezTo>
                    <a:pt x="261" y="52"/>
                    <a:pt x="260" y="51"/>
                    <a:pt x="259" y="51"/>
                  </a:cubicBezTo>
                  <a:cubicBezTo>
                    <a:pt x="259" y="50"/>
                    <a:pt x="258" y="50"/>
                    <a:pt x="258" y="50"/>
                  </a:cubicBezTo>
                  <a:cubicBezTo>
                    <a:pt x="257" y="49"/>
                    <a:pt x="256" y="49"/>
                    <a:pt x="256" y="48"/>
                  </a:cubicBezTo>
                  <a:cubicBezTo>
                    <a:pt x="255" y="48"/>
                    <a:pt x="254" y="48"/>
                    <a:pt x="254" y="47"/>
                  </a:cubicBezTo>
                  <a:cubicBezTo>
                    <a:pt x="255" y="47"/>
                    <a:pt x="256" y="48"/>
                    <a:pt x="257" y="48"/>
                  </a:cubicBezTo>
                  <a:cubicBezTo>
                    <a:pt x="258" y="49"/>
                    <a:pt x="260" y="49"/>
                    <a:pt x="261" y="49"/>
                  </a:cubicBezTo>
                  <a:cubicBezTo>
                    <a:pt x="262" y="50"/>
                    <a:pt x="264" y="50"/>
                    <a:pt x="265" y="50"/>
                  </a:cubicBezTo>
                  <a:cubicBezTo>
                    <a:pt x="265" y="51"/>
                    <a:pt x="266" y="51"/>
                    <a:pt x="266" y="51"/>
                  </a:cubicBezTo>
                  <a:cubicBezTo>
                    <a:pt x="266" y="51"/>
                    <a:pt x="267" y="51"/>
                    <a:pt x="267" y="51"/>
                  </a:cubicBezTo>
                  <a:cubicBezTo>
                    <a:pt x="268" y="51"/>
                    <a:pt x="267" y="50"/>
                    <a:pt x="267" y="49"/>
                  </a:cubicBezTo>
                  <a:cubicBezTo>
                    <a:pt x="266" y="49"/>
                    <a:pt x="266" y="48"/>
                    <a:pt x="266" y="47"/>
                  </a:cubicBezTo>
                  <a:cubicBezTo>
                    <a:pt x="267" y="47"/>
                    <a:pt x="267" y="46"/>
                    <a:pt x="267" y="46"/>
                  </a:cubicBezTo>
                  <a:cubicBezTo>
                    <a:pt x="268" y="45"/>
                    <a:pt x="268" y="45"/>
                    <a:pt x="269" y="45"/>
                  </a:cubicBezTo>
                  <a:cubicBezTo>
                    <a:pt x="270" y="45"/>
                    <a:pt x="271" y="45"/>
                    <a:pt x="271" y="45"/>
                  </a:cubicBezTo>
                  <a:cubicBezTo>
                    <a:pt x="271" y="46"/>
                    <a:pt x="271" y="47"/>
                    <a:pt x="271" y="47"/>
                  </a:cubicBezTo>
                  <a:cubicBezTo>
                    <a:pt x="270" y="47"/>
                    <a:pt x="270" y="47"/>
                    <a:pt x="269" y="46"/>
                  </a:cubicBezTo>
                  <a:cubicBezTo>
                    <a:pt x="269" y="46"/>
                    <a:pt x="268" y="46"/>
                    <a:pt x="268" y="47"/>
                  </a:cubicBezTo>
                  <a:cubicBezTo>
                    <a:pt x="268" y="47"/>
                    <a:pt x="269" y="48"/>
                    <a:pt x="269" y="48"/>
                  </a:cubicBezTo>
                  <a:cubicBezTo>
                    <a:pt x="269" y="49"/>
                    <a:pt x="270" y="49"/>
                    <a:pt x="270" y="50"/>
                  </a:cubicBezTo>
                  <a:cubicBezTo>
                    <a:pt x="270" y="50"/>
                    <a:pt x="270" y="51"/>
                    <a:pt x="271" y="51"/>
                  </a:cubicBezTo>
                  <a:cubicBezTo>
                    <a:pt x="271" y="52"/>
                    <a:pt x="272" y="52"/>
                    <a:pt x="272" y="52"/>
                  </a:cubicBezTo>
                  <a:cubicBezTo>
                    <a:pt x="273" y="51"/>
                    <a:pt x="273" y="50"/>
                    <a:pt x="274" y="50"/>
                  </a:cubicBezTo>
                  <a:cubicBezTo>
                    <a:pt x="275" y="50"/>
                    <a:pt x="275" y="51"/>
                    <a:pt x="276" y="51"/>
                  </a:cubicBezTo>
                  <a:cubicBezTo>
                    <a:pt x="276" y="52"/>
                    <a:pt x="277" y="52"/>
                    <a:pt x="277" y="53"/>
                  </a:cubicBezTo>
                  <a:cubicBezTo>
                    <a:pt x="278" y="53"/>
                    <a:pt x="278" y="53"/>
                    <a:pt x="279" y="53"/>
                  </a:cubicBezTo>
                  <a:cubicBezTo>
                    <a:pt x="279" y="53"/>
                    <a:pt x="280" y="53"/>
                    <a:pt x="281" y="54"/>
                  </a:cubicBezTo>
                  <a:cubicBezTo>
                    <a:pt x="281" y="54"/>
                    <a:pt x="281" y="54"/>
                    <a:pt x="282" y="54"/>
                  </a:cubicBezTo>
                  <a:cubicBezTo>
                    <a:pt x="283" y="54"/>
                    <a:pt x="283" y="54"/>
                    <a:pt x="283" y="53"/>
                  </a:cubicBezTo>
                  <a:cubicBezTo>
                    <a:pt x="284" y="53"/>
                    <a:pt x="285" y="53"/>
                    <a:pt x="285" y="52"/>
                  </a:cubicBezTo>
                  <a:cubicBezTo>
                    <a:pt x="286" y="52"/>
                    <a:pt x="286" y="51"/>
                    <a:pt x="287" y="51"/>
                  </a:cubicBezTo>
                  <a:cubicBezTo>
                    <a:pt x="287" y="50"/>
                    <a:pt x="288" y="49"/>
                    <a:pt x="288" y="49"/>
                  </a:cubicBezTo>
                  <a:cubicBezTo>
                    <a:pt x="289" y="47"/>
                    <a:pt x="289" y="46"/>
                    <a:pt x="290" y="45"/>
                  </a:cubicBezTo>
                  <a:cubicBezTo>
                    <a:pt x="291" y="44"/>
                    <a:pt x="293" y="43"/>
                    <a:pt x="294" y="43"/>
                  </a:cubicBezTo>
                  <a:cubicBezTo>
                    <a:pt x="295" y="43"/>
                    <a:pt x="295" y="43"/>
                    <a:pt x="296" y="43"/>
                  </a:cubicBezTo>
                  <a:cubicBezTo>
                    <a:pt x="296" y="43"/>
                    <a:pt x="296" y="42"/>
                    <a:pt x="296" y="42"/>
                  </a:cubicBezTo>
                  <a:cubicBezTo>
                    <a:pt x="296" y="41"/>
                    <a:pt x="297" y="40"/>
                    <a:pt x="298" y="39"/>
                  </a:cubicBezTo>
                  <a:cubicBezTo>
                    <a:pt x="298" y="39"/>
                    <a:pt x="298" y="38"/>
                    <a:pt x="298" y="38"/>
                  </a:cubicBezTo>
                  <a:cubicBezTo>
                    <a:pt x="298" y="37"/>
                    <a:pt x="298" y="37"/>
                    <a:pt x="298" y="37"/>
                  </a:cubicBezTo>
                  <a:cubicBezTo>
                    <a:pt x="297" y="36"/>
                    <a:pt x="297" y="35"/>
                    <a:pt x="297" y="34"/>
                  </a:cubicBezTo>
                  <a:cubicBezTo>
                    <a:pt x="297" y="34"/>
                    <a:pt x="297" y="33"/>
                    <a:pt x="297" y="33"/>
                  </a:cubicBezTo>
                  <a:cubicBezTo>
                    <a:pt x="297" y="32"/>
                    <a:pt x="297" y="31"/>
                    <a:pt x="296" y="30"/>
                  </a:cubicBezTo>
                  <a:cubicBezTo>
                    <a:pt x="296" y="29"/>
                    <a:pt x="295" y="29"/>
                    <a:pt x="294" y="29"/>
                  </a:cubicBezTo>
                  <a:cubicBezTo>
                    <a:pt x="293" y="29"/>
                    <a:pt x="292" y="28"/>
                    <a:pt x="291" y="29"/>
                  </a:cubicBezTo>
                  <a:cubicBezTo>
                    <a:pt x="290" y="29"/>
                    <a:pt x="289" y="30"/>
                    <a:pt x="288" y="31"/>
                  </a:cubicBezTo>
                  <a:cubicBezTo>
                    <a:pt x="288" y="31"/>
                    <a:pt x="288" y="32"/>
                    <a:pt x="288" y="32"/>
                  </a:cubicBezTo>
                  <a:cubicBezTo>
                    <a:pt x="288" y="33"/>
                    <a:pt x="288" y="34"/>
                    <a:pt x="288" y="35"/>
                  </a:cubicBezTo>
                  <a:cubicBezTo>
                    <a:pt x="288" y="36"/>
                    <a:pt x="288" y="38"/>
                    <a:pt x="288" y="39"/>
                  </a:cubicBezTo>
                  <a:cubicBezTo>
                    <a:pt x="287" y="40"/>
                    <a:pt x="286" y="40"/>
                    <a:pt x="285" y="40"/>
                  </a:cubicBezTo>
                  <a:cubicBezTo>
                    <a:pt x="284" y="39"/>
                    <a:pt x="284" y="39"/>
                    <a:pt x="284" y="39"/>
                  </a:cubicBezTo>
                  <a:cubicBezTo>
                    <a:pt x="283" y="39"/>
                    <a:pt x="283" y="38"/>
                    <a:pt x="284" y="38"/>
                  </a:cubicBezTo>
                  <a:cubicBezTo>
                    <a:pt x="284" y="38"/>
                    <a:pt x="284" y="39"/>
                    <a:pt x="285" y="39"/>
                  </a:cubicBezTo>
                  <a:cubicBezTo>
                    <a:pt x="285" y="39"/>
                    <a:pt x="285" y="39"/>
                    <a:pt x="285" y="38"/>
                  </a:cubicBezTo>
                  <a:cubicBezTo>
                    <a:pt x="285" y="37"/>
                    <a:pt x="286" y="37"/>
                    <a:pt x="286" y="36"/>
                  </a:cubicBezTo>
                  <a:cubicBezTo>
                    <a:pt x="286" y="35"/>
                    <a:pt x="286" y="34"/>
                    <a:pt x="286" y="33"/>
                  </a:cubicBezTo>
                  <a:cubicBezTo>
                    <a:pt x="286" y="32"/>
                    <a:pt x="286" y="31"/>
                    <a:pt x="286" y="30"/>
                  </a:cubicBezTo>
                  <a:cubicBezTo>
                    <a:pt x="285" y="29"/>
                    <a:pt x="286" y="29"/>
                    <a:pt x="286" y="29"/>
                  </a:cubicBezTo>
                  <a:cubicBezTo>
                    <a:pt x="286" y="28"/>
                    <a:pt x="286" y="27"/>
                    <a:pt x="286" y="27"/>
                  </a:cubicBezTo>
                  <a:cubicBezTo>
                    <a:pt x="286" y="27"/>
                    <a:pt x="286" y="26"/>
                    <a:pt x="285" y="26"/>
                  </a:cubicBezTo>
                  <a:cubicBezTo>
                    <a:pt x="281" y="26"/>
                    <a:pt x="281" y="26"/>
                    <a:pt x="281" y="26"/>
                  </a:cubicBezTo>
                  <a:cubicBezTo>
                    <a:pt x="280" y="26"/>
                    <a:pt x="280" y="27"/>
                    <a:pt x="279" y="27"/>
                  </a:cubicBezTo>
                  <a:cubicBezTo>
                    <a:pt x="279" y="27"/>
                    <a:pt x="278" y="27"/>
                    <a:pt x="277" y="28"/>
                  </a:cubicBezTo>
                  <a:cubicBezTo>
                    <a:pt x="277" y="28"/>
                    <a:pt x="277" y="28"/>
                    <a:pt x="276" y="28"/>
                  </a:cubicBezTo>
                  <a:cubicBezTo>
                    <a:pt x="276" y="28"/>
                    <a:pt x="275" y="27"/>
                    <a:pt x="275" y="27"/>
                  </a:cubicBezTo>
                  <a:cubicBezTo>
                    <a:pt x="275" y="27"/>
                    <a:pt x="275" y="26"/>
                    <a:pt x="274" y="26"/>
                  </a:cubicBezTo>
                  <a:cubicBezTo>
                    <a:pt x="274" y="26"/>
                    <a:pt x="273" y="27"/>
                    <a:pt x="273" y="27"/>
                  </a:cubicBezTo>
                  <a:cubicBezTo>
                    <a:pt x="272" y="27"/>
                    <a:pt x="272" y="27"/>
                    <a:pt x="271" y="27"/>
                  </a:cubicBezTo>
                  <a:cubicBezTo>
                    <a:pt x="271" y="27"/>
                    <a:pt x="270" y="28"/>
                    <a:pt x="270" y="28"/>
                  </a:cubicBezTo>
                  <a:cubicBezTo>
                    <a:pt x="270" y="28"/>
                    <a:pt x="270" y="28"/>
                    <a:pt x="270" y="29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3" y="28"/>
                    <a:pt x="262" y="28"/>
                    <a:pt x="263" y="28"/>
                  </a:cubicBezTo>
                  <a:cubicBezTo>
                    <a:pt x="263" y="27"/>
                    <a:pt x="264" y="27"/>
                    <a:pt x="264" y="26"/>
                  </a:cubicBezTo>
                  <a:cubicBezTo>
                    <a:pt x="265" y="26"/>
                    <a:pt x="265" y="25"/>
                    <a:pt x="265" y="25"/>
                  </a:cubicBezTo>
                  <a:cubicBezTo>
                    <a:pt x="264" y="24"/>
                    <a:pt x="264" y="25"/>
                    <a:pt x="263" y="25"/>
                  </a:cubicBezTo>
                  <a:cubicBezTo>
                    <a:pt x="263" y="25"/>
                    <a:pt x="263" y="24"/>
                    <a:pt x="263" y="23"/>
                  </a:cubicBezTo>
                  <a:cubicBezTo>
                    <a:pt x="263" y="23"/>
                    <a:pt x="263" y="23"/>
                    <a:pt x="263" y="22"/>
                  </a:cubicBezTo>
                  <a:cubicBezTo>
                    <a:pt x="263" y="22"/>
                    <a:pt x="262" y="22"/>
                    <a:pt x="262" y="22"/>
                  </a:cubicBezTo>
                  <a:cubicBezTo>
                    <a:pt x="262" y="21"/>
                    <a:pt x="262" y="21"/>
                    <a:pt x="262" y="20"/>
                  </a:cubicBezTo>
                  <a:cubicBezTo>
                    <a:pt x="262" y="20"/>
                    <a:pt x="261" y="20"/>
                    <a:pt x="261" y="19"/>
                  </a:cubicBezTo>
                  <a:cubicBezTo>
                    <a:pt x="262" y="19"/>
                    <a:pt x="262" y="19"/>
                    <a:pt x="262" y="19"/>
                  </a:cubicBezTo>
                  <a:cubicBezTo>
                    <a:pt x="262" y="18"/>
                    <a:pt x="262" y="18"/>
                    <a:pt x="263" y="17"/>
                  </a:cubicBezTo>
                  <a:cubicBezTo>
                    <a:pt x="263" y="17"/>
                    <a:pt x="263" y="16"/>
                    <a:pt x="263" y="15"/>
                  </a:cubicBezTo>
                  <a:cubicBezTo>
                    <a:pt x="263" y="15"/>
                    <a:pt x="264" y="14"/>
                    <a:pt x="264" y="14"/>
                  </a:cubicBezTo>
                  <a:cubicBezTo>
                    <a:pt x="265" y="14"/>
                    <a:pt x="265" y="15"/>
                    <a:pt x="265" y="15"/>
                  </a:cubicBezTo>
                  <a:cubicBezTo>
                    <a:pt x="264" y="15"/>
                    <a:pt x="264" y="16"/>
                    <a:pt x="264" y="16"/>
                  </a:cubicBezTo>
                  <a:cubicBezTo>
                    <a:pt x="264" y="16"/>
                    <a:pt x="264" y="17"/>
                    <a:pt x="264" y="17"/>
                  </a:cubicBezTo>
                  <a:cubicBezTo>
                    <a:pt x="263" y="18"/>
                    <a:pt x="263" y="18"/>
                    <a:pt x="263" y="19"/>
                  </a:cubicBezTo>
                  <a:cubicBezTo>
                    <a:pt x="263" y="20"/>
                    <a:pt x="264" y="20"/>
                    <a:pt x="264" y="21"/>
                  </a:cubicBezTo>
                  <a:cubicBezTo>
                    <a:pt x="264" y="22"/>
                    <a:pt x="265" y="22"/>
                    <a:pt x="265" y="23"/>
                  </a:cubicBezTo>
                  <a:cubicBezTo>
                    <a:pt x="265" y="23"/>
                    <a:pt x="265" y="24"/>
                    <a:pt x="266" y="24"/>
                  </a:cubicBezTo>
                  <a:cubicBezTo>
                    <a:pt x="266" y="24"/>
                    <a:pt x="266" y="23"/>
                    <a:pt x="266" y="23"/>
                  </a:cubicBezTo>
                  <a:cubicBezTo>
                    <a:pt x="267" y="23"/>
                    <a:pt x="267" y="24"/>
                    <a:pt x="268" y="24"/>
                  </a:cubicBezTo>
                  <a:cubicBezTo>
                    <a:pt x="268" y="25"/>
                    <a:pt x="269" y="24"/>
                    <a:pt x="269" y="24"/>
                  </a:cubicBezTo>
                  <a:cubicBezTo>
                    <a:pt x="270" y="24"/>
                    <a:pt x="270" y="24"/>
                    <a:pt x="270" y="24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2" y="24"/>
                    <a:pt x="272" y="24"/>
                    <a:pt x="272" y="23"/>
                  </a:cubicBezTo>
                  <a:cubicBezTo>
                    <a:pt x="273" y="23"/>
                    <a:pt x="274" y="23"/>
                    <a:pt x="275" y="22"/>
                  </a:cubicBezTo>
                  <a:cubicBezTo>
                    <a:pt x="275" y="22"/>
                    <a:pt x="276" y="22"/>
                    <a:pt x="276" y="22"/>
                  </a:cubicBezTo>
                  <a:cubicBezTo>
                    <a:pt x="277" y="22"/>
                    <a:pt x="276" y="21"/>
                    <a:pt x="276" y="21"/>
                  </a:cubicBezTo>
                  <a:cubicBezTo>
                    <a:pt x="275" y="20"/>
                    <a:pt x="275" y="20"/>
                    <a:pt x="274" y="19"/>
                  </a:cubicBezTo>
                  <a:cubicBezTo>
                    <a:pt x="274" y="19"/>
                    <a:pt x="273" y="19"/>
                    <a:pt x="272" y="18"/>
                  </a:cubicBezTo>
                  <a:cubicBezTo>
                    <a:pt x="273" y="17"/>
                    <a:pt x="274" y="19"/>
                    <a:pt x="275" y="19"/>
                  </a:cubicBezTo>
                  <a:cubicBezTo>
                    <a:pt x="276" y="20"/>
                    <a:pt x="277" y="20"/>
                    <a:pt x="278" y="20"/>
                  </a:cubicBezTo>
                  <a:cubicBezTo>
                    <a:pt x="278" y="21"/>
                    <a:pt x="280" y="21"/>
                    <a:pt x="280" y="21"/>
                  </a:cubicBezTo>
                  <a:cubicBezTo>
                    <a:pt x="281" y="20"/>
                    <a:pt x="281" y="20"/>
                    <a:pt x="281" y="19"/>
                  </a:cubicBezTo>
                  <a:cubicBezTo>
                    <a:pt x="280" y="19"/>
                    <a:pt x="280" y="18"/>
                    <a:pt x="279" y="18"/>
                  </a:cubicBezTo>
                  <a:cubicBezTo>
                    <a:pt x="279" y="18"/>
                    <a:pt x="278" y="17"/>
                    <a:pt x="279" y="17"/>
                  </a:cubicBezTo>
                  <a:cubicBezTo>
                    <a:pt x="279" y="17"/>
                    <a:pt x="280" y="18"/>
                    <a:pt x="280" y="19"/>
                  </a:cubicBezTo>
                  <a:cubicBezTo>
                    <a:pt x="281" y="19"/>
                    <a:pt x="282" y="20"/>
                    <a:pt x="282" y="20"/>
                  </a:cubicBezTo>
                  <a:cubicBezTo>
                    <a:pt x="283" y="20"/>
                    <a:pt x="283" y="20"/>
                    <a:pt x="284" y="19"/>
                  </a:cubicBezTo>
                  <a:cubicBezTo>
                    <a:pt x="284" y="19"/>
                    <a:pt x="285" y="19"/>
                    <a:pt x="286" y="19"/>
                  </a:cubicBezTo>
                  <a:cubicBezTo>
                    <a:pt x="286" y="18"/>
                    <a:pt x="285" y="18"/>
                    <a:pt x="285" y="17"/>
                  </a:cubicBezTo>
                  <a:cubicBezTo>
                    <a:pt x="284" y="17"/>
                    <a:pt x="284" y="16"/>
                    <a:pt x="284" y="16"/>
                  </a:cubicBezTo>
                  <a:cubicBezTo>
                    <a:pt x="284" y="16"/>
                    <a:pt x="283" y="15"/>
                    <a:pt x="283" y="15"/>
                  </a:cubicBezTo>
                  <a:cubicBezTo>
                    <a:pt x="283" y="14"/>
                    <a:pt x="283" y="14"/>
                    <a:pt x="282" y="13"/>
                  </a:cubicBezTo>
                  <a:cubicBezTo>
                    <a:pt x="282" y="13"/>
                    <a:pt x="282" y="13"/>
                    <a:pt x="282" y="13"/>
                  </a:cubicBezTo>
                  <a:cubicBezTo>
                    <a:pt x="282" y="12"/>
                    <a:pt x="282" y="13"/>
                    <a:pt x="283" y="13"/>
                  </a:cubicBezTo>
                  <a:cubicBezTo>
                    <a:pt x="283" y="13"/>
                    <a:pt x="284" y="14"/>
                    <a:pt x="284" y="14"/>
                  </a:cubicBezTo>
                  <a:cubicBezTo>
                    <a:pt x="285" y="15"/>
                    <a:pt x="286" y="15"/>
                    <a:pt x="286" y="15"/>
                  </a:cubicBezTo>
                  <a:cubicBezTo>
                    <a:pt x="287" y="16"/>
                    <a:pt x="287" y="16"/>
                    <a:pt x="288" y="17"/>
                  </a:cubicBezTo>
                  <a:cubicBezTo>
                    <a:pt x="288" y="17"/>
                    <a:pt x="289" y="17"/>
                    <a:pt x="289" y="17"/>
                  </a:cubicBezTo>
                  <a:cubicBezTo>
                    <a:pt x="290" y="17"/>
                    <a:pt x="289" y="16"/>
                    <a:pt x="289" y="15"/>
                  </a:cubicBezTo>
                  <a:cubicBezTo>
                    <a:pt x="289" y="15"/>
                    <a:pt x="289" y="14"/>
                    <a:pt x="290" y="14"/>
                  </a:cubicBezTo>
                  <a:cubicBezTo>
                    <a:pt x="290" y="14"/>
                    <a:pt x="290" y="15"/>
                    <a:pt x="290" y="15"/>
                  </a:cubicBezTo>
                  <a:cubicBezTo>
                    <a:pt x="290" y="16"/>
                    <a:pt x="290" y="17"/>
                    <a:pt x="291" y="17"/>
                  </a:cubicBezTo>
                  <a:cubicBezTo>
                    <a:pt x="291" y="18"/>
                    <a:pt x="292" y="19"/>
                    <a:pt x="292" y="20"/>
                  </a:cubicBezTo>
                  <a:cubicBezTo>
                    <a:pt x="293" y="21"/>
                    <a:pt x="294" y="22"/>
                    <a:pt x="295" y="22"/>
                  </a:cubicBezTo>
                  <a:cubicBezTo>
                    <a:pt x="295" y="21"/>
                    <a:pt x="295" y="21"/>
                    <a:pt x="294" y="20"/>
                  </a:cubicBezTo>
                  <a:cubicBezTo>
                    <a:pt x="294" y="20"/>
                    <a:pt x="294" y="19"/>
                    <a:pt x="294" y="19"/>
                  </a:cubicBezTo>
                  <a:cubicBezTo>
                    <a:pt x="294" y="17"/>
                    <a:pt x="293" y="16"/>
                    <a:pt x="293" y="15"/>
                  </a:cubicBezTo>
                  <a:cubicBezTo>
                    <a:pt x="293" y="14"/>
                    <a:pt x="293" y="13"/>
                    <a:pt x="292" y="12"/>
                  </a:cubicBezTo>
                  <a:cubicBezTo>
                    <a:pt x="291" y="11"/>
                    <a:pt x="290" y="10"/>
                    <a:pt x="290" y="9"/>
                  </a:cubicBezTo>
                  <a:cubicBezTo>
                    <a:pt x="289" y="9"/>
                    <a:pt x="288" y="8"/>
                    <a:pt x="288" y="7"/>
                  </a:cubicBezTo>
                  <a:cubicBezTo>
                    <a:pt x="288" y="6"/>
                    <a:pt x="287" y="6"/>
                    <a:pt x="287" y="5"/>
                  </a:cubicBezTo>
                  <a:cubicBezTo>
                    <a:pt x="287" y="5"/>
                    <a:pt x="287" y="4"/>
                    <a:pt x="287" y="4"/>
                  </a:cubicBezTo>
                  <a:cubicBezTo>
                    <a:pt x="287" y="3"/>
                    <a:pt x="288" y="3"/>
                    <a:pt x="288" y="3"/>
                  </a:cubicBezTo>
                  <a:cubicBezTo>
                    <a:pt x="288" y="4"/>
                    <a:pt x="289" y="4"/>
                    <a:pt x="289" y="4"/>
                  </a:cubicBezTo>
                  <a:cubicBezTo>
                    <a:pt x="290" y="4"/>
                    <a:pt x="291" y="4"/>
                    <a:pt x="292" y="4"/>
                  </a:cubicBezTo>
                  <a:cubicBezTo>
                    <a:pt x="292" y="5"/>
                    <a:pt x="292" y="5"/>
                    <a:pt x="292" y="6"/>
                  </a:cubicBezTo>
                  <a:cubicBezTo>
                    <a:pt x="292" y="7"/>
                    <a:pt x="293" y="7"/>
                    <a:pt x="293" y="8"/>
                  </a:cubicBezTo>
                  <a:cubicBezTo>
                    <a:pt x="293" y="9"/>
                    <a:pt x="294" y="10"/>
                    <a:pt x="294" y="10"/>
                  </a:cubicBezTo>
                  <a:cubicBezTo>
                    <a:pt x="293" y="11"/>
                    <a:pt x="294" y="11"/>
                    <a:pt x="294" y="12"/>
                  </a:cubicBezTo>
                  <a:cubicBezTo>
                    <a:pt x="294" y="12"/>
                    <a:pt x="294" y="13"/>
                    <a:pt x="294" y="13"/>
                  </a:cubicBezTo>
                  <a:cubicBezTo>
                    <a:pt x="294" y="14"/>
                    <a:pt x="295" y="15"/>
                    <a:pt x="295" y="16"/>
                  </a:cubicBezTo>
                  <a:cubicBezTo>
                    <a:pt x="296" y="17"/>
                    <a:pt x="296" y="19"/>
                    <a:pt x="297" y="20"/>
                  </a:cubicBezTo>
                  <a:cubicBezTo>
                    <a:pt x="297" y="21"/>
                    <a:pt x="297" y="22"/>
                    <a:pt x="298" y="23"/>
                  </a:cubicBezTo>
                  <a:cubicBezTo>
                    <a:pt x="298" y="23"/>
                    <a:pt x="299" y="24"/>
                    <a:pt x="299" y="24"/>
                  </a:cubicBezTo>
                  <a:cubicBezTo>
                    <a:pt x="300" y="25"/>
                    <a:pt x="300" y="26"/>
                    <a:pt x="300" y="27"/>
                  </a:cubicBezTo>
                  <a:cubicBezTo>
                    <a:pt x="301" y="28"/>
                    <a:pt x="301" y="29"/>
                    <a:pt x="302" y="29"/>
                  </a:cubicBezTo>
                  <a:cubicBezTo>
                    <a:pt x="301" y="28"/>
                    <a:pt x="301" y="27"/>
                    <a:pt x="300" y="2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C3C0C7AD-B4FA-4CFA-8F60-AEEA6BBE5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784" y="3518220"/>
              <a:ext cx="827755" cy="935148"/>
            </a:xfrm>
            <a:custGeom>
              <a:avLst/>
              <a:gdLst>
                <a:gd name="T0" fmla="*/ 1 w 209"/>
                <a:gd name="T1" fmla="*/ 0 h 236"/>
                <a:gd name="T2" fmla="*/ 0 w 209"/>
                <a:gd name="T3" fmla="*/ 236 h 236"/>
                <a:gd name="T4" fmla="*/ 29 w 209"/>
                <a:gd name="T5" fmla="*/ 236 h 236"/>
                <a:gd name="T6" fmla="*/ 29 w 209"/>
                <a:gd name="T7" fmla="*/ 218 h 236"/>
                <a:gd name="T8" fmla="*/ 88 w 209"/>
                <a:gd name="T9" fmla="*/ 218 h 236"/>
                <a:gd name="T10" fmla="*/ 86 w 209"/>
                <a:gd name="T11" fmla="*/ 217 h 236"/>
                <a:gd name="T12" fmla="*/ 84 w 209"/>
                <a:gd name="T13" fmla="*/ 216 h 236"/>
                <a:gd name="T14" fmla="*/ 84 w 209"/>
                <a:gd name="T15" fmla="*/ 214 h 236"/>
                <a:gd name="T16" fmla="*/ 84 w 209"/>
                <a:gd name="T17" fmla="*/ 213 h 236"/>
                <a:gd name="T18" fmla="*/ 85 w 209"/>
                <a:gd name="T19" fmla="*/ 212 h 236"/>
                <a:gd name="T20" fmla="*/ 84 w 209"/>
                <a:gd name="T21" fmla="*/ 211 h 236"/>
                <a:gd name="T22" fmla="*/ 84 w 209"/>
                <a:gd name="T23" fmla="*/ 211 h 236"/>
                <a:gd name="T24" fmla="*/ 84 w 209"/>
                <a:gd name="T25" fmla="*/ 209 h 236"/>
                <a:gd name="T26" fmla="*/ 207 w 209"/>
                <a:gd name="T27" fmla="*/ 210 h 236"/>
                <a:gd name="T28" fmla="*/ 208 w 209"/>
                <a:gd name="T29" fmla="*/ 21 h 236"/>
                <a:gd name="T30" fmla="*/ 209 w 209"/>
                <a:gd name="T31" fmla="*/ 21 h 236"/>
                <a:gd name="T32" fmla="*/ 209 w 209"/>
                <a:gd name="T33" fmla="*/ 0 h 236"/>
                <a:gd name="T34" fmla="*/ 1 w 209"/>
                <a:gd name="T3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9" h="236">
                  <a:moveTo>
                    <a:pt x="1" y="0"/>
                  </a:moveTo>
                  <a:cubicBezTo>
                    <a:pt x="0" y="236"/>
                    <a:pt x="0" y="236"/>
                    <a:pt x="0" y="236"/>
                  </a:cubicBezTo>
                  <a:cubicBezTo>
                    <a:pt x="29" y="236"/>
                    <a:pt x="29" y="236"/>
                    <a:pt x="29" y="236"/>
                  </a:cubicBezTo>
                  <a:cubicBezTo>
                    <a:pt x="29" y="218"/>
                    <a:pt x="29" y="218"/>
                    <a:pt x="29" y="218"/>
                  </a:cubicBezTo>
                  <a:cubicBezTo>
                    <a:pt x="88" y="218"/>
                    <a:pt x="88" y="218"/>
                    <a:pt x="88" y="218"/>
                  </a:cubicBezTo>
                  <a:cubicBezTo>
                    <a:pt x="88" y="218"/>
                    <a:pt x="87" y="217"/>
                    <a:pt x="86" y="217"/>
                  </a:cubicBezTo>
                  <a:cubicBezTo>
                    <a:pt x="86" y="217"/>
                    <a:pt x="85" y="216"/>
                    <a:pt x="84" y="216"/>
                  </a:cubicBezTo>
                  <a:cubicBezTo>
                    <a:pt x="84" y="215"/>
                    <a:pt x="84" y="214"/>
                    <a:pt x="84" y="214"/>
                  </a:cubicBezTo>
                  <a:cubicBezTo>
                    <a:pt x="84" y="214"/>
                    <a:pt x="84" y="213"/>
                    <a:pt x="84" y="213"/>
                  </a:cubicBezTo>
                  <a:cubicBezTo>
                    <a:pt x="85" y="212"/>
                    <a:pt x="85" y="212"/>
                    <a:pt x="85" y="212"/>
                  </a:cubicBezTo>
                  <a:cubicBezTo>
                    <a:pt x="84" y="211"/>
                    <a:pt x="84" y="211"/>
                    <a:pt x="84" y="211"/>
                  </a:cubicBezTo>
                  <a:cubicBezTo>
                    <a:pt x="84" y="211"/>
                    <a:pt x="84" y="211"/>
                    <a:pt x="84" y="211"/>
                  </a:cubicBezTo>
                  <a:cubicBezTo>
                    <a:pt x="84" y="211"/>
                    <a:pt x="84" y="209"/>
                    <a:pt x="84" y="209"/>
                  </a:cubicBezTo>
                  <a:cubicBezTo>
                    <a:pt x="207" y="210"/>
                    <a:pt x="207" y="210"/>
                    <a:pt x="207" y="210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209" y="21"/>
                    <a:pt x="209" y="21"/>
                    <a:pt x="209" y="21"/>
                  </a:cubicBezTo>
                  <a:cubicBezTo>
                    <a:pt x="209" y="0"/>
                    <a:pt x="209" y="0"/>
                    <a:pt x="209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3ABDD5E4-E85B-4140-BC60-CD1E1B8F6F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8030" y="2059322"/>
              <a:ext cx="1077237" cy="849234"/>
            </a:xfrm>
            <a:custGeom>
              <a:avLst/>
              <a:gdLst>
                <a:gd name="T0" fmla="*/ 207 w 272"/>
                <a:gd name="T1" fmla="*/ 195 h 214"/>
                <a:gd name="T2" fmla="*/ 207 w 272"/>
                <a:gd name="T3" fmla="*/ 198 h 214"/>
                <a:gd name="T4" fmla="*/ 211 w 272"/>
                <a:gd name="T5" fmla="*/ 197 h 214"/>
                <a:gd name="T6" fmla="*/ 217 w 272"/>
                <a:gd name="T7" fmla="*/ 196 h 214"/>
                <a:gd name="T8" fmla="*/ 222 w 272"/>
                <a:gd name="T9" fmla="*/ 194 h 214"/>
                <a:gd name="T10" fmla="*/ 236 w 272"/>
                <a:gd name="T11" fmla="*/ 192 h 214"/>
                <a:gd name="T12" fmla="*/ 248 w 272"/>
                <a:gd name="T13" fmla="*/ 190 h 214"/>
                <a:gd name="T14" fmla="*/ 255 w 272"/>
                <a:gd name="T15" fmla="*/ 187 h 214"/>
                <a:gd name="T16" fmla="*/ 249 w 272"/>
                <a:gd name="T17" fmla="*/ 192 h 214"/>
                <a:gd name="T18" fmla="*/ 250 w 272"/>
                <a:gd name="T19" fmla="*/ 194 h 214"/>
                <a:gd name="T20" fmla="*/ 260 w 272"/>
                <a:gd name="T21" fmla="*/ 189 h 214"/>
                <a:gd name="T22" fmla="*/ 269 w 272"/>
                <a:gd name="T23" fmla="*/ 188 h 214"/>
                <a:gd name="T24" fmla="*/ 269 w 272"/>
                <a:gd name="T25" fmla="*/ 189 h 214"/>
                <a:gd name="T26" fmla="*/ 261 w 272"/>
                <a:gd name="T27" fmla="*/ 193 h 214"/>
                <a:gd name="T28" fmla="*/ 254 w 272"/>
                <a:gd name="T29" fmla="*/ 196 h 214"/>
                <a:gd name="T30" fmla="*/ 250 w 272"/>
                <a:gd name="T31" fmla="*/ 197 h 214"/>
                <a:gd name="T32" fmla="*/ 241 w 272"/>
                <a:gd name="T33" fmla="*/ 200 h 214"/>
                <a:gd name="T34" fmla="*/ 233 w 272"/>
                <a:gd name="T35" fmla="*/ 202 h 214"/>
                <a:gd name="T36" fmla="*/ 227 w 272"/>
                <a:gd name="T37" fmla="*/ 204 h 214"/>
                <a:gd name="T38" fmla="*/ 220 w 272"/>
                <a:gd name="T39" fmla="*/ 206 h 214"/>
                <a:gd name="T40" fmla="*/ 211 w 272"/>
                <a:gd name="T41" fmla="*/ 208 h 214"/>
                <a:gd name="T42" fmla="*/ 206 w 272"/>
                <a:gd name="T43" fmla="*/ 208 h 214"/>
                <a:gd name="T44" fmla="*/ 203 w 272"/>
                <a:gd name="T45" fmla="*/ 209 h 214"/>
                <a:gd name="T46" fmla="*/ 198 w 272"/>
                <a:gd name="T47" fmla="*/ 207 h 214"/>
                <a:gd name="T48" fmla="*/ 202 w 272"/>
                <a:gd name="T49" fmla="*/ 191 h 214"/>
                <a:gd name="T50" fmla="*/ 167 w 272"/>
                <a:gd name="T51" fmla="*/ 169 h 214"/>
                <a:gd name="T52" fmla="*/ 162 w 272"/>
                <a:gd name="T53" fmla="*/ 159 h 214"/>
                <a:gd name="T54" fmla="*/ 158 w 272"/>
                <a:gd name="T55" fmla="*/ 150 h 214"/>
                <a:gd name="T56" fmla="*/ 0 w 272"/>
                <a:gd name="T57" fmla="*/ 132 h 214"/>
                <a:gd name="T58" fmla="*/ 18 w 272"/>
                <a:gd name="T59" fmla="*/ 120 h 214"/>
                <a:gd name="T60" fmla="*/ 24 w 272"/>
                <a:gd name="T61" fmla="*/ 113 h 214"/>
                <a:gd name="T62" fmla="*/ 30 w 272"/>
                <a:gd name="T63" fmla="*/ 103 h 214"/>
                <a:gd name="T64" fmla="*/ 26 w 272"/>
                <a:gd name="T65" fmla="*/ 94 h 214"/>
                <a:gd name="T66" fmla="*/ 35 w 272"/>
                <a:gd name="T67" fmla="*/ 82 h 214"/>
                <a:gd name="T68" fmla="*/ 73 w 272"/>
                <a:gd name="T69" fmla="*/ 84 h 214"/>
                <a:gd name="T70" fmla="*/ 101 w 272"/>
                <a:gd name="T71" fmla="*/ 83 h 214"/>
                <a:gd name="T72" fmla="*/ 123 w 272"/>
                <a:gd name="T73" fmla="*/ 68 h 214"/>
                <a:gd name="T74" fmla="*/ 122 w 272"/>
                <a:gd name="T75" fmla="*/ 60 h 214"/>
                <a:gd name="T76" fmla="*/ 124 w 272"/>
                <a:gd name="T77" fmla="*/ 55 h 214"/>
                <a:gd name="T78" fmla="*/ 124 w 272"/>
                <a:gd name="T79" fmla="*/ 51 h 214"/>
                <a:gd name="T80" fmla="*/ 122 w 272"/>
                <a:gd name="T81" fmla="*/ 50 h 214"/>
                <a:gd name="T82" fmla="*/ 119 w 272"/>
                <a:gd name="T83" fmla="*/ 46 h 214"/>
                <a:gd name="T84" fmla="*/ 125 w 272"/>
                <a:gd name="T85" fmla="*/ 39 h 214"/>
                <a:gd name="T86" fmla="*/ 133 w 272"/>
                <a:gd name="T87" fmla="*/ 33 h 214"/>
                <a:gd name="T88" fmla="*/ 139 w 272"/>
                <a:gd name="T89" fmla="*/ 25 h 214"/>
                <a:gd name="T90" fmla="*/ 168 w 272"/>
                <a:gd name="T91" fmla="*/ 2 h 214"/>
                <a:gd name="T92" fmla="*/ 220 w 272"/>
                <a:gd name="T93" fmla="*/ 8 h 214"/>
                <a:gd name="T94" fmla="*/ 222 w 272"/>
                <a:gd name="T95" fmla="*/ 28 h 214"/>
                <a:gd name="T96" fmla="*/ 218 w 272"/>
                <a:gd name="T97" fmla="*/ 47 h 214"/>
                <a:gd name="T98" fmla="*/ 218 w 272"/>
                <a:gd name="T99" fmla="*/ 68 h 214"/>
                <a:gd name="T100" fmla="*/ 223 w 272"/>
                <a:gd name="T101" fmla="*/ 70 h 214"/>
                <a:gd name="T102" fmla="*/ 215 w 272"/>
                <a:gd name="T103" fmla="*/ 161 h 214"/>
                <a:gd name="T104" fmla="*/ 208 w 272"/>
                <a:gd name="T105" fmla="*/ 188 h 214"/>
                <a:gd name="T106" fmla="*/ 190 w 272"/>
                <a:gd name="T107" fmla="*/ 213 h 214"/>
                <a:gd name="T108" fmla="*/ 196 w 272"/>
                <a:gd name="T109" fmla="*/ 20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2" h="214">
                  <a:moveTo>
                    <a:pt x="208" y="188"/>
                  </a:moveTo>
                  <a:cubicBezTo>
                    <a:pt x="211" y="191"/>
                    <a:pt x="211" y="191"/>
                    <a:pt x="211" y="191"/>
                  </a:cubicBezTo>
                  <a:cubicBezTo>
                    <a:pt x="210" y="191"/>
                    <a:pt x="210" y="191"/>
                    <a:pt x="210" y="191"/>
                  </a:cubicBezTo>
                  <a:cubicBezTo>
                    <a:pt x="210" y="191"/>
                    <a:pt x="209" y="191"/>
                    <a:pt x="209" y="192"/>
                  </a:cubicBezTo>
                  <a:cubicBezTo>
                    <a:pt x="209" y="192"/>
                    <a:pt x="209" y="193"/>
                    <a:pt x="208" y="193"/>
                  </a:cubicBezTo>
                  <a:cubicBezTo>
                    <a:pt x="208" y="194"/>
                    <a:pt x="207" y="194"/>
                    <a:pt x="207" y="195"/>
                  </a:cubicBezTo>
                  <a:cubicBezTo>
                    <a:pt x="207" y="195"/>
                    <a:pt x="207" y="196"/>
                    <a:pt x="206" y="196"/>
                  </a:cubicBezTo>
                  <a:cubicBezTo>
                    <a:pt x="206" y="197"/>
                    <a:pt x="206" y="197"/>
                    <a:pt x="206" y="197"/>
                  </a:cubicBezTo>
                  <a:cubicBezTo>
                    <a:pt x="206" y="197"/>
                    <a:pt x="206" y="198"/>
                    <a:pt x="206" y="198"/>
                  </a:cubicBezTo>
                  <a:cubicBezTo>
                    <a:pt x="206" y="199"/>
                    <a:pt x="206" y="199"/>
                    <a:pt x="206" y="200"/>
                  </a:cubicBezTo>
                  <a:cubicBezTo>
                    <a:pt x="207" y="200"/>
                    <a:pt x="208" y="200"/>
                    <a:pt x="207" y="199"/>
                  </a:cubicBezTo>
                  <a:cubicBezTo>
                    <a:pt x="207" y="199"/>
                    <a:pt x="207" y="199"/>
                    <a:pt x="207" y="198"/>
                  </a:cubicBezTo>
                  <a:cubicBezTo>
                    <a:pt x="208" y="198"/>
                    <a:pt x="208" y="198"/>
                    <a:pt x="208" y="198"/>
                  </a:cubicBezTo>
                  <a:cubicBezTo>
                    <a:pt x="208" y="198"/>
                    <a:pt x="209" y="198"/>
                    <a:pt x="209" y="198"/>
                  </a:cubicBezTo>
                  <a:cubicBezTo>
                    <a:pt x="209" y="198"/>
                    <a:pt x="209" y="198"/>
                    <a:pt x="209" y="198"/>
                  </a:cubicBezTo>
                  <a:cubicBezTo>
                    <a:pt x="208" y="197"/>
                    <a:pt x="208" y="197"/>
                    <a:pt x="208" y="197"/>
                  </a:cubicBezTo>
                  <a:cubicBezTo>
                    <a:pt x="209" y="197"/>
                    <a:pt x="209" y="197"/>
                    <a:pt x="210" y="197"/>
                  </a:cubicBezTo>
                  <a:cubicBezTo>
                    <a:pt x="210" y="197"/>
                    <a:pt x="211" y="197"/>
                    <a:pt x="211" y="197"/>
                  </a:cubicBezTo>
                  <a:cubicBezTo>
                    <a:pt x="211" y="197"/>
                    <a:pt x="211" y="196"/>
                    <a:pt x="211" y="196"/>
                  </a:cubicBezTo>
                  <a:cubicBezTo>
                    <a:pt x="212" y="196"/>
                    <a:pt x="212" y="195"/>
                    <a:pt x="212" y="195"/>
                  </a:cubicBezTo>
                  <a:cubicBezTo>
                    <a:pt x="212" y="195"/>
                    <a:pt x="213" y="195"/>
                    <a:pt x="213" y="195"/>
                  </a:cubicBezTo>
                  <a:cubicBezTo>
                    <a:pt x="214" y="195"/>
                    <a:pt x="214" y="195"/>
                    <a:pt x="214" y="195"/>
                  </a:cubicBezTo>
                  <a:cubicBezTo>
                    <a:pt x="215" y="195"/>
                    <a:pt x="215" y="195"/>
                    <a:pt x="216" y="195"/>
                  </a:cubicBezTo>
                  <a:cubicBezTo>
                    <a:pt x="216" y="196"/>
                    <a:pt x="217" y="196"/>
                    <a:pt x="217" y="196"/>
                  </a:cubicBezTo>
                  <a:cubicBezTo>
                    <a:pt x="217" y="196"/>
                    <a:pt x="218" y="195"/>
                    <a:pt x="218" y="195"/>
                  </a:cubicBezTo>
                  <a:cubicBezTo>
                    <a:pt x="218" y="195"/>
                    <a:pt x="218" y="195"/>
                    <a:pt x="218" y="195"/>
                  </a:cubicBezTo>
                  <a:cubicBezTo>
                    <a:pt x="218" y="195"/>
                    <a:pt x="218" y="194"/>
                    <a:pt x="218" y="194"/>
                  </a:cubicBezTo>
                  <a:cubicBezTo>
                    <a:pt x="219" y="194"/>
                    <a:pt x="219" y="194"/>
                    <a:pt x="219" y="195"/>
                  </a:cubicBezTo>
                  <a:cubicBezTo>
                    <a:pt x="220" y="195"/>
                    <a:pt x="220" y="195"/>
                    <a:pt x="221" y="194"/>
                  </a:cubicBezTo>
                  <a:cubicBezTo>
                    <a:pt x="221" y="194"/>
                    <a:pt x="221" y="194"/>
                    <a:pt x="222" y="194"/>
                  </a:cubicBezTo>
                  <a:cubicBezTo>
                    <a:pt x="223" y="194"/>
                    <a:pt x="223" y="194"/>
                    <a:pt x="224" y="194"/>
                  </a:cubicBezTo>
                  <a:cubicBezTo>
                    <a:pt x="226" y="194"/>
                    <a:pt x="228" y="194"/>
                    <a:pt x="229" y="193"/>
                  </a:cubicBezTo>
                  <a:cubicBezTo>
                    <a:pt x="229" y="192"/>
                    <a:pt x="230" y="192"/>
                    <a:pt x="231" y="192"/>
                  </a:cubicBezTo>
                  <a:cubicBezTo>
                    <a:pt x="231" y="192"/>
                    <a:pt x="232" y="192"/>
                    <a:pt x="233" y="192"/>
                  </a:cubicBezTo>
                  <a:cubicBezTo>
                    <a:pt x="233" y="192"/>
                    <a:pt x="234" y="192"/>
                    <a:pt x="234" y="192"/>
                  </a:cubicBezTo>
                  <a:cubicBezTo>
                    <a:pt x="235" y="192"/>
                    <a:pt x="236" y="192"/>
                    <a:pt x="236" y="192"/>
                  </a:cubicBezTo>
                  <a:cubicBezTo>
                    <a:pt x="237" y="192"/>
                    <a:pt x="237" y="192"/>
                    <a:pt x="238" y="192"/>
                  </a:cubicBezTo>
                  <a:cubicBezTo>
                    <a:pt x="238" y="192"/>
                    <a:pt x="238" y="192"/>
                    <a:pt x="239" y="192"/>
                  </a:cubicBezTo>
                  <a:cubicBezTo>
                    <a:pt x="240" y="192"/>
                    <a:pt x="240" y="191"/>
                    <a:pt x="241" y="191"/>
                  </a:cubicBezTo>
                  <a:cubicBezTo>
                    <a:pt x="242" y="192"/>
                    <a:pt x="243" y="192"/>
                    <a:pt x="244" y="191"/>
                  </a:cubicBezTo>
                  <a:cubicBezTo>
                    <a:pt x="245" y="191"/>
                    <a:pt x="246" y="191"/>
                    <a:pt x="246" y="191"/>
                  </a:cubicBezTo>
                  <a:cubicBezTo>
                    <a:pt x="247" y="190"/>
                    <a:pt x="247" y="190"/>
                    <a:pt x="248" y="190"/>
                  </a:cubicBezTo>
                  <a:cubicBezTo>
                    <a:pt x="248" y="190"/>
                    <a:pt x="249" y="190"/>
                    <a:pt x="249" y="189"/>
                  </a:cubicBezTo>
                  <a:cubicBezTo>
                    <a:pt x="250" y="189"/>
                    <a:pt x="251" y="188"/>
                    <a:pt x="251" y="188"/>
                  </a:cubicBezTo>
                  <a:cubicBezTo>
                    <a:pt x="252" y="188"/>
                    <a:pt x="252" y="187"/>
                    <a:pt x="253" y="187"/>
                  </a:cubicBezTo>
                  <a:cubicBezTo>
                    <a:pt x="253" y="187"/>
                    <a:pt x="254" y="186"/>
                    <a:pt x="254" y="186"/>
                  </a:cubicBezTo>
                  <a:cubicBezTo>
                    <a:pt x="254" y="186"/>
                    <a:pt x="255" y="186"/>
                    <a:pt x="255" y="186"/>
                  </a:cubicBezTo>
                  <a:cubicBezTo>
                    <a:pt x="255" y="186"/>
                    <a:pt x="255" y="186"/>
                    <a:pt x="255" y="187"/>
                  </a:cubicBezTo>
                  <a:cubicBezTo>
                    <a:pt x="255" y="187"/>
                    <a:pt x="255" y="187"/>
                    <a:pt x="254" y="187"/>
                  </a:cubicBezTo>
                  <a:cubicBezTo>
                    <a:pt x="254" y="188"/>
                    <a:pt x="253" y="189"/>
                    <a:pt x="253" y="190"/>
                  </a:cubicBezTo>
                  <a:cubicBezTo>
                    <a:pt x="253" y="190"/>
                    <a:pt x="253" y="191"/>
                    <a:pt x="252" y="191"/>
                  </a:cubicBezTo>
                  <a:cubicBezTo>
                    <a:pt x="252" y="191"/>
                    <a:pt x="251" y="191"/>
                    <a:pt x="251" y="191"/>
                  </a:cubicBezTo>
                  <a:cubicBezTo>
                    <a:pt x="251" y="191"/>
                    <a:pt x="251" y="191"/>
                    <a:pt x="250" y="192"/>
                  </a:cubicBezTo>
                  <a:cubicBezTo>
                    <a:pt x="250" y="192"/>
                    <a:pt x="249" y="192"/>
                    <a:pt x="249" y="192"/>
                  </a:cubicBezTo>
                  <a:cubicBezTo>
                    <a:pt x="248" y="193"/>
                    <a:pt x="248" y="193"/>
                    <a:pt x="248" y="193"/>
                  </a:cubicBezTo>
                  <a:cubicBezTo>
                    <a:pt x="247" y="193"/>
                    <a:pt x="247" y="193"/>
                    <a:pt x="247" y="194"/>
                  </a:cubicBezTo>
                  <a:cubicBezTo>
                    <a:pt x="247" y="194"/>
                    <a:pt x="247" y="194"/>
                    <a:pt x="247" y="194"/>
                  </a:cubicBezTo>
                  <a:cubicBezTo>
                    <a:pt x="248" y="194"/>
                    <a:pt x="248" y="194"/>
                    <a:pt x="248" y="194"/>
                  </a:cubicBezTo>
                  <a:cubicBezTo>
                    <a:pt x="248" y="194"/>
                    <a:pt x="248" y="194"/>
                    <a:pt x="249" y="195"/>
                  </a:cubicBezTo>
                  <a:cubicBezTo>
                    <a:pt x="249" y="195"/>
                    <a:pt x="249" y="194"/>
                    <a:pt x="250" y="194"/>
                  </a:cubicBezTo>
                  <a:cubicBezTo>
                    <a:pt x="251" y="194"/>
                    <a:pt x="252" y="194"/>
                    <a:pt x="253" y="193"/>
                  </a:cubicBezTo>
                  <a:cubicBezTo>
                    <a:pt x="254" y="193"/>
                    <a:pt x="254" y="192"/>
                    <a:pt x="255" y="192"/>
                  </a:cubicBezTo>
                  <a:cubicBezTo>
                    <a:pt x="255" y="191"/>
                    <a:pt x="256" y="191"/>
                    <a:pt x="256" y="191"/>
                  </a:cubicBezTo>
                  <a:cubicBezTo>
                    <a:pt x="257" y="190"/>
                    <a:pt x="257" y="190"/>
                    <a:pt x="258" y="190"/>
                  </a:cubicBezTo>
                  <a:cubicBezTo>
                    <a:pt x="258" y="190"/>
                    <a:pt x="259" y="190"/>
                    <a:pt x="259" y="190"/>
                  </a:cubicBezTo>
                  <a:cubicBezTo>
                    <a:pt x="259" y="190"/>
                    <a:pt x="260" y="189"/>
                    <a:pt x="260" y="189"/>
                  </a:cubicBezTo>
                  <a:cubicBezTo>
                    <a:pt x="260" y="189"/>
                    <a:pt x="261" y="189"/>
                    <a:pt x="261" y="189"/>
                  </a:cubicBezTo>
                  <a:cubicBezTo>
                    <a:pt x="261" y="189"/>
                    <a:pt x="261" y="188"/>
                    <a:pt x="262" y="188"/>
                  </a:cubicBezTo>
                  <a:cubicBezTo>
                    <a:pt x="262" y="188"/>
                    <a:pt x="263" y="189"/>
                    <a:pt x="263" y="189"/>
                  </a:cubicBezTo>
                  <a:cubicBezTo>
                    <a:pt x="263" y="189"/>
                    <a:pt x="264" y="189"/>
                    <a:pt x="265" y="189"/>
                  </a:cubicBezTo>
                  <a:cubicBezTo>
                    <a:pt x="265" y="189"/>
                    <a:pt x="266" y="189"/>
                    <a:pt x="267" y="189"/>
                  </a:cubicBezTo>
                  <a:cubicBezTo>
                    <a:pt x="267" y="189"/>
                    <a:pt x="268" y="188"/>
                    <a:pt x="269" y="188"/>
                  </a:cubicBezTo>
                  <a:cubicBezTo>
                    <a:pt x="269" y="188"/>
                    <a:pt x="269" y="188"/>
                    <a:pt x="270" y="188"/>
                  </a:cubicBezTo>
                  <a:cubicBezTo>
                    <a:pt x="270" y="187"/>
                    <a:pt x="270" y="187"/>
                    <a:pt x="271" y="187"/>
                  </a:cubicBezTo>
                  <a:cubicBezTo>
                    <a:pt x="271" y="187"/>
                    <a:pt x="272" y="187"/>
                    <a:pt x="272" y="188"/>
                  </a:cubicBezTo>
                  <a:cubicBezTo>
                    <a:pt x="272" y="189"/>
                    <a:pt x="271" y="189"/>
                    <a:pt x="270" y="189"/>
                  </a:cubicBezTo>
                  <a:cubicBezTo>
                    <a:pt x="270" y="189"/>
                    <a:pt x="270" y="189"/>
                    <a:pt x="270" y="189"/>
                  </a:cubicBezTo>
                  <a:cubicBezTo>
                    <a:pt x="270" y="189"/>
                    <a:pt x="269" y="189"/>
                    <a:pt x="269" y="189"/>
                  </a:cubicBezTo>
                  <a:cubicBezTo>
                    <a:pt x="268" y="190"/>
                    <a:pt x="268" y="190"/>
                    <a:pt x="267" y="190"/>
                  </a:cubicBezTo>
                  <a:cubicBezTo>
                    <a:pt x="267" y="191"/>
                    <a:pt x="266" y="191"/>
                    <a:pt x="265" y="191"/>
                  </a:cubicBezTo>
                  <a:cubicBezTo>
                    <a:pt x="265" y="191"/>
                    <a:pt x="265" y="192"/>
                    <a:pt x="264" y="192"/>
                  </a:cubicBezTo>
                  <a:cubicBezTo>
                    <a:pt x="264" y="192"/>
                    <a:pt x="264" y="192"/>
                    <a:pt x="263" y="192"/>
                  </a:cubicBezTo>
                  <a:cubicBezTo>
                    <a:pt x="263" y="193"/>
                    <a:pt x="263" y="193"/>
                    <a:pt x="262" y="193"/>
                  </a:cubicBezTo>
                  <a:cubicBezTo>
                    <a:pt x="262" y="193"/>
                    <a:pt x="261" y="193"/>
                    <a:pt x="261" y="193"/>
                  </a:cubicBezTo>
                  <a:cubicBezTo>
                    <a:pt x="260" y="193"/>
                    <a:pt x="260" y="194"/>
                    <a:pt x="259" y="194"/>
                  </a:cubicBezTo>
                  <a:cubicBezTo>
                    <a:pt x="259" y="194"/>
                    <a:pt x="258" y="194"/>
                    <a:pt x="258" y="194"/>
                  </a:cubicBezTo>
                  <a:cubicBezTo>
                    <a:pt x="258" y="195"/>
                    <a:pt x="257" y="195"/>
                    <a:pt x="257" y="195"/>
                  </a:cubicBezTo>
                  <a:cubicBezTo>
                    <a:pt x="256" y="195"/>
                    <a:pt x="256" y="195"/>
                    <a:pt x="256" y="195"/>
                  </a:cubicBezTo>
                  <a:cubicBezTo>
                    <a:pt x="255" y="195"/>
                    <a:pt x="255" y="196"/>
                    <a:pt x="255" y="196"/>
                  </a:cubicBezTo>
                  <a:cubicBezTo>
                    <a:pt x="255" y="196"/>
                    <a:pt x="254" y="196"/>
                    <a:pt x="254" y="196"/>
                  </a:cubicBezTo>
                  <a:cubicBezTo>
                    <a:pt x="254" y="196"/>
                    <a:pt x="253" y="196"/>
                    <a:pt x="253" y="196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3" y="195"/>
                    <a:pt x="252" y="196"/>
                    <a:pt x="251" y="196"/>
                  </a:cubicBezTo>
                  <a:cubicBezTo>
                    <a:pt x="251" y="196"/>
                    <a:pt x="251" y="195"/>
                    <a:pt x="251" y="196"/>
                  </a:cubicBezTo>
                  <a:cubicBezTo>
                    <a:pt x="251" y="196"/>
                    <a:pt x="251" y="196"/>
                    <a:pt x="250" y="196"/>
                  </a:cubicBezTo>
                  <a:cubicBezTo>
                    <a:pt x="250" y="196"/>
                    <a:pt x="250" y="196"/>
                    <a:pt x="250" y="197"/>
                  </a:cubicBezTo>
                  <a:cubicBezTo>
                    <a:pt x="250" y="197"/>
                    <a:pt x="250" y="198"/>
                    <a:pt x="250" y="198"/>
                  </a:cubicBezTo>
                  <a:cubicBezTo>
                    <a:pt x="249" y="198"/>
                    <a:pt x="249" y="199"/>
                    <a:pt x="248" y="199"/>
                  </a:cubicBezTo>
                  <a:cubicBezTo>
                    <a:pt x="248" y="199"/>
                    <a:pt x="247" y="199"/>
                    <a:pt x="247" y="199"/>
                  </a:cubicBezTo>
                  <a:cubicBezTo>
                    <a:pt x="246" y="199"/>
                    <a:pt x="246" y="199"/>
                    <a:pt x="245" y="199"/>
                  </a:cubicBezTo>
                  <a:cubicBezTo>
                    <a:pt x="244" y="199"/>
                    <a:pt x="244" y="200"/>
                    <a:pt x="244" y="200"/>
                  </a:cubicBezTo>
                  <a:cubicBezTo>
                    <a:pt x="243" y="200"/>
                    <a:pt x="242" y="200"/>
                    <a:pt x="241" y="200"/>
                  </a:cubicBezTo>
                  <a:cubicBezTo>
                    <a:pt x="241" y="200"/>
                    <a:pt x="240" y="200"/>
                    <a:pt x="240" y="200"/>
                  </a:cubicBezTo>
                  <a:cubicBezTo>
                    <a:pt x="239" y="201"/>
                    <a:pt x="239" y="201"/>
                    <a:pt x="239" y="201"/>
                  </a:cubicBezTo>
                  <a:cubicBezTo>
                    <a:pt x="239" y="202"/>
                    <a:pt x="238" y="202"/>
                    <a:pt x="238" y="202"/>
                  </a:cubicBezTo>
                  <a:cubicBezTo>
                    <a:pt x="237" y="202"/>
                    <a:pt x="237" y="202"/>
                    <a:pt x="236" y="202"/>
                  </a:cubicBezTo>
                  <a:cubicBezTo>
                    <a:pt x="235" y="202"/>
                    <a:pt x="235" y="202"/>
                    <a:pt x="234" y="202"/>
                  </a:cubicBezTo>
                  <a:cubicBezTo>
                    <a:pt x="234" y="202"/>
                    <a:pt x="233" y="202"/>
                    <a:pt x="233" y="202"/>
                  </a:cubicBezTo>
                  <a:cubicBezTo>
                    <a:pt x="232" y="202"/>
                    <a:pt x="232" y="202"/>
                    <a:pt x="232" y="202"/>
                  </a:cubicBezTo>
                  <a:cubicBezTo>
                    <a:pt x="231" y="202"/>
                    <a:pt x="231" y="202"/>
                    <a:pt x="231" y="202"/>
                  </a:cubicBezTo>
                  <a:cubicBezTo>
                    <a:pt x="230" y="202"/>
                    <a:pt x="230" y="203"/>
                    <a:pt x="230" y="203"/>
                  </a:cubicBezTo>
                  <a:cubicBezTo>
                    <a:pt x="229" y="203"/>
                    <a:pt x="229" y="203"/>
                    <a:pt x="229" y="203"/>
                  </a:cubicBezTo>
                  <a:cubicBezTo>
                    <a:pt x="229" y="203"/>
                    <a:pt x="229" y="203"/>
                    <a:pt x="229" y="203"/>
                  </a:cubicBezTo>
                  <a:cubicBezTo>
                    <a:pt x="228" y="204"/>
                    <a:pt x="228" y="204"/>
                    <a:pt x="227" y="204"/>
                  </a:cubicBezTo>
                  <a:cubicBezTo>
                    <a:pt x="226" y="204"/>
                    <a:pt x="226" y="204"/>
                    <a:pt x="225" y="204"/>
                  </a:cubicBezTo>
                  <a:cubicBezTo>
                    <a:pt x="225" y="204"/>
                    <a:pt x="224" y="204"/>
                    <a:pt x="224" y="204"/>
                  </a:cubicBezTo>
                  <a:cubicBezTo>
                    <a:pt x="224" y="204"/>
                    <a:pt x="224" y="204"/>
                    <a:pt x="224" y="204"/>
                  </a:cubicBezTo>
                  <a:cubicBezTo>
                    <a:pt x="223" y="204"/>
                    <a:pt x="223" y="204"/>
                    <a:pt x="223" y="205"/>
                  </a:cubicBezTo>
                  <a:cubicBezTo>
                    <a:pt x="222" y="205"/>
                    <a:pt x="222" y="205"/>
                    <a:pt x="222" y="205"/>
                  </a:cubicBezTo>
                  <a:cubicBezTo>
                    <a:pt x="221" y="205"/>
                    <a:pt x="221" y="205"/>
                    <a:pt x="220" y="206"/>
                  </a:cubicBezTo>
                  <a:cubicBezTo>
                    <a:pt x="219" y="206"/>
                    <a:pt x="218" y="206"/>
                    <a:pt x="218" y="206"/>
                  </a:cubicBezTo>
                  <a:cubicBezTo>
                    <a:pt x="217" y="206"/>
                    <a:pt x="217" y="206"/>
                    <a:pt x="217" y="206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8"/>
                    <a:pt x="215" y="209"/>
                  </a:cubicBezTo>
                  <a:cubicBezTo>
                    <a:pt x="214" y="209"/>
                    <a:pt x="214" y="208"/>
                    <a:pt x="213" y="208"/>
                  </a:cubicBezTo>
                  <a:cubicBezTo>
                    <a:pt x="213" y="208"/>
                    <a:pt x="211" y="207"/>
                    <a:pt x="211" y="208"/>
                  </a:cubicBezTo>
                  <a:cubicBezTo>
                    <a:pt x="211" y="208"/>
                    <a:pt x="211" y="208"/>
                    <a:pt x="211" y="209"/>
                  </a:cubicBezTo>
                  <a:cubicBezTo>
                    <a:pt x="211" y="209"/>
                    <a:pt x="210" y="209"/>
                    <a:pt x="210" y="209"/>
                  </a:cubicBezTo>
                  <a:cubicBezTo>
                    <a:pt x="210" y="209"/>
                    <a:pt x="209" y="209"/>
                    <a:pt x="209" y="209"/>
                  </a:cubicBezTo>
                  <a:cubicBezTo>
                    <a:pt x="209" y="209"/>
                    <a:pt x="208" y="209"/>
                    <a:pt x="208" y="209"/>
                  </a:cubicBezTo>
                  <a:cubicBezTo>
                    <a:pt x="207" y="209"/>
                    <a:pt x="207" y="209"/>
                    <a:pt x="206" y="209"/>
                  </a:cubicBezTo>
                  <a:cubicBezTo>
                    <a:pt x="206" y="209"/>
                    <a:pt x="206" y="208"/>
                    <a:pt x="206" y="208"/>
                  </a:cubicBezTo>
                  <a:cubicBezTo>
                    <a:pt x="206" y="208"/>
                    <a:pt x="207" y="208"/>
                    <a:pt x="206" y="208"/>
                  </a:cubicBezTo>
                  <a:cubicBezTo>
                    <a:pt x="206" y="208"/>
                    <a:pt x="205" y="208"/>
                    <a:pt x="205" y="207"/>
                  </a:cubicBezTo>
                  <a:cubicBezTo>
                    <a:pt x="205" y="207"/>
                    <a:pt x="205" y="207"/>
                    <a:pt x="205" y="207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8"/>
                    <a:pt x="204" y="208"/>
                    <a:pt x="203" y="208"/>
                  </a:cubicBezTo>
                  <a:cubicBezTo>
                    <a:pt x="203" y="208"/>
                    <a:pt x="203" y="208"/>
                    <a:pt x="203" y="209"/>
                  </a:cubicBezTo>
                  <a:cubicBezTo>
                    <a:pt x="202" y="209"/>
                    <a:pt x="202" y="209"/>
                    <a:pt x="202" y="209"/>
                  </a:cubicBezTo>
                  <a:cubicBezTo>
                    <a:pt x="202" y="209"/>
                    <a:pt x="201" y="209"/>
                    <a:pt x="201" y="209"/>
                  </a:cubicBezTo>
                  <a:cubicBezTo>
                    <a:pt x="201" y="209"/>
                    <a:pt x="201" y="210"/>
                    <a:pt x="201" y="210"/>
                  </a:cubicBezTo>
                  <a:cubicBezTo>
                    <a:pt x="200" y="210"/>
                    <a:pt x="200" y="210"/>
                    <a:pt x="199" y="210"/>
                  </a:cubicBezTo>
                  <a:cubicBezTo>
                    <a:pt x="199" y="210"/>
                    <a:pt x="199" y="210"/>
                    <a:pt x="198" y="209"/>
                  </a:cubicBezTo>
                  <a:cubicBezTo>
                    <a:pt x="198" y="209"/>
                    <a:pt x="198" y="208"/>
                    <a:pt x="198" y="207"/>
                  </a:cubicBezTo>
                  <a:cubicBezTo>
                    <a:pt x="198" y="207"/>
                    <a:pt x="198" y="206"/>
                    <a:pt x="198" y="206"/>
                  </a:cubicBezTo>
                  <a:cubicBezTo>
                    <a:pt x="198" y="206"/>
                    <a:pt x="199" y="205"/>
                    <a:pt x="199" y="204"/>
                  </a:cubicBezTo>
                  <a:cubicBezTo>
                    <a:pt x="199" y="204"/>
                    <a:pt x="199" y="203"/>
                    <a:pt x="199" y="202"/>
                  </a:cubicBezTo>
                  <a:cubicBezTo>
                    <a:pt x="199" y="202"/>
                    <a:pt x="199" y="202"/>
                    <a:pt x="199" y="202"/>
                  </a:cubicBezTo>
                  <a:cubicBezTo>
                    <a:pt x="199" y="202"/>
                    <a:pt x="198" y="202"/>
                    <a:pt x="198" y="202"/>
                  </a:cubicBezTo>
                  <a:cubicBezTo>
                    <a:pt x="202" y="191"/>
                    <a:pt x="202" y="191"/>
                    <a:pt x="202" y="191"/>
                  </a:cubicBezTo>
                  <a:cubicBezTo>
                    <a:pt x="202" y="191"/>
                    <a:pt x="176" y="175"/>
                    <a:pt x="176" y="175"/>
                  </a:cubicBezTo>
                  <a:cubicBezTo>
                    <a:pt x="176" y="175"/>
                    <a:pt x="174" y="173"/>
                    <a:pt x="174" y="173"/>
                  </a:cubicBezTo>
                  <a:cubicBezTo>
                    <a:pt x="174" y="173"/>
                    <a:pt x="173" y="171"/>
                    <a:pt x="173" y="171"/>
                  </a:cubicBezTo>
                  <a:cubicBezTo>
                    <a:pt x="173" y="170"/>
                    <a:pt x="172" y="170"/>
                    <a:pt x="172" y="170"/>
                  </a:cubicBezTo>
                  <a:cubicBezTo>
                    <a:pt x="171" y="170"/>
                    <a:pt x="169" y="170"/>
                    <a:pt x="168" y="170"/>
                  </a:cubicBezTo>
                  <a:cubicBezTo>
                    <a:pt x="167" y="170"/>
                    <a:pt x="167" y="169"/>
                    <a:pt x="167" y="169"/>
                  </a:cubicBezTo>
                  <a:cubicBezTo>
                    <a:pt x="167" y="169"/>
                    <a:pt x="167" y="168"/>
                    <a:pt x="167" y="168"/>
                  </a:cubicBezTo>
                  <a:cubicBezTo>
                    <a:pt x="166" y="168"/>
                    <a:pt x="165" y="168"/>
                    <a:pt x="164" y="168"/>
                  </a:cubicBezTo>
                  <a:cubicBezTo>
                    <a:pt x="164" y="168"/>
                    <a:pt x="162" y="162"/>
                    <a:pt x="162" y="162"/>
                  </a:cubicBezTo>
                  <a:cubicBezTo>
                    <a:pt x="162" y="162"/>
                    <a:pt x="162" y="162"/>
                    <a:pt x="162" y="162"/>
                  </a:cubicBezTo>
                  <a:cubicBezTo>
                    <a:pt x="163" y="162"/>
                    <a:pt x="163" y="161"/>
                    <a:pt x="163" y="161"/>
                  </a:cubicBezTo>
                  <a:cubicBezTo>
                    <a:pt x="163" y="161"/>
                    <a:pt x="162" y="160"/>
                    <a:pt x="162" y="159"/>
                  </a:cubicBezTo>
                  <a:cubicBezTo>
                    <a:pt x="162" y="159"/>
                    <a:pt x="162" y="158"/>
                    <a:pt x="162" y="158"/>
                  </a:cubicBezTo>
                  <a:cubicBezTo>
                    <a:pt x="162" y="158"/>
                    <a:pt x="162" y="156"/>
                    <a:pt x="162" y="156"/>
                  </a:cubicBezTo>
                  <a:cubicBezTo>
                    <a:pt x="162" y="155"/>
                    <a:pt x="161" y="155"/>
                    <a:pt x="161" y="155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1" y="154"/>
                    <a:pt x="162" y="152"/>
                    <a:pt x="162" y="152"/>
                  </a:cubicBezTo>
                  <a:cubicBezTo>
                    <a:pt x="162" y="152"/>
                    <a:pt x="158" y="150"/>
                    <a:pt x="158" y="150"/>
                  </a:cubicBezTo>
                  <a:cubicBezTo>
                    <a:pt x="158" y="149"/>
                    <a:pt x="157" y="150"/>
                    <a:pt x="156" y="150"/>
                  </a:cubicBezTo>
                  <a:cubicBezTo>
                    <a:pt x="156" y="150"/>
                    <a:pt x="155" y="150"/>
                    <a:pt x="155" y="150"/>
                  </a:cubicBezTo>
                  <a:cubicBezTo>
                    <a:pt x="155" y="150"/>
                    <a:pt x="154" y="147"/>
                    <a:pt x="154" y="146"/>
                  </a:cubicBezTo>
                  <a:cubicBezTo>
                    <a:pt x="154" y="146"/>
                    <a:pt x="152" y="144"/>
                    <a:pt x="15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0" y="131"/>
                    <a:pt x="0" y="131"/>
                  </a:cubicBezTo>
                  <a:cubicBezTo>
                    <a:pt x="4" y="129"/>
                    <a:pt x="7" y="127"/>
                    <a:pt x="10" y="125"/>
                  </a:cubicBezTo>
                  <a:cubicBezTo>
                    <a:pt x="11" y="124"/>
                    <a:pt x="12" y="123"/>
                    <a:pt x="13" y="122"/>
                  </a:cubicBezTo>
                  <a:cubicBezTo>
                    <a:pt x="14" y="122"/>
                    <a:pt x="15" y="122"/>
                    <a:pt x="16" y="121"/>
                  </a:cubicBezTo>
                  <a:cubicBezTo>
                    <a:pt x="16" y="121"/>
                    <a:pt x="16" y="121"/>
                    <a:pt x="17" y="120"/>
                  </a:cubicBezTo>
                  <a:cubicBezTo>
                    <a:pt x="17" y="120"/>
                    <a:pt x="18" y="120"/>
                    <a:pt x="18" y="120"/>
                  </a:cubicBezTo>
                  <a:cubicBezTo>
                    <a:pt x="19" y="119"/>
                    <a:pt x="19" y="119"/>
                    <a:pt x="20" y="119"/>
                  </a:cubicBezTo>
                  <a:cubicBezTo>
                    <a:pt x="20" y="118"/>
                    <a:pt x="21" y="118"/>
                    <a:pt x="22" y="118"/>
                  </a:cubicBezTo>
                  <a:cubicBezTo>
                    <a:pt x="22" y="117"/>
                    <a:pt x="22" y="117"/>
                    <a:pt x="23" y="116"/>
                  </a:cubicBezTo>
                  <a:cubicBezTo>
                    <a:pt x="23" y="116"/>
                    <a:pt x="23" y="115"/>
                    <a:pt x="23" y="115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5" y="113"/>
                    <a:pt x="25" y="112"/>
                    <a:pt x="25" y="112"/>
                  </a:cubicBezTo>
                  <a:cubicBezTo>
                    <a:pt x="27" y="111"/>
                    <a:pt x="28" y="110"/>
                    <a:pt x="29" y="110"/>
                  </a:cubicBezTo>
                  <a:cubicBezTo>
                    <a:pt x="30" y="109"/>
                    <a:pt x="31" y="108"/>
                    <a:pt x="31" y="107"/>
                  </a:cubicBezTo>
                  <a:cubicBezTo>
                    <a:pt x="31" y="106"/>
                    <a:pt x="31" y="105"/>
                    <a:pt x="31" y="105"/>
                  </a:cubicBezTo>
                  <a:cubicBezTo>
                    <a:pt x="31" y="105"/>
                    <a:pt x="31" y="104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29" y="103"/>
                    <a:pt x="29" y="103"/>
                    <a:pt x="29" y="102"/>
                  </a:cubicBezTo>
                  <a:cubicBezTo>
                    <a:pt x="29" y="100"/>
                    <a:pt x="29" y="100"/>
                    <a:pt x="29" y="100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6"/>
                    <a:pt x="25" y="96"/>
                    <a:pt x="25" y="96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3" y="93"/>
                    <a:pt x="23" y="93"/>
                    <a:pt x="23" y="93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25" y="85"/>
                    <a:pt x="26" y="84"/>
                    <a:pt x="26" y="84"/>
                  </a:cubicBezTo>
                  <a:cubicBezTo>
                    <a:pt x="28" y="83"/>
                    <a:pt x="29" y="83"/>
                    <a:pt x="31" y="83"/>
                  </a:cubicBezTo>
                  <a:cubicBezTo>
                    <a:pt x="32" y="83"/>
                    <a:pt x="33" y="82"/>
                    <a:pt x="35" y="82"/>
                  </a:cubicBezTo>
                  <a:cubicBezTo>
                    <a:pt x="36" y="81"/>
                    <a:pt x="38" y="81"/>
                    <a:pt x="39" y="81"/>
                  </a:cubicBezTo>
                  <a:cubicBezTo>
                    <a:pt x="42" y="81"/>
                    <a:pt x="46" y="80"/>
                    <a:pt x="49" y="80"/>
                  </a:cubicBezTo>
                  <a:cubicBezTo>
                    <a:pt x="51" y="80"/>
                    <a:pt x="53" y="80"/>
                    <a:pt x="55" y="80"/>
                  </a:cubicBezTo>
                  <a:cubicBezTo>
                    <a:pt x="57" y="80"/>
                    <a:pt x="59" y="80"/>
                    <a:pt x="61" y="80"/>
                  </a:cubicBezTo>
                  <a:cubicBezTo>
                    <a:pt x="64" y="80"/>
                    <a:pt x="67" y="81"/>
                    <a:pt x="70" y="82"/>
                  </a:cubicBezTo>
                  <a:cubicBezTo>
                    <a:pt x="71" y="82"/>
                    <a:pt x="72" y="84"/>
                    <a:pt x="73" y="84"/>
                  </a:cubicBezTo>
                  <a:cubicBezTo>
                    <a:pt x="75" y="85"/>
                    <a:pt x="76" y="87"/>
                    <a:pt x="78" y="86"/>
                  </a:cubicBezTo>
                  <a:cubicBezTo>
                    <a:pt x="79" y="86"/>
                    <a:pt x="80" y="86"/>
                    <a:pt x="81" y="85"/>
                  </a:cubicBezTo>
                  <a:cubicBezTo>
                    <a:pt x="82" y="85"/>
                    <a:pt x="84" y="85"/>
                    <a:pt x="85" y="85"/>
                  </a:cubicBezTo>
                  <a:cubicBezTo>
                    <a:pt x="87" y="85"/>
                    <a:pt x="89" y="85"/>
                    <a:pt x="91" y="85"/>
                  </a:cubicBezTo>
                  <a:cubicBezTo>
                    <a:pt x="93" y="85"/>
                    <a:pt x="96" y="85"/>
                    <a:pt x="98" y="84"/>
                  </a:cubicBezTo>
                  <a:cubicBezTo>
                    <a:pt x="99" y="84"/>
                    <a:pt x="100" y="84"/>
                    <a:pt x="101" y="83"/>
                  </a:cubicBezTo>
                  <a:cubicBezTo>
                    <a:pt x="102" y="83"/>
                    <a:pt x="103" y="83"/>
                    <a:pt x="104" y="82"/>
                  </a:cubicBezTo>
                  <a:cubicBezTo>
                    <a:pt x="106" y="81"/>
                    <a:pt x="107" y="79"/>
                    <a:pt x="109" y="78"/>
                  </a:cubicBezTo>
                  <a:cubicBezTo>
                    <a:pt x="111" y="76"/>
                    <a:pt x="113" y="75"/>
                    <a:pt x="115" y="73"/>
                  </a:cubicBezTo>
                  <a:cubicBezTo>
                    <a:pt x="117" y="73"/>
                    <a:pt x="118" y="72"/>
                    <a:pt x="119" y="72"/>
                  </a:cubicBezTo>
                  <a:cubicBezTo>
                    <a:pt x="120" y="72"/>
                    <a:pt x="122" y="72"/>
                    <a:pt x="122" y="71"/>
                  </a:cubicBezTo>
                  <a:cubicBezTo>
                    <a:pt x="123" y="71"/>
                    <a:pt x="123" y="69"/>
                    <a:pt x="123" y="68"/>
                  </a:cubicBezTo>
                  <a:cubicBezTo>
                    <a:pt x="123" y="68"/>
                    <a:pt x="124" y="67"/>
                    <a:pt x="124" y="66"/>
                  </a:cubicBezTo>
                  <a:cubicBezTo>
                    <a:pt x="124" y="65"/>
                    <a:pt x="123" y="65"/>
                    <a:pt x="123" y="64"/>
                  </a:cubicBezTo>
                  <a:cubicBezTo>
                    <a:pt x="123" y="64"/>
                    <a:pt x="123" y="64"/>
                    <a:pt x="123" y="63"/>
                  </a:cubicBezTo>
                  <a:cubicBezTo>
                    <a:pt x="123" y="63"/>
                    <a:pt x="123" y="63"/>
                    <a:pt x="123" y="62"/>
                  </a:cubicBezTo>
                  <a:cubicBezTo>
                    <a:pt x="123" y="62"/>
                    <a:pt x="123" y="62"/>
                    <a:pt x="123" y="61"/>
                  </a:cubicBezTo>
                  <a:cubicBezTo>
                    <a:pt x="123" y="61"/>
                    <a:pt x="123" y="61"/>
                    <a:pt x="122" y="60"/>
                  </a:cubicBezTo>
                  <a:cubicBezTo>
                    <a:pt x="122" y="60"/>
                    <a:pt x="122" y="59"/>
                    <a:pt x="121" y="59"/>
                  </a:cubicBezTo>
                  <a:cubicBezTo>
                    <a:pt x="121" y="59"/>
                    <a:pt x="121" y="58"/>
                    <a:pt x="120" y="58"/>
                  </a:cubicBezTo>
                  <a:cubicBezTo>
                    <a:pt x="120" y="58"/>
                    <a:pt x="120" y="58"/>
                    <a:pt x="120" y="57"/>
                  </a:cubicBezTo>
                  <a:cubicBezTo>
                    <a:pt x="120" y="57"/>
                    <a:pt x="120" y="57"/>
                    <a:pt x="121" y="56"/>
                  </a:cubicBezTo>
                  <a:cubicBezTo>
                    <a:pt x="121" y="56"/>
                    <a:pt x="122" y="56"/>
                    <a:pt x="123" y="56"/>
                  </a:cubicBezTo>
                  <a:cubicBezTo>
                    <a:pt x="123" y="55"/>
                    <a:pt x="124" y="55"/>
                    <a:pt x="124" y="55"/>
                  </a:cubicBezTo>
                  <a:cubicBezTo>
                    <a:pt x="125" y="55"/>
                    <a:pt x="126" y="55"/>
                    <a:pt x="126" y="54"/>
                  </a:cubicBezTo>
                  <a:cubicBezTo>
                    <a:pt x="126" y="54"/>
                    <a:pt x="126" y="54"/>
                    <a:pt x="126" y="54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6" y="53"/>
                    <a:pt x="126" y="52"/>
                    <a:pt x="125" y="52"/>
                  </a:cubicBezTo>
                  <a:cubicBezTo>
                    <a:pt x="125" y="51"/>
                    <a:pt x="124" y="51"/>
                    <a:pt x="124" y="51"/>
                  </a:cubicBezTo>
                  <a:cubicBezTo>
                    <a:pt x="124" y="51"/>
                    <a:pt x="123" y="51"/>
                    <a:pt x="123" y="51"/>
                  </a:cubicBezTo>
                  <a:cubicBezTo>
                    <a:pt x="122" y="51"/>
                    <a:pt x="123" y="51"/>
                    <a:pt x="124" y="50"/>
                  </a:cubicBezTo>
                  <a:cubicBezTo>
                    <a:pt x="124" y="50"/>
                    <a:pt x="125" y="49"/>
                    <a:pt x="124" y="49"/>
                  </a:cubicBezTo>
                  <a:cubicBezTo>
                    <a:pt x="124" y="49"/>
                    <a:pt x="124" y="49"/>
                    <a:pt x="123" y="49"/>
                  </a:cubicBezTo>
                  <a:cubicBezTo>
                    <a:pt x="123" y="48"/>
                    <a:pt x="123" y="48"/>
                    <a:pt x="123" y="49"/>
                  </a:cubicBezTo>
                  <a:cubicBezTo>
                    <a:pt x="122" y="49"/>
                    <a:pt x="122" y="49"/>
                    <a:pt x="122" y="50"/>
                  </a:cubicBezTo>
                  <a:cubicBezTo>
                    <a:pt x="122" y="50"/>
                    <a:pt x="121" y="50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0" y="51"/>
                    <a:pt x="120" y="50"/>
                    <a:pt x="120" y="50"/>
                  </a:cubicBezTo>
                  <a:cubicBezTo>
                    <a:pt x="120" y="50"/>
                    <a:pt x="120" y="49"/>
                    <a:pt x="119" y="49"/>
                  </a:cubicBezTo>
                  <a:cubicBezTo>
                    <a:pt x="119" y="49"/>
                    <a:pt x="119" y="48"/>
                    <a:pt x="119" y="48"/>
                  </a:cubicBezTo>
                  <a:cubicBezTo>
                    <a:pt x="119" y="47"/>
                    <a:pt x="119" y="47"/>
                    <a:pt x="119" y="46"/>
                  </a:cubicBezTo>
                  <a:cubicBezTo>
                    <a:pt x="119" y="46"/>
                    <a:pt x="118" y="46"/>
                    <a:pt x="118" y="45"/>
                  </a:cubicBezTo>
                  <a:cubicBezTo>
                    <a:pt x="118" y="44"/>
                    <a:pt x="118" y="44"/>
                    <a:pt x="119" y="44"/>
                  </a:cubicBezTo>
                  <a:cubicBezTo>
                    <a:pt x="119" y="44"/>
                    <a:pt x="119" y="44"/>
                    <a:pt x="119" y="43"/>
                  </a:cubicBezTo>
                  <a:cubicBezTo>
                    <a:pt x="119" y="43"/>
                    <a:pt x="120" y="43"/>
                    <a:pt x="120" y="42"/>
                  </a:cubicBezTo>
                  <a:cubicBezTo>
                    <a:pt x="121" y="42"/>
                    <a:pt x="122" y="41"/>
                    <a:pt x="123" y="41"/>
                  </a:cubicBezTo>
                  <a:cubicBezTo>
                    <a:pt x="124" y="40"/>
                    <a:pt x="124" y="40"/>
                    <a:pt x="125" y="39"/>
                  </a:cubicBezTo>
                  <a:cubicBezTo>
                    <a:pt x="126" y="39"/>
                    <a:pt x="126" y="39"/>
                    <a:pt x="127" y="38"/>
                  </a:cubicBezTo>
                  <a:cubicBezTo>
                    <a:pt x="127" y="38"/>
                    <a:pt x="128" y="37"/>
                    <a:pt x="128" y="37"/>
                  </a:cubicBezTo>
                  <a:cubicBezTo>
                    <a:pt x="128" y="36"/>
                    <a:pt x="129" y="35"/>
                    <a:pt x="129" y="35"/>
                  </a:cubicBezTo>
                  <a:cubicBezTo>
                    <a:pt x="129" y="34"/>
                    <a:pt x="129" y="34"/>
                    <a:pt x="130" y="34"/>
                  </a:cubicBezTo>
                  <a:cubicBezTo>
                    <a:pt x="130" y="33"/>
                    <a:pt x="131" y="33"/>
                    <a:pt x="131" y="33"/>
                  </a:cubicBezTo>
                  <a:cubicBezTo>
                    <a:pt x="132" y="33"/>
                    <a:pt x="133" y="33"/>
                    <a:pt x="133" y="33"/>
                  </a:cubicBezTo>
                  <a:cubicBezTo>
                    <a:pt x="134" y="32"/>
                    <a:pt x="134" y="32"/>
                    <a:pt x="135" y="31"/>
                  </a:cubicBezTo>
                  <a:cubicBezTo>
                    <a:pt x="135" y="31"/>
                    <a:pt x="136" y="30"/>
                    <a:pt x="136" y="30"/>
                  </a:cubicBezTo>
                  <a:cubicBezTo>
                    <a:pt x="137" y="30"/>
                    <a:pt x="137" y="29"/>
                    <a:pt x="138" y="29"/>
                  </a:cubicBezTo>
                  <a:cubicBezTo>
                    <a:pt x="138" y="28"/>
                    <a:pt x="138" y="28"/>
                    <a:pt x="139" y="27"/>
                  </a:cubicBezTo>
                  <a:cubicBezTo>
                    <a:pt x="139" y="27"/>
                    <a:pt x="139" y="26"/>
                    <a:pt x="139" y="25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52" y="12"/>
                    <a:pt x="152" y="12"/>
                    <a:pt x="152" y="12"/>
                  </a:cubicBezTo>
                  <a:cubicBezTo>
                    <a:pt x="152" y="10"/>
                    <a:pt x="152" y="10"/>
                    <a:pt x="152" y="10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61" y="6"/>
                    <a:pt x="161" y="6"/>
                  </a:cubicBezTo>
                  <a:cubicBezTo>
                    <a:pt x="161" y="6"/>
                    <a:pt x="168" y="2"/>
                    <a:pt x="168" y="2"/>
                  </a:cubicBezTo>
                  <a:cubicBezTo>
                    <a:pt x="168" y="2"/>
                    <a:pt x="169" y="1"/>
                    <a:pt x="169" y="1"/>
                  </a:cubicBezTo>
                  <a:cubicBezTo>
                    <a:pt x="169" y="1"/>
                    <a:pt x="170" y="0"/>
                    <a:pt x="170" y="0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0"/>
                    <a:pt x="221" y="4"/>
                    <a:pt x="221" y="5"/>
                  </a:cubicBezTo>
                  <a:cubicBezTo>
                    <a:pt x="221" y="6"/>
                    <a:pt x="220" y="7"/>
                    <a:pt x="220" y="8"/>
                  </a:cubicBezTo>
                  <a:cubicBezTo>
                    <a:pt x="219" y="9"/>
                    <a:pt x="220" y="9"/>
                    <a:pt x="221" y="10"/>
                  </a:cubicBezTo>
                  <a:cubicBezTo>
                    <a:pt x="221" y="11"/>
                    <a:pt x="221" y="12"/>
                    <a:pt x="221" y="13"/>
                  </a:cubicBezTo>
                  <a:cubicBezTo>
                    <a:pt x="221" y="13"/>
                    <a:pt x="221" y="15"/>
                    <a:pt x="220" y="16"/>
                  </a:cubicBezTo>
                  <a:cubicBezTo>
                    <a:pt x="220" y="18"/>
                    <a:pt x="220" y="20"/>
                    <a:pt x="220" y="21"/>
                  </a:cubicBezTo>
                  <a:cubicBezTo>
                    <a:pt x="219" y="22"/>
                    <a:pt x="221" y="24"/>
                    <a:pt x="222" y="25"/>
                  </a:cubicBezTo>
                  <a:cubicBezTo>
                    <a:pt x="222" y="26"/>
                    <a:pt x="222" y="28"/>
                    <a:pt x="222" y="28"/>
                  </a:cubicBezTo>
                  <a:cubicBezTo>
                    <a:pt x="222" y="29"/>
                    <a:pt x="222" y="31"/>
                    <a:pt x="222" y="32"/>
                  </a:cubicBezTo>
                  <a:cubicBezTo>
                    <a:pt x="221" y="32"/>
                    <a:pt x="222" y="37"/>
                    <a:pt x="222" y="37"/>
                  </a:cubicBezTo>
                  <a:cubicBezTo>
                    <a:pt x="222" y="37"/>
                    <a:pt x="221" y="38"/>
                    <a:pt x="221" y="39"/>
                  </a:cubicBezTo>
                  <a:cubicBezTo>
                    <a:pt x="220" y="39"/>
                    <a:pt x="219" y="40"/>
                    <a:pt x="219" y="41"/>
                  </a:cubicBezTo>
                  <a:cubicBezTo>
                    <a:pt x="219" y="41"/>
                    <a:pt x="219" y="43"/>
                    <a:pt x="218" y="44"/>
                  </a:cubicBezTo>
                  <a:cubicBezTo>
                    <a:pt x="218" y="44"/>
                    <a:pt x="218" y="47"/>
                    <a:pt x="218" y="47"/>
                  </a:cubicBezTo>
                  <a:cubicBezTo>
                    <a:pt x="218" y="47"/>
                    <a:pt x="219" y="49"/>
                    <a:pt x="219" y="49"/>
                  </a:cubicBezTo>
                  <a:cubicBezTo>
                    <a:pt x="219" y="49"/>
                    <a:pt x="219" y="52"/>
                    <a:pt x="219" y="53"/>
                  </a:cubicBezTo>
                  <a:cubicBezTo>
                    <a:pt x="219" y="53"/>
                    <a:pt x="219" y="58"/>
                    <a:pt x="219" y="58"/>
                  </a:cubicBezTo>
                  <a:cubicBezTo>
                    <a:pt x="221" y="61"/>
                    <a:pt x="221" y="61"/>
                    <a:pt x="221" y="61"/>
                  </a:cubicBezTo>
                  <a:cubicBezTo>
                    <a:pt x="221" y="61"/>
                    <a:pt x="219" y="65"/>
                    <a:pt x="219" y="65"/>
                  </a:cubicBezTo>
                  <a:cubicBezTo>
                    <a:pt x="219" y="66"/>
                    <a:pt x="218" y="68"/>
                    <a:pt x="218" y="68"/>
                  </a:cubicBezTo>
                  <a:cubicBezTo>
                    <a:pt x="218" y="68"/>
                    <a:pt x="219" y="69"/>
                    <a:pt x="219" y="70"/>
                  </a:cubicBezTo>
                  <a:cubicBezTo>
                    <a:pt x="219" y="70"/>
                    <a:pt x="220" y="70"/>
                    <a:pt x="220" y="70"/>
                  </a:cubicBezTo>
                  <a:cubicBezTo>
                    <a:pt x="220" y="69"/>
                    <a:pt x="220" y="69"/>
                    <a:pt x="220" y="69"/>
                  </a:cubicBezTo>
                  <a:cubicBezTo>
                    <a:pt x="220" y="69"/>
                    <a:pt x="221" y="68"/>
                    <a:pt x="221" y="68"/>
                  </a:cubicBezTo>
                  <a:cubicBezTo>
                    <a:pt x="221" y="68"/>
                    <a:pt x="222" y="68"/>
                    <a:pt x="222" y="68"/>
                  </a:cubicBezTo>
                  <a:cubicBezTo>
                    <a:pt x="223" y="68"/>
                    <a:pt x="223" y="69"/>
                    <a:pt x="223" y="70"/>
                  </a:cubicBezTo>
                  <a:cubicBezTo>
                    <a:pt x="223" y="70"/>
                    <a:pt x="224" y="71"/>
                    <a:pt x="224" y="71"/>
                  </a:cubicBezTo>
                  <a:cubicBezTo>
                    <a:pt x="223" y="105"/>
                    <a:pt x="223" y="105"/>
                    <a:pt x="223" y="105"/>
                  </a:cubicBezTo>
                  <a:cubicBezTo>
                    <a:pt x="224" y="109"/>
                    <a:pt x="224" y="109"/>
                    <a:pt x="224" y="109"/>
                  </a:cubicBezTo>
                  <a:cubicBezTo>
                    <a:pt x="215" y="140"/>
                    <a:pt x="215" y="140"/>
                    <a:pt x="215" y="140"/>
                  </a:cubicBezTo>
                  <a:cubicBezTo>
                    <a:pt x="216" y="142"/>
                    <a:pt x="216" y="142"/>
                    <a:pt x="216" y="142"/>
                  </a:cubicBezTo>
                  <a:cubicBezTo>
                    <a:pt x="215" y="161"/>
                    <a:pt x="215" y="161"/>
                    <a:pt x="215" y="161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14" y="176"/>
                    <a:pt x="215" y="178"/>
                    <a:pt x="215" y="178"/>
                  </a:cubicBezTo>
                  <a:cubicBezTo>
                    <a:pt x="215" y="178"/>
                    <a:pt x="216" y="181"/>
                    <a:pt x="216" y="181"/>
                  </a:cubicBezTo>
                  <a:cubicBezTo>
                    <a:pt x="210" y="184"/>
                    <a:pt x="210" y="184"/>
                    <a:pt x="210" y="184"/>
                  </a:cubicBezTo>
                  <a:cubicBezTo>
                    <a:pt x="210" y="184"/>
                    <a:pt x="208" y="186"/>
                    <a:pt x="208" y="186"/>
                  </a:cubicBezTo>
                  <a:cubicBezTo>
                    <a:pt x="208" y="187"/>
                    <a:pt x="208" y="188"/>
                    <a:pt x="208" y="188"/>
                  </a:cubicBezTo>
                  <a:close/>
                  <a:moveTo>
                    <a:pt x="195" y="206"/>
                  </a:moveTo>
                  <a:cubicBezTo>
                    <a:pt x="195" y="206"/>
                    <a:pt x="193" y="206"/>
                    <a:pt x="193" y="206"/>
                  </a:cubicBezTo>
                  <a:cubicBezTo>
                    <a:pt x="193" y="206"/>
                    <a:pt x="192" y="207"/>
                    <a:pt x="192" y="207"/>
                  </a:cubicBezTo>
                  <a:cubicBezTo>
                    <a:pt x="192" y="208"/>
                    <a:pt x="191" y="209"/>
                    <a:pt x="191" y="209"/>
                  </a:cubicBezTo>
                  <a:cubicBezTo>
                    <a:pt x="190" y="210"/>
                    <a:pt x="190" y="211"/>
                    <a:pt x="190" y="212"/>
                  </a:cubicBezTo>
                  <a:cubicBezTo>
                    <a:pt x="190" y="212"/>
                    <a:pt x="190" y="213"/>
                    <a:pt x="190" y="213"/>
                  </a:cubicBezTo>
                  <a:cubicBezTo>
                    <a:pt x="192" y="214"/>
                    <a:pt x="192" y="214"/>
                    <a:pt x="192" y="214"/>
                  </a:cubicBezTo>
                  <a:cubicBezTo>
                    <a:pt x="192" y="213"/>
                    <a:pt x="193" y="213"/>
                    <a:pt x="193" y="212"/>
                  </a:cubicBezTo>
                  <a:cubicBezTo>
                    <a:pt x="194" y="212"/>
                    <a:pt x="194" y="211"/>
                    <a:pt x="195" y="211"/>
                  </a:cubicBezTo>
                  <a:cubicBezTo>
                    <a:pt x="195" y="210"/>
                    <a:pt x="195" y="210"/>
                    <a:pt x="195" y="209"/>
                  </a:cubicBezTo>
                  <a:cubicBezTo>
                    <a:pt x="195" y="209"/>
                    <a:pt x="195" y="209"/>
                    <a:pt x="195" y="208"/>
                  </a:cubicBezTo>
                  <a:cubicBezTo>
                    <a:pt x="196" y="208"/>
                    <a:pt x="196" y="207"/>
                    <a:pt x="196" y="207"/>
                  </a:cubicBezTo>
                  <a:cubicBezTo>
                    <a:pt x="196" y="207"/>
                    <a:pt x="196" y="206"/>
                    <a:pt x="196" y="206"/>
                  </a:cubicBezTo>
                  <a:cubicBezTo>
                    <a:pt x="196" y="206"/>
                    <a:pt x="196" y="206"/>
                    <a:pt x="196" y="206"/>
                  </a:cubicBezTo>
                  <a:cubicBezTo>
                    <a:pt x="196" y="206"/>
                    <a:pt x="195" y="205"/>
                    <a:pt x="195" y="20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93200E6A-A45F-4776-9942-9FA3E7819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2997" y="2744988"/>
              <a:ext cx="224700" cy="436182"/>
            </a:xfrm>
            <a:custGeom>
              <a:avLst/>
              <a:gdLst>
                <a:gd name="T0" fmla="*/ 52 w 57"/>
                <a:gd name="T1" fmla="*/ 44 h 110"/>
                <a:gd name="T2" fmla="*/ 48 w 57"/>
                <a:gd name="T3" fmla="*/ 43 h 110"/>
                <a:gd name="T4" fmla="*/ 45 w 57"/>
                <a:gd name="T5" fmla="*/ 42 h 110"/>
                <a:gd name="T6" fmla="*/ 45 w 57"/>
                <a:gd name="T7" fmla="*/ 41 h 110"/>
                <a:gd name="T8" fmla="*/ 45 w 57"/>
                <a:gd name="T9" fmla="*/ 36 h 110"/>
                <a:gd name="T10" fmla="*/ 47 w 57"/>
                <a:gd name="T11" fmla="*/ 33 h 110"/>
                <a:gd name="T12" fmla="*/ 50 w 57"/>
                <a:gd name="T13" fmla="*/ 32 h 110"/>
                <a:gd name="T14" fmla="*/ 52 w 57"/>
                <a:gd name="T15" fmla="*/ 32 h 110"/>
                <a:gd name="T16" fmla="*/ 53 w 57"/>
                <a:gd name="T17" fmla="*/ 29 h 110"/>
                <a:gd name="T18" fmla="*/ 31 w 57"/>
                <a:gd name="T19" fmla="*/ 2 h 110"/>
                <a:gd name="T20" fmla="*/ 25 w 57"/>
                <a:gd name="T21" fmla="*/ 4 h 110"/>
                <a:gd name="T22" fmla="*/ 20 w 57"/>
                <a:gd name="T23" fmla="*/ 13 h 110"/>
                <a:gd name="T24" fmla="*/ 17 w 57"/>
                <a:gd name="T25" fmla="*/ 23 h 110"/>
                <a:gd name="T26" fmla="*/ 12 w 57"/>
                <a:gd name="T27" fmla="*/ 28 h 110"/>
                <a:gd name="T28" fmla="*/ 17 w 57"/>
                <a:gd name="T29" fmla="*/ 38 h 110"/>
                <a:gd name="T30" fmla="*/ 21 w 57"/>
                <a:gd name="T31" fmla="*/ 47 h 110"/>
                <a:gd name="T32" fmla="*/ 27 w 57"/>
                <a:gd name="T33" fmla="*/ 57 h 110"/>
                <a:gd name="T34" fmla="*/ 14 w 57"/>
                <a:gd name="T35" fmla="*/ 68 h 110"/>
                <a:gd name="T36" fmla="*/ 8 w 57"/>
                <a:gd name="T37" fmla="*/ 70 h 110"/>
                <a:gd name="T38" fmla="*/ 3 w 57"/>
                <a:gd name="T39" fmla="*/ 75 h 110"/>
                <a:gd name="T40" fmla="*/ 1 w 57"/>
                <a:gd name="T41" fmla="*/ 80 h 110"/>
                <a:gd name="T42" fmla="*/ 1 w 57"/>
                <a:gd name="T43" fmla="*/ 85 h 110"/>
                <a:gd name="T44" fmla="*/ 6 w 57"/>
                <a:gd name="T45" fmla="*/ 88 h 110"/>
                <a:gd name="T46" fmla="*/ 7 w 57"/>
                <a:gd name="T47" fmla="*/ 92 h 110"/>
                <a:gd name="T48" fmla="*/ 12 w 57"/>
                <a:gd name="T49" fmla="*/ 97 h 110"/>
                <a:gd name="T50" fmla="*/ 14 w 57"/>
                <a:gd name="T51" fmla="*/ 99 h 110"/>
                <a:gd name="T52" fmla="*/ 17 w 57"/>
                <a:gd name="T53" fmla="*/ 98 h 110"/>
                <a:gd name="T54" fmla="*/ 20 w 57"/>
                <a:gd name="T55" fmla="*/ 99 h 110"/>
                <a:gd name="T56" fmla="*/ 23 w 57"/>
                <a:gd name="T57" fmla="*/ 101 h 110"/>
                <a:gd name="T58" fmla="*/ 22 w 57"/>
                <a:gd name="T59" fmla="*/ 105 h 110"/>
                <a:gd name="T60" fmla="*/ 21 w 57"/>
                <a:gd name="T61" fmla="*/ 110 h 110"/>
                <a:gd name="T62" fmla="*/ 25 w 57"/>
                <a:gd name="T63" fmla="*/ 108 h 110"/>
                <a:gd name="T64" fmla="*/ 28 w 57"/>
                <a:gd name="T65" fmla="*/ 104 h 110"/>
                <a:gd name="T66" fmla="*/ 31 w 57"/>
                <a:gd name="T67" fmla="*/ 98 h 110"/>
                <a:gd name="T68" fmla="*/ 32 w 57"/>
                <a:gd name="T69" fmla="*/ 95 h 110"/>
                <a:gd name="T70" fmla="*/ 35 w 57"/>
                <a:gd name="T71" fmla="*/ 94 h 110"/>
                <a:gd name="T72" fmla="*/ 39 w 57"/>
                <a:gd name="T73" fmla="*/ 91 h 110"/>
                <a:gd name="T74" fmla="*/ 42 w 57"/>
                <a:gd name="T75" fmla="*/ 88 h 110"/>
                <a:gd name="T76" fmla="*/ 40 w 57"/>
                <a:gd name="T77" fmla="*/ 89 h 110"/>
                <a:gd name="T78" fmla="*/ 38 w 57"/>
                <a:gd name="T79" fmla="*/ 89 h 110"/>
                <a:gd name="T80" fmla="*/ 40 w 57"/>
                <a:gd name="T81" fmla="*/ 86 h 110"/>
                <a:gd name="T82" fmla="*/ 40 w 57"/>
                <a:gd name="T83" fmla="*/ 83 h 110"/>
                <a:gd name="T84" fmla="*/ 43 w 57"/>
                <a:gd name="T85" fmla="*/ 81 h 110"/>
                <a:gd name="T86" fmla="*/ 46 w 57"/>
                <a:gd name="T87" fmla="*/ 79 h 110"/>
                <a:gd name="T88" fmla="*/ 48 w 57"/>
                <a:gd name="T89" fmla="*/ 71 h 110"/>
                <a:gd name="T90" fmla="*/ 49 w 57"/>
                <a:gd name="T91" fmla="*/ 64 h 110"/>
                <a:gd name="T92" fmla="*/ 52 w 57"/>
                <a:gd name="T93" fmla="*/ 60 h 110"/>
                <a:gd name="T94" fmla="*/ 53 w 57"/>
                <a:gd name="T95" fmla="*/ 55 h 110"/>
                <a:gd name="T96" fmla="*/ 54 w 57"/>
                <a:gd name="T97" fmla="*/ 50 h 110"/>
                <a:gd name="T98" fmla="*/ 54 w 57"/>
                <a:gd name="T99" fmla="*/ 4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110">
                  <a:moveTo>
                    <a:pt x="54" y="46"/>
                  </a:moveTo>
                  <a:cubicBezTo>
                    <a:pt x="54" y="45"/>
                    <a:pt x="53" y="45"/>
                    <a:pt x="53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0" y="43"/>
                    <a:pt x="50" y="43"/>
                  </a:cubicBezTo>
                  <a:cubicBezTo>
                    <a:pt x="49" y="43"/>
                    <a:pt x="49" y="43"/>
                    <a:pt x="48" y="43"/>
                  </a:cubicBezTo>
                  <a:cubicBezTo>
                    <a:pt x="48" y="43"/>
                    <a:pt x="48" y="43"/>
                    <a:pt x="47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2"/>
                    <a:pt x="45" y="42"/>
                    <a:pt x="45" y="42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6" y="41"/>
                    <a:pt x="46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4" y="41"/>
                  </a:cubicBezTo>
                  <a:cubicBezTo>
                    <a:pt x="44" y="40"/>
                    <a:pt x="44" y="39"/>
                    <a:pt x="44" y="39"/>
                  </a:cubicBezTo>
                  <a:cubicBezTo>
                    <a:pt x="44" y="38"/>
                    <a:pt x="45" y="36"/>
                    <a:pt x="45" y="36"/>
                  </a:cubicBezTo>
                  <a:cubicBezTo>
                    <a:pt x="45" y="36"/>
                    <a:pt x="45" y="36"/>
                    <a:pt x="46" y="35"/>
                  </a:cubicBezTo>
                  <a:cubicBezTo>
                    <a:pt x="46" y="34"/>
                    <a:pt x="46" y="34"/>
                    <a:pt x="47" y="34"/>
                  </a:cubicBezTo>
                  <a:cubicBezTo>
                    <a:pt x="47" y="34"/>
                    <a:pt x="47" y="33"/>
                    <a:pt x="47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8" y="32"/>
                    <a:pt x="48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1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1"/>
                    <a:pt x="52" y="31"/>
                  </a:cubicBezTo>
                  <a:cubicBezTo>
                    <a:pt x="52" y="31"/>
                    <a:pt x="53" y="30"/>
                    <a:pt x="53" y="30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31" y="2"/>
                    <a:pt x="31" y="2"/>
                  </a:cubicBezTo>
                  <a:cubicBezTo>
                    <a:pt x="31" y="2"/>
                    <a:pt x="30" y="1"/>
                    <a:pt x="30" y="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3" y="68"/>
                  </a:cubicBezTo>
                  <a:cubicBezTo>
                    <a:pt x="13" y="69"/>
                    <a:pt x="12" y="69"/>
                    <a:pt x="12" y="69"/>
                  </a:cubicBezTo>
                  <a:cubicBezTo>
                    <a:pt x="10" y="70"/>
                    <a:pt x="9" y="70"/>
                    <a:pt x="8" y="70"/>
                  </a:cubicBezTo>
                  <a:cubicBezTo>
                    <a:pt x="7" y="71"/>
                    <a:pt x="6" y="71"/>
                    <a:pt x="5" y="72"/>
                  </a:cubicBezTo>
                  <a:cubicBezTo>
                    <a:pt x="4" y="72"/>
                    <a:pt x="4" y="73"/>
                    <a:pt x="4" y="74"/>
                  </a:cubicBezTo>
                  <a:cubicBezTo>
                    <a:pt x="3" y="74"/>
                    <a:pt x="3" y="75"/>
                    <a:pt x="3" y="75"/>
                  </a:cubicBezTo>
                  <a:cubicBezTo>
                    <a:pt x="2" y="76"/>
                    <a:pt x="2" y="77"/>
                    <a:pt x="1" y="78"/>
                  </a:cubicBezTo>
                  <a:cubicBezTo>
                    <a:pt x="1" y="78"/>
                    <a:pt x="0" y="78"/>
                    <a:pt x="1" y="79"/>
                  </a:cubicBezTo>
                  <a:cubicBezTo>
                    <a:pt x="1" y="79"/>
                    <a:pt x="1" y="80"/>
                    <a:pt x="1" y="80"/>
                  </a:cubicBezTo>
                  <a:cubicBezTo>
                    <a:pt x="2" y="81"/>
                    <a:pt x="2" y="81"/>
                    <a:pt x="3" y="81"/>
                  </a:cubicBezTo>
                  <a:cubicBezTo>
                    <a:pt x="3" y="82"/>
                    <a:pt x="2" y="83"/>
                    <a:pt x="2" y="84"/>
                  </a:cubicBezTo>
                  <a:cubicBezTo>
                    <a:pt x="2" y="84"/>
                    <a:pt x="1" y="84"/>
                    <a:pt x="1" y="85"/>
                  </a:cubicBezTo>
                  <a:cubicBezTo>
                    <a:pt x="1" y="85"/>
                    <a:pt x="1" y="86"/>
                    <a:pt x="1" y="86"/>
                  </a:cubicBezTo>
                  <a:cubicBezTo>
                    <a:pt x="1" y="87"/>
                    <a:pt x="3" y="87"/>
                    <a:pt x="4" y="87"/>
                  </a:cubicBezTo>
                  <a:cubicBezTo>
                    <a:pt x="5" y="87"/>
                    <a:pt x="6" y="87"/>
                    <a:pt x="6" y="88"/>
                  </a:cubicBezTo>
                  <a:cubicBezTo>
                    <a:pt x="6" y="88"/>
                    <a:pt x="6" y="90"/>
                    <a:pt x="6" y="90"/>
                  </a:cubicBezTo>
                  <a:cubicBezTo>
                    <a:pt x="6" y="91"/>
                    <a:pt x="5" y="91"/>
                    <a:pt x="6" y="92"/>
                  </a:cubicBezTo>
                  <a:cubicBezTo>
                    <a:pt x="6" y="92"/>
                    <a:pt x="7" y="92"/>
                    <a:pt x="7" y="92"/>
                  </a:cubicBezTo>
                  <a:cubicBezTo>
                    <a:pt x="8" y="93"/>
                    <a:pt x="8" y="93"/>
                    <a:pt x="9" y="93"/>
                  </a:cubicBezTo>
                  <a:cubicBezTo>
                    <a:pt x="10" y="94"/>
                    <a:pt x="10" y="94"/>
                    <a:pt x="11" y="95"/>
                  </a:cubicBezTo>
                  <a:cubicBezTo>
                    <a:pt x="11" y="96"/>
                    <a:pt x="12" y="96"/>
                    <a:pt x="12" y="97"/>
                  </a:cubicBezTo>
                  <a:cubicBezTo>
                    <a:pt x="13" y="97"/>
                    <a:pt x="13" y="97"/>
                    <a:pt x="13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6" y="99"/>
                    <a:pt x="16" y="99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7"/>
                    <a:pt x="18" y="98"/>
                    <a:pt x="18" y="98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0" y="99"/>
                    <a:pt x="21" y="99"/>
                    <a:pt x="21" y="99"/>
                  </a:cubicBezTo>
                  <a:cubicBezTo>
                    <a:pt x="21" y="99"/>
                    <a:pt x="22" y="99"/>
                    <a:pt x="22" y="99"/>
                  </a:cubicBezTo>
                  <a:cubicBezTo>
                    <a:pt x="22" y="100"/>
                    <a:pt x="23" y="100"/>
                    <a:pt x="23" y="101"/>
                  </a:cubicBezTo>
                  <a:cubicBezTo>
                    <a:pt x="23" y="101"/>
                    <a:pt x="23" y="102"/>
                    <a:pt x="23" y="102"/>
                  </a:cubicBezTo>
                  <a:cubicBezTo>
                    <a:pt x="23" y="103"/>
                    <a:pt x="23" y="103"/>
                    <a:pt x="23" y="104"/>
                  </a:cubicBezTo>
                  <a:cubicBezTo>
                    <a:pt x="23" y="104"/>
                    <a:pt x="22" y="104"/>
                    <a:pt x="22" y="105"/>
                  </a:cubicBezTo>
                  <a:cubicBezTo>
                    <a:pt x="22" y="106"/>
                    <a:pt x="22" y="107"/>
                    <a:pt x="21" y="107"/>
                  </a:cubicBezTo>
                  <a:cubicBezTo>
                    <a:pt x="21" y="108"/>
                    <a:pt x="21" y="108"/>
                    <a:pt x="21" y="109"/>
                  </a:cubicBezTo>
                  <a:cubicBezTo>
                    <a:pt x="21" y="109"/>
                    <a:pt x="21" y="110"/>
                    <a:pt x="21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3" y="110"/>
                    <a:pt x="23" y="110"/>
                    <a:pt x="24" y="109"/>
                  </a:cubicBezTo>
                  <a:cubicBezTo>
                    <a:pt x="24" y="109"/>
                    <a:pt x="24" y="109"/>
                    <a:pt x="25" y="108"/>
                  </a:cubicBezTo>
                  <a:cubicBezTo>
                    <a:pt x="25" y="108"/>
                    <a:pt x="26" y="108"/>
                    <a:pt x="26" y="108"/>
                  </a:cubicBezTo>
                  <a:cubicBezTo>
                    <a:pt x="27" y="107"/>
                    <a:pt x="27" y="106"/>
                    <a:pt x="27" y="106"/>
                  </a:cubicBezTo>
                  <a:cubicBezTo>
                    <a:pt x="28" y="105"/>
                    <a:pt x="28" y="104"/>
                    <a:pt x="28" y="104"/>
                  </a:cubicBezTo>
                  <a:cubicBezTo>
                    <a:pt x="29" y="103"/>
                    <a:pt x="29" y="102"/>
                    <a:pt x="29" y="102"/>
                  </a:cubicBezTo>
                  <a:cubicBezTo>
                    <a:pt x="29" y="102"/>
                    <a:pt x="30" y="101"/>
                    <a:pt x="30" y="101"/>
                  </a:cubicBezTo>
                  <a:cubicBezTo>
                    <a:pt x="30" y="100"/>
                    <a:pt x="30" y="99"/>
                    <a:pt x="31" y="98"/>
                  </a:cubicBezTo>
                  <a:cubicBezTo>
                    <a:pt x="31" y="97"/>
                    <a:pt x="32" y="97"/>
                    <a:pt x="32" y="97"/>
                  </a:cubicBezTo>
                  <a:cubicBezTo>
                    <a:pt x="32" y="96"/>
                    <a:pt x="34" y="96"/>
                    <a:pt x="34" y="95"/>
                  </a:cubicBezTo>
                  <a:cubicBezTo>
                    <a:pt x="33" y="94"/>
                    <a:pt x="33" y="95"/>
                    <a:pt x="32" y="95"/>
                  </a:cubicBezTo>
                  <a:cubicBezTo>
                    <a:pt x="32" y="95"/>
                    <a:pt x="31" y="95"/>
                    <a:pt x="32" y="94"/>
                  </a:cubicBezTo>
                  <a:cubicBezTo>
                    <a:pt x="32" y="94"/>
                    <a:pt x="33" y="94"/>
                    <a:pt x="33" y="94"/>
                  </a:cubicBezTo>
                  <a:cubicBezTo>
                    <a:pt x="34" y="94"/>
                    <a:pt x="34" y="94"/>
                    <a:pt x="35" y="94"/>
                  </a:cubicBezTo>
                  <a:cubicBezTo>
                    <a:pt x="36" y="94"/>
                    <a:pt x="36" y="93"/>
                    <a:pt x="37" y="93"/>
                  </a:cubicBezTo>
                  <a:cubicBezTo>
                    <a:pt x="37" y="92"/>
                    <a:pt x="37" y="92"/>
                    <a:pt x="38" y="92"/>
                  </a:cubicBezTo>
                  <a:cubicBezTo>
                    <a:pt x="38" y="92"/>
                    <a:pt x="38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0" y="90"/>
                    <a:pt x="40" y="90"/>
                    <a:pt x="41" y="89"/>
                  </a:cubicBezTo>
                  <a:cubicBezTo>
                    <a:pt x="41" y="89"/>
                    <a:pt x="41" y="89"/>
                    <a:pt x="42" y="88"/>
                  </a:cubicBezTo>
                  <a:cubicBezTo>
                    <a:pt x="42" y="88"/>
                    <a:pt x="42" y="87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0" y="88"/>
                    <a:pt x="40" y="89"/>
                  </a:cubicBezTo>
                  <a:cubicBezTo>
                    <a:pt x="40" y="89"/>
                    <a:pt x="40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8" y="89"/>
                    <a:pt x="38" y="89"/>
                  </a:cubicBezTo>
                  <a:cubicBezTo>
                    <a:pt x="38" y="89"/>
                    <a:pt x="38" y="88"/>
                    <a:pt x="38" y="88"/>
                  </a:cubicBezTo>
                  <a:cubicBezTo>
                    <a:pt x="38" y="88"/>
                    <a:pt x="39" y="87"/>
                    <a:pt x="39" y="87"/>
                  </a:cubicBezTo>
                  <a:cubicBezTo>
                    <a:pt x="39" y="87"/>
                    <a:pt x="40" y="87"/>
                    <a:pt x="40" y="86"/>
                  </a:cubicBezTo>
                  <a:cubicBezTo>
                    <a:pt x="40" y="86"/>
                    <a:pt x="40" y="86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4"/>
                    <a:pt x="39" y="84"/>
                    <a:pt x="40" y="83"/>
                  </a:cubicBezTo>
                  <a:cubicBezTo>
                    <a:pt x="40" y="83"/>
                    <a:pt x="41" y="82"/>
                    <a:pt x="41" y="82"/>
                  </a:cubicBezTo>
                  <a:cubicBezTo>
                    <a:pt x="42" y="82"/>
                    <a:pt x="42" y="81"/>
                    <a:pt x="42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4" y="80"/>
                    <a:pt x="44" y="80"/>
                    <a:pt x="45" y="80"/>
                  </a:cubicBezTo>
                  <a:cubicBezTo>
                    <a:pt x="45" y="79"/>
                    <a:pt x="45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7" y="78"/>
                    <a:pt x="47" y="77"/>
                    <a:pt x="48" y="76"/>
                  </a:cubicBezTo>
                  <a:cubicBezTo>
                    <a:pt x="48" y="75"/>
                    <a:pt x="48" y="74"/>
                    <a:pt x="48" y="73"/>
                  </a:cubicBezTo>
                  <a:cubicBezTo>
                    <a:pt x="48" y="73"/>
                    <a:pt x="48" y="72"/>
                    <a:pt x="48" y="71"/>
                  </a:cubicBezTo>
                  <a:cubicBezTo>
                    <a:pt x="48" y="70"/>
                    <a:pt x="48" y="70"/>
                    <a:pt x="49" y="69"/>
                  </a:cubicBezTo>
                  <a:cubicBezTo>
                    <a:pt x="49" y="69"/>
                    <a:pt x="49" y="68"/>
                    <a:pt x="49" y="67"/>
                  </a:cubicBezTo>
                  <a:cubicBezTo>
                    <a:pt x="49" y="66"/>
                    <a:pt x="49" y="65"/>
                    <a:pt x="49" y="64"/>
                  </a:cubicBezTo>
                  <a:cubicBezTo>
                    <a:pt x="50" y="64"/>
                    <a:pt x="50" y="63"/>
                    <a:pt x="50" y="63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1" y="61"/>
                    <a:pt x="51" y="60"/>
                    <a:pt x="52" y="60"/>
                  </a:cubicBezTo>
                  <a:cubicBezTo>
                    <a:pt x="52" y="59"/>
                    <a:pt x="52" y="59"/>
                    <a:pt x="53" y="58"/>
                  </a:cubicBezTo>
                  <a:cubicBezTo>
                    <a:pt x="53" y="58"/>
                    <a:pt x="53" y="57"/>
                    <a:pt x="53" y="56"/>
                  </a:cubicBezTo>
                  <a:cubicBezTo>
                    <a:pt x="53" y="56"/>
                    <a:pt x="53" y="55"/>
                    <a:pt x="53" y="55"/>
                  </a:cubicBezTo>
                  <a:cubicBezTo>
                    <a:pt x="53" y="54"/>
                    <a:pt x="54" y="54"/>
                    <a:pt x="54" y="53"/>
                  </a:cubicBezTo>
                  <a:cubicBezTo>
                    <a:pt x="54" y="53"/>
                    <a:pt x="54" y="52"/>
                    <a:pt x="54" y="51"/>
                  </a:cubicBezTo>
                  <a:cubicBezTo>
                    <a:pt x="54" y="51"/>
                    <a:pt x="54" y="51"/>
                    <a:pt x="54" y="50"/>
                  </a:cubicBezTo>
                  <a:cubicBezTo>
                    <a:pt x="54" y="50"/>
                    <a:pt x="55" y="50"/>
                    <a:pt x="55" y="49"/>
                  </a:cubicBezTo>
                  <a:cubicBezTo>
                    <a:pt x="55" y="49"/>
                    <a:pt x="55" y="48"/>
                    <a:pt x="55" y="47"/>
                  </a:cubicBezTo>
                  <a:cubicBezTo>
                    <a:pt x="55" y="47"/>
                    <a:pt x="55" y="46"/>
                    <a:pt x="54" y="4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EC092EFD-0192-4227-A5DE-40A67B8F8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1090" y="2004800"/>
              <a:ext cx="252788" cy="498966"/>
            </a:xfrm>
            <a:custGeom>
              <a:avLst/>
              <a:gdLst>
                <a:gd name="T0" fmla="*/ 37 w 64"/>
                <a:gd name="T1" fmla="*/ 20 h 126"/>
                <a:gd name="T2" fmla="*/ 34 w 64"/>
                <a:gd name="T3" fmla="*/ 24 h 126"/>
                <a:gd name="T4" fmla="*/ 32 w 64"/>
                <a:gd name="T5" fmla="*/ 28 h 126"/>
                <a:gd name="T6" fmla="*/ 36 w 64"/>
                <a:gd name="T7" fmla="*/ 35 h 126"/>
                <a:gd name="T8" fmla="*/ 34 w 64"/>
                <a:gd name="T9" fmla="*/ 37 h 126"/>
                <a:gd name="T10" fmla="*/ 33 w 64"/>
                <a:gd name="T11" fmla="*/ 40 h 126"/>
                <a:gd name="T12" fmla="*/ 30 w 64"/>
                <a:gd name="T13" fmla="*/ 43 h 126"/>
                <a:gd name="T14" fmla="*/ 26 w 64"/>
                <a:gd name="T15" fmla="*/ 46 h 126"/>
                <a:gd name="T16" fmla="*/ 21 w 64"/>
                <a:gd name="T17" fmla="*/ 47 h 126"/>
                <a:gd name="T18" fmla="*/ 18 w 64"/>
                <a:gd name="T19" fmla="*/ 50 h 126"/>
                <a:gd name="T20" fmla="*/ 18 w 64"/>
                <a:gd name="T21" fmla="*/ 60 h 126"/>
                <a:gd name="T22" fmla="*/ 16 w 64"/>
                <a:gd name="T23" fmla="*/ 66 h 126"/>
                <a:gd name="T24" fmla="*/ 12 w 64"/>
                <a:gd name="T25" fmla="*/ 71 h 126"/>
                <a:gd name="T26" fmla="*/ 9 w 64"/>
                <a:gd name="T27" fmla="*/ 77 h 126"/>
                <a:gd name="T28" fmla="*/ 7 w 64"/>
                <a:gd name="T29" fmla="*/ 82 h 126"/>
                <a:gd name="T30" fmla="*/ 6 w 64"/>
                <a:gd name="T31" fmla="*/ 91 h 126"/>
                <a:gd name="T32" fmla="*/ 6 w 64"/>
                <a:gd name="T33" fmla="*/ 97 h 126"/>
                <a:gd name="T34" fmla="*/ 3 w 64"/>
                <a:gd name="T35" fmla="*/ 104 h 126"/>
                <a:gd name="T36" fmla="*/ 3 w 64"/>
                <a:gd name="T37" fmla="*/ 111 h 126"/>
                <a:gd name="T38" fmla="*/ 1 w 64"/>
                <a:gd name="T39" fmla="*/ 115 h 126"/>
                <a:gd name="T40" fmla="*/ 1 w 64"/>
                <a:gd name="T41" fmla="*/ 120 h 126"/>
                <a:gd name="T42" fmla="*/ 3 w 64"/>
                <a:gd name="T43" fmla="*/ 124 h 126"/>
                <a:gd name="T44" fmla="*/ 45 w 64"/>
                <a:gd name="T45" fmla="*/ 123 h 126"/>
                <a:gd name="T46" fmla="*/ 47 w 64"/>
                <a:gd name="T47" fmla="*/ 122 h 126"/>
                <a:gd name="T48" fmla="*/ 52 w 64"/>
                <a:gd name="T49" fmla="*/ 119 h 126"/>
                <a:gd name="T50" fmla="*/ 57 w 64"/>
                <a:gd name="T51" fmla="*/ 117 h 126"/>
                <a:gd name="T52" fmla="*/ 61 w 64"/>
                <a:gd name="T53" fmla="*/ 116 h 126"/>
                <a:gd name="T54" fmla="*/ 63 w 64"/>
                <a:gd name="T55" fmla="*/ 111 h 126"/>
                <a:gd name="T56" fmla="*/ 63 w 64"/>
                <a:gd name="T57" fmla="*/ 109 h 126"/>
                <a:gd name="T58" fmla="*/ 59 w 64"/>
                <a:gd name="T59" fmla="*/ 106 h 126"/>
                <a:gd name="T60" fmla="*/ 60 w 64"/>
                <a:gd name="T61" fmla="*/ 103 h 126"/>
                <a:gd name="T62" fmla="*/ 55 w 64"/>
                <a:gd name="T63" fmla="*/ 94 h 126"/>
                <a:gd name="T64" fmla="*/ 55 w 64"/>
                <a:gd name="T65" fmla="*/ 78 h 126"/>
                <a:gd name="T66" fmla="*/ 51 w 64"/>
                <a:gd name="T67" fmla="*/ 0 h 126"/>
                <a:gd name="T68" fmla="*/ 49 w 64"/>
                <a:gd name="T69" fmla="*/ 3 h 126"/>
                <a:gd name="T70" fmla="*/ 44 w 64"/>
                <a:gd name="T71" fmla="*/ 0 h 126"/>
                <a:gd name="T72" fmla="*/ 39 w 64"/>
                <a:gd name="T73" fmla="*/ 4 h 126"/>
                <a:gd name="T74" fmla="*/ 39 w 64"/>
                <a:gd name="T75" fmla="*/ 9 h 126"/>
                <a:gd name="T76" fmla="*/ 37 w 64"/>
                <a:gd name="T77" fmla="*/ 14 h 126"/>
                <a:gd name="T78" fmla="*/ 37 w 64"/>
                <a:gd name="T79" fmla="*/ 1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4" h="126">
                  <a:moveTo>
                    <a:pt x="37" y="19"/>
                  </a:moveTo>
                  <a:cubicBezTo>
                    <a:pt x="37" y="19"/>
                    <a:pt x="37" y="20"/>
                    <a:pt x="37" y="20"/>
                  </a:cubicBezTo>
                  <a:cubicBezTo>
                    <a:pt x="37" y="20"/>
                    <a:pt x="36" y="21"/>
                    <a:pt x="36" y="21"/>
                  </a:cubicBezTo>
                  <a:cubicBezTo>
                    <a:pt x="35" y="21"/>
                    <a:pt x="35" y="24"/>
                    <a:pt x="34" y="24"/>
                  </a:cubicBezTo>
                  <a:cubicBezTo>
                    <a:pt x="34" y="25"/>
                    <a:pt x="34" y="26"/>
                    <a:pt x="33" y="26"/>
                  </a:cubicBezTo>
                  <a:cubicBezTo>
                    <a:pt x="33" y="26"/>
                    <a:pt x="32" y="27"/>
                    <a:pt x="32" y="28"/>
                  </a:cubicBezTo>
                  <a:cubicBezTo>
                    <a:pt x="32" y="28"/>
                    <a:pt x="33" y="30"/>
                    <a:pt x="34" y="30"/>
                  </a:cubicBezTo>
                  <a:cubicBezTo>
                    <a:pt x="34" y="31"/>
                    <a:pt x="36" y="35"/>
                    <a:pt x="36" y="35"/>
                  </a:cubicBezTo>
                  <a:cubicBezTo>
                    <a:pt x="36" y="35"/>
                    <a:pt x="34" y="36"/>
                    <a:pt x="34" y="36"/>
                  </a:cubicBezTo>
                  <a:cubicBezTo>
                    <a:pt x="34" y="36"/>
                    <a:pt x="34" y="37"/>
                    <a:pt x="34" y="37"/>
                  </a:cubicBezTo>
                  <a:cubicBezTo>
                    <a:pt x="34" y="38"/>
                    <a:pt x="34" y="39"/>
                    <a:pt x="34" y="39"/>
                  </a:cubicBezTo>
                  <a:cubicBezTo>
                    <a:pt x="34" y="39"/>
                    <a:pt x="34" y="40"/>
                    <a:pt x="33" y="40"/>
                  </a:cubicBezTo>
                  <a:cubicBezTo>
                    <a:pt x="33" y="40"/>
                    <a:pt x="32" y="41"/>
                    <a:pt x="32" y="41"/>
                  </a:cubicBezTo>
                  <a:cubicBezTo>
                    <a:pt x="31" y="42"/>
                    <a:pt x="31" y="43"/>
                    <a:pt x="30" y="43"/>
                  </a:cubicBezTo>
                  <a:cubicBezTo>
                    <a:pt x="30" y="43"/>
                    <a:pt x="27" y="44"/>
                    <a:pt x="27" y="44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4" y="47"/>
                    <a:pt x="23" y="47"/>
                  </a:cubicBezTo>
                  <a:cubicBezTo>
                    <a:pt x="23" y="47"/>
                    <a:pt x="21" y="47"/>
                    <a:pt x="21" y="47"/>
                  </a:cubicBezTo>
                  <a:cubicBezTo>
                    <a:pt x="21" y="47"/>
                    <a:pt x="19" y="48"/>
                    <a:pt x="18" y="48"/>
                  </a:cubicBezTo>
                  <a:cubicBezTo>
                    <a:pt x="18" y="48"/>
                    <a:pt x="18" y="50"/>
                    <a:pt x="18" y="50"/>
                  </a:cubicBezTo>
                  <a:cubicBezTo>
                    <a:pt x="18" y="51"/>
                    <a:pt x="18" y="54"/>
                    <a:pt x="18" y="54"/>
                  </a:cubicBezTo>
                  <a:cubicBezTo>
                    <a:pt x="18" y="54"/>
                    <a:pt x="18" y="59"/>
                    <a:pt x="18" y="60"/>
                  </a:cubicBezTo>
                  <a:cubicBezTo>
                    <a:pt x="18" y="60"/>
                    <a:pt x="16" y="63"/>
                    <a:pt x="16" y="63"/>
                  </a:cubicBezTo>
                  <a:cubicBezTo>
                    <a:pt x="16" y="63"/>
                    <a:pt x="16" y="66"/>
                    <a:pt x="16" y="66"/>
                  </a:cubicBezTo>
                  <a:cubicBezTo>
                    <a:pt x="16" y="66"/>
                    <a:pt x="15" y="67"/>
                    <a:pt x="15" y="68"/>
                  </a:cubicBezTo>
                  <a:cubicBezTo>
                    <a:pt x="14" y="68"/>
                    <a:pt x="13" y="71"/>
                    <a:pt x="12" y="71"/>
                  </a:cubicBezTo>
                  <a:cubicBezTo>
                    <a:pt x="12" y="72"/>
                    <a:pt x="12" y="74"/>
                    <a:pt x="12" y="74"/>
                  </a:cubicBezTo>
                  <a:cubicBezTo>
                    <a:pt x="11" y="75"/>
                    <a:pt x="9" y="77"/>
                    <a:pt x="9" y="77"/>
                  </a:cubicBezTo>
                  <a:cubicBezTo>
                    <a:pt x="9" y="77"/>
                    <a:pt x="9" y="78"/>
                    <a:pt x="9" y="78"/>
                  </a:cubicBezTo>
                  <a:cubicBezTo>
                    <a:pt x="9" y="79"/>
                    <a:pt x="8" y="81"/>
                    <a:pt x="7" y="82"/>
                  </a:cubicBezTo>
                  <a:cubicBezTo>
                    <a:pt x="7" y="82"/>
                    <a:pt x="5" y="86"/>
                    <a:pt x="5" y="87"/>
                  </a:cubicBezTo>
                  <a:cubicBezTo>
                    <a:pt x="5" y="87"/>
                    <a:pt x="6" y="91"/>
                    <a:pt x="6" y="91"/>
                  </a:cubicBezTo>
                  <a:cubicBezTo>
                    <a:pt x="6" y="92"/>
                    <a:pt x="5" y="94"/>
                    <a:pt x="5" y="95"/>
                  </a:cubicBezTo>
                  <a:cubicBezTo>
                    <a:pt x="5" y="96"/>
                    <a:pt x="6" y="97"/>
                    <a:pt x="6" y="97"/>
                  </a:cubicBezTo>
                  <a:cubicBezTo>
                    <a:pt x="6" y="97"/>
                    <a:pt x="4" y="102"/>
                    <a:pt x="4" y="102"/>
                  </a:cubicBezTo>
                  <a:cubicBezTo>
                    <a:pt x="4" y="103"/>
                    <a:pt x="3" y="103"/>
                    <a:pt x="3" y="104"/>
                  </a:cubicBezTo>
                  <a:cubicBezTo>
                    <a:pt x="3" y="104"/>
                    <a:pt x="4" y="105"/>
                    <a:pt x="4" y="106"/>
                  </a:cubicBezTo>
                  <a:cubicBezTo>
                    <a:pt x="4" y="106"/>
                    <a:pt x="3" y="110"/>
                    <a:pt x="3" y="111"/>
                  </a:cubicBezTo>
                  <a:cubicBezTo>
                    <a:pt x="3" y="111"/>
                    <a:pt x="1" y="113"/>
                    <a:pt x="1" y="113"/>
                  </a:cubicBezTo>
                  <a:cubicBezTo>
                    <a:pt x="1" y="113"/>
                    <a:pt x="1" y="115"/>
                    <a:pt x="1" y="115"/>
                  </a:cubicBezTo>
                  <a:cubicBezTo>
                    <a:pt x="1" y="115"/>
                    <a:pt x="0" y="117"/>
                    <a:pt x="0" y="117"/>
                  </a:cubicBezTo>
                  <a:cubicBezTo>
                    <a:pt x="0" y="118"/>
                    <a:pt x="1" y="120"/>
                    <a:pt x="1" y="120"/>
                  </a:cubicBezTo>
                  <a:cubicBezTo>
                    <a:pt x="1" y="120"/>
                    <a:pt x="1" y="121"/>
                    <a:pt x="1" y="121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43" y="126"/>
                    <a:pt x="43" y="126"/>
                    <a:pt x="43" y="126"/>
                  </a:cubicBezTo>
                  <a:cubicBezTo>
                    <a:pt x="43" y="126"/>
                    <a:pt x="45" y="124"/>
                    <a:pt x="45" y="123"/>
                  </a:cubicBezTo>
                  <a:cubicBezTo>
                    <a:pt x="45" y="123"/>
                    <a:pt x="47" y="123"/>
                    <a:pt x="47" y="123"/>
                  </a:cubicBezTo>
                  <a:cubicBezTo>
                    <a:pt x="47" y="123"/>
                    <a:pt x="47" y="122"/>
                    <a:pt x="47" y="122"/>
                  </a:cubicBezTo>
                  <a:cubicBezTo>
                    <a:pt x="47" y="121"/>
                    <a:pt x="49" y="120"/>
                    <a:pt x="49" y="120"/>
                  </a:cubicBezTo>
                  <a:cubicBezTo>
                    <a:pt x="49" y="120"/>
                    <a:pt x="52" y="119"/>
                    <a:pt x="52" y="119"/>
                  </a:cubicBezTo>
                  <a:cubicBezTo>
                    <a:pt x="52" y="119"/>
                    <a:pt x="53" y="118"/>
                    <a:pt x="53" y="118"/>
                  </a:cubicBezTo>
                  <a:cubicBezTo>
                    <a:pt x="53" y="118"/>
                    <a:pt x="56" y="117"/>
                    <a:pt x="57" y="117"/>
                  </a:cubicBezTo>
                  <a:cubicBezTo>
                    <a:pt x="57" y="117"/>
                    <a:pt x="59" y="117"/>
                    <a:pt x="61" y="117"/>
                  </a:cubicBezTo>
                  <a:cubicBezTo>
                    <a:pt x="61" y="117"/>
                    <a:pt x="61" y="116"/>
                    <a:pt x="61" y="116"/>
                  </a:cubicBezTo>
                  <a:cubicBezTo>
                    <a:pt x="61" y="115"/>
                    <a:pt x="61" y="114"/>
                    <a:pt x="62" y="114"/>
                  </a:cubicBezTo>
                  <a:cubicBezTo>
                    <a:pt x="63" y="113"/>
                    <a:pt x="63" y="112"/>
                    <a:pt x="63" y="111"/>
                  </a:cubicBezTo>
                  <a:cubicBezTo>
                    <a:pt x="63" y="111"/>
                    <a:pt x="64" y="110"/>
                    <a:pt x="64" y="110"/>
                  </a:cubicBezTo>
                  <a:cubicBezTo>
                    <a:pt x="64" y="109"/>
                    <a:pt x="63" y="109"/>
                    <a:pt x="63" y="109"/>
                  </a:cubicBezTo>
                  <a:cubicBezTo>
                    <a:pt x="63" y="108"/>
                    <a:pt x="63" y="108"/>
                    <a:pt x="63" y="107"/>
                  </a:cubicBezTo>
                  <a:cubicBezTo>
                    <a:pt x="62" y="106"/>
                    <a:pt x="60" y="107"/>
                    <a:pt x="59" y="106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5"/>
                    <a:pt x="60" y="103"/>
                    <a:pt x="60" y="103"/>
                  </a:cubicBezTo>
                  <a:cubicBezTo>
                    <a:pt x="60" y="103"/>
                    <a:pt x="60" y="100"/>
                    <a:pt x="60" y="100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87"/>
                    <a:pt x="55" y="87"/>
                  </a:cubicBezTo>
                  <a:cubicBezTo>
                    <a:pt x="55" y="87"/>
                    <a:pt x="55" y="78"/>
                    <a:pt x="55" y="7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39" y="9"/>
                    <a:pt x="39" y="9"/>
                  </a:cubicBezTo>
                  <a:cubicBezTo>
                    <a:pt x="39" y="10"/>
                    <a:pt x="37" y="12"/>
                    <a:pt x="37" y="12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6" y="17"/>
                    <a:pt x="36" y="17"/>
                  </a:cubicBezTo>
                  <a:cubicBezTo>
                    <a:pt x="36" y="17"/>
                    <a:pt x="37" y="18"/>
                    <a:pt x="37" y="19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E9AA2F34-5062-4D43-AE1F-49003C866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887" y="2630985"/>
              <a:ext cx="816189" cy="1224284"/>
            </a:xfrm>
            <a:custGeom>
              <a:avLst/>
              <a:gdLst>
                <a:gd name="T0" fmla="*/ 0 w 206"/>
                <a:gd name="T1" fmla="*/ 0 h 309"/>
                <a:gd name="T2" fmla="*/ 0 w 206"/>
                <a:gd name="T3" fmla="*/ 137 h 309"/>
                <a:gd name="T4" fmla="*/ 40 w 206"/>
                <a:gd name="T5" fmla="*/ 171 h 309"/>
                <a:gd name="T6" fmla="*/ 186 w 206"/>
                <a:gd name="T7" fmla="*/ 309 h 309"/>
                <a:gd name="T8" fmla="*/ 186 w 206"/>
                <a:gd name="T9" fmla="*/ 307 h 309"/>
                <a:gd name="T10" fmla="*/ 186 w 206"/>
                <a:gd name="T11" fmla="*/ 305 h 309"/>
                <a:gd name="T12" fmla="*/ 185 w 206"/>
                <a:gd name="T13" fmla="*/ 305 h 309"/>
                <a:gd name="T14" fmla="*/ 187 w 206"/>
                <a:gd name="T15" fmla="*/ 304 h 309"/>
                <a:gd name="T16" fmla="*/ 188 w 206"/>
                <a:gd name="T17" fmla="*/ 302 h 309"/>
                <a:gd name="T18" fmla="*/ 187 w 206"/>
                <a:gd name="T19" fmla="*/ 298 h 309"/>
                <a:gd name="T20" fmla="*/ 187 w 206"/>
                <a:gd name="T21" fmla="*/ 295 h 309"/>
                <a:gd name="T22" fmla="*/ 186 w 206"/>
                <a:gd name="T23" fmla="*/ 292 h 309"/>
                <a:gd name="T24" fmla="*/ 184 w 206"/>
                <a:gd name="T25" fmla="*/ 289 h 309"/>
                <a:gd name="T26" fmla="*/ 184 w 206"/>
                <a:gd name="T27" fmla="*/ 286 h 309"/>
                <a:gd name="T28" fmla="*/ 185 w 206"/>
                <a:gd name="T29" fmla="*/ 283 h 309"/>
                <a:gd name="T30" fmla="*/ 183 w 206"/>
                <a:gd name="T31" fmla="*/ 279 h 309"/>
                <a:gd name="T32" fmla="*/ 183 w 206"/>
                <a:gd name="T33" fmla="*/ 277 h 309"/>
                <a:gd name="T34" fmla="*/ 183 w 206"/>
                <a:gd name="T35" fmla="*/ 274 h 309"/>
                <a:gd name="T36" fmla="*/ 185 w 206"/>
                <a:gd name="T37" fmla="*/ 272 h 309"/>
                <a:gd name="T38" fmla="*/ 183 w 206"/>
                <a:gd name="T39" fmla="*/ 271 h 309"/>
                <a:gd name="T40" fmla="*/ 183 w 206"/>
                <a:gd name="T41" fmla="*/ 269 h 309"/>
                <a:gd name="T42" fmla="*/ 183 w 206"/>
                <a:gd name="T43" fmla="*/ 265 h 309"/>
                <a:gd name="T44" fmla="*/ 182 w 206"/>
                <a:gd name="T45" fmla="*/ 263 h 309"/>
                <a:gd name="T46" fmla="*/ 183 w 206"/>
                <a:gd name="T47" fmla="*/ 262 h 309"/>
                <a:gd name="T48" fmla="*/ 185 w 206"/>
                <a:gd name="T49" fmla="*/ 262 h 309"/>
                <a:gd name="T50" fmla="*/ 188 w 206"/>
                <a:gd name="T51" fmla="*/ 261 h 309"/>
                <a:gd name="T52" fmla="*/ 190 w 206"/>
                <a:gd name="T53" fmla="*/ 261 h 309"/>
                <a:gd name="T54" fmla="*/ 191 w 206"/>
                <a:gd name="T55" fmla="*/ 262 h 309"/>
                <a:gd name="T56" fmla="*/ 193 w 206"/>
                <a:gd name="T57" fmla="*/ 261 h 309"/>
                <a:gd name="T58" fmla="*/ 195 w 206"/>
                <a:gd name="T59" fmla="*/ 263 h 309"/>
                <a:gd name="T60" fmla="*/ 198 w 206"/>
                <a:gd name="T61" fmla="*/ 265 h 309"/>
                <a:gd name="T62" fmla="*/ 201 w 206"/>
                <a:gd name="T63" fmla="*/ 266 h 309"/>
                <a:gd name="T64" fmla="*/ 203 w 206"/>
                <a:gd name="T65" fmla="*/ 265 h 309"/>
                <a:gd name="T66" fmla="*/ 203 w 206"/>
                <a:gd name="T67" fmla="*/ 262 h 309"/>
                <a:gd name="T68" fmla="*/ 204 w 206"/>
                <a:gd name="T69" fmla="*/ 260 h 309"/>
                <a:gd name="T70" fmla="*/ 206 w 206"/>
                <a:gd name="T71" fmla="*/ 259 h 309"/>
                <a:gd name="T72" fmla="*/ 206 w 206"/>
                <a:gd name="T73" fmla="*/ 224 h 309"/>
                <a:gd name="T74" fmla="*/ 206 w 206"/>
                <a:gd name="T75" fmla="*/ 0 h 309"/>
                <a:gd name="T76" fmla="*/ 0 w 206"/>
                <a:gd name="T77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6" h="309">
                  <a:moveTo>
                    <a:pt x="0" y="0"/>
                  </a:moveTo>
                  <a:cubicBezTo>
                    <a:pt x="0" y="137"/>
                    <a:pt x="0" y="137"/>
                    <a:pt x="0" y="137"/>
                  </a:cubicBezTo>
                  <a:cubicBezTo>
                    <a:pt x="40" y="171"/>
                    <a:pt x="40" y="171"/>
                    <a:pt x="40" y="171"/>
                  </a:cubicBezTo>
                  <a:cubicBezTo>
                    <a:pt x="186" y="309"/>
                    <a:pt x="186" y="309"/>
                    <a:pt x="186" y="309"/>
                  </a:cubicBezTo>
                  <a:cubicBezTo>
                    <a:pt x="186" y="309"/>
                    <a:pt x="186" y="307"/>
                    <a:pt x="186" y="307"/>
                  </a:cubicBezTo>
                  <a:cubicBezTo>
                    <a:pt x="186" y="307"/>
                    <a:pt x="187" y="306"/>
                    <a:pt x="186" y="305"/>
                  </a:cubicBezTo>
                  <a:cubicBezTo>
                    <a:pt x="186" y="305"/>
                    <a:pt x="185" y="305"/>
                    <a:pt x="185" y="305"/>
                  </a:cubicBezTo>
                  <a:cubicBezTo>
                    <a:pt x="186" y="305"/>
                    <a:pt x="187" y="304"/>
                    <a:pt x="187" y="304"/>
                  </a:cubicBezTo>
                  <a:cubicBezTo>
                    <a:pt x="187" y="304"/>
                    <a:pt x="189" y="302"/>
                    <a:pt x="188" y="302"/>
                  </a:cubicBezTo>
                  <a:cubicBezTo>
                    <a:pt x="188" y="301"/>
                    <a:pt x="187" y="299"/>
                    <a:pt x="187" y="298"/>
                  </a:cubicBezTo>
                  <a:cubicBezTo>
                    <a:pt x="188" y="298"/>
                    <a:pt x="187" y="296"/>
                    <a:pt x="187" y="295"/>
                  </a:cubicBezTo>
                  <a:cubicBezTo>
                    <a:pt x="187" y="295"/>
                    <a:pt x="186" y="293"/>
                    <a:pt x="186" y="292"/>
                  </a:cubicBezTo>
                  <a:cubicBezTo>
                    <a:pt x="185" y="291"/>
                    <a:pt x="184" y="290"/>
                    <a:pt x="184" y="289"/>
                  </a:cubicBezTo>
                  <a:cubicBezTo>
                    <a:pt x="184" y="288"/>
                    <a:pt x="184" y="287"/>
                    <a:pt x="184" y="286"/>
                  </a:cubicBezTo>
                  <a:cubicBezTo>
                    <a:pt x="185" y="285"/>
                    <a:pt x="185" y="284"/>
                    <a:pt x="185" y="283"/>
                  </a:cubicBezTo>
                  <a:cubicBezTo>
                    <a:pt x="184" y="283"/>
                    <a:pt x="183" y="280"/>
                    <a:pt x="183" y="279"/>
                  </a:cubicBezTo>
                  <a:cubicBezTo>
                    <a:pt x="183" y="278"/>
                    <a:pt x="183" y="278"/>
                    <a:pt x="183" y="277"/>
                  </a:cubicBezTo>
                  <a:cubicBezTo>
                    <a:pt x="183" y="276"/>
                    <a:pt x="182" y="275"/>
                    <a:pt x="183" y="274"/>
                  </a:cubicBezTo>
                  <a:cubicBezTo>
                    <a:pt x="183" y="274"/>
                    <a:pt x="185" y="272"/>
                    <a:pt x="185" y="272"/>
                  </a:cubicBezTo>
                  <a:cubicBezTo>
                    <a:pt x="185" y="272"/>
                    <a:pt x="183" y="271"/>
                    <a:pt x="183" y="271"/>
                  </a:cubicBezTo>
                  <a:cubicBezTo>
                    <a:pt x="183" y="270"/>
                    <a:pt x="183" y="270"/>
                    <a:pt x="183" y="269"/>
                  </a:cubicBezTo>
                  <a:cubicBezTo>
                    <a:pt x="183" y="268"/>
                    <a:pt x="183" y="266"/>
                    <a:pt x="183" y="265"/>
                  </a:cubicBezTo>
                  <a:cubicBezTo>
                    <a:pt x="182" y="264"/>
                    <a:pt x="182" y="263"/>
                    <a:pt x="182" y="263"/>
                  </a:cubicBezTo>
                  <a:cubicBezTo>
                    <a:pt x="182" y="263"/>
                    <a:pt x="182" y="263"/>
                    <a:pt x="183" y="262"/>
                  </a:cubicBezTo>
                  <a:cubicBezTo>
                    <a:pt x="184" y="262"/>
                    <a:pt x="185" y="262"/>
                    <a:pt x="185" y="262"/>
                  </a:cubicBezTo>
                  <a:cubicBezTo>
                    <a:pt x="186" y="261"/>
                    <a:pt x="187" y="261"/>
                    <a:pt x="188" y="261"/>
                  </a:cubicBezTo>
                  <a:cubicBezTo>
                    <a:pt x="188" y="261"/>
                    <a:pt x="189" y="260"/>
                    <a:pt x="190" y="261"/>
                  </a:cubicBezTo>
                  <a:cubicBezTo>
                    <a:pt x="190" y="261"/>
                    <a:pt x="190" y="262"/>
                    <a:pt x="191" y="262"/>
                  </a:cubicBezTo>
                  <a:cubicBezTo>
                    <a:pt x="192" y="262"/>
                    <a:pt x="193" y="261"/>
                    <a:pt x="193" y="261"/>
                  </a:cubicBezTo>
                  <a:cubicBezTo>
                    <a:pt x="193" y="261"/>
                    <a:pt x="195" y="262"/>
                    <a:pt x="195" y="263"/>
                  </a:cubicBezTo>
                  <a:cubicBezTo>
                    <a:pt x="196" y="263"/>
                    <a:pt x="197" y="265"/>
                    <a:pt x="198" y="265"/>
                  </a:cubicBezTo>
                  <a:cubicBezTo>
                    <a:pt x="199" y="266"/>
                    <a:pt x="200" y="267"/>
                    <a:pt x="201" y="266"/>
                  </a:cubicBezTo>
                  <a:cubicBezTo>
                    <a:pt x="202" y="266"/>
                    <a:pt x="202" y="266"/>
                    <a:pt x="203" y="265"/>
                  </a:cubicBezTo>
                  <a:cubicBezTo>
                    <a:pt x="203" y="264"/>
                    <a:pt x="203" y="263"/>
                    <a:pt x="203" y="262"/>
                  </a:cubicBezTo>
                  <a:cubicBezTo>
                    <a:pt x="204" y="262"/>
                    <a:pt x="204" y="261"/>
                    <a:pt x="204" y="260"/>
                  </a:cubicBezTo>
                  <a:cubicBezTo>
                    <a:pt x="205" y="259"/>
                    <a:pt x="206" y="259"/>
                    <a:pt x="206" y="259"/>
                  </a:cubicBezTo>
                  <a:cubicBezTo>
                    <a:pt x="206" y="224"/>
                    <a:pt x="206" y="224"/>
                    <a:pt x="206" y="224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896D0305-A76C-4C30-81E8-E1A949948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448" y="2444286"/>
              <a:ext cx="1191239" cy="546879"/>
            </a:xfrm>
            <a:custGeom>
              <a:avLst/>
              <a:gdLst>
                <a:gd name="T0" fmla="*/ 299 w 301"/>
                <a:gd name="T1" fmla="*/ 137 h 138"/>
                <a:gd name="T2" fmla="*/ 299 w 301"/>
                <a:gd name="T3" fmla="*/ 134 h 138"/>
                <a:gd name="T4" fmla="*/ 296 w 301"/>
                <a:gd name="T5" fmla="*/ 130 h 138"/>
                <a:gd name="T6" fmla="*/ 293 w 301"/>
                <a:gd name="T7" fmla="*/ 126 h 138"/>
                <a:gd name="T8" fmla="*/ 291 w 301"/>
                <a:gd name="T9" fmla="*/ 123 h 138"/>
                <a:gd name="T10" fmla="*/ 288 w 301"/>
                <a:gd name="T11" fmla="*/ 116 h 138"/>
                <a:gd name="T12" fmla="*/ 289 w 301"/>
                <a:gd name="T13" fmla="*/ 113 h 138"/>
                <a:gd name="T14" fmla="*/ 286 w 301"/>
                <a:gd name="T15" fmla="*/ 114 h 138"/>
                <a:gd name="T16" fmla="*/ 285 w 301"/>
                <a:gd name="T17" fmla="*/ 109 h 138"/>
                <a:gd name="T18" fmla="*/ 282 w 301"/>
                <a:gd name="T19" fmla="*/ 105 h 138"/>
                <a:gd name="T20" fmla="*/ 284 w 301"/>
                <a:gd name="T21" fmla="*/ 98 h 138"/>
                <a:gd name="T22" fmla="*/ 282 w 301"/>
                <a:gd name="T23" fmla="*/ 89 h 138"/>
                <a:gd name="T24" fmla="*/ 280 w 301"/>
                <a:gd name="T25" fmla="*/ 83 h 138"/>
                <a:gd name="T26" fmla="*/ 282 w 301"/>
                <a:gd name="T27" fmla="*/ 79 h 138"/>
                <a:gd name="T28" fmla="*/ 280 w 301"/>
                <a:gd name="T29" fmla="*/ 72 h 138"/>
                <a:gd name="T30" fmla="*/ 278 w 301"/>
                <a:gd name="T31" fmla="*/ 68 h 138"/>
                <a:gd name="T32" fmla="*/ 275 w 301"/>
                <a:gd name="T33" fmla="*/ 68 h 138"/>
                <a:gd name="T34" fmla="*/ 274 w 301"/>
                <a:gd name="T35" fmla="*/ 63 h 138"/>
                <a:gd name="T36" fmla="*/ 275 w 301"/>
                <a:gd name="T37" fmla="*/ 61 h 138"/>
                <a:gd name="T38" fmla="*/ 276 w 301"/>
                <a:gd name="T39" fmla="*/ 56 h 138"/>
                <a:gd name="T40" fmla="*/ 273 w 301"/>
                <a:gd name="T41" fmla="*/ 49 h 138"/>
                <a:gd name="T42" fmla="*/ 271 w 301"/>
                <a:gd name="T43" fmla="*/ 47 h 138"/>
                <a:gd name="T44" fmla="*/ 270 w 301"/>
                <a:gd name="T45" fmla="*/ 45 h 138"/>
                <a:gd name="T46" fmla="*/ 268 w 301"/>
                <a:gd name="T47" fmla="*/ 41 h 138"/>
                <a:gd name="T48" fmla="*/ 266 w 301"/>
                <a:gd name="T49" fmla="*/ 37 h 138"/>
                <a:gd name="T50" fmla="*/ 265 w 301"/>
                <a:gd name="T51" fmla="*/ 33 h 138"/>
                <a:gd name="T52" fmla="*/ 264 w 301"/>
                <a:gd name="T53" fmla="*/ 28 h 138"/>
                <a:gd name="T54" fmla="*/ 261 w 301"/>
                <a:gd name="T55" fmla="*/ 24 h 138"/>
                <a:gd name="T56" fmla="*/ 257 w 301"/>
                <a:gd name="T57" fmla="*/ 23 h 138"/>
                <a:gd name="T58" fmla="*/ 254 w 301"/>
                <a:gd name="T59" fmla="*/ 16 h 138"/>
                <a:gd name="T60" fmla="*/ 249 w 301"/>
                <a:gd name="T61" fmla="*/ 13 h 138"/>
                <a:gd name="T62" fmla="*/ 244 w 301"/>
                <a:gd name="T63" fmla="*/ 12 h 138"/>
                <a:gd name="T64" fmla="*/ 236 w 301"/>
                <a:gd name="T65" fmla="*/ 9 h 138"/>
                <a:gd name="T66" fmla="*/ 232 w 301"/>
                <a:gd name="T67" fmla="*/ 7 h 138"/>
                <a:gd name="T68" fmla="*/ 227 w 301"/>
                <a:gd name="T69" fmla="*/ 7 h 138"/>
                <a:gd name="T70" fmla="*/ 219 w 301"/>
                <a:gd name="T71" fmla="*/ 8 h 138"/>
                <a:gd name="T72" fmla="*/ 212 w 301"/>
                <a:gd name="T73" fmla="*/ 10 h 138"/>
                <a:gd name="T74" fmla="*/ 203 w 301"/>
                <a:gd name="T75" fmla="*/ 7 h 138"/>
                <a:gd name="T76" fmla="*/ 192 w 301"/>
                <a:gd name="T77" fmla="*/ 0 h 138"/>
                <a:gd name="T78" fmla="*/ 0 w 301"/>
                <a:gd name="T79" fmla="*/ 93 h 138"/>
                <a:gd name="T80" fmla="*/ 69 w 301"/>
                <a:gd name="T8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1" h="138">
                  <a:moveTo>
                    <a:pt x="301" y="138"/>
                  </a:moveTo>
                  <a:cubicBezTo>
                    <a:pt x="301" y="138"/>
                    <a:pt x="299" y="137"/>
                    <a:pt x="299" y="137"/>
                  </a:cubicBezTo>
                  <a:cubicBezTo>
                    <a:pt x="299" y="137"/>
                    <a:pt x="298" y="136"/>
                    <a:pt x="298" y="136"/>
                  </a:cubicBezTo>
                  <a:cubicBezTo>
                    <a:pt x="298" y="135"/>
                    <a:pt x="299" y="134"/>
                    <a:pt x="299" y="134"/>
                  </a:cubicBezTo>
                  <a:cubicBezTo>
                    <a:pt x="299" y="133"/>
                    <a:pt x="298" y="132"/>
                    <a:pt x="298" y="132"/>
                  </a:cubicBezTo>
                  <a:cubicBezTo>
                    <a:pt x="297" y="132"/>
                    <a:pt x="296" y="131"/>
                    <a:pt x="296" y="130"/>
                  </a:cubicBezTo>
                  <a:cubicBezTo>
                    <a:pt x="296" y="130"/>
                    <a:pt x="296" y="128"/>
                    <a:pt x="296" y="128"/>
                  </a:cubicBezTo>
                  <a:cubicBezTo>
                    <a:pt x="296" y="127"/>
                    <a:pt x="294" y="126"/>
                    <a:pt x="293" y="126"/>
                  </a:cubicBezTo>
                  <a:cubicBezTo>
                    <a:pt x="292" y="125"/>
                    <a:pt x="290" y="125"/>
                    <a:pt x="290" y="125"/>
                  </a:cubicBezTo>
                  <a:cubicBezTo>
                    <a:pt x="290" y="125"/>
                    <a:pt x="291" y="123"/>
                    <a:pt x="291" y="123"/>
                  </a:cubicBezTo>
                  <a:cubicBezTo>
                    <a:pt x="291" y="122"/>
                    <a:pt x="290" y="120"/>
                    <a:pt x="290" y="120"/>
                  </a:cubicBezTo>
                  <a:cubicBezTo>
                    <a:pt x="289" y="119"/>
                    <a:pt x="288" y="117"/>
                    <a:pt x="288" y="116"/>
                  </a:cubicBezTo>
                  <a:cubicBezTo>
                    <a:pt x="288" y="116"/>
                    <a:pt x="290" y="115"/>
                    <a:pt x="290" y="114"/>
                  </a:cubicBezTo>
                  <a:cubicBezTo>
                    <a:pt x="290" y="114"/>
                    <a:pt x="289" y="113"/>
                    <a:pt x="289" y="113"/>
                  </a:cubicBezTo>
                  <a:cubicBezTo>
                    <a:pt x="289" y="113"/>
                    <a:pt x="289" y="114"/>
                    <a:pt x="288" y="114"/>
                  </a:cubicBezTo>
                  <a:cubicBezTo>
                    <a:pt x="288" y="115"/>
                    <a:pt x="286" y="115"/>
                    <a:pt x="286" y="114"/>
                  </a:cubicBezTo>
                  <a:cubicBezTo>
                    <a:pt x="286" y="114"/>
                    <a:pt x="286" y="112"/>
                    <a:pt x="286" y="112"/>
                  </a:cubicBezTo>
                  <a:cubicBezTo>
                    <a:pt x="286" y="112"/>
                    <a:pt x="286" y="109"/>
                    <a:pt x="285" y="109"/>
                  </a:cubicBezTo>
                  <a:cubicBezTo>
                    <a:pt x="285" y="108"/>
                    <a:pt x="283" y="108"/>
                    <a:pt x="283" y="107"/>
                  </a:cubicBezTo>
                  <a:cubicBezTo>
                    <a:pt x="282" y="107"/>
                    <a:pt x="281" y="106"/>
                    <a:pt x="282" y="105"/>
                  </a:cubicBezTo>
                  <a:cubicBezTo>
                    <a:pt x="283" y="105"/>
                    <a:pt x="283" y="105"/>
                    <a:pt x="284" y="103"/>
                  </a:cubicBezTo>
                  <a:cubicBezTo>
                    <a:pt x="284" y="102"/>
                    <a:pt x="284" y="99"/>
                    <a:pt x="284" y="98"/>
                  </a:cubicBezTo>
                  <a:cubicBezTo>
                    <a:pt x="284" y="97"/>
                    <a:pt x="284" y="94"/>
                    <a:pt x="283" y="93"/>
                  </a:cubicBezTo>
                  <a:cubicBezTo>
                    <a:pt x="283" y="92"/>
                    <a:pt x="282" y="90"/>
                    <a:pt x="282" y="89"/>
                  </a:cubicBezTo>
                  <a:cubicBezTo>
                    <a:pt x="282" y="88"/>
                    <a:pt x="282" y="86"/>
                    <a:pt x="282" y="85"/>
                  </a:cubicBezTo>
                  <a:cubicBezTo>
                    <a:pt x="281" y="85"/>
                    <a:pt x="280" y="84"/>
                    <a:pt x="280" y="83"/>
                  </a:cubicBezTo>
                  <a:cubicBezTo>
                    <a:pt x="280" y="82"/>
                    <a:pt x="280" y="81"/>
                    <a:pt x="281" y="81"/>
                  </a:cubicBezTo>
                  <a:cubicBezTo>
                    <a:pt x="281" y="80"/>
                    <a:pt x="282" y="80"/>
                    <a:pt x="282" y="79"/>
                  </a:cubicBezTo>
                  <a:cubicBezTo>
                    <a:pt x="282" y="78"/>
                    <a:pt x="281" y="75"/>
                    <a:pt x="281" y="75"/>
                  </a:cubicBezTo>
                  <a:cubicBezTo>
                    <a:pt x="281" y="74"/>
                    <a:pt x="281" y="73"/>
                    <a:pt x="280" y="72"/>
                  </a:cubicBezTo>
                  <a:cubicBezTo>
                    <a:pt x="280" y="72"/>
                    <a:pt x="277" y="71"/>
                    <a:pt x="277" y="71"/>
                  </a:cubicBezTo>
                  <a:cubicBezTo>
                    <a:pt x="277" y="71"/>
                    <a:pt x="278" y="68"/>
                    <a:pt x="278" y="68"/>
                  </a:cubicBezTo>
                  <a:cubicBezTo>
                    <a:pt x="277" y="68"/>
                    <a:pt x="276" y="70"/>
                    <a:pt x="276" y="70"/>
                  </a:cubicBezTo>
                  <a:cubicBezTo>
                    <a:pt x="276" y="70"/>
                    <a:pt x="275" y="68"/>
                    <a:pt x="275" y="68"/>
                  </a:cubicBezTo>
                  <a:cubicBezTo>
                    <a:pt x="275" y="67"/>
                    <a:pt x="274" y="65"/>
                    <a:pt x="274" y="65"/>
                  </a:cubicBezTo>
                  <a:cubicBezTo>
                    <a:pt x="274" y="65"/>
                    <a:pt x="274" y="63"/>
                    <a:pt x="274" y="63"/>
                  </a:cubicBezTo>
                  <a:cubicBezTo>
                    <a:pt x="274" y="63"/>
                    <a:pt x="274" y="61"/>
                    <a:pt x="274" y="61"/>
                  </a:cubicBezTo>
                  <a:cubicBezTo>
                    <a:pt x="274" y="61"/>
                    <a:pt x="275" y="61"/>
                    <a:pt x="275" y="61"/>
                  </a:cubicBezTo>
                  <a:cubicBezTo>
                    <a:pt x="275" y="60"/>
                    <a:pt x="275" y="58"/>
                    <a:pt x="275" y="58"/>
                  </a:cubicBezTo>
                  <a:cubicBezTo>
                    <a:pt x="275" y="58"/>
                    <a:pt x="276" y="56"/>
                    <a:pt x="276" y="56"/>
                  </a:cubicBezTo>
                  <a:cubicBezTo>
                    <a:pt x="275" y="55"/>
                    <a:pt x="272" y="52"/>
                    <a:pt x="272" y="52"/>
                  </a:cubicBezTo>
                  <a:cubicBezTo>
                    <a:pt x="272" y="52"/>
                    <a:pt x="274" y="49"/>
                    <a:pt x="273" y="49"/>
                  </a:cubicBezTo>
                  <a:cubicBezTo>
                    <a:pt x="273" y="48"/>
                    <a:pt x="272" y="48"/>
                    <a:pt x="272" y="48"/>
                  </a:cubicBezTo>
                  <a:cubicBezTo>
                    <a:pt x="272" y="48"/>
                    <a:pt x="272" y="47"/>
                    <a:pt x="271" y="47"/>
                  </a:cubicBezTo>
                  <a:cubicBezTo>
                    <a:pt x="271" y="47"/>
                    <a:pt x="270" y="48"/>
                    <a:pt x="270" y="47"/>
                  </a:cubicBezTo>
                  <a:cubicBezTo>
                    <a:pt x="270" y="47"/>
                    <a:pt x="270" y="45"/>
                    <a:pt x="270" y="45"/>
                  </a:cubicBezTo>
                  <a:cubicBezTo>
                    <a:pt x="270" y="45"/>
                    <a:pt x="268" y="45"/>
                    <a:pt x="268" y="45"/>
                  </a:cubicBezTo>
                  <a:cubicBezTo>
                    <a:pt x="268" y="41"/>
                    <a:pt x="268" y="41"/>
                    <a:pt x="268" y="41"/>
                  </a:cubicBezTo>
                  <a:cubicBezTo>
                    <a:pt x="268" y="41"/>
                    <a:pt x="266" y="39"/>
                    <a:pt x="266" y="39"/>
                  </a:cubicBezTo>
                  <a:cubicBezTo>
                    <a:pt x="266" y="39"/>
                    <a:pt x="266" y="38"/>
                    <a:pt x="266" y="37"/>
                  </a:cubicBezTo>
                  <a:cubicBezTo>
                    <a:pt x="266" y="37"/>
                    <a:pt x="267" y="35"/>
                    <a:pt x="267" y="35"/>
                  </a:cubicBezTo>
                  <a:cubicBezTo>
                    <a:pt x="267" y="35"/>
                    <a:pt x="266" y="34"/>
                    <a:pt x="265" y="33"/>
                  </a:cubicBezTo>
                  <a:cubicBezTo>
                    <a:pt x="265" y="33"/>
                    <a:pt x="264" y="31"/>
                    <a:pt x="264" y="31"/>
                  </a:cubicBezTo>
                  <a:cubicBezTo>
                    <a:pt x="264" y="30"/>
                    <a:pt x="264" y="29"/>
                    <a:pt x="264" y="28"/>
                  </a:cubicBezTo>
                  <a:cubicBezTo>
                    <a:pt x="264" y="28"/>
                    <a:pt x="265" y="25"/>
                    <a:pt x="265" y="25"/>
                  </a:cubicBezTo>
                  <a:cubicBezTo>
                    <a:pt x="261" y="24"/>
                    <a:pt x="261" y="24"/>
                    <a:pt x="261" y="24"/>
                  </a:cubicBezTo>
                  <a:cubicBezTo>
                    <a:pt x="258" y="23"/>
                    <a:pt x="258" y="23"/>
                    <a:pt x="258" y="23"/>
                  </a:cubicBezTo>
                  <a:cubicBezTo>
                    <a:pt x="257" y="23"/>
                    <a:pt x="257" y="23"/>
                    <a:pt x="257" y="23"/>
                  </a:cubicBezTo>
                  <a:cubicBezTo>
                    <a:pt x="257" y="23"/>
                    <a:pt x="253" y="19"/>
                    <a:pt x="253" y="19"/>
                  </a:cubicBezTo>
                  <a:cubicBezTo>
                    <a:pt x="253" y="19"/>
                    <a:pt x="254" y="16"/>
                    <a:pt x="254" y="16"/>
                  </a:cubicBezTo>
                  <a:cubicBezTo>
                    <a:pt x="254" y="16"/>
                    <a:pt x="251" y="16"/>
                    <a:pt x="251" y="16"/>
                  </a:cubicBezTo>
                  <a:cubicBezTo>
                    <a:pt x="251" y="16"/>
                    <a:pt x="249" y="13"/>
                    <a:pt x="249" y="13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4" y="12"/>
                    <a:pt x="244" y="12"/>
                    <a:pt x="244" y="12"/>
                  </a:cubicBezTo>
                  <a:cubicBezTo>
                    <a:pt x="239" y="11"/>
                    <a:pt x="239" y="11"/>
                    <a:pt x="239" y="11"/>
                  </a:cubicBezTo>
                  <a:cubicBezTo>
                    <a:pt x="239" y="11"/>
                    <a:pt x="236" y="10"/>
                    <a:pt x="236" y="9"/>
                  </a:cubicBezTo>
                  <a:cubicBezTo>
                    <a:pt x="236" y="9"/>
                    <a:pt x="235" y="7"/>
                    <a:pt x="235" y="7"/>
                  </a:cubicBezTo>
                  <a:cubicBezTo>
                    <a:pt x="232" y="7"/>
                    <a:pt x="232" y="7"/>
                    <a:pt x="232" y="7"/>
                  </a:cubicBezTo>
                  <a:cubicBezTo>
                    <a:pt x="229" y="6"/>
                    <a:pt x="229" y="6"/>
                    <a:pt x="229" y="6"/>
                  </a:cubicBezTo>
                  <a:cubicBezTo>
                    <a:pt x="229" y="6"/>
                    <a:pt x="228" y="7"/>
                    <a:pt x="227" y="7"/>
                  </a:cubicBezTo>
                  <a:cubicBezTo>
                    <a:pt x="227" y="7"/>
                    <a:pt x="222" y="8"/>
                    <a:pt x="222" y="8"/>
                  </a:cubicBezTo>
                  <a:cubicBezTo>
                    <a:pt x="221" y="8"/>
                    <a:pt x="220" y="8"/>
                    <a:pt x="219" y="8"/>
                  </a:cubicBezTo>
                  <a:cubicBezTo>
                    <a:pt x="219" y="8"/>
                    <a:pt x="214" y="6"/>
                    <a:pt x="214" y="6"/>
                  </a:cubicBezTo>
                  <a:cubicBezTo>
                    <a:pt x="212" y="10"/>
                    <a:pt x="212" y="10"/>
                    <a:pt x="212" y="10"/>
                  </a:cubicBezTo>
                  <a:cubicBezTo>
                    <a:pt x="212" y="10"/>
                    <a:pt x="207" y="12"/>
                    <a:pt x="207" y="11"/>
                  </a:cubicBezTo>
                  <a:cubicBezTo>
                    <a:pt x="207" y="11"/>
                    <a:pt x="203" y="7"/>
                    <a:pt x="203" y="7"/>
                  </a:cubicBezTo>
                  <a:cubicBezTo>
                    <a:pt x="203" y="7"/>
                    <a:pt x="193" y="4"/>
                    <a:pt x="193" y="4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69" y="93"/>
                    <a:pt x="69" y="93"/>
                    <a:pt x="69" y="93"/>
                  </a:cubicBezTo>
                  <a:cubicBezTo>
                    <a:pt x="69" y="138"/>
                    <a:pt x="69" y="138"/>
                    <a:pt x="69" y="138"/>
                  </a:cubicBezTo>
                  <a:lnTo>
                    <a:pt x="301" y="13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690696F7-C00C-4202-94FB-CF97D6917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810" y="1258003"/>
              <a:ext cx="1640639" cy="928539"/>
            </a:xfrm>
            <a:custGeom>
              <a:avLst/>
              <a:gdLst>
                <a:gd name="T0" fmla="*/ 10 w 414"/>
                <a:gd name="T1" fmla="*/ 67 h 234"/>
                <a:gd name="T2" fmla="*/ 10 w 414"/>
                <a:gd name="T3" fmla="*/ 75 h 234"/>
                <a:gd name="T4" fmla="*/ 14 w 414"/>
                <a:gd name="T5" fmla="*/ 79 h 234"/>
                <a:gd name="T6" fmla="*/ 10 w 414"/>
                <a:gd name="T7" fmla="*/ 82 h 234"/>
                <a:gd name="T8" fmla="*/ 15 w 414"/>
                <a:gd name="T9" fmla="*/ 85 h 234"/>
                <a:gd name="T10" fmla="*/ 23 w 414"/>
                <a:gd name="T11" fmla="*/ 90 h 234"/>
                <a:gd name="T12" fmla="*/ 30 w 414"/>
                <a:gd name="T13" fmla="*/ 98 h 234"/>
                <a:gd name="T14" fmla="*/ 36 w 414"/>
                <a:gd name="T15" fmla="*/ 106 h 234"/>
                <a:gd name="T16" fmla="*/ 40 w 414"/>
                <a:gd name="T17" fmla="*/ 114 h 234"/>
                <a:gd name="T18" fmla="*/ 44 w 414"/>
                <a:gd name="T19" fmla="*/ 117 h 234"/>
                <a:gd name="T20" fmla="*/ 48 w 414"/>
                <a:gd name="T21" fmla="*/ 118 h 234"/>
                <a:gd name="T22" fmla="*/ 52 w 414"/>
                <a:gd name="T23" fmla="*/ 122 h 234"/>
                <a:gd name="T24" fmla="*/ 58 w 414"/>
                <a:gd name="T25" fmla="*/ 121 h 234"/>
                <a:gd name="T26" fmla="*/ 58 w 414"/>
                <a:gd name="T27" fmla="*/ 128 h 234"/>
                <a:gd name="T28" fmla="*/ 57 w 414"/>
                <a:gd name="T29" fmla="*/ 134 h 234"/>
                <a:gd name="T30" fmla="*/ 54 w 414"/>
                <a:gd name="T31" fmla="*/ 143 h 234"/>
                <a:gd name="T32" fmla="*/ 53 w 414"/>
                <a:gd name="T33" fmla="*/ 147 h 234"/>
                <a:gd name="T34" fmla="*/ 54 w 414"/>
                <a:gd name="T35" fmla="*/ 153 h 234"/>
                <a:gd name="T36" fmla="*/ 57 w 414"/>
                <a:gd name="T37" fmla="*/ 160 h 234"/>
                <a:gd name="T38" fmla="*/ 52 w 414"/>
                <a:gd name="T39" fmla="*/ 163 h 234"/>
                <a:gd name="T40" fmla="*/ 52 w 414"/>
                <a:gd name="T41" fmla="*/ 172 h 234"/>
                <a:gd name="T42" fmla="*/ 55 w 414"/>
                <a:gd name="T43" fmla="*/ 176 h 234"/>
                <a:gd name="T44" fmla="*/ 61 w 414"/>
                <a:gd name="T45" fmla="*/ 179 h 234"/>
                <a:gd name="T46" fmla="*/ 68 w 414"/>
                <a:gd name="T47" fmla="*/ 173 h 234"/>
                <a:gd name="T48" fmla="*/ 73 w 414"/>
                <a:gd name="T49" fmla="*/ 171 h 234"/>
                <a:gd name="T50" fmla="*/ 76 w 414"/>
                <a:gd name="T51" fmla="*/ 176 h 234"/>
                <a:gd name="T52" fmla="*/ 78 w 414"/>
                <a:gd name="T53" fmla="*/ 180 h 234"/>
                <a:gd name="T54" fmla="*/ 80 w 414"/>
                <a:gd name="T55" fmla="*/ 185 h 234"/>
                <a:gd name="T56" fmla="*/ 84 w 414"/>
                <a:gd name="T57" fmla="*/ 194 h 234"/>
                <a:gd name="T58" fmla="*/ 88 w 414"/>
                <a:gd name="T59" fmla="*/ 199 h 234"/>
                <a:gd name="T60" fmla="*/ 90 w 414"/>
                <a:gd name="T61" fmla="*/ 205 h 234"/>
                <a:gd name="T62" fmla="*/ 91 w 414"/>
                <a:gd name="T63" fmla="*/ 210 h 234"/>
                <a:gd name="T64" fmla="*/ 95 w 414"/>
                <a:gd name="T65" fmla="*/ 212 h 234"/>
                <a:gd name="T66" fmla="*/ 102 w 414"/>
                <a:gd name="T67" fmla="*/ 217 h 234"/>
                <a:gd name="T68" fmla="*/ 102 w 414"/>
                <a:gd name="T69" fmla="*/ 223 h 234"/>
                <a:gd name="T70" fmla="*/ 105 w 414"/>
                <a:gd name="T71" fmla="*/ 229 h 234"/>
                <a:gd name="T72" fmla="*/ 111 w 414"/>
                <a:gd name="T73" fmla="*/ 234 h 234"/>
                <a:gd name="T74" fmla="*/ 117 w 414"/>
                <a:gd name="T75" fmla="*/ 228 h 234"/>
                <a:gd name="T76" fmla="*/ 127 w 414"/>
                <a:gd name="T77" fmla="*/ 228 h 234"/>
                <a:gd name="T78" fmla="*/ 137 w 414"/>
                <a:gd name="T79" fmla="*/ 226 h 234"/>
                <a:gd name="T80" fmla="*/ 145 w 414"/>
                <a:gd name="T81" fmla="*/ 227 h 234"/>
                <a:gd name="T82" fmla="*/ 155 w 414"/>
                <a:gd name="T83" fmla="*/ 225 h 234"/>
                <a:gd name="T84" fmla="*/ 156 w 414"/>
                <a:gd name="T85" fmla="*/ 222 h 234"/>
                <a:gd name="T86" fmla="*/ 160 w 414"/>
                <a:gd name="T87" fmla="*/ 217 h 234"/>
                <a:gd name="T88" fmla="*/ 172 w 414"/>
                <a:gd name="T89" fmla="*/ 229 h 234"/>
                <a:gd name="T90" fmla="*/ 414 w 414"/>
                <a:gd name="T9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4" h="234">
                  <a:moveTo>
                    <a:pt x="0" y="0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2" y="70"/>
                    <a:pt x="12" y="71"/>
                  </a:cubicBezTo>
                  <a:cubicBezTo>
                    <a:pt x="12" y="71"/>
                    <a:pt x="12" y="74"/>
                    <a:pt x="12" y="74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10" y="76"/>
                    <a:pt x="12" y="78"/>
                    <a:pt x="13" y="78"/>
                  </a:cubicBezTo>
                  <a:cubicBezTo>
                    <a:pt x="13" y="79"/>
                    <a:pt x="14" y="79"/>
                    <a:pt x="14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3" y="81"/>
                    <a:pt x="12" y="81"/>
                  </a:cubicBezTo>
                  <a:cubicBezTo>
                    <a:pt x="12" y="81"/>
                    <a:pt x="10" y="82"/>
                    <a:pt x="10" y="82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3" y="83"/>
                    <a:pt x="13" y="84"/>
                  </a:cubicBezTo>
                  <a:cubicBezTo>
                    <a:pt x="14" y="84"/>
                    <a:pt x="15" y="84"/>
                    <a:pt x="15" y="85"/>
                  </a:cubicBezTo>
                  <a:cubicBezTo>
                    <a:pt x="16" y="86"/>
                    <a:pt x="17" y="88"/>
                    <a:pt x="18" y="89"/>
                  </a:cubicBezTo>
                  <a:cubicBezTo>
                    <a:pt x="19" y="89"/>
                    <a:pt x="19" y="89"/>
                    <a:pt x="20" y="90"/>
                  </a:cubicBezTo>
                  <a:cubicBezTo>
                    <a:pt x="21" y="90"/>
                    <a:pt x="23" y="90"/>
                    <a:pt x="23" y="90"/>
                  </a:cubicBezTo>
                  <a:cubicBezTo>
                    <a:pt x="24" y="91"/>
                    <a:pt x="25" y="91"/>
                    <a:pt x="25" y="91"/>
                  </a:cubicBezTo>
                  <a:cubicBezTo>
                    <a:pt x="25" y="92"/>
                    <a:pt x="25" y="94"/>
                    <a:pt x="26" y="94"/>
                  </a:cubicBezTo>
                  <a:cubicBezTo>
                    <a:pt x="26" y="95"/>
                    <a:pt x="30" y="98"/>
                    <a:pt x="30" y="98"/>
                  </a:cubicBezTo>
                  <a:cubicBezTo>
                    <a:pt x="31" y="99"/>
                    <a:pt x="32" y="100"/>
                    <a:pt x="32" y="101"/>
                  </a:cubicBezTo>
                  <a:cubicBezTo>
                    <a:pt x="32" y="101"/>
                    <a:pt x="33" y="104"/>
                    <a:pt x="34" y="105"/>
                  </a:cubicBezTo>
                  <a:cubicBezTo>
                    <a:pt x="34" y="105"/>
                    <a:pt x="35" y="105"/>
                    <a:pt x="36" y="106"/>
                  </a:cubicBezTo>
                  <a:cubicBezTo>
                    <a:pt x="37" y="106"/>
                    <a:pt x="38" y="107"/>
                    <a:pt x="38" y="108"/>
                  </a:cubicBezTo>
                  <a:cubicBezTo>
                    <a:pt x="38" y="109"/>
                    <a:pt x="38" y="111"/>
                    <a:pt x="38" y="112"/>
                  </a:cubicBezTo>
                  <a:cubicBezTo>
                    <a:pt x="38" y="112"/>
                    <a:pt x="39" y="114"/>
                    <a:pt x="40" y="114"/>
                  </a:cubicBezTo>
                  <a:cubicBezTo>
                    <a:pt x="40" y="114"/>
                    <a:pt x="41" y="113"/>
                    <a:pt x="41" y="113"/>
                  </a:cubicBezTo>
                  <a:cubicBezTo>
                    <a:pt x="42" y="114"/>
                    <a:pt x="43" y="115"/>
                    <a:pt x="43" y="115"/>
                  </a:cubicBezTo>
                  <a:cubicBezTo>
                    <a:pt x="44" y="116"/>
                    <a:pt x="44" y="116"/>
                    <a:pt x="44" y="117"/>
                  </a:cubicBezTo>
                  <a:cubicBezTo>
                    <a:pt x="44" y="118"/>
                    <a:pt x="44" y="119"/>
                    <a:pt x="44" y="119"/>
                  </a:cubicBezTo>
                  <a:cubicBezTo>
                    <a:pt x="45" y="119"/>
                    <a:pt x="46" y="117"/>
                    <a:pt x="46" y="117"/>
                  </a:cubicBezTo>
                  <a:cubicBezTo>
                    <a:pt x="47" y="117"/>
                    <a:pt x="48" y="117"/>
                    <a:pt x="48" y="118"/>
                  </a:cubicBezTo>
                  <a:cubicBezTo>
                    <a:pt x="48" y="118"/>
                    <a:pt x="48" y="119"/>
                    <a:pt x="49" y="120"/>
                  </a:cubicBezTo>
                  <a:cubicBezTo>
                    <a:pt x="49" y="121"/>
                    <a:pt x="50" y="122"/>
                    <a:pt x="50" y="122"/>
                  </a:cubicBezTo>
                  <a:cubicBezTo>
                    <a:pt x="50" y="122"/>
                    <a:pt x="52" y="122"/>
                    <a:pt x="52" y="122"/>
                  </a:cubicBezTo>
                  <a:cubicBezTo>
                    <a:pt x="52" y="122"/>
                    <a:pt x="53" y="122"/>
                    <a:pt x="54" y="122"/>
                  </a:cubicBezTo>
                  <a:cubicBezTo>
                    <a:pt x="54" y="122"/>
                    <a:pt x="55" y="123"/>
                    <a:pt x="55" y="122"/>
                  </a:cubicBezTo>
                  <a:cubicBezTo>
                    <a:pt x="56" y="122"/>
                    <a:pt x="58" y="121"/>
                    <a:pt x="58" y="121"/>
                  </a:cubicBezTo>
                  <a:cubicBezTo>
                    <a:pt x="58" y="121"/>
                    <a:pt x="59" y="121"/>
                    <a:pt x="59" y="122"/>
                  </a:cubicBezTo>
                  <a:cubicBezTo>
                    <a:pt x="59" y="122"/>
                    <a:pt x="59" y="125"/>
                    <a:pt x="59" y="125"/>
                  </a:cubicBezTo>
                  <a:cubicBezTo>
                    <a:pt x="59" y="125"/>
                    <a:pt x="59" y="128"/>
                    <a:pt x="58" y="128"/>
                  </a:cubicBezTo>
                  <a:cubicBezTo>
                    <a:pt x="58" y="128"/>
                    <a:pt x="57" y="129"/>
                    <a:pt x="57" y="129"/>
                  </a:cubicBezTo>
                  <a:cubicBezTo>
                    <a:pt x="57" y="129"/>
                    <a:pt x="57" y="130"/>
                    <a:pt x="57" y="130"/>
                  </a:cubicBezTo>
                  <a:cubicBezTo>
                    <a:pt x="57" y="131"/>
                    <a:pt x="57" y="133"/>
                    <a:pt x="57" y="134"/>
                  </a:cubicBezTo>
                  <a:cubicBezTo>
                    <a:pt x="57" y="135"/>
                    <a:pt x="56" y="137"/>
                    <a:pt x="56" y="138"/>
                  </a:cubicBezTo>
                  <a:cubicBezTo>
                    <a:pt x="56" y="138"/>
                    <a:pt x="55" y="140"/>
                    <a:pt x="55" y="140"/>
                  </a:cubicBezTo>
                  <a:cubicBezTo>
                    <a:pt x="54" y="141"/>
                    <a:pt x="54" y="142"/>
                    <a:pt x="54" y="143"/>
                  </a:cubicBezTo>
                  <a:cubicBezTo>
                    <a:pt x="55" y="143"/>
                    <a:pt x="55" y="144"/>
                    <a:pt x="55" y="145"/>
                  </a:cubicBezTo>
                  <a:cubicBezTo>
                    <a:pt x="55" y="145"/>
                    <a:pt x="55" y="146"/>
                    <a:pt x="54" y="146"/>
                  </a:cubicBezTo>
                  <a:cubicBezTo>
                    <a:pt x="53" y="146"/>
                    <a:pt x="53" y="147"/>
                    <a:pt x="53" y="147"/>
                  </a:cubicBezTo>
                  <a:cubicBezTo>
                    <a:pt x="53" y="148"/>
                    <a:pt x="54" y="149"/>
                    <a:pt x="54" y="149"/>
                  </a:cubicBezTo>
                  <a:cubicBezTo>
                    <a:pt x="54" y="150"/>
                    <a:pt x="54" y="151"/>
                    <a:pt x="54" y="151"/>
                  </a:cubicBezTo>
                  <a:cubicBezTo>
                    <a:pt x="54" y="151"/>
                    <a:pt x="54" y="153"/>
                    <a:pt x="54" y="153"/>
                  </a:cubicBezTo>
                  <a:cubicBezTo>
                    <a:pt x="54" y="154"/>
                    <a:pt x="55" y="154"/>
                    <a:pt x="56" y="155"/>
                  </a:cubicBezTo>
                  <a:cubicBezTo>
                    <a:pt x="56" y="155"/>
                    <a:pt x="56" y="156"/>
                    <a:pt x="57" y="158"/>
                  </a:cubicBezTo>
                  <a:cubicBezTo>
                    <a:pt x="57" y="159"/>
                    <a:pt x="57" y="159"/>
                    <a:pt x="57" y="160"/>
                  </a:cubicBezTo>
                  <a:cubicBezTo>
                    <a:pt x="57" y="161"/>
                    <a:pt x="57" y="161"/>
                    <a:pt x="56" y="161"/>
                  </a:cubicBezTo>
                  <a:cubicBezTo>
                    <a:pt x="55" y="161"/>
                    <a:pt x="54" y="161"/>
                    <a:pt x="54" y="161"/>
                  </a:cubicBezTo>
                  <a:cubicBezTo>
                    <a:pt x="53" y="162"/>
                    <a:pt x="53" y="162"/>
                    <a:pt x="52" y="163"/>
                  </a:cubicBezTo>
                  <a:cubicBezTo>
                    <a:pt x="52" y="164"/>
                    <a:pt x="51" y="164"/>
                    <a:pt x="51" y="165"/>
                  </a:cubicBezTo>
                  <a:cubicBezTo>
                    <a:pt x="51" y="166"/>
                    <a:pt x="53" y="168"/>
                    <a:pt x="53" y="169"/>
                  </a:cubicBezTo>
                  <a:cubicBezTo>
                    <a:pt x="53" y="169"/>
                    <a:pt x="53" y="171"/>
                    <a:pt x="52" y="172"/>
                  </a:cubicBezTo>
                  <a:cubicBezTo>
                    <a:pt x="52" y="172"/>
                    <a:pt x="51" y="173"/>
                    <a:pt x="51" y="174"/>
                  </a:cubicBezTo>
                  <a:cubicBezTo>
                    <a:pt x="51" y="175"/>
                    <a:pt x="51" y="176"/>
                    <a:pt x="52" y="176"/>
                  </a:cubicBezTo>
                  <a:cubicBezTo>
                    <a:pt x="53" y="176"/>
                    <a:pt x="54" y="176"/>
                    <a:pt x="55" y="176"/>
                  </a:cubicBezTo>
                  <a:cubicBezTo>
                    <a:pt x="55" y="177"/>
                    <a:pt x="55" y="178"/>
                    <a:pt x="56" y="179"/>
                  </a:cubicBezTo>
                  <a:cubicBezTo>
                    <a:pt x="57" y="179"/>
                    <a:pt x="58" y="180"/>
                    <a:pt x="59" y="180"/>
                  </a:cubicBezTo>
                  <a:cubicBezTo>
                    <a:pt x="59" y="180"/>
                    <a:pt x="60" y="179"/>
                    <a:pt x="61" y="179"/>
                  </a:cubicBezTo>
                  <a:cubicBezTo>
                    <a:pt x="62" y="179"/>
                    <a:pt x="62" y="177"/>
                    <a:pt x="62" y="177"/>
                  </a:cubicBezTo>
                  <a:cubicBezTo>
                    <a:pt x="62" y="176"/>
                    <a:pt x="63" y="176"/>
                    <a:pt x="64" y="176"/>
                  </a:cubicBezTo>
                  <a:cubicBezTo>
                    <a:pt x="65" y="176"/>
                    <a:pt x="68" y="174"/>
                    <a:pt x="68" y="173"/>
                  </a:cubicBezTo>
                  <a:cubicBezTo>
                    <a:pt x="69" y="173"/>
                    <a:pt x="70" y="172"/>
                    <a:pt x="70" y="171"/>
                  </a:cubicBezTo>
                  <a:cubicBezTo>
                    <a:pt x="70" y="170"/>
                    <a:pt x="69" y="169"/>
                    <a:pt x="70" y="169"/>
                  </a:cubicBezTo>
                  <a:cubicBezTo>
                    <a:pt x="72" y="169"/>
                    <a:pt x="73" y="171"/>
                    <a:pt x="73" y="171"/>
                  </a:cubicBezTo>
                  <a:cubicBezTo>
                    <a:pt x="73" y="172"/>
                    <a:pt x="74" y="173"/>
                    <a:pt x="75" y="173"/>
                  </a:cubicBezTo>
                  <a:cubicBezTo>
                    <a:pt x="76" y="173"/>
                    <a:pt x="76" y="173"/>
                    <a:pt x="76" y="174"/>
                  </a:cubicBezTo>
                  <a:cubicBezTo>
                    <a:pt x="77" y="174"/>
                    <a:pt x="77" y="176"/>
                    <a:pt x="76" y="176"/>
                  </a:cubicBezTo>
                  <a:cubicBezTo>
                    <a:pt x="76" y="176"/>
                    <a:pt x="76" y="177"/>
                    <a:pt x="77" y="177"/>
                  </a:cubicBezTo>
                  <a:cubicBezTo>
                    <a:pt x="78" y="178"/>
                    <a:pt x="78" y="178"/>
                    <a:pt x="78" y="178"/>
                  </a:cubicBezTo>
                  <a:cubicBezTo>
                    <a:pt x="78" y="179"/>
                    <a:pt x="79" y="180"/>
                    <a:pt x="78" y="180"/>
                  </a:cubicBezTo>
                  <a:cubicBezTo>
                    <a:pt x="78" y="181"/>
                    <a:pt x="78" y="182"/>
                    <a:pt x="78" y="182"/>
                  </a:cubicBezTo>
                  <a:cubicBezTo>
                    <a:pt x="79" y="183"/>
                    <a:pt x="79" y="184"/>
                    <a:pt x="80" y="184"/>
                  </a:cubicBezTo>
                  <a:cubicBezTo>
                    <a:pt x="80" y="184"/>
                    <a:pt x="80" y="184"/>
                    <a:pt x="80" y="185"/>
                  </a:cubicBezTo>
                  <a:cubicBezTo>
                    <a:pt x="80" y="186"/>
                    <a:pt x="80" y="187"/>
                    <a:pt x="81" y="188"/>
                  </a:cubicBezTo>
                  <a:cubicBezTo>
                    <a:pt x="81" y="189"/>
                    <a:pt x="81" y="190"/>
                    <a:pt x="82" y="191"/>
                  </a:cubicBezTo>
                  <a:cubicBezTo>
                    <a:pt x="83" y="192"/>
                    <a:pt x="83" y="194"/>
                    <a:pt x="84" y="194"/>
                  </a:cubicBezTo>
                  <a:cubicBezTo>
                    <a:pt x="84" y="195"/>
                    <a:pt x="85" y="196"/>
                    <a:pt x="85" y="196"/>
                  </a:cubicBezTo>
                  <a:cubicBezTo>
                    <a:pt x="86" y="197"/>
                    <a:pt x="87" y="197"/>
                    <a:pt x="87" y="197"/>
                  </a:cubicBezTo>
                  <a:cubicBezTo>
                    <a:pt x="87" y="198"/>
                    <a:pt x="88" y="199"/>
                    <a:pt x="88" y="199"/>
                  </a:cubicBezTo>
                  <a:cubicBezTo>
                    <a:pt x="88" y="199"/>
                    <a:pt x="89" y="199"/>
                    <a:pt x="89" y="200"/>
                  </a:cubicBezTo>
                  <a:cubicBezTo>
                    <a:pt x="89" y="200"/>
                    <a:pt x="90" y="200"/>
                    <a:pt x="90" y="201"/>
                  </a:cubicBezTo>
                  <a:cubicBezTo>
                    <a:pt x="90" y="202"/>
                    <a:pt x="90" y="205"/>
                    <a:pt x="90" y="205"/>
                  </a:cubicBezTo>
                  <a:cubicBezTo>
                    <a:pt x="90" y="205"/>
                    <a:pt x="88" y="205"/>
                    <a:pt x="88" y="206"/>
                  </a:cubicBezTo>
                  <a:cubicBezTo>
                    <a:pt x="88" y="206"/>
                    <a:pt x="88" y="207"/>
                    <a:pt x="88" y="208"/>
                  </a:cubicBezTo>
                  <a:cubicBezTo>
                    <a:pt x="89" y="208"/>
                    <a:pt x="90" y="210"/>
                    <a:pt x="91" y="210"/>
                  </a:cubicBezTo>
                  <a:cubicBezTo>
                    <a:pt x="91" y="211"/>
                    <a:pt x="92" y="211"/>
                    <a:pt x="92" y="212"/>
                  </a:cubicBezTo>
                  <a:cubicBezTo>
                    <a:pt x="92" y="212"/>
                    <a:pt x="93" y="213"/>
                    <a:pt x="93" y="213"/>
                  </a:cubicBezTo>
                  <a:cubicBezTo>
                    <a:pt x="93" y="213"/>
                    <a:pt x="94" y="213"/>
                    <a:pt x="95" y="212"/>
                  </a:cubicBezTo>
                  <a:cubicBezTo>
                    <a:pt x="96" y="212"/>
                    <a:pt x="96" y="212"/>
                    <a:pt x="97" y="212"/>
                  </a:cubicBezTo>
                  <a:cubicBezTo>
                    <a:pt x="98" y="213"/>
                    <a:pt x="99" y="214"/>
                    <a:pt x="100" y="214"/>
                  </a:cubicBezTo>
                  <a:cubicBezTo>
                    <a:pt x="100" y="215"/>
                    <a:pt x="101" y="216"/>
                    <a:pt x="102" y="217"/>
                  </a:cubicBezTo>
                  <a:cubicBezTo>
                    <a:pt x="102" y="218"/>
                    <a:pt x="102" y="219"/>
                    <a:pt x="103" y="220"/>
                  </a:cubicBezTo>
                  <a:cubicBezTo>
                    <a:pt x="103" y="221"/>
                    <a:pt x="103" y="221"/>
                    <a:pt x="103" y="222"/>
                  </a:cubicBezTo>
                  <a:cubicBezTo>
                    <a:pt x="103" y="222"/>
                    <a:pt x="102" y="223"/>
                    <a:pt x="102" y="223"/>
                  </a:cubicBezTo>
                  <a:cubicBezTo>
                    <a:pt x="102" y="223"/>
                    <a:pt x="104" y="224"/>
                    <a:pt x="104" y="225"/>
                  </a:cubicBezTo>
                  <a:cubicBezTo>
                    <a:pt x="104" y="226"/>
                    <a:pt x="105" y="226"/>
                    <a:pt x="105" y="227"/>
                  </a:cubicBezTo>
                  <a:cubicBezTo>
                    <a:pt x="105" y="228"/>
                    <a:pt x="104" y="228"/>
                    <a:pt x="105" y="229"/>
                  </a:cubicBezTo>
                  <a:cubicBezTo>
                    <a:pt x="105" y="230"/>
                    <a:pt x="106" y="230"/>
                    <a:pt x="106" y="231"/>
                  </a:cubicBezTo>
                  <a:cubicBezTo>
                    <a:pt x="107" y="232"/>
                    <a:pt x="108" y="232"/>
                    <a:pt x="109" y="233"/>
                  </a:cubicBezTo>
                  <a:cubicBezTo>
                    <a:pt x="110" y="234"/>
                    <a:pt x="111" y="234"/>
                    <a:pt x="111" y="234"/>
                  </a:cubicBezTo>
                  <a:cubicBezTo>
                    <a:pt x="111" y="233"/>
                    <a:pt x="111" y="231"/>
                    <a:pt x="111" y="230"/>
                  </a:cubicBezTo>
                  <a:cubicBezTo>
                    <a:pt x="112" y="229"/>
                    <a:pt x="113" y="229"/>
                    <a:pt x="114" y="228"/>
                  </a:cubicBezTo>
                  <a:cubicBezTo>
                    <a:pt x="115" y="228"/>
                    <a:pt x="115" y="227"/>
                    <a:pt x="117" y="228"/>
                  </a:cubicBezTo>
                  <a:cubicBezTo>
                    <a:pt x="119" y="229"/>
                    <a:pt x="121" y="229"/>
                    <a:pt x="123" y="229"/>
                  </a:cubicBezTo>
                  <a:cubicBezTo>
                    <a:pt x="124" y="230"/>
                    <a:pt x="126" y="230"/>
                    <a:pt x="126" y="230"/>
                  </a:cubicBezTo>
                  <a:cubicBezTo>
                    <a:pt x="126" y="230"/>
                    <a:pt x="126" y="229"/>
                    <a:pt x="127" y="228"/>
                  </a:cubicBezTo>
                  <a:cubicBezTo>
                    <a:pt x="127" y="227"/>
                    <a:pt x="127" y="224"/>
                    <a:pt x="128" y="224"/>
                  </a:cubicBezTo>
                  <a:cubicBezTo>
                    <a:pt x="128" y="224"/>
                    <a:pt x="129" y="224"/>
                    <a:pt x="129" y="224"/>
                  </a:cubicBezTo>
                  <a:cubicBezTo>
                    <a:pt x="130" y="224"/>
                    <a:pt x="136" y="226"/>
                    <a:pt x="137" y="226"/>
                  </a:cubicBezTo>
                  <a:cubicBezTo>
                    <a:pt x="137" y="226"/>
                    <a:pt x="141" y="225"/>
                    <a:pt x="141" y="225"/>
                  </a:cubicBezTo>
                  <a:cubicBezTo>
                    <a:pt x="142" y="225"/>
                    <a:pt x="144" y="225"/>
                    <a:pt x="144" y="225"/>
                  </a:cubicBezTo>
                  <a:cubicBezTo>
                    <a:pt x="144" y="225"/>
                    <a:pt x="145" y="227"/>
                    <a:pt x="145" y="227"/>
                  </a:cubicBezTo>
                  <a:cubicBezTo>
                    <a:pt x="145" y="227"/>
                    <a:pt x="146" y="227"/>
                    <a:pt x="147" y="226"/>
                  </a:cubicBezTo>
                  <a:cubicBezTo>
                    <a:pt x="148" y="226"/>
                    <a:pt x="149" y="225"/>
                    <a:pt x="151" y="225"/>
                  </a:cubicBezTo>
                  <a:cubicBezTo>
                    <a:pt x="152" y="224"/>
                    <a:pt x="154" y="225"/>
                    <a:pt x="155" y="225"/>
                  </a:cubicBezTo>
                  <a:cubicBezTo>
                    <a:pt x="155" y="225"/>
                    <a:pt x="157" y="225"/>
                    <a:pt x="157" y="225"/>
                  </a:cubicBezTo>
                  <a:cubicBezTo>
                    <a:pt x="158" y="225"/>
                    <a:pt x="157" y="225"/>
                    <a:pt x="157" y="224"/>
                  </a:cubicBezTo>
                  <a:cubicBezTo>
                    <a:pt x="157" y="223"/>
                    <a:pt x="156" y="222"/>
                    <a:pt x="156" y="222"/>
                  </a:cubicBezTo>
                  <a:cubicBezTo>
                    <a:pt x="157" y="221"/>
                    <a:pt x="157" y="220"/>
                    <a:pt x="157" y="219"/>
                  </a:cubicBezTo>
                  <a:cubicBezTo>
                    <a:pt x="157" y="218"/>
                    <a:pt x="157" y="218"/>
                    <a:pt x="158" y="217"/>
                  </a:cubicBezTo>
                  <a:cubicBezTo>
                    <a:pt x="159" y="217"/>
                    <a:pt x="159" y="217"/>
                    <a:pt x="160" y="217"/>
                  </a:cubicBezTo>
                  <a:cubicBezTo>
                    <a:pt x="160" y="216"/>
                    <a:pt x="161" y="214"/>
                    <a:pt x="161" y="215"/>
                  </a:cubicBezTo>
                  <a:cubicBezTo>
                    <a:pt x="162" y="215"/>
                    <a:pt x="170" y="228"/>
                    <a:pt x="170" y="228"/>
                  </a:cubicBezTo>
                  <a:cubicBezTo>
                    <a:pt x="172" y="229"/>
                    <a:pt x="172" y="229"/>
                    <a:pt x="172" y="229"/>
                  </a:cubicBezTo>
                  <a:cubicBezTo>
                    <a:pt x="172" y="203"/>
                    <a:pt x="172" y="203"/>
                    <a:pt x="172" y="203"/>
                  </a:cubicBezTo>
                  <a:cubicBezTo>
                    <a:pt x="414" y="203"/>
                    <a:pt x="414" y="203"/>
                    <a:pt x="414" y="203"/>
                  </a:cubicBezTo>
                  <a:cubicBezTo>
                    <a:pt x="414" y="0"/>
                    <a:pt x="414" y="0"/>
                    <a:pt x="41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D1588096-DDFF-4504-AF4E-C6255DFF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7208" y="2883773"/>
              <a:ext cx="915321" cy="804623"/>
            </a:xfrm>
            <a:custGeom>
              <a:avLst/>
              <a:gdLst>
                <a:gd name="T0" fmla="*/ 223 w 231"/>
                <a:gd name="T1" fmla="*/ 157 h 203"/>
                <a:gd name="T2" fmla="*/ 224 w 231"/>
                <a:gd name="T3" fmla="*/ 160 h 203"/>
                <a:gd name="T4" fmla="*/ 220 w 231"/>
                <a:gd name="T5" fmla="*/ 157 h 203"/>
                <a:gd name="T6" fmla="*/ 218 w 231"/>
                <a:gd name="T7" fmla="*/ 149 h 203"/>
                <a:gd name="T8" fmla="*/ 217 w 231"/>
                <a:gd name="T9" fmla="*/ 146 h 203"/>
                <a:gd name="T10" fmla="*/ 218 w 231"/>
                <a:gd name="T11" fmla="*/ 141 h 203"/>
                <a:gd name="T12" fmla="*/ 216 w 231"/>
                <a:gd name="T13" fmla="*/ 135 h 203"/>
                <a:gd name="T14" fmla="*/ 216 w 231"/>
                <a:gd name="T15" fmla="*/ 131 h 203"/>
                <a:gd name="T16" fmla="*/ 211 w 231"/>
                <a:gd name="T17" fmla="*/ 125 h 203"/>
                <a:gd name="T18" fmla="*/ 202 w 231"/>
                <a:gd name="T19" fmla="*/ 122 h 203"/>
                <a:gd name="T20" fmla="*/ 202 w 231"/>
                <a:gd name="T21" fmla="*/ 119 h 203"/>
                <a:gd name="T22" fmla="*/ 187 w 231"/>
                <a:gd name="T23" fmla="*/ 103 h 203"/>
                <a:gd name="T24" fmla="*/ 190 w 231"/>
                <a:gd name="T25" fmla="*/ 95 h 203"/>
                <a:gd name="T26" fmla="*/ 192 w 231"/>
                <a:gd name="T27" fmla="*/ 85 h 203"/>
                <a:gd name="T28" fmla="*/ 190 w 231"/>
                <a:gd name="T29" fmla="*/ 75 h 203"/>
                <a:gd name="T30" fmla="*/ 179 w 231"/>
                <a:gd name="T31" fmla="*/ 78 h 203"/>
                <a:gd name="T32" fmla="*/ 175 w 231"/>
                <a:gd name="T33" fmla="*/ 71 h 203"/>
                <a:gd name="T34" fmla="*/ 174 w 231"/>
                <a:gd name="T35" fmla="*/ 61 h 203"/>
                <a:gd name="T36" fmla="*/ 161 w 231"/>
                <a:gd name="T37" fmla="*/ 48 h 203"/>
                <a:gd name="T38" fmla="*/ 154 w 231"/>
                <a:gd name="T39" fmla="*/ 42 h 203"/>
                <a:gd name="T40" fmla="*/ 150 w 231"/>
                <a:gd name="T41" fmla="*/ 35 h 203"/>
                <a:gd name="T42" fmla="*/ 149 w 231"/>
                <a:gd name="T43" fmla="*/ 28 h 203"/>
                <a:gd name="T44" fmla="*/ 147 w 231"/>
                <a:gd name="T45" fmla="*/ 20 h 203"/>
                <a:gd name="T46" fmla="*/ 150 w 231"/>
                <a:gd name="T47" fmla="*/ 11 h 203"/>
                <a:gd name="T48" fmla="*/ 146 w 231"/>
                <a:gd name="T49" fmla="*/ 8 h 203"/>
                <a:gd name="T50" fmla="*/ 144 w 231"/>
                <a:gd name="T51" fmla="*/ 4 h 203"/>
                <a:gd name="T52" fmla="*/ 139 w 231"/>
                <a:gd name="T53" fmla="*/ 0 h 203"/>
                <a:gd name="T54" fmla="*/ 0 w 231"/>
                <a:gd name="T55" fmla="*/ 3 h 203"/>
                <a:gd name="T56" fmla="*/ 4 w 231"/>
                <a:gd name="T57" fmla="*/ 3 h 203"/>
                <a:gd name="T58" fmla="*/ 5 w 231"/>
                <a:gd name="T59" fmla="*/ 12 h 203"/>
                <a:gd name="T60" fmla="*/ 10 w 231"/>
                <a:gd name="T61" fmla="*/ 17 h 203"/>
                <a:gd name="T62" fmla="*/ 13 w 231"/>
                <a:gd name="T63" fmla="*/ 23 h 203"/>
                <a:gd name="T64" fmla="*/ 15 w 231"/>
                <a:gd name="T65" fmla="*/ 27 h 203"/>
                <a:gd name="T66" fmla="*/ 21 w 231"/>
                <a:gd name="T67" fmla="*/ 32 h 203"/>
                <a:gd name="T68" fmla="*/ 26 w 231"/>
                <a:gd name="T69" fmla="*/ 33 h 203"/>
                <a:gd name="T70" fmla="*/ 29 w 231"/>
                <a:gd name="T71" fmla="*/ 35 h 203"/>
                <a:gd name="T72" fmla="*/ 30 w 231"/>
                <a:gd name="T73" fmla="*/ 38 h 203"/>
                <a:gd name="T74" fmla="*/ 28 w 231"/>
                <a:gd name="T75" fmla="*/ 40 h 203"/>
                <a:gd name="T76" fmla="*/ 26 w 231"/>
                <a:gd name="T77" fmla="*/ 43 h 203"/>
                <a:gd name="T78" fmla="*/ 24 w 231"/>
                <a:gd name="T79" fmla="*/ 46 h 203"/>
                <a:gd name="T80" fmla="*/ 28 w 231"/>
                <a:gd name="T81" fmla="*/ 55 h 203"/>
                <a:gd name="T82" fmla="*/ 30 w 231"/>
                <a:gd name="T83" fmla="*/ 57 h 203"/>
                <a:gd name="T84" fmla="*/ 38 w 231"/>
                <a:gd name="T85" fmla="*/ 65 h 203"/>
                <a:gd name="T86" fmla="*/ 40 w 231"/>
                <a:gd name="T87" fmla="*/ 182 h 203"/>
                <a:gd name="T88" fmla="*/ 197 w 231"/>
                <a:gd name="T89" fmla="*/ 186 h 203"/>
                <a:gd name="T90" fmla="*/ 190 w 231"/>
                <a:gd name="T91" fmla="*/ 197 h 203"/>
                <a:gd name="T92" fmla="*/ 209 w 231"/>
                <a:gd name="T93" fmla="*/ 203 h 203"/>
                <a:gd name="T94" fmla="*/ 210 w 231"/>
                <a:gd name="T95" fmla="*/ 201 h 203"/>
                <a:gd name="T96" fmla="*/ 211 w 231"/>
                <a:gd name="T97" fmla="*/ 199 h 203"/>
                <a:gd name="T98" fmla="*/ 212 w 231"/>
                <a:gd name="T99" fmla="*/ 194 h 203"/>
                <a:gd name="T100" fmla="*/ 211 w 231"/>
                <a:gd name="T101" fmla="*/ 192 h 203"/>
                <a:gd name="T102" fmla="*/ 214 w 231"/>
                <a:gd name="T103" fmla="*/ 191 h 203"/>
                <a:gd name="T104" fmla="*/ 214 w 231"/>
                <a:gd name="T105" fmla="*/ 188 h 203"/>
                <a:gd name="T106" fmla="*/ 215 w 231"/>
                <a:gd name="T107" fmla="*/ 180 h 203"/>
                <a:gd name="T108" fmla="*/ 217 w 231"/>
                <a:gd name="T109" fmla="*/ 179 h 203"/>
                <a:gd name="T110" fmla="*/ 217 w 231"/>
                <a:gd name="T111" fmla="*/ 182 h 203"/>
                <a:gd name="T112" fmla="*/ 219 w 231"/>
                <a:gd name="T113" fmla="*/ 182 h 203"/>
                <a:gd name="T114" fmla="*/ 224 w 231"/>
                <a:gd name="T115" fmla="*/ 177 h 203"/>
                <a:gd name="T116" fmla="*/ 228 w 231"/>
                <a:gd name="T117" fmla="*/ 175 h 203"/>
                <a:gd name="T118" fmla="*/ 227 w 231"/>
                <a:gd name="T119" fmla="*/ 168 h 203"/>
                <a:gd name="T120" fmla="*/ 229 w 231"/>
                <a:gd name="T121" fmla="*/ 16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1" h="203">
                  <a:moveTo>
                    <a:pt x="226" y="160"/>
                  </a:moveTo>
                  <a:cubicBezTo>
                    <a:pt x="226" y="159"/>
                    <a:pt x="225" y="157"/>
                    <a:pt x="225" y="157"/>
                  </a:cubicBezTo>
                  <a:cubicBezTo>
                    <a:pt x="223" y="157"/>
                    <a:pt x="223" y="157"/>
                    <a:pt x="223" y="157"/>
                  </a:cubicBezTo>
                  <a:cubicBezTo>
                    <a:pt x="223" y="157"/>
                    <a:pt x="224" y="158"/>
                    <a:pt x="224" y="158"/>
                  </a:cubicBezTo>
                  <a:cubicBezTo>
                    <a:pt x="224" y="158"/>
                    <a:pt x="225" y="159"/>
                    <a:pt x="225" y="159"/>
                  </a:cubicBezTo>
                  <a:cubicBezTo>
                    <a:pt x="225" y="159"/>
                    <a:pt x="224" y="160"/>
                    <a:pt x="224" y="160"/>
                  </a:cubicBezTo>
                  <a:cubicBezTo>
                    <a:pt x="224" y="160"/>
                    <a:pt x="223" y="160"/>
                    <a:pt x="223" y="160"/>
                  </a:cubicBezTo>
                  <a:cubicBezTo>
                    <a:pt x="223" y="160"/>
                    <a:pt x="221" y="159"/>
                    <a:pt x="221" y="159"/>
                  </a:cubicBezTo>
                  <a:cubicBezTo>
                    <a:pt x="221" y="159"/>
                    <a:pt x="220" y="157"/>
                    <a:pt x="220" y="157"/>
                  </a:cubicBezTo>
                  <a:cubicBezTo>
                    <a:pt x="220" y="156"/>
                    <a:pt x="220" y="155"/>
                    <a:pt x="220" y="155"/>
                  </a:cubicBezTo>
                  <a:cubicBezTo>
                    <a:pt x="218" y="151"/>
                    <a:pt x="218" y="151"/>
                    <a:pt x="218" y="151"/>
                  </a:cubicBezTo>
                  <a:cubicBezTo>
                    <a:pt x="218" y="151"/>
                    <a:pt x="218" y="149"/>
                    <a:pt x="218" y="149"/>
                  </a:cubicBezTo>
                  <a:cubicBezTo>
                    <a:pt x="218" y="149"/>
                    <a:pt x="216" y="149"/>
                    <a:pt x="216" y="148"/>
                  </a:cubicBezTo>
                  <a:cubicBezTo>
                    <a:pt x="216" y="148"/>
                    <a:pt x="216" y="147"/>
                    <a:pt x="216" y="147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6"/>
                    <a:pt x="218" y="145"/>
                    <a:pt x="218" y="145"/>
                  </a:cubicBezTo>
                  <a:cubicBezTo>
                    <a:pt x="218" y="145"/>
                    <a:pt x="219" y="144"/>
                    <a:pt x="219" y="143"/>
                  </a:cubicBezTo>
                  <a:cubicBezTo>
                    <a:pt x="219" y="143"/>
                    <a:pt x="218" y="141"/>
                    <a:pt x="218" y="141"/>
                  </a:cubicBezTo>
                  <a:cubicBezTo>
                    <a:pt x="218" y="141"/>
                    <a:pt x="217" y="138"/>
                    <a:pt x="216" y="138"/>
                  </a:cubicBezTo>
                  <a:cubicBezTo>
                    <a:pt x="216" y="138"/>
                    <a:pt x="216" y="136"/>
                    <a:pt x="216" y="136"/>
                  </a:cubicBezTo>
                  <a:cubicBezTo>
                    <a:pt x="216" y="136"/>
                    <a:pt x="216" y="135"/>
                    <a:pt x="216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3"/>
                    <a:pt x="217" y="133"/>
                  </a:cubicBezTo>
                  <a:cubicBezTo>
                    <a:pt x="217" y="132"/>
                    <a:pt x="216" y="131"/>
                    <a:pt x="216" y="131"/>
                  </a:cubicBezTo>
                  <a:cubicBezTo>
                    <a:pt x="216" y="130"/>
                    <a:pt x="213" y="128"/>
                    <a:pt x="213" y="128"/>
                  </a:cubicBezTo>
                  <a:cubicBezTo>
                    <a:pt x="212" y="128"/>
                    <a:pt x="210" y="128"/>
                    <a:pt x="210" y="128"/>
                  </a:cubicBezTo>
                  <a:cubicBezTo>
                    <a:pt x="210" y="127"/>
                    <a:pt x="211" y="125"/>
                    <a:pt x="211" y="125"/>
                  </a:cubicBezTo>
                  <a:cubicBezTo>
                    <a:pt x="205" y="121"/>
                    <a:pt x="205" y="121"/>
                    <a:pt x="205" y="121"/>
                  </a:cubicBezTo>
                  <a:cubicBezTo>
                    <a:pt x="205" y="121"/>
                    <a:pt x="204" y="121"/>
                    <a:pt x="204" y="121"/>
                  </a:cubicBezTo>
                  <a:cubicBezTo>
                    <a:pt x="204" y="122"/>
                    <a:pt x="202" y="122"/>
                    <a:pt x="202" y="122"/>
                  </a:cubicBezTo>
                  <a:cubicBezTo>
                    <a:pt x="202" y="122"/>
                    <a:pt x="200" y="122"/>
                    <a:pt x="200" y="121"/>
                  </a:cubicBezTo>
                  <a:cubicBezTo>
                    <a:pt x="200" y="121"/>
                    <a:pt x="200" y="119"/>
                    <a:pt x="200" y="119"/>
                  </a:cubicBezTo>
                  <a:cubicBezTo>
                    <a:pt x="202" y="119"/>
                    <a:pt x="202" y="119"/>
                    <a:pt x="202" y="119"/>
                  </a:cubicBezTo>
                  <a:cubicBezTo>
                    <a:pt x="198" y="117"/>
                    <a:pt x="198" y="117"/>
                    <a:pt x="198" y="117"/>
                  </a:cubicBezTo>
                  <a:cubicBezTo>
                    <a:pt x="187" y="108"/>
                    <a:pt x="187" y="108"/>
                    <a:pt x="187" y="108"/>
                  </a:cubicBezTo>
                  <a:cubicBezTo>
                    <a:pt x="187" y="108"/>
                    <a:pt x="187" y="103"/>
                    <a:pt x="187" y="103"/>
                  </a:cubicBezTo>
                  <a:cubicBezTo>
                    <a:pt x="187" y="103"/>
                    <a:pt x="187" y="101"/>
                    <a:pt x="187" y="101"/>
                  </a:cubicBezTo>
                  <a:cubicBezTo>
                    <a:pt x="187" y="100"/>
                    <a:pt x="189" y="97"/>
                    <a:pt x="189" y="97"/>
                  </a:cubicBezTo>
                  <a:cubicBezTo>
                    <a:pt x="189" y="97"/>
                    <a:pt x="190" y="95"/>
                    <a:pt x="190" y="95"/>
                  </a:cubicBezTo>
                  <a:cubicBezTo>
                    <a:pt x="190" y="95"/>
                    <a:pt x="191" y="93"/>
                    <a:pt x="191" y="93"/>
                  </a:cubicBezTo>
                  <a:cubicBezTo>
                    <a:pt x="191" y="93"/>
                    <a:pt x="192" y="89"/>
                    <a:pt x="192" y="89"/>
                  </a:cubicBezTo>
                  <a:cubicBezTo>
                    <a:pt x="192" y="89"/>
                    <a:pt x="192" y="86"/>
                    <a:pt x="192" y="85"/>
                  </a:cubicBezTo>
                  <a:cubicBezTo>
                    <a:pt x="192" y="85"/>
                    <a:pt x="194" y="83"/>
                    <a:pt x="194" y="83"/>
                  </a:cubicBezTo>
                  <a:cubicBezTo>
                    <a:pt x="194" y="82"/>
                    <a:pt x="195" y="79"/>
                    <a:pt x="195" y="79"/>
                  </a:cubicBezTo>
                  <a:cubicBezTo>
                    <a:pt x="190" y="75"/>
                    <a:pt x="190" y="75"/>
                    <a:pt x="190" y="75"/>
                  </a:cubicBezTo>
                  <a:cubicBezTo>
                    <a:pt x="184" y="74"/>
                    <a:pt x="184" y="74"/>
                    <a:pt x="184" y="74"/>
                  </a:cubicBezTo>
                  <a:cubicBezTo>
                    <a:pt x="184" y="74"/>
                    <a:pt x="181" y="77"/>
                    <a:pt x="181" y="78"/>
                  </a:cubicBezTo>
                  <a:cubicBezTo>
                    <a:pt x="181" y="78"/>
                    <a:pt x="179" y="78"/>
                    <a:pt x="179" y="78"/>
                  </a:cubicBezTo>
                  <a:cubicBezTo>
                    <a:pt x="179" y="78"/>
                    <a:pt x="177" y="78"/>
                    <a:pt x="177" y="78"/>
                  </a:cubicBezTo>
                  <a:cubicBezTo>
                    <a:pt x="177" y="78"/>
                    <a:pt x="176" y="73"/>
                    <a:pt x="176" y="73"/>
                  </a:cubicBezTo>
                  <a:cubicBezTo>
                    <a:pt x="176" y="73"/>
                    <a:pt x="175" y="72"/>
                    <a:pt x="175" y="71"/>
                  </a:cubicBezTo>
                  <a:cubicBezTo>
                    <a:pt x="175" y="71"/>
                    <a:pt x="175" y="70"/>
                    <a:pt x="175" y="70"/>
                  </a:cubicBezTo>
                  <a:cubicBezTo>
                    <a:pt x="176" y="68"/>
                    <a:pt x="176" y="68"/>
                    <a:pt x="176" y="68"/>
                  </a:cubicBezTo>
                  <a:cubicBezTo>
                    <a:pt x="174" y="61"/>
                    <a:pt x="174" y="61"/>
                    <a:pt x="174" y="61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4" y="53"/>
                    <a:pt x="164" y="53"/>
                    <a:pt x="164" y="53"/>
                  </a:cubicBezTo>
                  <a:cubicBezTo>
                    <a:pt x="164" y="53"/>
                    <a:pt x="161" y="48"/>
                    <a:pt x="161" y="48"/>
                  </a:cubicBezTo>
                  <a:cubicBezTo>
                    <a:pt x="161" y="48"/>
                    <a:pt x="159" y="48"/>
                    <a:pt x="159" y="48"/>
                  </a:cubicBezTo>
                  <a:cubicBezTo>
                    <a:pt x="159" y="48"/>
                    <a:pt x="159" y="46"/>
                    <a:pt x="159" y="46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2" y="39"/>
                    <a:pt x="152" y="39"/>
                    <a:pt x="152" y="39"/>
                  </a:cubicBezTo>
                  <a:cubicBezTo>
                    <a:pt x="152" y="37"/>
                    <a:pt x="152" y="37"/>
                    <a:pt x="152" y="37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50" y="35"/>
                    <a:pt x="150" y="33"/>
                    <a:pt x="150" y="33"/>
                  </a:cubicBezTo>
                  <a:cubicBezTo>
                    <a:pt x="150" y="33"/>
                    <a:pt x="150" y="31"/>
                    <a:pt x="150" y="31"/>
                  </a:cubicBezTo>
                  <a:cubicBezTo>
                    <a:pt x="149" y="28"/>
                    <a:pt x="149" y="28"/>
                    <a:pt x="149" y="28"/>
                  </a:cubicBezTo>
                  <a:cubicBezTo>
                    <a:pt x="149" y="28"/>
                    <a:pt x="148" y="26"/>
                    <a:pt x="148" y="26"/>
                  </a:cubicBezTo>
                  <a:cubicBezTo>
                    <a:pt x="148" y="26"/>
                    <a:pt x="148" y="25"/>
                    <a:pt x="148" y="25"/>
                  </a:cubicBezTo>
                  <a:cubicBezTo>
                    <a:pt x="148" y="25"/>
                    <a:pt x="147" y="20"/>
                    <a:pt x="147" y="20"/>
                  </a:cubicBezTo>
                  <a:cubicBezTo>
                    <a:pt x="147" y="20"/>
                    <a:pt x="147" y="16"/>
                    <a:pt x="147" y="16"/>
                  </a:cubicBezTo>
                  <a:cubicBezTo>
                    <a:pt x="147" y="16"/>
                    <a:pt x="148" y="14"/>
                    <a:pt x="148" y="14"/>
                  </a:cubicBezTo>
                  <a:cubicBezTo>
                    <a:pt x="148" y="14"/>
                    <a:pt x="150" y="11"/>
                    <a:pt x="150" y="11"/>
                  </a:cubicBezTo>
                  <a:cubicBezTo>
                    <a:pt x="150" y="11"/>
                    <a:pt x="150" y="10"/>
                    <a:pt x="150" y="10"/>
                  </a:cubicBezTo>
                  <a:cubicBezTo>
                    <a:pt x="150" y="10"/>
                    <a:pt x="148" y="9"/>
                    <a:pt x="148" y="9"/>
                  </a:cubicBezTo>
                  <a:cubicBezTo>
                    <a:pt x="147" y="9"/>
                    <a:pt x="147" y="9"/>
                    <a:pt x="146" y="8"/>
                  </a:cubicBezTo>
                  <a:cubicBezTo>
                    <a:pt x="146" y="8"/>
                    <a:pt x="146" y="7"/>
                    <a:pt x="146" y="7"/>
                  </a:cubicBezTo>
                  <a:cubicBezTo>
                    <a:pt x="146" y="7"/>
                    <a:pt x="145" y="6"/>
                    <a:pt x="145" y="6"/>
                  </a:cubicBezTo>
                  <a:cubicBezTo>
                    <a:pt x="144" y="6"/>
                    <a:pt x="144" y="4"/>
                    <a:pt x="144" y="4"/>
                  </a:cubicBezTo>
                  <a:cubicBezTo>
                    <a:pt x="144" y="4"/>
                    <a:pt x="143" y="3"/>
                    <a:pt x="143" y="3"/>
                  </a:cubicBezTo>
                  <a:cubicBezTo>
                    <a:pt x="143" y="3"/>
                    <a:pt x="141" y="2"/>
                    <a:pt x="141" y="2"/>
                  </a:cubicBezTo>
                  <a:cubicBezTo>
                    <a:pt x="140" y="2"/>
                    <a:pt x="139" y="0"/>
                    <a:pt x="139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0" y="4"/>
                    <a:pt x="2" y="4"/>
                    <a:pt x="2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4" y="4"/>
                    <a:pt x="2" y="5"/>
                    <a:pt x="2" y="5"/>
                  </a:cubicBezTo>
                  <a:cubicBezTo>
                    <a:pt x="2" y="6"/>
                    <a:pt x="3" y="8"/>
                    <a:pt x="4" y="9"/>
                  </a:cubicBezTo>
                  <a:cubicBezTo>
                    <a:pt x="4" y="9"/>
                    <a:pt x="5" y="11"/>
                    <a:pt x="5" y="12"/>
                  </a:cubicBezTo>
                  <a:cubicBezTo>
                    <a:pt x="5" y="12"/>
                    <a:pt x="4" y="14"/>
                    <a:pt x="4" y="14"/>
                  </a:cubicBezTo>
                  <a:cubicBezTo>
                    <a:pt x="4" y="14"/>
                    <a:pt x="6" y="14"/>
                    <a:pt x="7" y="15"/>
                  </a:cubicBezTo>
                  <a:cubicBezTo>
                    <a:pt x="8" y="15"/>
                    <a:pt x="10" y="16"/>
                    <a:pt x="10" y="17"/>
                  </a:cubicBezTo>
                  <a:cubicBezTo>
                    <a:pt x="10" y="17"/>
                    <a:pt x="10" y="19"/>
                    <a:pt x="10" y="19"/>
                  </a:cubicBezTo>
                  <a:cubicBezTo>
                    <a:pt x="10" y="20"/>
                    <a:pt x="11" y="21"/>
                    <a:pt x="12" y="21"/>
                  </a:cubicBezTo>
                  <a:cubicBezTo>
                    <a:pt x="12" y="21"/>
                    <a:pt x="13" y="22"/>
                    <a:pt x="13" y="23"/>
                  </a:cubicBezTo>
                  <a:cubicBezTo>
                    <a:pt x="13" y="23"/>
                    <a:pt x="12" y="24"/>
                    <a:pt x="12" y="25"/>
                  </a:cubicBezTo>
                  <a:cubicBezTo>
                    <a:pt x="12" y="25"/>
                    <a:pt x="13" y="26"/>
                    <a:pt x="13" y="26"/>
                  </a:cubicBezTo>
                  <a:cubicBezTo>
                    <a:pt x="13" y="26"/>
                    <a:pt x="15" y="27"/>
                    <a:pt x="15" y="27"/>
                  </a:cubicBezTo>
                  <a:cubicBezTo>
                    <a:pt x="16" y="28"/>
                    <a:pt x="16" y="28"/>
                    <a:pt x="17" y="28"/>
                  </a:cubicBezTo>
                  <a:cubicBezTo>
                    <a:pt x="18" y="29"/>
                    <a:pt x="18" y="29"/>
                    <a:pt x="19" y="30"/>
                  </a:cubicBezTo>
                  <a:cubicBezTo>
                    <a:pt x="19" y="31"/>
                    <a:pt x="20" y="31"/>
                    <a:pt x="21" y="32"/>
                  </a:cubicBezTo>
                  <a:cubicBezTo>
                    <a:pt x="21" y="32"/>
                    <a:pt x="22" y="33"/>
                    <a:pt x="23" y="34"/>
                  </a:cubicBezTo>
                  <a:cubicBezTo>
                    <a:pt x="24" y="34"/>
                    <a:pt x="25" y="34"/>
                    <a:pt x="25" y="34"/>
                  </a:cubicBezTo>
                  <a:cubicBezTo>
                    <a:pt x="26" y="34"/>
                    <a:pt x="26" y="33"/>
                    <a:pt x="26" y="33"/>
                  </a:cubicBezTo>
                  <a:cubicBezTo>
                    <a:pt x="26" y="32"/>
                    <a:pt x="27" y="32"/>
                    <a:pt x="27" y="32"/>
                  </a:cubicBezTo>
                  <a:cubicBezTo>
                    <a:pt x="28" y="32"/>
                    <a:pt x="28" y="32"/>
                    <a:pt x="29" y="33"/>
                  </a:cubicBezTo>
                  <a:cubicBezTo>
                    <a:pt x="29" y="33"/>
                    <a:pt x="29" y="34"/>
                    <a:pt x="29" y="35"/>
                  </a:cubicBezTo>
                  <a:cubicBezTo>
                    <a:pt x="30" y="35"/>
                    <a:pt x="30" y="35"/>
                    <a:pt x="31" y="35"/>
                  </a:cubicBezTo>
                  <a:cubicBezTo>
                    <a:pt x="31" y="36"/>
                    <a:pt x="31" y="36"/>
                    <a:pt x="31" y="37"/>
                  </a:cubicBezTo>
                  <a:cubicBezTo>
                    <a:pt x="31" y="37"/>
                    <a:pt x="31" y="38"/>
                    <a:pt x="30" y="38"/>
                  </a:cubicBezTo>
                  <a:cubicBezTo>
                    <a:pt x="30" y="38"/>
                    <a:pt x="30" y="37"/>
                    <a:pt x="29" y="38"/>
                  </a:cubicBezTo>
                  <a:cubicBezTo>
                    <a:pt x="28" y="39"/>
                    <a:pt x="30" y="39"/>
                    <a:pt x="30" y="40"/>
                  </a:cubicBezTo>
                  <a:cubicBezTo>
                    <a:pt x="30" y="40"/>
                    <a:pt x="29" y="40"/>
                    <a:pt x="28" y="40"/>
                  </a:cubicBezTo>
                  <a:cubicBezTo>
                    <a:pt x="28" y="40"/>
                    <a:pt x="28" y="41"/>
                    <a:pt x="28" y="42"/>
                  </a:cubicBezTo>
                  <a:cubicBezTo>
                    <a:pt x="27" y="42"/>
                    <a:pt x="27" y="42"/>
                    <a:pt x="26" y="42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4"/>
                    <a:pt x="25" y="44"/>
                    <a:pt x="25" y="45"/>
                  </a:cubicBezTo>
                  <a:cubicBezTo>
                    <a:pt x="25" y="45"/>
                    <a:pt x="25" y="46"/>
                    <a:pt x="25" y="46"/>
                  </a:cubicBezTo>
                  <a:cubicBezTo>
                    <a:pt x="25" y="46"/>
                    <a:pt x="24" y="46"/>
                    <a:pt x="24" y="46"/>
                  </a:cubicBezTo>
                  <a:cubicBezTo>
                    <a:pt x="22" y="47"/>
                    <a:pt x="24" y="50"/>
                    <a:pt x="25" y="51"/>
                  </a:cubicBezTo>
                  <a:cubicBezTo>
                    <a:pt x="25" y="51"/>
                    <a:pt x="26" y="52"/>
                    <a:pt x="26" y="53"/>
                  </a:cubicBezTo>
                  <a:cubicBezTo>
                    <a:pt x="27" y="53"/>
                    <a:pt x="27" y="54"/>
                    <a:pt x="28" y="55"/>
                  </a:cubicBezTo>
                  <a:cubicBezTo>
                    <a:pt x="28" y="55"/>
                    <a:pt x="28" y="55"/>
                    <a:pt x="29" y="55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6"/>
                    <a:pt x="30" y="56"/>
                    <a:pt x="30" y="57"/>
                  </a:cubicBezTo>
                  <a:cubicBezTo>
                    <a:pt x="29" y="59"/>
                    <a:pt x="31" y="60"/>
                    <a:pt x="32" y="61"/>
                  </a:cubicBezTo>
                  <a:cubicBezTo>
                    <a:pt x="33" y="62"/>
                    <a:pt x="33" y="63"/>
                    <a:pt x="34" y="64"/>
                  </a:cubicBezTo>
                  <a:cubicBezTo>
                    <a:pt x="36" y="64"/>
                    <a:pt x="37" y="65"/>
                    <a:pt x="38" y="65"/>
                  </a:cubicBezTo>
                  <a:cubicBezTo>
                    <a:pt x="39" y="65"/>
                    <a:pt x="40" y="65"/>
                    <a:pt x="40" y="65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194" y="182"/>
                    <a:pt x="194" y="182"/>
                    <a:pt x="194" y="182"/>
                  </a:cubicBezTo>
                  <a:cubicBezTo>
                    <a:pt x="194" y="184"/>
                    <a:pt x="194" y="184"/>
                    <a:pt x="194" y="184"/>
                  </a:cubicBezTo>
                  <a:cubicBezTo>
                    <a:pt x="197" y="186"/>
                    <a:pt x="197" y="186"/>
                    <a:pt x="197" y="186"/>
                  </a:cubicBezTo>
                  <a:cubicBezTo>
                    <a:pt x="197" y="191"/>
                    <a:pt x="197" y="191"/>
                    <a:pt x="197" y="191"/>
                  </a:cubicBezTo>
                  <a:cubicBezTo>
                    <a:pt x="197" y="191"/>
                    <a:pt x="193" y="194"/>
                    <a:pt x="193" y="194"/>
                  </a:cubicBezTo>
                  <a:cubicBezTo>
                    <a:pt x="193" y="194"/>
                    <a:pt x="190" y="197"/>
                    <a:pt x="190" y="197"/>
                  </a:cubicBezTo>
                  <a:cubicBezTo>
                    <a:pt x="190" y="198"/>
                    <a:pt x="187" y="202"/>
                    <a:pt x="187" y="202"/>
                  </a:cubicBezTo>
                  <a:cubicBezTo>
                    <a:pt x="187" y="203"/>
                    <a:pt x="187" y="203"/>
                    <a:pt x="187" y="203"/>
                  </a:cubicBezTo>
                  <a:cubicBezTo>
                    <a:pt x="209" y="203"/>
                    <a:pt x="209" y="203"/>
                    <a:pt x="209" y="203"/>
                  </a:cubicBezTo>
                  <a:cubicBezTo>
                    <a:pt x="209" y="203"/>
                    <a:pt x="209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10" y="202"/>
                    <a:pt x="210" y="201"/>
                    <a:pt x="210" y="201"/>
                  </a:cubicBezTo>
                  <a:cubicBezTo>
                    <a:pt x="210" y="200"/>
                    <a:pt x="210" y="200"/>
                    <a:pt x="210" y="200"/>
                  </a:cubicBezTo>
                  <a:cubicBezTo>
                    <a:pt x="210" y="200"/>
                    <a:pt x="211" y="200"/>
                    <a:pt x="211" y="200"/>
                  </a:cubicBezTo>
                  <a:cubicBezTo>
                    <a:pt x="211" y="200"/>
                    <a:pt x="211" y="199"/>
                    <a:pt x="211" y="199"/>
                  </a:cubicBezTo>
                  <a:cubicBezTo>
                    <a:pt x="212" y="198"/>
                    <a:pt x="212" y="198"/>
                    <a:pt x="213" y="198"/>
                  </a:cubicBezTo>
                  <a:cubicBezTo>
                    <a:pt x="213" y="197"/>
                    <a:pt x="213" y="196"/>
                    <a:pt x="213" y="196"/>
                  </a:cubicBezTo>
                  <a:cubicBezTo>
                    <a:pt x="213" y="195"/>
                    <a:pt x="212" y="195"/>
                    <a:pt x="212" y="194"/>
                  </a:cubicBezTo>
                  <a:cubicBezTo>
                    <a:pt x="212" y="194"/>
                    <a:pt x="211" y="194"/>
                    <a:pt x="211" y="193"/>
                  </a:cubicBezTo>
                  <a:cubicBezTo>
                    <a:pt x="210" y="193"/>
                    <a:pt x="210" y="192"/>
                    <a:pt x="210" y="192"/>
                  </a:cubicBezTo>
                  <a:cubicBezTo>
                    <a:pt x="210" y="192"/>
                    <a:pt x="211" y="192"/>
                    <a:pt x="211" y="192"/>
                  </a:cubicBezTo>
                  <a:cubicBezTo>
                    <a:pt x="212" y="192"/>
                    <a:pt x="213" y="192"/>
                    <a:pt x="214" y="192"/>
                  </a:cubicBezTo>
                  <a:cubicBezTo>
                    <a:pt x="214" y="192"/>
                    <a:pt x="215" y="192"/>
                    <a:pt x="215" y="192"/>
                  </a:cubicBezTo>
                  <a:cubicBezTo>
                    <a:pt x="215" y="192"/>
                    <a:pt x="214" y="191"/>
                    <a:pt x="214" y="191"/>
                  </a:cubicBezTo>
                  <a:cubicBezTo>
                    <a:pt x="213" y="190"/>
                    <a:pt x="213" y="190"/>
                    <a:pt x="213" y="189"/>
                  </a:cubicBezTo>
                  <a:cubicBezTo>
                    <a:pt x="213" y="188"/>
                    <a:pt x="213" y="188"/>
                    <a:pt x="213" y="188"/>
                  </a:cubicBezTo>
                  <a:cubicBezTo>
                    <a:pt x="213" y="188"/>
                    <a:pt x="213" y="188"/>
                    <a:pt x="214" y="188"/>
                  </a:cubicBezTo>
                  <a:cubicBezTo>
                    <a:pt x="215" y="188"/>
                    <a:pt x="215" y="188"/>
                    <a:pt x="216" y="188"/>
                  </a:cubicBezTo>
                  <a:cubicBezTo>
                    <a:pt x="216" y="186"/>
                    <a:pt x="216" y="184"/>
                    <a:pt x="215" y="182"/>
                  </a:cubicBezTo>
                  <a:cubicBezTo>
                    <a:pt x="215" y="182"/>
                    <a:pt x="214" y="181"/>
                    <a:pt x="215" y="180"/>
                  </a:cubicBezTo>
                  <a:cubicBezTo>
                    <a:pt x="215" y="180"/>
                    <a:pt x="215" y="180"/>
                    <a:pt x="215" y="179"/>
                  </a:cubicBezTo>
                  <a:cubicBezTo>
                    <a:pt x="215" y="179"/>
                    <a:pt x="215" y="179"/>
                    <a:pt x="215" y="178"/>
                  </a:cubicBezTo>
                  <a:cubicBezTo>
                    <a:pt x="216" y="178"/>
                    <a:pt x="217" y="178"/>
                    <a:pt x="217" y="179"/>
                  </a:cubicBezTo>
                  <a:cubicBezTo>
                    <a:pt x="217" y="179"/>
                    <a:pt x="217" y="180"/>
                    <a:pt x="217" y="181"/>
                  </a:cubicBezTo>
                  <a:cubicBezTo>
                    <a:pt x="217" y="181"/>
                    <a:pt x="216" y="182"/>
                    <a:pt x="216" y="182"/>
                  </a:cubicBezTo>
                  <a:cubicBezTo>
                    <a:pt x="216" y="182"/>
                    <a:pt x="217" y="182"/>
                    <a:pt x="217" y="182"/>
                  </a:cubicBezTo>
                  <a:cubicBezTo>
                    <a:pt x="217" y="183"/>
                    <a:pt x="217" y="183"/>
                    <a:pt x="217" y="183"/>
                  </a:cubicBezTo>
                  <a:cubicBezTo>
                    <a:pt x="218" y="184"/>
                    <a:pt x="218" y="183"/>
                    <a:pt x="218" y="183"/>
                  </a:cubicBezTo>
                  <a:cubicBezTo>
                    <a:pt x="219" y="183"/>
                    <a:pt x="219" y="182"/>
                    <a:pt x="219" y="182"/>
                  </a:cubicBezTo>
                  <a:cubicBezTo>
                    <a:pt x="220" y="178"/>
                    <a:pt x="220" y="178"/>
                    <a:pt x="220" y="178"/>
                  </a:cubicBezTo>
                  <a:cubicBezTo>
                    <a:pt x="220" y="178"/>
                    <a:pt x="222" y="176"/>
                    <a:pt x="222" y="176"/>
                  </a:cubicBezTo>
                  <a:cubicBezTo>
                    <a:pt x="222" y="176"/>
                    <a:pt x="224" y="177"/>
                    <a:pt x="224" y="177"/>
                  </a:cubicBezTo>
                  <a:cubicBezTo>
                    <a:pt x="224" y="177"/>
                    <a:pt x="225" y="178"/>
                    <a:pt x="225" y="178"/>
                  </a:cubicBezTo>
                  <a:cubicBezTo>
                    <a:pt x="225" y="178"/>
                    <a:pt x="226" y="179"/>
                    <a:pt x="226" y="179"/>
                  </a:cubicBezTo>
                  <a:cubicBezTo>
                    <a:pt x="226" y="179"/>
                    <a:pt x="228" y="175"/>
                    <a:pt x="228" y="175"/>
                  </a:cubicBezTo>
                  <a:cubicBezTo>
                    <a:pt x="228" y="175"/>
                    <a:pt x="227" y="171"/>
                    <a:pt x="227" y="171"/>
                  </a:cubicBezTo>
                  <a:cubicBezTo>
                    <a:pt x="227" y="171"/>
                    <a:pt x="230" y="170"/>
                    <a:pt x="230" y="170"/>
                  </a:cubicBezTo>
                  <a:cubicBezTo>
                    <a:pt x="230" y="170"/>
                    <a:pt x="227" y="168"/>
                    <a:pt x="227" y="168"/>
                  </a:cubicBezTo>
                  <a:cubicBezTo>
                    <a:pt x="227" y="168"/>
                    <a:pt x="229" y="165"/>
                    <a:pt x="229" y="165"/>
                  </a:cubicBezTo>
                  <a:cubicBezTo>
                    <a:pt x="229" y="165"/>
                    <a:pt x="231" y="163"/>
                    <a:pt x="231" y="163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7" y="161"/>
                    <a:pt x="227" y="161"/>
                    <a:pt x="227" y="161"/>
                  </a:cubicBezTo>
                  <a:cubicBezTo>
                    <a:pt x="227" y="161"/>
                    <a:pt x="226" y="160"/>
                    <a:pt x="226" y="16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17A7A509-75DA-4459-A4D8-8B5425B92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913" y="3858574"/>
              <a:ext cx="484096" cy="781493"/>
            </a:xfrm>
            <a:custGeom>
              <a:avLst/>
              <a:gdLst>
                <a:gd name="T0" fmla="*/ 47 w 122"/>
                <a:gd name="T1" fmla="*/ 1 h 197"/>
                <a:gd name="T2" fmla="*/ 41 w 122"/>
                <a:gd name="T3" fmla="*/ 6 h 197"/>
                <a:gd name="T4" fmla="*/ 39 w 122"/>
                <a:gd name="T5" fmla="*/ 10 h 197"/>
                <a:gd name="T6" fmla="*/ 40 w 122"/>
                <a:gd name="T7" fmla="*/ 13 h 197"/>
                <a:gd name="T8" fmla="*/ 37 w 122"/>
                <a:gd name="T9" fmla="*/ 13 h 197"/>
                <a:gd name="T10" fmla="*/ 36 w 122"/>
                <a:gd name="T11" fmla="*/ 20 h 197"/>
                <a:gd name="T12" fmla="*/ 34 w 122"/>
                <a:gd name="T13" fmla="*/ 28 h 197"/>
                <a:gd name="T14" fmla="*/ 29 w 122"/>
                <a:gd name="T15" fmla="*/ 29 h 197"/>
                <a:gd name="T16" fmla="*/ 24 w 122"/>
                <a:gd name="T17" fmla="*/ 32 h 197"/>
                <a:gd name="T18" fmla="*/ 24 w 122"/>
                <a:gd name="T19" fmla="*/ 35 h 197"/>
                <a:gd name="T20" fmla="*/ 23 w 122"/>
                <a:gd name="T21" fmla="*/ 41 h 197"/>
                <a:gd name="T22" fmla="*/ 19 w 122"/>
                <a:gd name="T23" fmla="*/ 41 h 197"/>
                <a:gd name="T24" fmla="*/ 21 w 122"/>
                <a:gd name="T25" fmla="*/ 44 h 197"/>
                <a:gd name="T26" fmla="*/ 20 w 122"/>
                <a:gd name="T27" fmla="*/ 49 h 197"/>
                <a:gd name="T28" fmla="*/ 20 w 122"/>
                <a:gd name="T29" fmla="*/ 51 h 197"/>
                <a:gd name="T30" fmla="*/ 20 w 122"/>
                <a:gd name="T31" fmla="*/ 54 h 197"/>
                <a:gd name="T32" fmla="*/ 16 w 122"/>
                <a:gd name="T33" fmla="*/ 53 h 197"/>
                <a:gd name="T34" fmla="*/ 14 w 122"/>
                <a:gd name="T35" fmla="*/ 59 h 197"/>
                <a:gd name="T36" fmla="*/ 14 w 122"/>
                <a:gd name="T37" fmla="*/ 64 h 197"/>
                <a:gd name="T38" fmla="*/ 16 w 122"/>
                <a:gd name="T39" fmla="*/ 67 h 197"/>
                <a:gd name="T40" fmla="*/ 19 w 122"/>
                <a:gd name="T41" fmla="*/ 65 h 197"/>
                <a:gd name="T42" fmla="*/ 18 w 122"/>
                <a:gd name="T43" fmla="*/ 71 h 197"/>
                <a:gd name="T44" fmla="*/ 19 w 122"/>
                <a:gd name="T45" fmla="*/ 76 h 197"/>
                <a:gd name="T46" fmla="*/ 16 w 122"/>
                <a:gd name="T47" fmla="*/ 80 h 197"/>
                <a:gd name="T48" fmla="*/ 16 w 122"/>
                <a:gd name="T49" fmla="*/ 87 h 197"/>
                <a:gd name="T50" fmla="*/ 19 w 122"/>
                <a:gd name="T51" fmla="*/ 86 h 197"/>
                <a:gd name="T52" fmla="*/ 16 w 122"/>
                <a:gd name="T53" fmla="*/ 93 h 197"/>
                <a:gd name="T54" fmla="*/ 17 w 122"/>
                <a:gd name="T55" fmla="*/ 100 h 197"/>
                <a:gd name="T56" fmla="*/ 20 w 122"/>
                <a:gd name="T57" fmla="*/ 102 h 197"/>
                <a:gd name="T58" fmla="*/ 18 w 122"/>
                <a:gd name="T59" fmla="*/ 102 h 197"/>
                <a:gd name="T60" fmla="*/ 23 w 122"/>
                <a:gd name="T61" fmla="*/ 106 h 197"/>
                <a:gd name="T62" fmla="*/ 23 w 122"/>
                <a:gd name="T63" fmla="*/ 112 h 197"/>
                <a:gd name="T64" fmla="*/ 19 w 122"/>
                <a:gd name="T65" fmla="*/ 115 h 197"/>
                <a:gd name="T66" fmla="*/ 20 w 122"/>
                <a:gd name="T67" fmla="*/ 118 h 197"/>
                <a:gd name="T68" fmla="*/ 21 w 122"/>
                <a:gd name="T69" fmla="*/ 119 h 197"/>
                <a:gd name="T70" fmla="*/ 16 w 122"/>
                <a:gd name="T71" fmla="*/ 121 h 197"/>
                <a:gd name="T72" fmla="*/ 14 w 122"/>
                <a:gd name="T73" fmla="*/ 128 h 197"/>
                <a:gd name="T74" fmla="*/ 10 w 122"/>
                <a:gd name="T75" fmla="*/ 131 h 197"/>
                <a:gd name="T76" fmla="*/ 10 w 122"/>
                <a:gd name="T77" fmla="*/ 134 h 197"/>
                <a:gd name="T78" fmla="*/ 5 w 122"/>
                <a:gd name="T79" fmla="*/ 139 h 197"/>
                <a:gd name="T80" fmla="*/ 5 w 122"/>
                <a:gd name="T81" fmla="*/ 142 h 197"/>
                <a:gd name="T82" fmla="*/ 5 w 122"/>
                <a:gd name="T83" fmla="*/ 149 h 197"/>
                <a:gd name="T84" fmla="*/ 4 w 122"/>
                <a:gd name="T85" fmla="*/ 153 h 197"/>
                <a:gd name="T86" fmla="*/ 1 w 122"/>
                <a:gd name="T87" fmla="*/ 157 h 197"/>
                <a:gd name="T88" fmla="*/ 0 w 122"/>
                <a:gd name="T89" fmla="*/ 164 h 197"/>
                <a:gd name="T90" fmla="*/ 67 w 122"/>
                <a:gd name="T91" fmla="*/ 186 h 197"/>
                <a:gd name="T92" fmla="*/ 75 w 122"/>
                <a:gd name="T93" fmla="*/ 197 h 197"/>
                <a:gd name="T94" fmla="*/ 79 w 122"/>
                <a:gd name="T95" fmla="*/ 190 h 197"/>
                <a:gd name="T96" fmla="*/ 86 w 122"/>
                <a:gd name="T97" fmla="*/ 191 h 197"/>
                <a:gd name="T98" fmla="*/ 98 w 122"/>
                <a:gd name="T99" fmla="*/ 190 h 197"/>
                <a:gd name="T100" fmla="*/ 104 w 122"/>
                <a:gd name="T101" fmla="*/ 190 h 197"/>
                <a:gd name="T102" fmla="*/ 106 w 122"/>
                <a:gd name="T103" fmla="*/ 186 h 197"/>
                <a:gd name="T104" fmla="*/ 110 w 122"/>
                <a:gd name="T105" fmla="*/ 19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2" h="197">
                  <a:moveTo>
                    <a:pt x="122" y="4"/>
                  </a:moveTo>
                  <a:cubicBezTo>
                    <a:pt x="120" y="3"/>
                    <a:pt x="120" y="3"/>
                    <a:pt x="120" y="3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7" y="0"/>
                    <a:pt x="47" y="1"/>
                  </a:cubicBezTo>
                  <a:cubicBezTo>
                    <a:pt x="48" y="2"/>
                    <a:pt x="48" y="2"/>
                    <a:pt x="47" y="3"/>
                  </a:cubicBezTo>
                  <a:cubicBezTo>
                    <a:pt x="47" y="4"/>
                    <a:pt x="47" y="4"/>
                    <a:pt x="47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5" y="6"/>
                    <a:pt x="44" y="6"/>
                    <a:pt x="43" y="6"/>
                  </a:cubicBezTo>
                  <a:cubicBezTo>
                    <a:pt x="42" y="6"/>
                    <a:pt x="42" y="6"/>
                    <a:pt x="41" y="6"/>
                  </a:cubicBezTo>
                  <a:cubicBezTo>
                    <a:pt x="41" y="5"/>
                    <a:pt x="41" y="5"/>
                    <a:pt x="41" y="4"/>
                  </a:cubicBezTo>
                  <a:cubicBezTo>
                    <a:pt x="40" y="4"/>
                    <a:pt x="40" y="5"/>
                    <a:pt x="40" y="5"/>
                  </a:cubicBezTo>
                  <a:cubicBezTo>
                    <a:pt x="40" y="5"/>
                    <a:pt x="40" y="6"/>
                    <a:pt x="40" y="6"/>
                  </a:cubicBezTo>
                  <a:cubicBezTo>
                    <a:pt x="40" y="7"/>
                    <a:pt x="41" y="8"/>
                    <a:pt x="41" y="10"/>
                  </a:cubicBezTo>
                  <a:cubicBezTo>
                    <a:pt x="40" y="11"/>
                    <a:pt x="39" y="11"/>
                    <a:pt x="39" y="10"/>
                  </a:cubicBezTo>
                  <a:cubicBezTo>
                    <a:pt x="38" y="10"/>
                    <a:pt x="38" y="9"/>
                    <a:pt x="38" y="9"/>
                  </a:cubicBezTo>
                  <a:cubicBezTo>
                    <a:pt x="38" y="9"/>
                    <a:pt x="38" y="8"/>
                    <a:pt x="38" y="7"/>
                  </a:cubicBezTo>
                  <a:cubicBezTo>
                    <a:pt x="37" y="8"/>
                    <a:pt x="37" y="8"/>
                    <a:pt x="37" y="9"/>
                  </a:cubicBezTo>
                  <a:cubicBezTo>
                    <a:pt x="37" y="9"/>
                    <a:pt x="37" y="10"/>
                    <a:pt x="37" y="11"/>
                  </a:cubicBezTo>
                  <a:cubicBezTo>
                    <a:pt x="38" y="12"/>
                    <a:pt x="39" y="12"/>
                    <a:pt x="40" y="13"/>
                  </a:cubicBezTo>
                  <a:cubicBezTo>
                    <a:pt x="40" y="13"/>
                    <a:pt x="40" y="14"/>
                    <a:pt x="40" y="14"/>
                  </a:cubicBezTo>
                  <a:cubicBezTo>
                    <a:pt x="40" y="14"/>
                    <a:pt x="40" y="14"/>
                    <a:pt x="39" y="15"/>
                  </a:cubicBezTo>
                  <a:cubicBezTo>
                    <a:pt x="39" y="15"/>
                    <a:pt x="39" y="15"/>
                    <a:pt x="38" y="15"/>
                  </a:cubicBezTo>
                  <a:cubicBezTo>
                    <a:pt x="38" y="15"/>
                    <a:pt x="37" y="15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5"/>
                    <a:pt x="36" y="15"/>
                    <a:pt x="37" y="16"/>
                  </a:cubicBezTo>
                  <a:cubicBezTo>
                    <a:pt x="37" y="17"/>
                    <a:pt x="37" y="17"/>
                    <a:pt x="37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7" y="19"/>
                    <a:pt x="37" y="20"/>
                    <a:pt x="36" y="20"/>
                  </a:cubicBezTo>
                  <a:cubicBezTo>
                    <a:pt x="36" y="21"/>
                    <a:pt x="36" y="22"/>
                    <a:pt x="36" y="23"/>
                  </a:cubicBezTo>
                  <a:cubicBezTo>
                    <a:pt x="37" y="24"/>
                    <a:pt x="36" y="24"/>
                    <a:pt x="35" y="25"/>
                  </a:cubicBezTo>
                  <a:cubicBezTo>
                    <a:pt x="35" y="25"/>
                    <a:pt x="34" y="26"/>
                    <a:pt x="34" y="26"/>
                  </a:cubicBezTo>
                  <a:cubicBezTo>
                    <a:pt x="34" y="26"/>
                    <a:pt x="34" y="27"/>
                    <a:pt x="34" y="27"/>
                  </a:cubicBezTo>
                  <a:cubicBezTo>
                    <a:pt x="34" y="27"/>
                    <a:pt x="34" y="28"/>
                    <a:pt x="34" y="28"/>
                  </a:cubicBezTo>
                  <a:cubicBezTo>
                    <a:pt x="33" y="29"/>
                    <a:pt x="33" y="28"/>
                    <a:pt x="33" y="28"/>
                  </a:cubicBezTo>
                  <a:cubicBezTo>
                    <a:pt x="32" y="27"/>
                    <a:pt x="33" y="26"/>
                    <a:pt x="32" y="26"/>
                  </a:cubicBezTo>
                  <a:cubicBezTo>
                    <a:pt x="32" y="26"/>
                    <a:pt x="30" y="26"/>
                    <a:pt x="30" y="27"/>
                  </a:cubicBezTo>
                  <a:cubicBezTo>
                    <a:pt x="30" y="28"/>
                    <a:pt x="31" y="28"/>
                    <a:pt x="30" y="29"/>
                  </a:cubicBezTo>
                  <a:cubicBezTo>
                    <a:pt x="30" y="29"/>
                    <a:pt x="29" y="29"/>
                    <a:pt x="29" y="29"/>
                  </a:cubicBezTo>
                  <a:cubicBezTo>
                    <a:pt x="29" y="29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3"/>
                    <a:pt x="27" y="32"/>
                    <a:pt x="26" y="32"/>
                  </a:cubicBezTo>
                  <a:cubicBezTo>
                    <a:pt x="25" y="32"/>
                    <a:pt x="25" y="31"/>
                    <a:pt x="24" y="31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3"/>
                    <a:pt x="26" y="34"/>
                    <a:pt x="26" y="34"/>
                  </a:cubicBezTo>
                  <a:cubicBezTo>
                    <a:pt x="27" y="34"/>
                    <a:pt x="28" y="34"/>
                    <a:pt x="28" y="34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7" y="35"/>
                    <a:pt x="26" y="35"/>
                    <a:pt x="26" y="35"/>
                  </a:cubicBezTo>
                  <a:cubicBezTo>
                    <a:pt x="25" y="35"/>
                    <a:pt x="25" y="35"/>
                    <a:pt x="24" y="35"/>
                  </a:cubicBezTo>
                  <a:cubicBezTo>
                    <a:pt x="24" y="35"/>
                    <a:pt x="23" y="36"/>
                    <a:pt x="24" y="36"/>
                  </a:cubicBezTo>
                  <a:cubicBezTo>
                    <a:pt x="24" y="37"/>
                    <a:pt x="25" y="37"/>
                    <a:pt x="26" y="38"/>
                  </a:cubicBezTo>
                  <a:cubicBezTo>
                    <a:pt x="26" y="38"/>
                    <a:pt x="26" y="40"/>
                    <a:pt x="26" y="40"/>
                  </a:cubicBezTo>
                  <a:cubicBezTo>
                    <a:pt x="25" y="41"/>
                    <a:pt x="24" y="40"/>
                    <a:pt x="23" y="41"/>
                  </a:cubicBezTo>
                  <a:cubicBezTo>
                    <a:pt x="23" y="41"/>
                    <a:pt x="22" y="41"/>
                    <a:pt x="23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3"/>
                    <a:pt x="23" y="43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1" y="42"/>
                    <a:pt x="20" y="41"/>
                    <a:pt x="19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20" y="44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44"/>
                    <a:pt x="21" y="44"/>
                    <a:pt x="21" y="45"/>
                  </a:cubicBezTo>
                  <a:cubicBezTo>
                    <a:pt x="21" y="45"/>
                    <a:pt x="21" y="45"/>
                    <a:pt x="21" y="46"/>
                  </a:cubicBezTo>
                  <a:cubicBezTo>
                    <a:pt x="21" y="46"/>
                    <a:pt x="20" y="46"/>
                    <a:pt x="20" y="47"/>
                  </a:cubicBezTo>
                  <a:cubicBezTo>
                    <a:pt x="20" y="47"/>
                    <a:pt x="20" y="47"/>
                    <a:pt x="20" y="48"/>
                  </a:cubicBezTo>
                  <a:cubicBezTo>
                    <a:pt x="20" y="48"/>
                    <a:pt x="20" y="48"/>
                    <a:pt x="20" y="49"/>
                  </a:cubicBezTo>
                  <a:cubicBezTo>
                    <a:pt x="20" y="49"/>
                    <a:pt x="21" y="49"/>
                    <a:pt x="21" y="49"/>
                  </a:cubicBezTo>
                  <a:cubicBezTo>
                    <a:pt x="21" y="50"/>
                    <a:pt x="21" y="50"/>
                    <a:pt x="22" y="50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0"/>
                    <a:pt x="18" y="51"/>
                    <a:pt x="17" y="51"/>
                  </a:cubicBezTo>
                  <a:cubicBezTo>
                    <a:pt x="17" y="51"/>
                    <a:pt x="17" y="52"/>
                    <a:pt x="17" y="52"/>
                  </a:cubicBezTo>
                  <a:cubicBezTo>
                    <a:pt x="17" y="52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9" y="53"/>
                    <a:pt x="19" y="53"/>
                    <a:pt x="20" y="54"/>
                  </a:cubicBezTo>
                  <a:cubicBezTo>
                    <a:pt x="20" y="54"/>
                    <a:pt x="21" y="54"/>
                    <a:pt x="21" y="55"/>
                  </a:cubicBezTo>
                  <a:cubicBezTo>
                    <a:pt x="21" y="55"/>
                    <a:pt x="20" y="56"/>
                    <a:pt x="19" y="55"/>
                  </a:cubicBezTo>
                  <a:cubicBezTo>
                    <a:pt x="19" y="55"/>
                    <a:pt x="19" y="55"/>
                    <a:pt x="18" y="55"/>
                  </a:cubicBezTo>
                  <a:cubicBezTo>
                    <a:pt x="18" y="55"/>
                    <a:pt x="18" y="55"/>
                    <a:pt x="17" y="54"/>
                  </a:cubicBezTo>
                  <a:cubicBezTo>
                    <a:pt x="17" y="54"/>
                    <a:pt x="17" y="53"/>
                    <a:pt x="16" y="53"/>
                  </a:cubicBezTo>
                  <a:cubicBezTo>
                    <a:pt x="15" y="53"/>
                    <a:pt x="14" y="55"/>
                    <a:pt x="15" y="55"/>
                  </a:cubicBezTo>
                  <a:cubicBezTo>
                    <a:pt x="15" y="56"/>
                    <a:pt x="16" y="56"/>
                    <a:pt x="16" y="57"/>
                  </a:cubicBezTo>
                  <a:cubicBezTo>
                    <a:pt x="16" y="57"/>
                    <a:pt x="17" y="57"/>
                    <a:pt x="17" y="58"/>
                  </a:cubicBezTo>
                  <a:cubicBezTo>
                    <a:pt x="17" y="58"/>
                    <a:pt x="16" y="58"/>
                    <a:pt x="16" y="59"/>
                  </a:cubicBezTo>
                  <a:cubicBezTo>
                    <a:pt x="15" y="59"/>
                    <a:pt x="15" y="59"/>
                    <a:pt x="14" y="59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4" y="61"/>
                    <a:pt x="15" y="61"/>
                    <a:pt x="15" y="61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16" y="63"/>
                    <a:pt x="15" y="63"/>
                    <a:pt x="15" y="63"/>
                  </a:cubicBezTo>
                  <a:cubicBezTo>
                    <a:pt x="14" y="63"/>
                    <a:pt x="13" y="64"/>
                    <a:pt x="14" y="64"/>
                  </a:cubicBezTo>
                  <a:cubicBezTo>
                    <a:pt x="14" y="65"/>
                    <a:pt x="15" y="64"/>
                    <a:pt x="16" y="64"/>
                  </a:cubicBezTo>
                  <a:cubicBezTo>
                    <a:pt x="16" y="64"/>
                    <a:pt x="17" y="64"/>
                    <a:pt x="17" y="64"/>
                  </a:cubicBezTo>
                  <a:cubicBezTo>
                    <a:pt x="17" y="65"/>
                    <a:pt x="16" y="65"/>
                    <a:pt x="16" y="65"/>
                  </a:cubicBezTo>
                  <a:cubicBezTo>
                    <a:pt x="16" y="66"/>
                    <a:pt x="15" y="66"/>
                    <a:pt x="15" y="66"/>
                  </a:cubicBezTo>
                  <a:cubicBezTo>
                    <a:pt x="15" y="67"/>
                    <a:pt x="16" y="67"/>
                    <a:pt x="16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6"/>
                    <a:pt x="18" y="66"/>
                    <a:pt x="18" y="6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4"/>
                    <a:pt x="19" y="64"/>
                    <a:pt x="19" y="64"/>
                  </a:cubicBezTo>
                  <a:cubicBezTo>
                    <a:pt x="19" y="64"/>
                    <a:pt x="19" y="65"/>
                    <a:pt x="19" y="65"/>
                  </a:cubicBezTo>
                  <a:cubicBezTo>
                    <a:pt x="19" y="66"/>
                    <a:pt x="18" y="67"/>
                    <a:pt x="17" y="68"/>
                  </a:cubicBezTo>
                  <a:cubicBezTo>
                    <a:pt x="17" y="68"/>
                    <a:pt x="17" y="68"/>
                    <a:pt x="17" y="69"/>
                  </a:cubicBezTo>
                  <a:cubicBezTo>
                    <a:pt x="17" y="70"/>
                    <a:pt x="17" y="71"/>
                    <a:pt x="17" y="72"/>
                  </a:cubicBezTo>
                  <a:cubicBezTo>
                    <a:pt x="17" y="72"/>
                    <a:pt x="18" y="72"/>
                    <a:pt x="18" y="72"/>
                  </a:cubicBezTo>
                  <a:cubicBezTo>
                    <a:pt x="18" y="72"/>
                    <a:pt x="18" y="71"/>
                    <a:pt x="18" y="71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3"/>
                    <a:pt x="19" y="73"/>
                    <a:pt x="19" y="73"/>
                  </a:cubicBezTo>
                  <a:cubicBezTo>
                    <a:pt x="18" y="74"/>
                    <a:pt x="18" y="74"/>
                    <a:pt x="18" y="75"/>
                  </a:cubicBezTo>
                  <a:cubicBezTo>
                    <a:pt x="19" y="75"/>
                    <a:pt x="19" y="76"/>
                    <a:pt x="19" y="76"/>
                  </a:cubicBezTo>
                  <a:cubicBezTo>
                    <a:pt x="19" y="76"/>
                    <a:pt x="19" y="77"/>
                    <a:pt x="19" y="77"/>
                  </a:cubicBezTo>
                  <a:cubicBezTo>
                    <a:pt x="18" y="77"/>
                    <a:pt x="17" y="77"/>
                    <a:pt x="17" y="77"/>
                  </a:cubicBezTo>
                  <a:cubicBezTo>
                    <a:pt x="16" y="77"/>
                    <a:pt x="15" y="78"/>
                    <a:pt x="15" y="78"/>
                  </a:cubicBezTo>
                  <a:cubicBezTo>
                    <a:pt x="15" y="78"/>
                    <a:pt x="15" y="79"/>
                    <a:pt x="15" y="79"/>
                  </a:cubicBezTo>
                  <a:cubicBezTo>
                    <a:pt x="16" y="79"/>
                    <a:pt x="16" y="79"/>
                    <a:pt x="16" y="80"/>
                  </a:cubicBezTo>
                  <a:cubicBezTo>
                    <a:pt x="16" y="80"/>
                    <a:pt x="17" y="80"/>
                    <a:pt x="17" y="80"/>
                  </a:cubicBezTo>
                  <a:cubicBezTo>
                    <a:pt x="18" y="81"/>
                    <a:pt x="17" y="82"/>
                    <a:pt x="16" y="82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4" y="85"/>
                    <a:pt x="14" y="85"/>
                  </a:cubicBezTo>
                  <a:cubicBezTo>
                    <a:pt x="14" y="86"/>
                    <a:pt x="15" y="87"/>
                    <a:pt x="16" y="87"/>
                  </a:cubicBezTo>
                  <a:cubicBezTo>
                    <a:pt x="17" y="86"/>
                    <a:pt x="17" y="86"/>
                    <a:pt x="17" y="85"/>
                  </a:cubicBezTo>
                  <a:cubicBezTo>
                    <a:pt x="17" y="85"/>
                    <a:pt x="17" y="85"/>
                    <a:pt x="17" y="84"/>
                  </a:cubicBezTo>
                  <a:cubicBezTo>
                    <a:pt x="17" y="84"/>
                    <a:pt x="17" y="83"/>
                    <a:pt x="17" y="83"/>
                  </a:cubicBezTo>
                  <a:cubicBezTo>
                    <a:pt x="18" y="83"/>
                    <a:pt x="18" y="84"/>
                    <a:pt x="18" y="84"/>
                  </a:cubicBezTo>
                  <a:cubicBezTo>
                    <a:pt x="19" y="85"/>
                    <a:pt x="19" y="85"/>
                    <a:pt x="19" y="86"/>
                  </a:cubicBezTo>
                  <a:cubicBezTo>
                    <a:pt x="20" y="88"/>
                    <a:pt x="18" y="89"/>
                    <a:pt x="17" y="89"/>
                  </a:cubicBezTo>
                  <a:cubicBezTo>
                    <a:pt x="17" y="90"/>
                    <a:pt x="16" y="90"/>
                    <a:pt x="16" y="90"/>
                  </a:cubicBezTo>
                  <a:cubicBezTo>
                    <a:pt x="16" y="90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3"/>
                    <a:pt x="16" y="93"/>
                  </a:cubicBezTo>
                  <a:cubicBezTo>
                    <a:pt x="17" y="94"/>
                    <a:pt x="18" y="94"/>
                    <a:pt x="19" y="94"/>
                  </a:cubicBezTo>
                  <a:cubicBezTo>
                    <a:pt x="20" y="94"/>
                    <a:pt x="20" y="94"/>
                    <a:pt x="19" y="95"/>
                  </a:cubicBezTo>
                  <a:cubicBezTo>
                    <a:pt x="19" y="95"/>
                    <a:pt x="18" y="96"/>
                    <a:pt x="18" y="96"/>
                  </a:cubicBezTo>
                  <a:cubicBezTo>
                    <a:pt x="18" y="97"/>
                    <a:pt x="17" y="98"/>
                    <a:pt x="17" y="99"/>
                  </a:cubicBezTo>
                  <a:cubicBezTo>
                    <a:pt x="17" y="99"/>
                    <a:pt x="17" y="100"/>
                    <a:pt x="17" y="100"/>
                  </a:cubicBezTo>
                  <a:cubicBezTo>
                    <a:pt x="18" y="100"/>
                    <a:pt x="19" y="99"/>
                    <a:pt x="19" y="99"/>
                  </a:cubicBezTo>
                  <a:cubicBezTo>
                    <a:pt x="20" y="98"/>
                    <a:pt x="20" y="98"/>
                    <a:pt x="21" y="98"/>
                  </a:cubicBezTo>
                  <a:cubicBezTo>
                    <a:pt x="22" y="98"/>
                    <a:pt x="22" y="98"/>
                    <a:pt x="21" y="99"/>
                  </a:cubicBezTo>
                  <a:cubicBezTo>
                    <a:pt x="21" y="100"/>
                    <a:pt x="20" y="100"/>
                    <a:pt x="19" y="101"/>
                  </a:cubicBezTo>
                  <a:cubicBezTo>
                    <a:pt x="19" y="101"/>
                    <a:pt x="20" y="101"/>
                    <a:pt x="20" y="102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1" y="102"/>
                    <a:pt x="22" y="103"/>
                    <a:pt x="22" y="104"/>
                  </a:cubicBezTo>
                  <a:cubicBezTo>
                    <a:pt x="22" y="104"/>
                    <a:pt x="20" y="103"/>
                    <a:pt x="20" y="103"/>
                  </a:cubicBezTo>
                  <a:cubicBezTo>
                    <a:pt x="19" y="103"/>
                    <a:pt x="19" y="102"/>
                    <a:pt x="19" y="102"/>
                  </a:cubicBezTo>
                  <a:cubicBezTo>
                    <a:pt x="18" y="101"/>
                    <a:pt x="18" y="102"/>
                    <a:pt x="18" y="102"/>
                  </a:cubicBezTo>
                  <a:cubicBezTo>
                    <a:pt x="18" y="103"/>
                    <a:pt x="18" y="103"/>
                    <a:pt x="18" y="104"/>
                  </a:cubicBezTo>
                  <a:cubicBezTo>
                    <a:pt x="18" y="104"/>
                    <a:pt x="18" y="105"/>
                    <a:pt x="18" y="105"/>
                  </a:cubicBezTo>
                  <a:cubicBezTo>
                    <a:pt x="19" y="105"/>
                    <a:pt x="19" y="106"/>
                    <a:pt x="20" y="106"/>
                  </a:cubicBezTo>
                  <a:cubicBezTo>
                    <a:pt x="20" y="106"/>
                    <a:pt x="21" y="106"/>
                    <a:pt x="21" y="106"/>
                  </a:cubicBezTo>
                  <a:cubicBezTo>
                    <a:pt x="22" y="106"/>
                    <a:pt x="22" y="106"/>
                    <a:pt x="23" y="106"/>
                  </a:cubicBezTo>
                  <a:cubicBezTo>
                    <a:pt x="23" y="107"/>
                    <a:pt x="22" y="108"/>
                    <a:pt x="22" y="109"/>
                  </a:cubicBezTo>
                  <a:cubicBezTo>
                    <a:pt x="22" y="110"/>
                    <a:pt x="24" y="110"/>
                    <a:pt x="24" y="110"/>
                  </a:cubicBezTo>
                  <a:cubicBezTo>
                    <a:pt x="25" y="110"/>
                    <a:pt x="25" y="109"/>
                    <a:pt x="26" y="109"/>
                  </a:cubicBezTo>
                  <a:cubicBezTo>
                    <a:pt x="26" y="110"/>
                    <a:pt x="26" y="111"/>
                    <a:pt x="25" y="111"/>
                  </a:cubicBezTo>
                  <a:cubicBezTo>
                    <a:pt x="25" y="111"/>
                    <a:pt x="23" y="112"/>
                    <a:pt x="23" y="112"/>
                  </a:cubicBezTo>
                  <a:cubicBezTo>
                    <a:pt x="22" y="112"/>
                    <a:pt x="22" y="113"/>
                    <a:pt x="22" y="114"/>
                  </a:cubicBezTo>
                  <a:cubicBezTo>
                    <a:pt x="22" y="114"/>
                    <a:pt x="23" y="116"/>
                    <a:pt x="22" y="116"/>
                  </a:cubicBezTo>
                  <a:cubicBezTo>
                    <a:pt x="21" y="116"/>
                    <a:pt x="21" y="115"/>
                    <a:pt x="21" y="115"/>
                  </a:cubicBezTo>
                  <a:cubicBezTo>
                    <a:pt x="21" y="115"/>
                    <a:pt x="21" y="115"/>
                    <a:pt x="21" y="114"/>
                  </a:cubicBezTo>
                  <a:cubicBezTo>
                    <a:pt x="20" y="114"/>
                    <a:pt x="19" y="114"/>
                    <a:pt x="19" y="115"/>
                  </a:cubicBezTo>
                  <a:cubicBezTo>
                    <a:pt x="18" y="115"/>
                    <a:pt x="18" y="115"/>
                    <a:pt x="17" y="115"/>
                  </a:cubicBezTo>
                  <a:cubicBezTo>
                    <a:pt x="16" y="115"/>
                    <a:pt x="16" y="116"/>
                    <a:pt x="16" y="116"/>
                  </a:cubicBezTo>
                  <a:cubicBezTo>
                    <a:pt x="16" y="117"/>
                    <a:pt x="16" y="118"/>
                    <a:pt x="17" y="118"/>
                  </a:cubicBezTo>
                  <a:cubicBezTo>
                    <a:pt x="17" y="119"/>
                    <a:pt x="18" y="119"/>
                    <a:pt x="19" y="119"/>
                  </a:cubicBezTo>
                  <a:cubicBezTo>
                    <a:pt x="19" y="118"/>
                    <a:pt x="20" y="118"/>
                    <a:pt x="20" y="118"/>
                  </a:cubicBezTo>
                  <a:cubicBezTo>
                    <a:pt x="20" y="118"/>
                    <a:pt x="20" y="117"/>
                    <a:pt x="20" y="117"/>
                  </a:cubicBezTo>
                  <a:cubicBezTo>
                    <a:pt x="20" y="117"/>
                    <a:pt x="20" y="117"/>
                    <a:pt x="20" y="116"/>
                  </a:cubicBezTo>
                  <a:cubicBezTo>
                    <a:pt x="20" y="116"/>
                    <a:pt x="21" y="117"/>
                    <a:pt x="21" y="117"/>
                  </a:cubicBezTo>
                  <a:cubicBezTo>
                    <a:pt x="21" y="118"/>
                    <a:pt x="21" y="118"/>
                    <a:pt x="21" y="119"/>
                  </a:cubicBezTo>
                  <a:cubicBezTo>
                    <a:pt x="21" y="119"/>
                    <a:pt x="21" y="119"/>
                    <a:pt x="21" y="119"/>
                  </a:cubicBezTo>
                  <a:cubicBezTo>
                    <a:pt x="20" y="119"/>
                    <a:pt x="20" y="120"/>
                    <a:pt x="20" y="120"/>
                  </a:cubicBezTo>
                  <a:cubicBezTo>
                    <a:pt x="20" y="120"/>
                    <a:pt x="19" y="121"/>
                    <a:pt x="19" y="121"/>
                  </a:cubicBezTo>
                  <a:cubicBezTo>
                    <a:pt x="19" y="122"/>
                    <a:pt x="18" y="121"/>
                    <a:pt x="18" y="121"/>
                  </a:cubicBezTo>
                  <a:cubicBezTo>
                    <a:pt x="17" y="121"/>
                    <a:pt x="17" y="121"/>
                    <a:pt x="17" y="120"/>
                  </a:cubicBezTo>
                  <a:cubicBezTo>
                    <a:pt x="17" y="120"/>
                    <a:pt x="16" y="120"/>
                    <a:pt x="16" y="121"/>
                  </a:cubicBezTo>
                  <a:cubicBezTo>
                    <a:pt x="16" y="121"/>
                    <a:pt x="17" y="121"/>
                    <a:pt x="18" y="122"/>
                  </a:cubicBezTo>
                  <a:cubicBezTo>
                    <a:pt x="18" y="122"/>
                    <a:pt x="18" y="122"/>
                    <a:pt x="18" y="123"/>
                  </a:cubicBezTo>
                  <a:cubicBezTo>
                    <a:pt x="19" y="124"/>
                    <a:pt x="18" y="124"/>
                    <a:pt x="17" y="124"/>
                  </a:cubicBezTo>
                  <a:cubicBezTo>
                    <a:pt x="16" y="125"/>
                    <a:pt x="15" y="126"/>
                    <a:pt x="15" y="127"/>
                  </a:cubicBezTo>
                  <a:cubicBezTo>
                    <a:pt x="15" y="127"/>
                    <a:pt x="15" y="127"/>
                    <a:pt x="14" y="128"/>
                  </a:cubicBezTo>
                  <a:cubicBezTo>
                    <a:pt x="14" y="128"/>
                    <a:pt x="13" y="128"/>
                    <a:pt x="13" y="129"/>
                  </a:cubicBezTo>
                  <a:cubicBezTo>
                    <a:pt x="13" y="129"/>
                    <a:pt x="13" y="130"/>
                    <a:pt x="13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1" y="131"/>
                    <a:pt x="12" y="130"/>
                    <a:pt x="11" y="130"/>
                  </a:cubicBezTo>
                  <a:cubicBezTo>
                    <a:pt x="11" y="129"/>
                    <a:pt x="10" y="130"/>
                    <a:pt x="10" y="131"/>
                  </a:cubicBezTo>
                  <a:cubicBezTo>
                    <a:pt x="10" y="131"/>
                    <a:pt x="9" y="132"/>
                    <a:pt x="10" y="133"/>
                  </a:cubicBezTo>
                  <a:cubicBezTo>
                    <a:pt x="10" y="133"/>
                    <a:pt x="11" y="133"/>
                    <a:pt x="11" y="133"/>
                  </a:cubicBezTo>
                  <a:cubicBezTo>
                    <a:pt x="11" y="133"/>
                    <a:pt x="12" y="133"/>
                    <a:pt x="12" y="133"/>
                  </a:cubicBezTo>
                  <a:cubicBezTo>
                    <a:pt x="12" y="134"/>
                    <a:pt x="11" y="134"/>
                    <a:pt x="11" y="134"/>
                  </a:cubicBezTo>
                  <a:cubicBezTo>
                    <a:pt x="11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9" y="134"/>
                  </a:cubicBezTo>
                  <a:cubicBezTo>
                    <a:pt x="9" y="135"/>
                    <a:pt x="9" y="135"/>
                    <a:pt x="9" y="135"/>
                  </a:cubicBezTo>
                  <a:cubicBezTo>
                    <a:pt x="8" y="137"/>
                    <a:pt x="8" y="139"/>
                    <a:pt x="8" y="140"/>
                  </a:cubicBezTo>
                  <a:cubicBezTo>
                    <a:pt x="7" y="140"/>
                    <a:pt x="7" y="139"/>
                    <a:pt x="7" y="139"/>
                  </a:cubicBezTo>
                  <a:cubicBezTo>
                    <a:pt x="6" y="139"/>
                    <a:pt x="5" y="139"/>
                    <a:pt x="5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5" y="140"/>
                    <a:pt x="5" y="140"/>
                    <a:pt x="6" y="140"/>
                  </a:cubicBezTo>
                  <a:cubicBezTo>
                    <a:pt x="6" y="140"/>
                    <a:pt x="7" y="140"/>
                    <a:pt x="7" y="141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6" y="142"/>
                    <a:pt x="6" y="142"/>
                    <a:pt x="5" y="142"/>
                  </a:cubicBezTo>
                  <a:cubicBezTo>
                    <a:pt x="5" y="143"/>
                    <a:pt x="3" y="143"/>
                    <a:pt x="4" y="144"/>
                  </a:cubicBezTo>
                  <a:cubicBezTo>
                    <a:pt x="4" y="144"/>
                    <a:pt x="4" y="144"/>
                    <a:pt x="4" y="145"/>
                  </a:cubicBezTo>
                  <a:cubicBezTo>
                    <a:pt x="4" y="145"/>
                    <a:pt x="4" y="145"/>
                    <a:pt x="4" y="146"/>
                  </a:cubicBezTo>
                  <a:cubicBezTo>
                    <a:pt x="5" y="146"/>
                    <a:pt x="5" y="147"/>
                    <a:pt x="5" y="148"/>
                  </a:cubicBezTo>
                  <a:cubicBezTo>
                    <a:pt x="5" y="148"/>
                    <a:pt x="5" y="149"/>
                    <a:pt x="5" y="149"/>
                  </a:cubicBezTo>
                  <a:cubicBezTo>
                    <a:pt x="4" y="150"/>
                    <a:pt x="4" y="149"/>
                    <a:pt x="3" y="148"/>
                  </a:cubicBezTo>
                  <a:cubicBezTo>
                    <a:pt x="3" y="148"/>
                    <a:pt x="4" y="147"/>
                    <a:pt x="3" y="147"/>
                  </a:cubicBezTo>
                  <a:cubicBezTo>
                    <a:pt x="3" y="147"/>
                    <a:pt x="2" y="147"/>
                    <a:pt x="2" y="147"/>
                  </a:cubicBezTo>
                  <a:cubicBezTo>
                    <a:pt x="2" y="148"/>
                    <a:pt x="2" y="149"/>
                    <a:pt x="3" y="150"/>
                  </a:cubicBezTo>
                  <a:cubicBezTo>
                    <a:pt x="3" y="151"/>
                    <a:pt x="4" y="153"/>
                    <a:pt x="4" y="153"/>
                  </a:cubicBezTo>
                  <a:cubicBezTo>
                    <a:pt x="4" y="153"/>
                    <a:pt x="3" y="153"/>
                    <a:pt x="2" y="153"/>
                  </a:cubicBezTo>
                  <a:cubicBezTo>
                    <a:pt x="1" y="154"/>
                    <a:pt x="0" y="154"/>
                    <a:pt x="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5"/>
                    <a:pt x="0" y="155"/>
                    <a:pt x="1" y="156"/>
                  </a:cubicBezTo>
                  <a:cubicBezTo>
                    <a:pt x="1" y="156"/>
                    <a:pt x="1" y="157"/>
                    <a:pt x="1" y="157"/>
                  </a:cubicBezTo>
                  <a:cubicBezTo>
                    <a:pt x="1" y="157"/>
                    <a:pt x="0" y="158"/>
                    <a:pt x="0" y="159"/>
                  </a:cubicBezTo>
                  <a:cubicBezTo>
                    <a:pt x="0" y="159"/>
                    <a:pt x="0" y="160"/>
                    <a:pt x="0" y="160"/>
                  </a:cubicBezTo>
                  <a:cubicBezTo>
                    <a:pt x="0" y="160"/>
                    <a:pt x="2" y="161"/>
                    <a:pt x="2" y="162"/>
                  </a:cubicBezTo>
                  <a:cubicBezTo>
                    <a:pt x="2" y="162"/>
                    <a:pt x="1" y="163"/>
                    <a:pt x="1" y="163"/>
                  </a:cubicBezTo>
                  <a:cubicBezTo>
                    <a:pt x="1" y="163"/>
                    <a:pt x="0" y="164"/>
                    <a:pt x="0" y="164"/>
                  </a:cubicBezTo>
                  <a:cubicBezTo>
                    <a:pt x="65" y="164"/>
                    <a:pt x="65" y="164"/>
                    <a:pt x="65" y="164"/>
                  </a:cubicBezTo>
                  <a:cubicBezTo>
                    <a:pt x="65" y="164"/>
                    <a:pt x="65" y="167"/>
                    <a:pt x="65" y="167"/>
                  </a:cubicBezTo>
                  <a:cubicBezTo>
                    <a:pt x="65" y="167"/>
                    <a:pt x="62" y="177"/>
                    <a:pt x="62" y="177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7" y="186"/>
                    <a:pt x="67" y="186"/>
                    <a:pt x="67" y="186"/>
                  </a:cubicBezTo>
                  <a:cubicBezTo>
                    <a:pt x="67" y="186"/>
                    <a:pt x="69" y="195"/>
                    <a:pt x="69" y="195"/>
                  </a:cubicBezTo>
                  <a:cubicBezTo>
                    <a:pt x="70" y="195"/>
                    <a:pt x="72" y="197"/>
                    <a:pt x="72" y="197"/>
                  </a:cubicBezTo>
                  <a:cubicBezTo>
                    <a:pt x="74" y="197"/>
                    <a:pt x="74" y="197"/>
                    <a:pt x="74" y="197"/>
                  </a:cubicBezTo>
                  <a:cubicBezTo>
                    <a:pt x="74" y="197"/>
                    <a:pt x="74" y="197"/>
                    <a:pt x="74" y="197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76" y="197"/>
                    <a:pt x="76" y="196"/>
                    <a:pt x="76" y="196"/>
                  </a:cubicBezTo>
                  <a:cubicBezTo>
                    <a:pt x="77" y="196"/>
                    <a:pt x="77" y="195"/>
                    <a:pt x="77" y="195"/>
                  </a:cubicBezTo>
                  <a:cubicBezTo>
                    <a:pt x="78" y="195"/>
                    <a:pt x="78" y="194"/>
                    <a:pt x="78" y="194"/>
                  </a:cubicBezTo>
                  <a:cubicBezTo>
                    <a:pt x="79" y="193"/>
                    <a:pt x="79" y="192"/>
                    <a:pt x="79" y="190"/>
                  </a:cubicBezTo>
                  <a:cubicBezTo>
                    <a:pt x="79" y="190"/>
                    <a:pt x="79" y="190"/>
                    <a:pt x="79" y="190"/>
                  </a:cubicBezTo>
                  <a:cubicBezTo>
                    <a:pt x="80" y="190"/>
                    <a:pt x="81" y="190"/>
                    <a:pt x="81" y="191"/>
                  </a:cubicBezTo>
                  <a:cubicBezTo>
                    <a:pt x="82" y="191"/>
                    <a:pt x="82" y="191"/>
                    <a:pt x="81" y="192"/>
                  </a:cubicBezTo>
                  <a:cubicBezTo>
                    <a:pt x="81" y="192"/>
                    <a:pt x="81" y="192"/>
                    <a:pt x="81" y="193"/>
                  </a:cubicBezTo>
                  <a:cubicBezTo>
                    <a:pt x="82" y="192"/>
                    <a:pt x="82" y="192"/>
                    <a:pt x="83" y="192"/>
                  </a:cubicBezTo>
                  <a:cubicBezTo>
                    <a:pt x="84" y="192"/>
                    <a:pt x="85" y="191"/>
                    <a:pt x="86" y="191"/>
                  </a:cubicBezTo>
                  <a:cubicBezTo>
                    <a:pt x="87" y="191"/>
                    <a:pt x="88" y="190"/>
                    <a:pt x="89" y="190"/>
                  </a:cubicBezTo>
                  <a:cubicBezTo>
                    <a:pt x="89" y="190"/>
                    <a:pt x="90" y="189"/>
                    <a:pt x="91" y="189"/>
                  </a:cubicBezTo>
                  <a:cubicBezTo>
                    <a:pt x="92" y="189"/>
                    <a:pt x="94" y="189"/>
                    <a:pt x="95" y="189"/>
                  </a:cubicBezTo>
                  <a:cubicBezTo>
                    <a:pt x="96" y="189"/>
                    <a:pt x="97" y="189"/>
                    <a:pt x="97" y="189"/>
                  </a:cubicBezTo>
                  <a:cubicBezTo>
                    <a:pt x="98" y="189"/>
                    <a:pt x="98" y="190"/>
                    <a:pt x="98" y="190"/>
                  </a:cubicBezTo>
                  <a:cubicBezTo>
                    <a:pt x="99" y="190"/>
                    <a:pt x="99" y="190"/>
                    <a:pt x="99" y="190"/>
                  </a:cubicBezTo>
                  <a:cubicBezTo>
                    <a:pt x="99" y="190"/>
                    <a:pt x="100" y="190"/>
                    <a:pt x="100" y="190"/>
                  </a:cubicBezTo>
                  <a:cubicBezTo>
                    <a:pt x="100" y="190"/>
                    <a:pt x="100" y="190"/>
                    <a:pt x="100" y="189"/>
                  </a:cubicBezTo>
                  <a:cubicBezTo>
                    <a:pt x="101" y="189"/>
                    <a:pt x="102" y="189"/>
                    <a:pt x="103" y="189"/>
                  </a:cubicBezTo>
                  <a:cubicBezTo>
                    <a:pt x="103" y="190"/>
                    <a:pt x="104" y="190"/>
                    <a:pt x="104" y="190"/>
                  </a:cubicBezTo>
                  <a:cubicBezTo>
                    <a:pt x="105" y="190"/>
                    <a:pt x="105" y="190"/>
                    <a:pt x="105" y="189"/>
                  </a:cubicBezTo>
                  <a:cubicBezTo>
                    <a:pt x="106" y="189"/>
                    <a:pt x="105" y="189"/>
                    <a:pt x="105" y="188"/>
                  </a:cubicBezTo>
                  <a:cubicBezTo>
                    <a:pt x="104" y="188"/>
                    <a:pt x="104" y="188"/>
                    <a:pt x="104" y="187"/>
                  </a:cubicBezTo>
                  <a:cubicBezTo>
                    <a:pt x="104" y="187"/>
                    <a:pt x="104" y="186"/>
                    <a:pt x="105" y="186"/>
                  </a:cubicBezTo>
                  <a:cubicBezTo>
                    <a:pt x="105" y="185"/>
                    <a:pt x="106" y="186"/>
                    <a:pt x="106" y="186"/>
                  </a:cubicBezTo>
                  <a:cubicBezTo>
                    <a:pt x="106" y="186"/>
                    <a:pt x="106" y="187"/>
                    <a:pt x="106" y="188"/>
                  </a:cubicBezTo>
                  <a:cubicBezTo>
                    <a:pt x="106" y="188"/>
                    <a:pt x="106" y="189"/>
                    <a:pt x="107" y="189"/>
                  </a:cubicBezTo>
                  <a:cubicBezTo>
                    <a:pt x="107" y="190"/>
                    <a:pt x="107" y="190"/>
                    <a:pt x="107" y="190"/>
                  </a:cubicBezTo>
                  <a:cubicBezTo>
                    <a:pt x="107" y="191"/>
                    <a:pt x="108" y="191"/>
                    <a:pt x="108" y="191"/>
                  </a:cubicBezTo>
                  <a:cubicBezTo>
                    <a:pt x="109" y="191"/>
                    <a:pt x="109" y="191"/>
                    <a:pt x="110" y="191"/>
                  </a:cubicBezTo>
                  <a:cubicBezTo>
                    <a:pt x="110" y="191"/>
                    <a:pt x="111" y="190"/>
                    <a:pt x="111" y="190"/>
                  </a:cubicBezTo>
                  <a:cubicBezTo>
                    <a:pt x="111" y="190"/>
                    <a:pt x="112" y="190"/>
                    <a:pt x="112" y="189"/>
                  </a:cubicBezTo>
                  <a:cubicBezTo>
                    <a:pt x="109" y="126"/>
                    <a:pt x="109" y="126"/>
                    <a:pt x="109" y="126"/>
                  </a:cubicBezTo>
                  <a:lnTo>
                    <a:pt x="122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6B9F62BD-C416-4D67-B90F-86C23CB9B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0595" y="1178697"/>
              <a:ext cx="1044193" cy="1174717"/>
            </a:xfrm>
            <a:custGeom>
              <a:avLst/>
              <a:gdLst>
                <a:gd name="T0" fmla="*/ 15 w 264"/>
                <a:gd name="T1" fmla="*/ 190 h 296"/>
                <a:gd name="T2" fmla="*/ 15 w 264"/>
                <a:gd name="T3" fmla="*/ 197 h 296"/>
                <a:gd name="T4" fmla="*/ 25 w 264"/>
                <a:gd name="T5" fmla="*/ 206 h 296"/>
                <a:gd name="T6" fmla="*/ 207 w 264"/>
                <a:gd name="T7" fmla="*/ 295 h 296"/>
                <a:gd name="T8" fmla="*/ 206 w 264"/>
                <a:gd name="T9" fmla="*/ 284 h 296"/>
                <a:gd name="T10" fmla="*/ 200 w 264"/>
                <a:gd name="T11" fmla="*/ 272 h 296"/>
                <a:gd name="T12" fmla="*/ 188 w 264"/>
                <a:gd name="T13" fmla="*/ 264 h 296"/>
                <a:gd name="T14" fmla="*/ 181 w 264"/>
                <a:gd name="T15" fmla="*/ 253 h 296"/>
                <a:gd name="T16" fmla="*/ 169 w 264"/>
                <a:gd name="T17" fmla="*/ 246 h 296"/>
                <a:gd name="T18" fmla="*/ 160 w 264"/>
                <a:gd name="T19" fmla="*/ 243 h 296"/>
                <a:gd name="T20" fmla="*/ 153 w 264"/>
                <a:gd name="T21" fmla="*/ 231 h 296"/>
                <a:gd name="T22" fmla="*/ 153 w 264"/>
                <a:gd name="T23" fmla="*/ 220 h 296"/>
                <a:gd name="T24" fmla="*/ 154 w 264"/>
                <a:gd name="T25" fmla="*/ 213 h 296"/>
                <a:gd name="T26" fmla="*/ 158 w 264"/>
                <a:gd name="T27" fmla="*/ 203 h 296"/>
                <a:gd name="T28" fmla="*/ 150 w 264"/>
                <a:gd name="T29" fmla="*/ 195 h 296"/>
                <a:gd name="T30" fmla="*/ 153 w 264"/>
                <a:gd name="T31" fmla="*/ 186 h 296"/>
                <a:gd name="T32" fmla="*/ 160 w 264"/>
                <a:gd name="T33" fmla="*/ 177 h 296"/>
                <a:gd name="T34" fmla="*/ 166 w 264"/>
                <a:gd name="T35" fmla="*/ 173 h 296"/>
                <a:gd name="T36" fmla="*/ 170 w 264"/>
                <a:gd name="T37" fmla="*/ 169 h 296"/>
                <a:gd name="T38" fmla="*/ 174 w 264"/>
                <a:gd name="T39" fmla="*/ 139 h 296"/>
                <a:gd name="T40" fmla="*/ 181 w 264"/>
                <a:gd name="T41" fmla="*/ 132 h 296"/>
                <a:gd name="T42" fmla="*/ 196 w 264"/>
                <a:gd name="T43" fmla="*/ 120 h 296"/>
                <a:gd name="T44" fmla="*/ 235 w 264"/>
                <a:gd name="T45" fmla="*/ 86 h 296"/>
                <a:gd name="T46" fmla="*/ 264 w 264"/>
                <a:gd name="T47" fmla="*/ 72 h 296"/>
                <a:gd name="T48" fmla="*/ 258 w 264"/>
                <a:gd name="T49" fmla="*/ 72 h 296"/>
                <a:gd name="T50" fmla="*/ 249 w 264"/>
                <a:gd name="T51" fmla="*/ 71 h 296"/>
                <a:gd name="T52" fmla="*/ 247 w 264"/>
                <a:gd name="T53" fmla="*/ 68 h 296"/>
                <a:gd name="T54" fmla="*/ 230 w 264"/>
                <a:gd name="T55" fmla="*/ 67 h 296"/>
                <a:gd name="T56" fmla="*/ 223 w 264"/>
                <a:gd name="T57" fmla="*/ 68 h 296"/>
                <a:gd name="T58" fmla="*/ 222 w 264"/>
                <a:gd name="T59" fmla="*/ 65 h 296"/>
                <a:gd name="T60" fmla="*/ 220 w 264"/>
                <a:gd name="T61" fmla="*/ 64 h 296"/>
                <a:gd name="T62" fmla="*/ 209 w 264"/>
                <a:gd name="T63" fmla="*/ 65 h 296"/>
                <a:gd name="T64" fmla="*/ 195 w 264"/>
                <a:gd name="T65" fmla="*/ 70 h 296"/>
                <a:gd name="T66" fmla="*/ 192 w 264"/>
                <a:gd name="T67" fmla="*/ 67 h 296"/>
                <a:gd name="T68" fmla="*/ 190 w 264"/>
                <a:gd name="T69" fmla="*/ 62 h 296"/>
                <a:gd name="T70" fmla="*/ 181 w 264"/>
                <a:gd name="T71" fmla="*/ 61 h 296"/>
                <a:gd name="T72" fmla="*/ 180 w 264"/>
                <a:gd name="T73" fmla="*/ 56 h 296"/>
                <a:gd name="T74" fmla="*/ 169 w 264"/>
                <a:gd name="T75" fmla="*/ 56 h 296"/>
                <a:gd name="T76" fmla="*/ 167 w 264"/>
                <a:gd name="T77" fmla="*/ 61 h 296"/>
                <a:gd name="T78" fmla="*/ 164 w 264"/>
                <a:gd name="T79" fmla="*/ 51 h 296"/>
                <a:gd name="T80" fmla="*/ 155 w 264"/>
                <a:gd name="T81" fmla="*/ 48 h 296"/>
                <a:gd name="T82" fmla="*/ 158 w 264"/>
                <a:gd name="T83" fmla="*/ 45 h 296"/>
                <a:gd name="T84" fmla="*/ 147 w 264"/>
                <a:gd name="T85" fmla="*/ 40 h 296"/>
                <a:gd name="T86" fmla="*/ 137 w 264"/>
                <a:gd name="T87" fmla="*/ 40 h 296"/>
                <a:gd name="T88" fmla="*/ 118 w 264"/>
                <a:gd name="T89" fmla="*/ 46 h 296"/>
                <a:gd name="T90" fmla="*/ 102 w 264"/>
                <a:gd name="T91" fmla="*/ 37 h 296"/>
                <a:gd name="T92" fmla="*/ 96 w 264"/>
                <a:gd name="T93" fmla="*/ 37 h 296"/>
                <a:gd name="T94" fmla="*/ 87 w 264"/>
                <a:gd name="T95" fmla="*/ 24 h 296"/>
                <a:gd name="T96" fmla="*/ 77 w 264"/>
                <a:gd name="T97" fmla="*/ 1 h 296"/>
                <a:gd name="T98" fmla="*/ 71 w 264"/>
                <a:gd name="T99" fmla="*/ 20 h 296"/>
                <a:gd name="T100" fmla="*/ 1 w 264"/>
                <a:gd name="T101" fmla="*/ 28 h 296"/>
                <a:gd name="T102" fmla="*/ 3 w 264"/>
                <a:gd name="T103" fmla="*/ 41 h 296"/>
                <a:gd name="T104" fmla="*/ 2 w 264"/>
                <a:gd name="T105" fmla="*/ 47 h 296"/>
                <a:gd name="T106" fmla="*/ 2 w 264"/>
                <a:gd name="T107" fmla="*/ 53 h 296"/>
                <a:gd name="T108" fmla="*/ 3 w 264"/>
                <a:gd name="T109" fmla="*/ 67 h 296"/>
                <a:gd name="T110" fmla="*/ 11 w 264"/>
                <a:gd name="T111" fmla="*/ 89 h 296"/>
                <a:gd name="T112" fmla="*/ 13 w 264"/>
                <a:gd name="T113" fmla="*/ 110 h 296"/>
                <a:gd name="T114" fmla="*/ 16 w 264"/>
                <a:gd name="T115" fmla="*/ 129 h 296"/>
                <a:gd name="T116" fmla="*/ 15 w 264"/>
                <a:gd name="T117" fmla="*/ 143 h 296"/>
                <a:gd name="T118" fmla="*/ 20 w 264"/>
                <a:gd name="T119" fmla="*/ 154 h 296"/>
                <a:gd name="T120" fmla="*/ 22 w 264"/>
                <a:gd name="T121" fmla="*/ 18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4" h="296">
                  <a:moveTo>
                    <a:pt x="22" y="182"/>
                  </a:moveTo>
                  <a:cubicBezTo>
                    <a:pt x="22" y="182"/>
                    <a:pt x="19" y="187"/>
                    <a:pt x="19" y="187"/>
                  </a:cubicBezTo>
                  <a:cubicBezTo>
                    <a:pt x="19" y="187"/>
                    <a:pt x="15" y="190"/>
                    <a:pt x="15" y="190"/>
                  </a:cubicBezTo>
                  <a:cubicBezTo>
                    <a:pt x="14" y="191"/>
                    <a:pt x="13" y="191"/>
                    <a:pt x="13" y="191"/>
                  </a:cubicBezTo>
                  <a:cubicBezTo>
                    <a:pt x="13" y="191"/>
                    <a:pt x="13" y="193"/>
                    <a:pt x="13" y="193"/>
                  </a:cubicBezTo>
                  <a:cubicBezTo>
                    <a:pt x="13" y="193"/>
                    <a:pt x="14" y="197"/>
                    <a:pt x="15" y="197"/>
                  </a:cubicBezTo>
                  <a:cubicBezTo>
                    <a:pt x="15" y="198"/>
                    <a:pt x="18" y="203"/>
                    <a:pt x="18" y="203"/>
                  </a:cubicBezTo>
                  <a:cubicBezTo>
                    <a:pt x="18" y="203"/>
                    <a:pt x="22" y="204"/>
                    <a:pt x="22" y="204"/>
                  </a:cubicBezTo>
                  <a:cubicBezTo>
                    <a:pt x="22" y="204"/>
                    <a:pt x="25" y="205"/>
                    <a:pt x="25" y="206"/>
                  </a:cubicBezTo>
                  <a:cubicBezTo>
                    <a:pt x="26" y="206"/>
                    <a:pt x="26" y="208"/>
                    <a:pt x="26" y="208"/>
                  </a:cubicBezTo>
                  <a:cubicBezTo>
                    <a:pt x="26" y="296"/>
                    <a:pt x="26" y="296"/>
                    <a:pt x="26" y="296"/>
                  </a:cubicBezTo>
                  <a:cubicBezTo>
                    <a:pt x="207" y="295"/>
                    <a:pt x="207" y="295"/>
                    <a:pt x="207" y="295"/>
                  </a:cubicBezTo>
                  <a:cubicBezTo>
                    <a:pt x="207" y="295"/>
                    <a:pt x="206" y="292"/>
                    <a:pt x="206" y="291"/>
                  </a:cubicBezTo>
                  <a:cubicBezTo>
                    <a:pt x="206" y="291"/>
                    <a:pt x="205" y="289"/>
                    <a:pt x="205" y="288"/>
                  </a:cubicBezTo>
                  <a:cubicBezTo>
                    <a:pt x="205" y="287"/>
                    <a:pt x="206" y="285"/>
                    <a:pt x="206" y="284"/>
                  </a:cubicBezTo>
                  <a:cubicBezTo>
                    <a:pt x="206" y="283"/>
                    <a:pt x="205" y="280"/>
                    <a:pt x="205" y="279"/>
                  </a:cubicBezTo>
                  <a:cubicBezTo>
                    <a:pt x="204" y="279"/>
                    <a:pt x="202" y="275"/>
                    <a:pt x="201" y="275"/>
                  </a:cubicBezTo>
                  <a:cubicBezTo>
                    <a:pt x="201" y="274"/>
                    <a:pt x="201" y="273"/>
                    <a:pt x="200" y="272"/>
                  </a:cubicBezTo>
                  <a:cubicBezTo>
                    <a:pt x="199" y="272"/>
                    <a:pt x="196" y="271"/>
                    <a:pt x="195" y="271"/>
                  </a:cubicBezTo>
                  <a:cubicBezTo>
                    <a:pt x="194" y="270"/>
                    <a:pt x="194" y="269"/>
                    <a:pt x="193" y="268"/>
                  </a:cubicBezTo>
                  <a:cubicBezTo>
                    <a:pt x="192" y="268"/>
                    <a:pt x="189" y="265"/>
                    <a:pt x="188" y="264"/>
                  </a:cubicBezTo>
                  <a:cubicBezTo>
                    <a:pt x="187" y="264"/>
                    <a:pt x="186" y="263"/>
                    <a:pt x="185" y="262"/>
                  </a:cubicBezTo>
                  <a:cubicBezTo>
                    <a:pt x="184" y="262"/>
                    <a:pt x="184" y="262"/>
                    <a:pt x="184" y="260"/>
                  </a:cubicBezTo>
                  <a:cubicBezTo>
                    <a:pt x="184" y="259"/>
                    <a:pt x="182" y="254"/>
                    <a:pt x="181" y="253"/>
                  </a:cubicBezTo>
                  <a:cubicBezTo>
                    <a:pt x="179" y="252"/>
                    <a:pt x="178" y="253"/>
                    <a:pt x="177" y="252"/>
                  </a:cubicBezTo>
                  <a:cubicBezTo>
                    <a:pt x="176" y="251"/>
                    <a:pt x="173" y="250"/>
                    <a:pt x="172" y="250"/>
                  </a:cubicBezTo>
                  <a:cubicBezTo>
                    <a:pt x="171" y="249"/>
                    <a:pt x="170" y="247"/>
                    <a:pt x="169" y="246"/>
                  </a:cubicBezTo>
                  <a:cubicBezTo>
                    <a:pt x="169" y="246"/>
                    <a:pt x="169" y="245"/>
                    <a:pt x="167" y="244"/>
                  </a:cubicBezTo>
                  <a:cubicBezTo>
                    <a:pt x="166" y="244"/>
                    <a:pt x="164" y="244"/>
                    <a:pt x="162" y="244"/>
                  </a:cubicBezTo>
                  <a:cubicBezTo>
                    <a:pt x="161" y="244"/>
                    <a:pt x="160" y="244"/>
                    <a:pt x="160" y="243"/>
                  </a:cubicBezTo>
                  <a:cubicBezTo>
                    <a:pt x="160" y="242"/>
                    <a:pt x="158" y="240"/>
                    <a:pt x="157" y="239"/>
                  </a:cubicBezTo>
                  <a:cubicBezTo>
                    <a:pt x="156" y="238"/>
                    <a:pt x="153" y="236"/>
                    <a:pt x="153" y="236"/>
                  </a:cubicBezTo>
                  <a:cubicBezTo>
                    <a:pt x="152" y="235"/>
                    <a:pt x="153" y="232"/>
                    <a:pt x="153" y="231"/>
                  </a:cubicBezTo>
                  <a:cubicBezTo>
                    <a:pt x="153" y="231"/>
                    <a:pt x="154" y="227"/>
                    <a:pt x="154" y="226"/>
                  </a:cubicBezTo>
                  <a:cubicBezTo>
                    <a:pt x="154" y="225"/>
                    <a:pt x="154" y="223"/>
                    <a:pt x="154" y="222"/>
                  </a:cubicBezTo>
                  <a:cubicBezTo>
                    <a:pt x="153" y="221"/>
                    <a:pt x="153" y="221"/>
                    <a:pt x="153" y="220"/>
                  </a:cubicBezTo>
                  <a:cubicBezTo>
                    <a:pt x="153" y="220"/>
                    <a:pt x="153" y="219"/>
                    <a:pt x="153" y="218"/>
                  </a:cubicBezTo>
                  <a:cubicBezTo>
                    <a:pt x="154" y="218"/>
                    <a:pt x="154" y="217"/>
                    <a:pt x="154" y="216"/>
                  </a:cubicBezTo>
                  <a:cubicBezTo>
                    <a:pt x="154" y="215"/>
                    <a:pt x="154" y="214"/>
                    <a:pt x="154" y="213"/>
                  </a:cubicBezTo>
                  <a:cubicBezTo>
                    <a:pt x="154" y="212"/>
                    <a:pt x="153" y="210"/>
                    <a:pt x="154" y="209"/>
                  </a:cubicBezTo>
                  <a:cubicBezTo>
                    <a:pt x="154" y="208"/>
                    <a:pt x="156" y="206"/>
                    <a:pt x="156" y="205"/>
                  </a:cubicBezTo>
                  <a:cubicBezTo>
                    <a:pt x="157" y="204"/>
                    <a:pt x="158" y="204"/>
                    <a:pt x="158" y="203"/>
                  </a:cubicBezTo>
                  <a:cubicBezTo>
                    <a:pt x="158" y="202"/>
                    <a:pt x="156" y="199"/>
                    <a:pt x="155" y="198"/>
                  </a:cubicBezTo>
                  <a:cubicBezTo>
                    <a:pt x="155" y="197"/>
                    <a:pt x="155" y="196"/>
                    <a:pt x="154" y="195"/>
                  </a:cubicBezTo>
                  <a:cubicBezTo>
                    <a:pt x="153" y="195"/>
                    <a:pt x="150" y="195"/>
                    <a:pt x="150" y="195"/>
                  </a:cubicBezTo>
                  <a:cubicBezTo>
                    <a:pt x="149" y="194"/>
                    <a:pt x="149" y="193"/>
                    <a:pt x="149" y="192"/>
                  </a:cubicBezTo>
                  <a:cubicBezTo>
                    <a:pt x="150" y="191"/>
                    <a:pt x="149" y="189"/>
                    <a:pt x="150" y="188"/>
                  </a:cubicBezTo>
                  <a:cubicBezTo>
                    <a:pt x="150" y="188"/>
                    <a:pt x="152" y="187"/>
                    <a:pt x="153" y="186"/>
                  </a:cubicBezTo>
                  <a:cubicBezTo>
                    <a:pt x="153" y="185"/>
                    <a:pt x="154" y="183"/>
                    <a:pt x="154" y="182"/>
                  </a:cubicBezTo>
                  <a:cubicBezTo>
                    <a:pt x="155" y="181"/>
                    <a:pt x="155" y="180"/>
                    <a:pt x="156" y="179"/>
                  </a:cubicBezTo>
                  <a:cubicBezTo>
                    <a:pt x="157" y="178"/>
                    <a:pt x="159" y="177"/>
                    <a:pt x="160" y="177"/>
                  </a:cubicBezTo>
                  <a:cubicBezTo>
                    <a:pt x="161" y="176"/>
                    <a:pt x="161" y="175"/>
                    <a:pt x="162" y="175"/>
                  </a:cubicBezTo>
                  <a:cubicBezTo>
                    <a:pt x="162" y="174"/>
                    <a:pt x="163" y="175"/>
                    <a:pt x="164" y="175"/>
                  </a:cubicBezTo>
                  <a:cubicBezTo>
                    <a:pt x="164" y="175"/>
                    <a:pt x="165" y="173"/>
                    <a:pt x="166" y="173"/>
                  </a:cubicBezTo>
                  <a:cubicBezTo>
                    <a:pt x="166" y="172"/>
                    <a:pt x="168" y="173"/>
                    <a:pt x="168" y="173"/>
                  </a:cubicBezTo>
                  <a:cubicBezTo>
                    <a:pt x="168" y="172"/>
                    <a:pt x="169" y="171"/>
                    <a:pt x="169" y="171"/>
                  </a:cubicBezTo>
                  <a:cubicBezTo>
                    <a:pt x="169" y="170"/>
                    <a:pt x="170" y="169"/>
                    <a:pt x="170" y="169"/>
                  </a:cubicBezTo>
                  <a:cubicBezTo>
                    <a:pt x="170" y="169"/>
                    <a:pt x="170" y="140"/>
                    <a:pt x="170" y="140"/>
                  </a:cubicBezTo>
                  <a:cubicBezTo>
                    <a:pt x="170" y="140"/>
                    <a:pt x="173" y="141"/>
                    <a:pt x="173" y="141"/>
                  </a:cubicBezTo>
                  <a:cubicBezTo>
                    <a:pt x="174" y="139"/>
                    <a:pt x="174" y="139"/>
                    <a:pt x="174" y="139"/>
                  </a:cubicBezTo>
                  <a:cubicBezTo>
                    <a:pt x="174" y="139"/>
                    <a:pt x="174" y="139"/>
                    <a:pt x="174" y="139"/>
                  </a:cubicBezTo>
                  <a:cubicBezTo>
                    <a:pt x="174" y="138"/>
                    <a:pt x="176" y="136"/>
                    <a:pt x="176" y="136"/>
                  </a:cubicBezTo>
                  <a:cubicBezTo>
                    <a:pt x="177" y="136"/>
                    <a:pt x="180" y="132"/>
                    <a:pt x="181" y="132"/>
                  </a:cubicBezTo>
                  <a:cubicBezTo>
                    <a:pt x="181" y="131"/>
                    <a:pt x="185" y="129"/>
                    <a:pt x="185" y="128"/>
                  </a:cubicBezTo>
                  <a:cubicBezTo>
                    <a:pt x="186" y="128"/>
                    <a:pt x="187" y="127"/>
                    <a:pt x="187" y="127"/>
                  </a:cubicBezTo>
                  <a:cubicBezTo>
                    <a:pt x="188" y="126"/>
                    <a:pt x="195" y="120"/>
                    <a:pt x="196" y="120"/>
                  </a:cubicBezTo>
                  <a:cubicBezTo>
                    <a:pt x="196" y="120"/>
                    <a:pt x="214" y="100"/>
                    <a:pt x="215" y="100"/>
                  </a:cubicBezTo>
                  <a:cubicBezTo>
                    <a:pt x="216" y="99"/>
                    <a:pt x="220" y="95"/>
                    <a:pt x="222" y="94"/>
                  </a:cubicBezTo>
                  <a:cubicBezTo>
                    <a:pt x="223" y="92"/>
                    <a:pt x="232" y="87"/>
                    <a:pt x="235" y="86"/>
                  </a:cubicBezTo>
                  <a:cubicBezTo>
                    <a:pt x="239" y="85"/>
                    <a:pt x="247" y="82"/>
                    <a:pt x="251" y="81"/>
                  </a:cubicBezTo>
                  <a:cubicBezTo>
                    <a:pt x="254" y="81"/>
                    <a:pt x="257" y="78"/>
                    <a:pt x="258" y="77"/>
                  </a:cubicBezTo>
                  <a:cubicBezTo>
                    <a:pt x="260" y="76"/>
                    <a:pt x="264" y="72"/>
                    <a:pt x="264" y="72"/>
                  </a:cubicBezTo>
                  <a:cubicBezTo>
                    <a:pt x="262" y="72"/>
                    <a:pt x="262" y="72"/>
                    <a:pt x="262" y="72"/>
                  </a:cubicBezTo>
                  <a:cubicBezTo>
                    <a:pt x="260" y="72"/>
                    <a:pt x="260" y="72"/>
                    <a:pt x="260" y="72"/>
                  </a:cubicBezTo>
                  <a:cubicBezTo>
                    <a:pt x="258" y="72"/>
                    <a:pt x="258" y="72"/>
                    <a:pt x="258" y="72"/>
                  </a:cubicBezTo>
                  <a:cubicBezTo>
                    <a:pt x="258" y="72"/>
                    <a:pt x="255" y="72"/>
                    <a:pt x="255" y="73"/>
                  </a:cubicBezTo>
                  <a:cubicBezTo>
                    <a:pt x="255" y="73"/>
                    <a:pt x="253" y="73"/>
                    <a:pt x="253" y="73"/>
                  </a:cubicBezTo>
                  <a:cubicBezTo>
                    <a:pt x="253" y="73"/>
                    <a:pt x="249" y="71"/>
                    <a:pt x="249" y="71"/>
                  </a:cubicBezTo>
                  <a:cubicBezTo>
                    <a:pt x="249" y="71"/>
                    <a:pt x="249" y="69"/>
                    <a:pt x="249" y="69"/>
                  </a:cubicBezTo>
                  <a:cubicBezTo>
                    <a:pt x="249" y="69"/>
                    <a:pt x="248" y="68"/>
                    <a:pt x="248" y="68"/>
                  </a:cubicBezTo>
                  <a:cubicBezTo>
                    <a:pt x="248" y="68"/>
                    <a:pt x="247" y="68"/>
                    <a:pt x="247" y="68"/>
                  </a:cubicBezTo>
                  <a:cubicBezTo>
                    <a:pt x="247" y="68"/>
                    <a:pt x="246" y="67"/>
                    <a:pt x="246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30" y="67"/>
                    <a:pt x="230" y="67"/>
                    <a:pt x="230" y="67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5" y="68"/>
                    <a:pt x="225" y="68"/>
                    <a:pt x="225" y="68"/>
                  </a:cubicBezTo>
                  <a:cubicBezTo>
                    <a:pt x="223" y="68"/>
                    <a:pt x="223" y="68"/>
                    <a:pt x="223" y="68"/>
                  </a:cubicBezTo>
                  <a:cubicBezTo>
                    <a:pt x="223" y="68"/>
                    <a:pt x="223" y="67"/>
                    <a:pt x="223" y="67"/>
                  </a:cubicBezTo>
                  <a:cubicBezTo>
                    <a:pt x="223" y="67"/>
                    <a:pt x="222" y="66"/>
                    <a:pt x="222" y="66"/>
                  </a:cubicBezTo>
                  <a:cubicBezTo>
                    <a:pt x="222" y="65"/>
                    <a:pt x="222" y="65"/>
                    <a:pt x="222" y="65"/>
                  </a:cubicBezTo>
                  <a:cubicBezTo>
                    <a:pt x="222" y="64"/>
                    <a:pt x="222" y="64"/>
                    <a:pt x="222" y="64"/>
                  </a:cubicBezTo>
                  <a:cubicBezTo>
                    <a:pt x="222" y="64"/>
                    <a:pt x="222" y="64"/>
                    <a:pt x="222" y="64"/>
                  </a:cubicBezTo>
                  <a:cubicBezTo>
                    <a:pt x="220" y="64"/>
                    <a:pt x="220" y="64"/>
                    <a:pt x="220" y="64"/>
                  </a:cubicBezTo>
                  <a:cubicBezTo>
                    <a:pt x="220" y="60"/>
                    <a:pt x="220" y="60"/>
                    <a:pt x="220" y="60"/>
                  </a:cubicBezTo>
                  <a:cubicBezTo>
                    <a:pt x="218" y="60"/>
                    <a:pt x="218" y="60"/>
                    <a:pt x="218" y="60"/>
                  </a:cubicBezTo>
                  <a:cubicBezTo>
                    <a:pt x="209" y="65"/>
                    <a:pt x="209" y="65"/>
                    <a:pt x="209" y="65"/>
                  </a:cubicBezTo>
                  <a:cubicBezTo>
                    <a:pt x="206" y="68"/>
                    <a:pt x="206" y="68"/>
                    <a:pt x="206" y="68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5" y="70"/>
                    <a:pt x="195" y="70"/>
                    <a:pt x="195" y="70"/>
                  </a:cubicBezTo>
                  <a:cubicBezTo>
                    <a:pt x="195" y="67"/>
                    <a:pt x="195" y="67"/>
                    <a:pt x="195" y="67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2" y="67"/>
                    <a:pt x="192" y="67"/>
                    <a:pt x="192" y="67"/>
                  </a:cubicBezTo>
                  <a:cubicBezTo>
                    <a:pt x="191" y="66"/>
                    <a:pt x="191" y="66"/>
                    <a:pt x="191" y="66"/>
                  </a:cubicBezTo>
                  <a:cubicBezTo>
                    <a:pt x="190" y="66"/>
                    <a:pt x="190" y="66"/>
                    <a:pt x="190" y="66"/>
                  </a:cubicBezTo>
                  <a:cubicBezTo>
                    <a:pt x="190" y="62"/>
                    <a:pt x="190" y="62"/>
                    <a:pt x="190" y="62"/>
                  </a:cubicBezTo>
                  <a:cubicBezTo>
                    <a:pt x="185" y="62"/>
                    <a:pt x="185" y="62"/>
                    <a:pt x="185" y="62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1" y="61"/>
                    <a:pt x="181" y="61"/>
                    <a:pt x="181" y="61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0" y="59"/>
                    <a:pt x="180" y="59"/>
                    <a:pt x="180" y="59"/>
                  </a:cubicBezTo>
                  <a:cubicBezTo>
                    <a:pt x="180" y="56"/>
                    <a:pt x="180" y="56"/>
                    <a:pt x="180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1" y="54"/>
                    <a:pt x="171" y="54"/>
                    <a:pt x="171" y="54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69" y="56"/>
                    <a:pt x="170" y="57"/>
                    <a:pt x="170" y="58"/>
                  </a:cubicBezTo>
                  <a:cubicBezTo>
                    <a:pt x="170" y="58"/>
                    <a:pt x="171" y="60"/>
                    <a:pt x="171" y="60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5"/>
                    <a:pt x="164" y="53"/>
                    <a:pt x="164" y="52"/>
                  </a:cubicBezTo>
                  <a:cubicBezTo>
                    <a:pt x="164" y="52"/>
                    <a:pt x="164" y="51"/>
                    <a:pt x="164" y="51"/>
                  </a:cubicBezTo>
                  <a:cubicBezTo>
                    <a:pt x="164" y="51"/>
                    <a:pt x="163" y="50"/>
                    <a:pt x="163" y="50"/>
                  </a:cubicBezTo>
                  <a:cubicBezTo>
                    <a:pt x="163" y="49"/>
                    <a:pt x="157" y="50"/>
                    <a:pt x="157" y="50"/>
                  </a:cubicBezTo>
                  <a:cubicBezTo>
                    <a:pt x="157" y="50"/>
                    <a:pt x="155" y="49"/>
                    <a:pt x="155" y="48"/>
                  </a:cubicBezTo>
                  <a:cubicBezTo>
                    <a:pt x="155" y="48"/>
                    <a:pt x="156" y="47"/>
                    <a:pt x="156" y="4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58" y="45"/>
                    <a:pt x="158" y="45"/>
                    <a:pt x="158" y="45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47" y="41"/>
                    <a:pt x="147" y="41"/>
                    <a:pt x="147" y="41"/>
                  </a:cubicBezTo>
                  <a:cubicBezTo>
                    <a:pt x="147" y="40"/>
                    <a:pt x="147" y="40"/>
                    <a:pt x="147" y="40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0" y="36"/>
                    <a:pt x="98" y="36"/>
                    <a:pt x="98" y="36"/>
                  </a:cubicBezTo>
                  <a:cubicBezTo>
                    <a:pt x="98" y="36"/>
                    <a:pt x="96" y="37"/>
                    <a:pt x="96" y="37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1"/>
                    <a:pt x="77" y="1"/>
                    <a:pt x="77" y="1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3"/>
                    <a:pt x="0" y="24"/>
                  </a:cubicBezTo>
                  <a:cubicBezTo>
                    <a:pt x="0" y="26"/>
                    <a:pt x="1" y="27"/>
                    <a:pt x="1" y="28"/>
                  </a:cubicBezTo>
                  <a:cubicBezTo>
                    <a:pt x="1" y="29"/>
                    <a:pt x="3" y="34"/>
                    <a:pt x="3" y="34"/>
                  </a:cubicBezTo>
                  <a:cubicBezTo>
                    <a:pt x="3" y="35"/>
                    <a:pt x="4" y="36"/>
                    <a:pt x="3" y="38"/>
                  </a:cubicBezTo>
                  <a:cubicBezTo>
                    <a:pt x="3" y="40"/>
                    <a:pt x="3" y="40"/>
                    <a:pt x="3" y="41"/>
                  </a:cubicBezTo>
                  <a:cubicBezTo>
                    <a:pt x="2" y="41"/>
                    <a:pt x="2" y="43"/>
                    <a:pt x="2" y="44"/>
                  </a:cubicBezTo>
                  <a:cubicBezTo>
                    <a:pt x="2" y="45"/>
                    <a:pt x="2" y="44"/>
                    <a:pt x="3" y="45"/>
                  </a:cubicBezTo>
                  <a:cubicBezTo>
                    <a:pt x="3" y="45"/>
                    <a:pt x="3" y="46"/>
                    <a:pt x="2" y="47"/>
                  </a:cubicBezTo>
                  <a:cubicBezTo>
                    <a:pt x="2" y="47"/>
                    <a:pt x="2" y="48"/>
                    <a:pt x="2" y="48"/>
                  </a:cubicBezTo>
                  <a:cubicBezTo>
                    <a:pt x="2" y="48"/>
                    <a:pt x="3" y="49"/>
                    <a:pt x="3" y="50"/>
                  </a:cubicBezTo>
                  <a:cubicBezTo>
                    <a:pt x="3" y="50"/>
                    <a:pt x="2" y="52"/>
                    <a:pt x="2" y="53"/>
                  </a:cubicBezTo>
                  <a:cubicBezTo>
                    <a:pt x="2" y="54"/>
                    <a:pt x="3" y="55"/>
                    <a:pt x="3" y="56"/>
                  </a:cubicBezTo>
                  <a:cubicBezTo>
                    <a:pt x="3" y="57"/>
                    <a:pt x="3" y="58"/>
                    <a:pt x="3" y="60"/>
                  </a:cubicBezTo>
                  <a:cubicBezTo>
                    <a:pt x="3" y="61"/>
                    <a:pt x="3" y="65"/>
                    <a:pt x="3" y="67"/>
                  </a:cubicBezTo>
                  <a:cubicBezTo>
                    <a:pt x="3" y="69"/>
                    <a:pt x="4" y="70"/>
                    <a:pt x="5" y="72"/>
                  </a:cubicBezTo>
                  <a:cubicBezTo>
                    <a:pt x="5" y="73"/>
                    <a:pt x="7" y="80"/>
                    <a:pt x="8" y="82"/>
                  </a:cubicBezTo>
                  <a:cubicBezTo>
                    <a:pt x="8" y="84"/>
                    <a:pt x="11" y="87"/>
                    <a:pt x="11" y="89"/>
                  </a:cubicBezTo>
                  <a:cubicBezTo>
                    <a:pt x="12" y="91"/>
                    <a:pt x="12" y="94"/>
                    <a:pt x="12" y="95"/>
                  </a:cubicBezTo>
                  <a:cubicBezTo>
                    <a:pt x="13" y="97"/>
                    <a:pt x="13" y="103"/>
                    <a:pt x="13" y="104"/>
                  </a:cubicBezTo>
                  <a:cubicBezTo>
                    <a:pt x="13" y="106"/>
                    <a:pt x="13" y="109"/>
                    <a:pt x="13" y="110"/>
                  </a:cubicBezTo>
                  <a:cubicBezTo>
                    <a:pt x="13" y="112"/>
                    <a:pt x="13" y="120"/>
                    <a:pt x="13" y="122"/>
                  </a:cubicBezTo>
                  <a:cubicBezTo>
                    <a:pt x="14" y="124"/>
                    <a:pt x="14" y="125"/>
                    <a:pt x="15" y="126"/>
                  </a:cubicBezTo>
                  <a:cubicBezTo>
                    <a:pt x="15" y="127"/>
                    <a:pt x="16" y="128"/>
                    <a:pt x="16" y="129"/>
                  </a:cubicBezTo>
                  <a:cubicBezTo>
                    <a:pt x="16" y="130"/>
                    <a:pt x="16" y="131"/>
                    <a:pt x="16" y="131"/>
                  </a:cubicBezTo>
                  <a:cubicBezTo>
                    <a:pt x="16" y="132"/>
                    <a:pt x="15" y="138"/>
                    <a:pt x="15" y="139"/>
                  </a:cubicBezTo>
                  <a:cubicBezTo>
                    <a:pt x="15" y="141"/>
                    <a:pt x="15" y="142"/>
                    <a:pt x="15" y="143"/>
                  </a:cubicBezTo>
                  <a:cubicBezTo>
                    <a:pt x="15" y="144"/>
                    <a:pt x="16" y="146"/>
                    <a:pt x="16" y="147"/>
                  </a:cubicBezTo>
                  <a:cubicBezTo>
                    <a:pt x="16" y="148"/>
                    <a:pt x="17" y="150"/>
                    <a:pt x="17" y="151"/>
                  </a:cubicBezTo>
                  <a:cubicBezTo>
                    <a:pt x="18" y="152"/>
                    <a:pt x="19" y="154"/>
                    <a:pt x="20" y="154"/>
                  </a:cubicBezTo>
                  <a:cubicBezTo>
                    <a:pt x="20" y="155"/>
                    <a:pt x="21" y="159"/>
                    <a:pt x="22" y="159"/>
                  </a:cubicBezTo>
                  <a:cubicBezTo>
                    <a:pt x="22" y="160"/>
                    <a:pt x="22" y="176"/>
                    <a:pt x="22" y="176"/>
                  </a:cubicBezTo>
                  <a:cubicBezTo>
                    <a:pt x="22" y="176"/>
                    <a:pt x="23" y="182"/>
                    <a:pt x="22" y="182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649D0748-6B6B-4D6D-BF58-DA3E6DFE9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0786" y="1436441"/>
              <a:ext cx="1093759" cy="1249067"/>
            </a:xfrm>
            <a:custGeom>
              <a:avLst/>
              <a:gdLst>
                <a:gd name="T0" fmla="*/ 63 w 276"/>
                <a:gd name="T1" fmla="*/ 5 h 315"/>
                <a:gd name="T2" fmla="*/ 45 w 276"/>
                <a:gd name="T3" fmla="*/ 17 h 315"/>
                <a:gd name="T4" fmla="*/ 129 w 276"/>
                <a:gd name="T5" fmla="*/ 83 h 315"/>
                <a:gd name="T6" fmla="*/ 167 w 276"/>
                <a:gd name="T7" fmla="*/ 123 h 315"/>
                <a:gd name="T8" fmla="*/ 154 w 276"/>
                <a:gd name="T9" fmla="*/ 155 h 315"/>
                <a:gd name="T10" fmla="*/ 208 w 276"/>
                <a:gd name="T11" fmla="*/ 121 h 315"/>
                <a:gd name="T12" fmla="*/ 208 w 276"/>
                <a:gd name="T13" fmla="*/ 122 h 315"/>
                <a:gd name="T14" fmla="*/ 239 w 276"/>
                <a:gd name="T15" fmla="*/ 111 h 315"/>
                <a:gd name="T16" fmla="*/ 232 w 276"/>
                <a:gd name="T17" fmla="*/ 107 h 315"/>
                <a:gd name="T18" fmla="*/ 7 w 276"/>
                <a:gd name="T19" fmla="*/ 84 h 315"/>
                <a:gd name="T20" fmla="*/ 72 w 276"/>
                <a:gd name="T21" fmla="*/ 111 h 315"/>
                <a:gd name="T22" fmla="*/ 90 w 276"/>
                <a:gd name="T23" fmla="*/ 126 h 315"/>
                <a:gd name="T24" fmla="*/ 95 w 276"/>
                <a:gd name="T25" fmla="*/ 139 h 315"/>
                <a:gd name="T26" fmla="*/ 110 w 276"/>
                <a:gd name="T27" fmla="*/ 130 h 315"/>
                <a:gd name="T28" fmla="*/ 118 w 276"/>
                <a:gd name="T29" fmla="*/ 116 h 315"/>
                <a:gd name="T30" fmla="*/ 124 w 276"/>
                <a:gd name="T31" fmla="*/ 121 h 315"/>
                <a:gd name="T32" fmla="*/ 128 w 276"/>
                <a:gd name="T33" fmla="*/ 126 h 315"/>
                <a:gd name="T34" fmla="*/ 145 w 276"/>
                <a:gd name="T35" fmla="*/ 112 h 315"/>
                <a:gd name="T36" fmla="*/ 169 w 276"/>
                <a:gd name="T37" fmla="*/ 105 h 315"/>
                <a:gd name="T38" fmla="*/ 192 w 276"/>
                <a:gd name="T39" fmla="*/ 114 h 315"/>
                <a:gd name="T40" fmla="*/ 204 w 276"/>
                <a:gd name="T41" fmla="*/ 109 h 315"/>
                <a:gd name="T42" fmla="*/ 222 w 276"/>
                <a:gd name="T43" fmla="*/ 108 h 315"/>
                <a:gd name="T44" fmla="*/ 214 w 276"/>
                <a:gd name="T45" fmla="*/ 97 h 315"/>
                <a:gd name="T46" fmla="*/ 212 w 276"/>
                <a:gd name="T47" fmla="*/ 88 h 315"/>
                <a:gd name="T48" fmla="*/ 211 w 276"/>
                <a:gd name="T49" fmla="*/ 85 h 315"/>
                <a:gd name="T50" fmla="*/ 194 w 276"/>
                <a:gd name="T51" fmla="*/ 86 h 315"/>
                <a:gd name="T52" fmla="*/ 186 w 276"/>
                <a:gd name="T53" fmla="*/ 71 h 315"/>
                <a:gd name="T54" fmla="*/ 140 w 276"/>
                <a:gd name="T55" fmla="*/ 80 h 315"/>
                <a:gd name="T56" fmla="*/ 119 w 276"/>
                <a:gd name="T57" fmla="*/ 84 h 315"/>
                <a:gd name="T58" fmla="*/ 98 w 276"/>
                <a:gd name="T59" fmla="*/ 72 h 315"/>
                <a:gd name="T60" fmla="*/ 82 w 276"/>
                <a:gd name="T61" fmla="*/ 64 h 315"/>
                <a:gd name="T62" fmla="*/ 67 w 276"/>
                <a:gd name="T63" fmla="*/ 69 h 315"/>
                <a:gd name="T64" fmla="*/ 91 w 276"/>
                <a:gd name="T65" fmla="*/ 39 h 315"/>
                <a:gd name="T66" fmla="*/ 63 w 276"/>
                <a:gd name="T67" fmla="*/ 46 h 315"/>
                <a:gd name="T68" fmla="*/ 45 w 276"/>
                <a:gd name="T69" fmla="*/ 60 h 315"/>
                <a:gd name="T70" fmla="*/ 0 w 276"/>
                <a:gd name="T71" fmla="*/ 80 h 315"/>
                <a:gd name="T72" fmla="*/ 254 w 276"/>
                <a:gd name="T73" fmla="*/ 286 h 315"/>
                <a:gd name="T74" fmla="*/ 267 w 276"/>
                <a:gd name="T75" fmla="*/ 270 h 315"/>
                <a:gd name="T76" fmla="*/ 272 w 276"/>
                <a:gd name="T77" fmla="*/ 238 h 315"/>
                <a:gd name="T78" fmla="*/ 265 w 276"/>
                <a:gd name="T79" fmla="*/ 207 h 315"/>
                <a:gd name="T80" fmla="*/ 245 w 276"/>
                <a:gd name="T81" fmla="*/ 211 h 315"/>
                <a:gd name="T82" fmla="*/ 236 w 276"/>
                <a:gd name="T83" fmla="*/ 223 h 315"/>
                <a:gd name="T84" fmla="*/ 225 w 276"/>
                <a:gd name="T85" fmla="*/ 212 h 315"/>
                <a:gd name="T86" fmla="*/ 239 w 276"/>
                <a:gd name="T87" fmla="*/ 194 h 315"/>
                <a:gd name="T88" fmla="*/ 247 w 276"/>
                <a:gd name="T89" fmla="*/ 171 h 315"/>
                <a:gd name="T90" fmla="*/ 244 w 276"/>
                <a:gd name="T91" fmla="*/ 155 h 315"/>
                <a:gd name="T92" fmla="*/ 242 w 276"/>
                <a:gd name="T93" fmla="*/ 143 h 315"/>
                <a:gd name="T94" fmla="*/ 212 w 276"/>
                <a:gd name="T95" fmla="*/ 127 h 315"/>
                <a:gd name="T96" fmla="*/ 197 w 276"/>
                <a:gd name="T97" fmla="*/ 121 h 315"/>
                <a:gd name="T98" fmla="*/ 185 w 276"/>
                <a:gd name="T99" fmla="*/ 128 h 315"/>
                <a:gd name="T100" fmla="*/ 183 w 276"/>
                <a:gd name="T101" fmla="*/ 141 h 315"/>
                <a:gd name="T102" fmla="*/ 173 w 276"/>
                <a:gd name="T103" fmla="*/ 158 h 315"/>
                <a:gd name="T104" fmla="*/ 169 w 276"/>
                <a:gd name="T105" fmla="*/ 166 h 315"/>
                <a:gd name="T106" fmla="*/ 165 w 276"/>
                <a:gd name="T107" fmla="*/ 167 h 315"/>
                <a:gd name="T108" fmla="*/ 166 w 276"/>
                <a:gd name="T109" fmla="*/ 153 h 315"/>
                <a:gd name="T110" fmla="*/ 157 w 276"/>
                <a:gd name="T111" fmla="*/ 160 h 315"/>
                <a:gd name="T112" fmla="*/ 145 w 276"/>
                <a:gd name="T113" fmla="*/ 173 h 315"/>
                <a:gd name="T114" fmla="*/ 142 w 276"/>
                <a:gd name="T115" fmla="*/ 193 h 315"/>
                <a:gd name="T116" fmla="*/ 137 w 276"/>
                <a:gd name="T117" fmla="*/ 211 h 315"/>
                <a:gd name="T118" fmla="*/ 142 w 276"/>
                <a:gd name="T119" fmla="*/ 245 h 315"/>
                <a:gd name="T120" fmla="*/ 141 w 276"/>
                <a:gd name="T121" fmla="*/ 286 h 315"/>
                <a:gd name="T122" fmla="*/ 125 w 276"/>
                <a:gd name="T123" fmla="*/ 31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6" h="315">
                  <a:moveTo>
                    <a:pt x="41" y="15"/>
                  </a:moveTo>
                  <a:cubicBezTo>
                    <a:pt x="42" y="14"/>
                    <a:pt x="43" y="13"/>
                    <a:pt x="43" y="12"/>
                  </a:cubicBezTo>
                  <a:cubicBezTo>
                    <a:pt x="44" y="10"/>
                    <a:pt x="46" y="9"/>
                    <a:pt x="47" y="9"/>
                  </a:cubicBezTo>
                  <a:cubicBezTo>
                    <a:pt x="49" y="8"/>
                    <a:pt x="50" y="7"/>
                    <a:pt x="52" y="7"/>
                  </a:cubicBezTo>
                  <a:cubicBezTo>
                    <a:pt x="54" y="6"/>
                    <a:pt x="55" y="5"/>
                    <a:pt x="57" y="4"/>
                  </a:cubicBezTo>
                  <a:cubicBezTo>
                    <a:pt x="57" y="4"/>
                    <a:pt x="58" y="3"/>
                    <a:pt x="59" y="3"/>
                  </a:cubicBezTo>
                  <a:cubicBezTo>
                    <a:pt x="59" y="2"/>
                    <a:pt x="60" y="1"/>
                    <a:pt x="61" y="1"/>
                  </a:cubicBezTo>
                  <a:cubicBezTo>
                    <a:pt x="62" y="1"/>
                    <a:pt x="62" y="1"/>
                    <a:pt x="63" y="0"/>
                  </a:cubicBezTo>
                  <a:cubicBezTo>
                    <a:pt x="64" y="0"/>
                    <a:pt x="64" y="0"/>
                    <a:pt x="65" y="0"/>
                  </a:cubicBezTo>
                  <a:cubicBezTo>
                    <a:pt x="65" y="0"/>
                    <a:pt x="66" y="0"/>
                    <a:pt x="66" y="0"/>
                  </a:cubicBezTo>
                  <a:cubicBezTo>
                    <a:pt x="66" y="1"/>
                    <a:pt x="64" y="2"/>
                    <a:pt x="63" y="2"/>
                  </a:cubicBezTo>
                  <a:cubicBezTo>
                    <a:pt x="63" y="2"/>
                    <a:pt x="62" y="3"/>
                    <a:pt x="62" y="3"/>
                  </a:cubicBezTo>
                  <a:cubicBezTo>
                    <a:pt x="62" y="4"/>
                    <a:pt x="63" y="4"/>
                    <a:pt x="63" y="5"/>
                  </a:cubicBezTo>
                  <a:cubicBezTo>
                    <a:pt x="63" y="5"/>
                    <a:pt x="63" y="6"/>
                    <a:pt x="62" y="6"/>
                  </a:cubicBezTo>
                  <a:cubicBezTo>
                    <a:pt x="62" y="6"/>
                    <a:pt x="61" y="7"/>
                    <a:pt x="61" y="7"/>
                  </a:cubicBezTo>
                  <a:cubicBezTo>
                    <a:pt x="60" y="8"/>
                    <a:pt x="59" y="8"/>
                    <a:pt x="59" y="8"/>
                  </a:cubicBezTo>
                  <a:cubicBezTo>
                    <a:pt x="58" y="8"/>
                    <a:pt x="58" y="8"/>
                    <a:pt x="57" y="8"/>
                  </a:cubicBezTo>
                  <a:cubicBezTo>
                    <a:pt x="57" y="8"/>
                    <a:pt x="56" y="9"/>
                    <a:pt x="56" y="9"/>
                  </a:cubicBezTo>
                  <a:cubicBezTo>
                    <a:pt x="55" y="9"/>
                    <a:pt x="54" y="9"/>
                    <a:pt x="53" y="10"/>
                  </a:cubicBezTo>
                  <a:cubicBezTo>
                    <a:pt x="52" y="10"/>
                    <a:pt x="52" y="11"/>
                    <a:pt x="51" y="11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2" y="13"/>
                    <a:pt x="51" y="14"/>
                    <a:pt x="51" y="14"/>
                  </a:cubicBezTo>
                  <a:cubicBezTo>
                    <a:pt x="50" y="14"/>
                    <a:pt x="48" y="15"/>
                    <a:pt x="47" y="15"/>
                  </a:cubicBezTo>
                  <a:cubicBezTo>
                    <a:pt x="47" y="15"/>
                    <a:pt x="46" y="16"/>
                    <a:pt x="46" y="16"/>
                  </a:cubicBezTo>
                  <a:cubicBezTo>
                    <a:pt x="46" y="16"/>
                    <a:pt x="46" y="16"/>
                    <a:pt x="45" y="17"/>
                  </a:cubicBezTo>
                  <a:cubicBezTo>
                    <a:pt x="45" y="17"/>
                    <a:pt x="44" y="17"/>
                    <a:pt x="44" y="17"/>
                  </a:cubicBezTo>
                  <a:cubicBezTo>
                    <a:pt x="44" y="17"/>
                    <a:pt x="44" y="17"/>
                    <a:pt x="43" y="16"/>
                  </a:cubicBezTo>
                  <a:cubicBezTo>
                    <a:pt x="43" y="16"/>
                    <a:pt x="42" y="16"/>
                    <a:pt x="41" y="16"/>
                  </a:cubicBezTo>
                  <a:cubicBezTo>
                    <a:pt x="41" y="16"/>
                    <a:pt x="41" y="16"/>
                    <a:pt x="41" y="15"/>
                  </a:cubicBezTo>
                  <a:close/>
                  <a:moveTo>
                    <a:pt x="129" y="84"/>
                  </a:moveTo>
                  <a:cubicBezTo>
                    <a:pt x="129" y="84"/>
                    <a:pt x="129" y="85"/>
                    <a:pt x="129" y="85"/>
                  </a:cubicBezTo>
                  <a:cubicBezTo>
                    <a:pt x="130" y="85"/>
                    <a:pt x="130" y="85"/>
                    <a:pt x="130" y="84"/>
                  </a:cubicBezTo>
                  <a:cubicBezTo>
                    <a:pt x="130" y="84"/>
                    <a:pt x="130" y="84"/>
                    <a:pt x="130" y="83"/>
                  </a:cubicBezTo>
                  <a:cubicBezTo>
                    <a:pt x="130" y="83"/>
                    <a:pt x="130" y="83"/>
                    <a:pt x="130" y="82"/>
                  </a:cubicBezTo>
                  <a:cubicBezTo>
                    <a:pt x="130" y="81"/>
                    <a:pt x="130" y="81"/>
                    <a:pt x="129" y="81"/>
                  </a:cubicBezTo>
                  <a:cubicBezTo>
                    <a:pt x="129" y="82"/>
                    <a:pt x="128" y="81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4"/>
                  </a:cubicBezTo>
                  <a:cubicBezTo>
                    <a:pt x="129" y="84"/>
                    <a:pt x="129" y="84"/>
                    <a:pt x="129" y="84"/>
                  </a:cubicBezTo>
                  <a:close/>
                  <a:moveTo>
                    <a:pt x="166" y="130"/>
                  </a:moveTo>
                  <a:cubicBezTo>
                    <a:pt x="167" y="130"/>
                    <a:pt x="167" y="130"/>
                    <a:pt x="168" y="130"/>
                  </a:cubicBezTo>
                  <a:cubicBezTo>
                    <a:pt x="168" y="129"/>
                    <a:pt x="168" y="129"/>
                    <a:pt x="169" y="129"/>
                  </a:cubicBezTo>
                  <a:cubicBezTo>
                    <a:pt x="169" y="129"/>
                    <a:pt x="170" y="129"/>
                    <a:pt x="170" y="129"/>
                  </a:cubicBezTo>
                  <a:cubicBezTo>
                    <a:pt x="170" y="128"/>
                    <a:pt x="170" y="128"/>
                    <a:pt x="170" y="128"/>
                  </a:cubicBezTo>
                  <a:cubicBezTo>
                    <a:pt x="170" y="127"/>
                    <a:pt x="170" y="126"/>
                    <a:pt x="170" y="126"/>
                  </a:cubicBezTo>
                  <a:cubicBezTo>
                    <a:pt x="170" y="125"/>
                    <a:pt x="170" y="125"/>
                    <a:pt x="170" y="125"/>
                  </a:cubicBezTo>
                  <a:cubicBezTo>
                    <a:pt x="170" y="124"/>
                    <a:pt x="170" y="123"/>
                    <a:pt x="169" y="122"/>
                  </a:cubicBezTo>
                  <a:cubicBezTo>
                    <a:pt x="169" y="122"/>
                    <a:pt x="168" y="121"/>
                    <a:pt x="168" y="121"/>
                  </a:cubicBezTo>
                  <a:cubicBezTo>
                    <a:pt x="167" y="122"/>
                    <a:pt x="167" y="122"/>
                    <a:pt x="167" y="123"/>
                  </a:cubicBezTo>
                  <a:cubicBezTo>
                    <a:pt x="167" y="123"/>
                    <a:pt x="167" y="124"/>
                    <a:pt x="167" y="124"/>
                  </a:cubicBezTo>
                  <a:cubicBezTo>
                    <a:pt x="167" y="125"/>
                    <a:pt x="167" y="125"/>
                    <a:pt x="167" y="126"/>
                  </a:cubicBezTo>
                  <a:cubicBezTo>
                    <a:pt x="166" y="126"/>
                    <a:pt x="166" y="127"/>
                    <a:pt x="166" y="127"/>
                  </a:cubicBezTo>
                  <a:cubicBezTo>
                    <a:pt x="165" y="128"/>
                    <a:pt x="166" y="128"/>
                    <a:pt x="166" y="129"/>
                  </a:cubicBezTo>
                  <a:cubicBezTo>
                    <a:pt x="166" y="129"/>
                    <a:pt x="166" y="129"/>
                    <a:pt x="166" y="130"/>
                  </a:cubicBezTo>
                  <a:close/>
                  <a:moveTo>
                    <a:pt x="151" y="154"/>
                  </a:moveTo>
                  <a:cubicBezTo>
                    <a:pt x="151" y="154"/>
                    <a:pt x="151" y="154"/>
                    <a:pt x="151" y="154"/>
                  </a:cubicBezTo>
                  <a:cubicBezTo>
                    <a:pt x="151" y="154"/>
                    <a:pt x="151" y="154"/>
                    <a:pt x="151" y="154"/>
                  </a:cubicBezTo>
                  <a:cubicBezTo>
                    <a:pt x="152" y="154"/>
                    <a:pt x="151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3"/>
                    <a:pt x="154" y="153"/>
                    <a:pt x="154" y="152"/>
                  </a:cubicBezTo>
                  <a:cubicBezTo>
                    <a:pt x="154" y="152"/>
                    <a:pt x="154" y="152"/>
                    <a:pt x="153" y="152"/>
                  </a:cubicBezTo>
                  <a:cubicBezTo>
                    <a:pt x="153" y="151"/>
                    <a:pt x="153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0" y="151"/>
                    <a:pt x="150" y="152"/>
                    <a:pt x="150" y="152"/>
                  </a:cubicBezTo>
                  <a:cubicBezTo>
                    <a:pt x="150" y="152"/>
                    <a:pt x="150" y="153"/>
                    <a:pt x="151" y="153"/>
                  </a:cubicBezTo>
                  <a:cubicBezTo>
                    <a:pt x="151" y="153"/>
                    <a:pt x="151" y="153"/>
                    <a:pt x="151" y="154"/>
                  </a:cubicBezTo>
                  <a:close/>
                  <a:moveTo>
                    <a:pt x="208" y="121"/>
                  </a:moveTo>
                  <a:cubicBezTo>
                    <a:pt x="208" y="121"/>
                    <a:pt x="208" y="120"/>
                    <a:pt x="208" y="120"/>
                  </a:cubicBezTo>
                  <a:cubicBezTo>
                    <a:pt x="207" y="120"/>
                    <a:pt x="207" y="120"/>
                    <a:pt x="207" y="119"/>
                  </a:cubicBezTo>
                  <a:cubicBezTo>
                    <a:pt x="207" y="119"/>
                    <a:pt x="207" y="119"/>
                    <a:pt x="206" y="119"/>
                  </a:cubicBezTo>
                  <a:cubicBezTo>
                    <a:pt x="206" y="119"/>
                    <a:pt x="206" y="119"/>
                    <a:pt x="205" y="119"/>
                  </a:cubicBezTo>
                  <a:cubicBezTo>
                    <a:pt x="205" y="119"/>
                    <a:pt x="204" y="119"/>
                    <a:pt x="203" y="119"/>
                  </a:cubicBezTo>
                  <a:cubicBezTo>
                    <a:pt x="203" y="119"/>
                    <a:pt x="203" y="118"/>
                    <a:pt x="203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1" y="118"/>
                    <a:pt x="202" y="119"/>
                    <a:pt x="203" y="120"/>
                  </a:cubicBezTo>
                  <a:cubicBezTo>
                    <a:pt x="203" y="120"/>
                    <a:pt x="203" y="120"/>
                    <a:pt x="204" y="121"/>
                  </a:cubicBezTo>
                  <a:cubicBezTo>
                    <a:pt x="204" y="121"/>
                    <a:pt x="204" y="122"/>
                    <a:pt x="204" y="122"/>
                  </a:cubicBezTo>
                  <a:cubicBezTo>
                    <a:pt x="204" y="123"/>
                    <a:pt x="205" y="123"/>
                    <a:pt x="205" y="123"/>
                  </a:cubicBezTo>
                  <a:cubicBezTo>
                    <a:pt x="206" y="122"/>
                    <a:pt x="206" y="122"/>
                    <a:pt x="206" y="122"/>
                  </a:cubicBezTo>
                  <a:cubicBezTo>
                    <a:pt x="207" y="122"/>
                    <a:pt x="207" y="122"/>
                    <a:pt x="208" y="122"/>
                  </a:cubicBezTo>
                  <a:cubicBezTo>
                    <a:pt x="208" y="121"/>
                    <a:pt x="208" y="121"/>
                    <a:pt x="208" y="121"/>
                  </a:cubicBezTo>
                  <a:close/>
                  <a:moveTo>
                    <a:pt x="229" y="112"/>
                  </a:moveTo>
                  <a:cubicBezTo>
                    <a:pt x="229" y="112"/>
                    <a:pt x="229" y="112"/>
                    <a:pt x="230" y="112"/>
                  </a:cubicBezTo>
                  <a:cubicBezTo>
                    <a:pt x="230" y="112"/>
                    <a:pt x="230" y="112"/>
                    <a:pt x="230" y="112"/>
                  </a:cubicBezTo>
                  <a:cubicBezTo>
                    <a:pt x="230" y="113"/>
                    <a:pt x="231" y="113"/>
                    <a:pt x="231" y="113"/>
                  </a:cubicBezTo>
                  <a:cubicBezTo>
                    <a:pt x="232" y="112"/>
                    <a:pt x="232" y="112"/>
                    <a:pt x="232" y="112"/>
                  </a:cubicBezTo>
                  <a:cubicBezTo>
                    <a:pt x="233" y="112"/>
                    <a:pt x="233" y="112"/>
                    <a:pt x="233" y="112"/>
                  </a:cubicBezTo>
                  <a:cubicBezTo>
                    <a:pt x="234" y="112"/>
                    <a:pt x="234" y="112"/>
                    <a:pt x="234" y="112"/>
                  </a:cubicBezTo>
                  <a:cubicBezTo>
                    <a:pt x="235" y="112"/>
                    <a:pt x="235" y="112"/>
                    <a:pt x="235" y="112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36" y="113"/>
                    <a:pt x="237" y="113"/>
                    <a:pt x="237" y="112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8" y="111"/>
                    <a:pt x="239" y="111"/>
                    <a:pt x="239" y="111"/>
                  </a:cubicBezTo>
                  <a:cubicBezTo>
                    <a:pt x="240" y="110"/>
                    <a:pt x="239" y="110"/>
                    <a:pt x="238" y="109"/>
                  </a:cubicBezTo>
                  <a:cubicBezTo>
                    <a:pt x="238" y="109"/>
                    <a:pt x="238" y="109"/>
                    <a:pt x="238" y="108"/>
                  </a:cubicBezTo>
                  <a:cubicBezTo>
                    <a:pt x="238" y="108"/>
                    <a:pt x="237" y="108"/>
                    <a:pt x="237" y="107"/>
                  </a:cubicBezTo>
                  <a:cubicBezTo>
                    <a:pt x="237" y="107"/>
                    <a:pt x="236" y="107"/>
                    <a:pt x="236" y="106"/>
                  </a:cubicBezTo>
                  <a:cubicBezTo>
                    <a:pt x="236" y="106"/>
                    <a:pt x="236" y="106"/>
                    <a:pt x="236" y="105"/>
                  </a:cubicBezTo>
                  <a:cubicBezTo>
                    <a:pt x="236" y="105"/>
                    <a:pt x="236" y="105"/>
                    <a:pt x="235" y="105"/>
                  </a:cubicBezTo>
                  <a:cubicBezTo>
                    <a:pt x="235" y="105"/>
                    <a:pt x="235" y="105"/>
                    <a:pt x="234" y="105"/>
                  </a:cubicBezTo>
                  <a:cubicBezTo>
                    <a:pt x="233" y="105"/>
                    <a:pt x="233" y="104"/>
                    <a:pt x="232" y="105"/>
                  </a:cubicBezTo>
                  <a:cubicBezTo>
                    <a:pt x="232" y="105"/>
                    <a:pt x="231" y="105"/>
                    <a:pt x="231" y="105"/>
                  </a:cubicBezTo>
                  <a:cubicBezTo>
                    <a:pt x="231" y="105"/>
                    <a:pt x="231" y="105"/>
                    <a:pt x="231" y="105"/>
                  </a:cubicBezTo>
                  <a:cubicBezTo>
                    <a:pt x="232" y="106"/>
                    <a:pt x="232" y="106"/>
                    <a:pt x="233" y="106"/>
                  </a:cubicBezTo>
                  <a:cubicBezTo>
                    <a:pt x="233" y="106"/>
                    <a:pt x="234" y="106"/>
                    <a:pt x="233" y="107"/>
                  </a:cubicBezTo>
                  <a:cubicBezTo>
                    <a:pt x="233" y="107"/>
                    <a:pt x="232" y="107"/>
                    <a:pt x="232" y="107"/>
                  </a:cubicBezTo>
                  <a:cubicBezTo>
                    <a:pt x="231" y="107"/>
                    <a:pt x="231" y="107"/>
                    <a:pt x="231" y="108"/>
                  </a:cubicBezTo>
                  <a:cubicBezTo>
                    <a:pt x="231" y="108"/>
                    <a:pt x="230" y="108"/>
                    <a:pt x="230" y="109"/>
                  </a:cubicBezTo>
                  <a:cubicBezTo>
                    <a:pt x="230" y="109"/>
                    <a:pt x="229" y="109"/>
                    <a:pt x="229" y="109"/>
                  </a:cubicBezTo>
                  <a:cubicBezTo>
                    <a:pt x="229" y="110"/>
                    <a:pt x="228" y="110"/>
                    <a:pt x="228" y="110"/>
                  </a:cubicBezTo>
                  <a:cubicBezTo>
                    <a:pt x="227" y="109"/>
                    <a:pt x="227" y="109"/>
                    <a:pt x="227" y="109"/>
                  </a:cubicBezTo>
                  <a:cubicBezTo>
                    <a:pt x="226" y="109"/>
                    <a:pt x="227" y="110"/>
                    <a:pt x="227" y="110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111"/>
                    <a:pt x="227" y="112"/>
                    <a:pt x="227" y="112"/>
                  </a:cubicBezTo>
                  <a:cubicBezTo>
                    <a:pt x="228" y="112"/>
                    <a:pt x="228" y="112"/>
                    <a:pt x="229" y="112"/>
                  </a:cubicBezTo>
                  <a:close/>
                  <a:moveTo>
                    <a:pt x="3" y="82"/>
                  </a:moveTo>
                  <a:cubicBezTo>
                    <a:pt x="3" y="82"/>
                    <a:pt x="3" y="83"/>
                    <a:pt x="3" y="83"/>
                  </a:cubicBezTo>
                  <a:cubicBezTo>
                    <a:pt x="3" y="83"/>
                    <a:pt x="7" y="84"/>
                    <a:pt x="7" y="84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58" y="108"/>
                    <a:pt x="58" y="108"/>
                    <a:pt x="58" y="108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1" y="109"/>
                    <a:pt x="62" y="108"/>
                    <a:pt x="62" y="108"/>
                  </a:cubicBezTo>
                  <a:cubicBezTo>
                    <a:pt x="63" y="108"/>
                    <a:pt x="65" y="108"/>
                    <a:pt x="65" y="108"/>
                  </a:cubicBezTo>
                  <a:cubicBezTo>
                    <a:pt x="65" y="108"/>
                    <a:pt x="67" y="109"/>
                    <a:pt x="67" y="109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9" y="110"/>
                    <a:pt x="69" y="110"/>
                  </a:cubicBezTo>
                  <a:cubicBezTo>
                    <a:pt x="69" y="110"/>
                    <a:pt x="70" y="109"/>
                    <a:pt x="70" y="110"/>
                  </a:cubicBezTo>
                  <a:cubicBezTo>
                    <a:pt x="70" y="110"/>
                    <a:pt x="72" y="111"/>
                    <a:pt x="72" y="111"/>
                  </a:cubicBezTo>
                  <a:cubicBezTo>
                    <a:pt x="72" y="111"/>
                    <a:pt x="75" y="111"/>
                    <a:pt x="76" y="111"/>
                  </a:cubicBezTo>
                  <a:cubicBezTo>
                    <a:pt x="77" y="111"/>
                    <a:pt x="78" y="112"/>
                    <a:pt x="79" y="112"/>
                  </a:cubicBezTo>
                  <a:cubicBezTo>
                    <a:pt x="79" y="112"/>
                    <a:pt x="80" y="113"/>
                    <a:pt x="80" y="113"/>
                  </a:cubicBezTo>
                  <a:cubicBezTo>
                    <a:pt x="80" y="114"/>
                    <a:pt x="80" y="115"/>
                    <a:pt x="80" y="116"/>
                  </a:cubicBezTo>
                  <a:cubicBezTo>
                    <a:pt x="80" y="116"/>
                    <a:pt x="79" y="117"/>
                    <a:pt x="79" y="117"/>
                  </a:cubicBezTo>
                  <a:cubicBezTo>
                    <a:pt x="79" y="117"/>
                    <a:pt x="79" y="118"/>
                    <a:pt x="79" y="118"/>
                  </a:cubicBezTo>
                  <a:cubicBezTo>
                    <a:pt x="79" y="119"/>
                    <a:pt x="80" y="119"/>
                    <a:pt x="81" y="119"/>
                  </a:cubicBezTo>
                  <a:cubicBezTo>
                    <a:pt x="81" y="120"/>
                    <a:pt x="83" y="119"/>
                    <a:pt x="83" y="119"/>
                  </a:cubicBezTo>
                  <a:cubicBezTo>
                    <a:pt x="84" y="119"/>
                    <a:pt x="84" y="119"/>
                    <a:pt x="84" y="120"/>
                  </a:cubicBezTo>
                  <a:cubicBezTo>
                    <a:pt x="84" y="120"/>
                    <a:pt x="85" y="121"/>
                    <a:pt x="85" y="121"/>
                  </a:cubicBezTo>
                  <a:cubicBezTo>
                    <a:pt x="85" y="121"/>
                    <a:pt x="88" y="121"/>
                    <a:pt x="88" y="121"/>
                  </a:cubicBezTo>
                  <a:cubicBezTo>
                    <a:pt x="88" y="121"/>
                    <a:pt x="91" y="124"/>
                    <a:pt x="91" y="124"/>
                  </a:cubicBezTo>
                  <a:cubicBezTo>
                    <a:pt x="91" y="125"/>
                    <a:pt x="90" y="125"/>
                    <a:pt x="90" y="126"/>
                  </a:cubicBezTo>
                  <a:cubicBezTo>
                    <a:pt x="90" y="126"/>
                    <a:pt x="89" y="127"/>
                    <a:pt x="90" y="127"/>
                  </a:cubicBezTo>
                  <a:cubicBezTo>
                    <a:pt x="90" y="127"/>
                    <a:pt x="90" y="128"/>
                    <a:pt x="90" y="129"/>
                  </a:cubicBezTo>
                  <a:cubicBezTo>
                    <a:pt x="91" y="129"/>
                    <a:pt x="91" y="130"/>
                    <a:pt x="91" y="130"/>
                  </a:cubicBezTo>
                  <a:cubicBezTo>
                    <a:pt x="90" y="130"/>
                    <a:pt x="89" y="131"/>
                    <a:pt x="89" y="131"/>
                  </a:cubicBezTo>
                  <a:cubicBezTo>
                    <a:pt x="89" y="131"/>
                    <a:pt x="89" y="131"/>
                    <a:pt x="89" y="132"/>
                  </a:cubicBezTo>
                  <a:cubicBezTo>
                    <a:pt x="89" y="132"/>
                    <a:pt x="90" y="133"/>
                    <a:pt x="90" y="133"/>
                  </a:cubicBezTo>
                  <a:cubicBezTo>
                    <a:pt x="90" y="133"/>
                    <a:pt x="89" y="135"/>
                    <a:pt x="89" y="135"/>
                  </a:cubicBezTo>
                  <a:cubicBezTo>
                    <a:pt x="89" y="135"/>
                    <a:pt x="88" y="137"/>
                    <a:pt x="88" y="137"/>
                  </a:cubicBezTo>
                  <a:cubicBezTo>
                    <a:pt x="88" y="138"/>
                    <a:pt x="87" y="139"/>
                    <a:pt x="87" y="140"/>
                  </a:cubicBezTo>
                  <a:cubicBezTo>
                    <a:pt x="87" y="140"/>
                    <a:pt x="87" y="140"/>
                    <a:pt x="88" y="140"/>
                  </a:cubicBezTo>
                  <a:cubicBezTo>
                    <a:pt x="88" y="141"/>
                    <a:pt x="91" y="141"/>
                    <a:pt x="91" y="141"/>
                  </a:cubicBezTo>
                  <a:cubicBezTo>
                    <a:pt x="91" y="141"/>
                    <a:pt x="93" y="139"/>
                    <a:pt x="93" y="139"/>
                  </a:cubicBezTo>
                  <a:cubicBezTo>
                    <a:pt x="93" y="139"/>
                    <a:pt x="95" y="139"/>
                    <a:pt x="95" y="139"/>
                  </a:cubicBezTo>
                  <a:cubicBezTo>
                    <a:pt x="95" y="140"/>
                    <a:pt x="95" y="140"/>
                    <a:pt x="95" y="141"/>
                  </a:cubicBezTo>
                  <a:cubicBezTo>
                    <a:pt x="95" y="141"/>
                    <a:pt x="93" y="146"/>
                    <a:pt x="93" y="147"/>
                  </a:cubicBezTo>
                  <a:cubicBezTo>
                    <a:pt x="93" y="147"/>
                    <a:pt x="92" y="149"/>
                    <a:pt x="92" y="149"/>
                  </a:cubicBezTo>
                  <a:cubicBezTo>
                    <a:pt x="92" y="149"/>
                    <a:pt x="93" y="151"/>
                    <a:pt x="94" y="151"/>
                  </a:cubicBezTo>
                  <a:cubicBezTo>
                    <a:pt x="94" y="151"/>
                    <a:pt x="95" y="152"/>
                    <a:pt x="95" y="152"/>
                  </a:cubicBezTo>
                  <a:cubicBezTo>
                    <a:pt x="95" y="152"/>
                    <a:pt x="96" y="153"/>
                    <a:pt x="97" y="153"/>
                  </a:cubicBezTo>
                  <a:cubicBezTo>
                    <a:pt x="97" y="153"/>
                    <a:pt x="97" y="152"/>
                    <a:pt x="98" y="151"/>
                  </a:cubicBezTo>
                  <a:cubicBezTo>
                    <a:pt x="98" y="150"/>
                    <a:pt x="99" y="149"/>
                    <a:pt x="100" y="148"/>
                  </a:cubicBezTo>
                  <a:cubicBezTo>
                    <a:pt x="102" y="145"/>
                    <a:pt x="103" y="143"/>
                    <a:pt x="105" y="141"/>
                  </a:cubicBezTo>
                  <a:cubicBezTo>
                    <a:pt x="106" y="140"/>
                    <a:pt x="106" y="139"/>
                    <a:pt x="107" y="138"/>
                  </a:cubicBezTo>
                  <a:cubicBezTo>
                    <a:pt x="107" y="137"/>
                    <a:pt x="108" y="136"/>
                    <a:pt x="108" y="135"/>
                  </a:cubicBezTo>
                  <a:cubicBezTo>
                    <a:pt x="108" y="134"/>
                    <a:pt x="109" y="133"/>
                    <a:pt x="109" y="132"/>
                  </a:cubicBezTo>
                  <a:cubicBezTo>
                    <a:pt x="109" y="132"/>
                    <a:pt x="110" y="131"/>
                    <a:pt x="110" y="130"/>
                  </a:cubicBezTo>
                  <a:cubicBezTo>
                    <a:pt x="110" y="130"/>
                    <a:pt x="110" y="129"/>
                    <a:pt x="111" y="128"/>
                  </a:cubicBezTo>
                  <a:cubicBezTo>
                    <a:pt x="111" y="127"/>
                    <a:pt x="111" y="127"/>
                    <a:pt x="112" y="126"/>
                  </a:cubicBezTo>
                  <a:cubicBezTo>
                    <a:pt x="112" y="126"/>
                    <a:pt x="112" y="126"/>
                    <a:pt x="112" y="126"/>
                  </a:cubicBezTo>
                  <a:cubicBezTo>
                    <a:pt x="113" y="126"/>
                    <a:pt x="113" y="126"/>
                    <a:pt x="113" y="126"/>
                  </a:cubicBezTo>
                  <a:cubicBezTo>
                    <a:pt x="114" y="126"/>
                    <a:pt x="114" y="125"/>
                    <a:pt x="114" y="125"/>
                  </a:cubicBezTo>
                  <a:cubicBezTo>
                    <a:pt x="114" y="125"/>
                    <a:pt x="115" y="124"/>
                    <a:pt x="115" y="124"/>
                  </a:cubicBezTo>
                  <a:cubicBezTo>
                    <a:pt x="115" y="124"/>
                    <a:pt x="115" y="123"/>
                    <a:pt x="115" y="123"/>
                  </a:cubicBezTo>
                  <a:cubicBezTo>
                    <a:pt x="115" y="123"/>
                    <a:pt x="115" y="123"/>
                    <a:pt x="116" y="122"/>
                  </a:cubicBezTo>
                  <a:cubicBezTo>
                    <a:pt x="116" y="122"/>
                    <a:pt x="116" y="122"/>
                    <a:pt x="116" y="122"/>
                  </a:cubicBezTo>
                  <a:cubicBezTo>
                    <a:pt x="116" y="121"/>
                    <a:pt x="115" y="120"/>
                    <a:pt x="116" y="120"/>
                  </a:cubicBezTo>
                  <a:cubicBezTo>
                    <a:pt x="116" y="119"/>
                    <a:pt x="116" y="119"/>
                    <a:pt x="117" y="119"/>
                  </a:cubicBezTo>
                  <a:cubicBezTo>
                    <a:pt x="117" y="118"/>
                    <a:pt x="117" y="118"/>
                    <a:pt x="117" y="117"/>
                  </a:cubicBezTo>
                  <a:cubicBezTo>
                    <a:pt x="117" y="117"/>
                    <a:pt x="117" y="116"/>
                    <a:pt x="118" y="116"/>
                  </a:cubicBezTo>
                  <a:cubicBezTo>
                    <a:pt x="118" y="116"/>
                    <a:pt x="118" y="115"/>
                    <a:pt x="118" y="114"/>
                  </a:cubicBezTo>
                  <a:cubicBezTo>
                    <a:pt x="119" y="114"/>
                    <a:pt x="120" y="115"/>
                    <a:pt x="120" y="116"/>
                  </a:cubicBezTo>
                  <a:cubicBezTo>
                    <a:pt x="120" y="116"/>
                    <a:pt x="119" y="116"/>
                    <a:pt x="119" y="116"/>
                  </a:cubicBezTo>
                  <a:cubicBezTo>
                    <a:pt x="119" y="116"/>
                    <a:pt x="119" y="117"/>
                    <a:pt x="119" y="117"/>
                  </a:cubicBezTo>
                  <a:cubicBezTo>
                    <a:pt x="118" y="117"/>
                    <a:pt x="118" y="118"/>
                    <a:pt x="118" y="118"/>
                  </a:cubicBezTo>
                  <a:cubicBezTo>
                    <a:pt x="118" y="119"/>
                    <a:pt x="118" y="120"/>
                    <a:pt x="118" y="120"/>
                  </a:cubicBezTo>
                  <a:cubicBezTo>
                    <a:pt x="118" y="121"/>
                    <a:pt x="118" y="122"/>
                    <a:pt x="118" y="122"/>
                  </a:cubicBezTo>
                  <a:cubicBezTo>
                    <a:pt x="118" y="123"/>
                    <a:pt x="119" y="123"/>
                    <a:pt x="119" y="123"/>
                  </a:cubicBezTo>
                  <a:cubicBezTo>
                    <a:pt x="119" y="123"/>
                    <a:pt x="119" y="123"/>
                    <a:pt x="119" y="123"/>
                  </a:cubicBezTo>
                  <a:cubicBezTo>
                    <a:pt x="119" y="124"/>
                    <a:pt x="119" y="124"/>
                    <a:pt x="120" y="124"/>
                  </a:cubicBezTo>
                  <a:cubicBezTo>
                    <a:pt x="121" y="124"/>
                    <a:pt x="121" y="124"/>
                    <a:pt x="122" y="123"/>
                  </a:cubicBezTo>
                  <a:cubicBezTo>
                    <a:pt x="122" y="123"/>
                    <a:pt x="123" y="123"/>
                    <a:pt x="123" y="123"/>
                  </a:cubicBezTo>
                  <a:cubicBezTo>
                    <a:pt x="124" y="122"/>
                    <a:pt x="124" y="122"/>
                    <a:pt x="124" y="121"/>
                  </a:cubicBezTo>
                  <a:cubicBezTo>
                    <a:pt x="124" y="120"/>
                    <a:pt x="124" y="120"/>
                    <a:pt x="124" y="119"/>
                  </a:cubicBezTo>
                  <a:cubicBezTo>
                    <a:pt x="125" y="119"/>
                    <a:pt x="125" y="118"/>
                    <a:pt x="125" y="117"/>
                  </a:cubicBezTo>
                  <a:cubicBezTo>
                    <a:pt x="125" y="117"/>
                    <a:pt x="125" y="116"/>
                    <a:pt x="126" y="116"/>
                  </a:cubicBezTo>
                  <a:cubicBezTo>
                    <a:pt x="126" y="116"/>
                    <a:pt x="126" y="117"/>
                    <a:pt x="127" y="117"/>
                  </a:cubicBezTo>
                  <a:cubicBezTo>
                    <a:pt x="127" y="117"/>
                    <a:pt x="127" y="117"/>
                    <a:pt x="127" y="117"/>
                  </a:cubicBezTo>
                  <a:cubicBezTo>
                    <a:pt x="128" y="117"/>
                    <a:pt x="129" y="117"/>
                    <a:pt x="130" y="117"/>
                  </a:cubicBezTo>
                  <a:cubicBezTo>
                    <a:pt x="130" y="117"/>
                    <a:pt x="131" y="117"/>
                    <a:pt x="131" y="116"/>
                  </a:cubicBezTo>
                  <a:cubicBezTo>
                    <a:pt x="132" y="116"/>
                    <a:pt x="132" y="115"/>
                    <a:pt x="133" y="115"/>
                  </a:cubicBezTo>
                  <a:cubicBezTo>
                    <a:pt x="134" y="114"/>
                    <a:pt x="134" y="115"/>
                    <a:pt x="134" y="116"/>
                  </a:cubicBezTo>
                  <a:cubicBezTo>
                    <a:pt x="134" y="117"/>
                    <a:pt x="133" y="117"/>
                    <a:pt x="133" y="118"/>
                  </a:cubicBezTo>
                  <a:cubicBezTo>
                    <a:pt x="132" y="119"/>
                    <a:pt x="132" y="120"/>
                    <a:pt x="131" y="121"/>
                  </a:cubicBezTo>
                  <a:cubicBezTo>
                    <a:pt x="130" y="122"/>
                    <a:pt x="129" y="123"/>
                    <a:pt x="129" y="123"/>
                  </a:cubicBezTo>
                  <a:cubicBezTo>
                    <a:pt x="128" y="124"/>
                    <a:pt x="128" y="125"/>
                    <a:pt x="128" y="126"/>
                  </a:cubicBezTo>
                  <a:cubicBezTo>
                    <a:pt x="128" y="126"/>
                    <a:pt x="129" y="126"/>
                    <a:pt x="129" y="127"/>
                  </a:cubicBezTo>
                  <a:cubicBezTo>
                    <a:pt x="129" y="127"/>
                    <a:pt x="130" y="127"/>
                    <a:pt x="130" y="128"/>
                  </a:cubicBezTo>
                  <a:cubicBezTo>
                    <a:pt x="130" y="128"/>
                    <a:pt x="131" y="129"/>
                    <a:pt x="131" y="128"/>
                  </a:cubicBezTo>
                  <a:cubicBezTo>
                    <a:pt x="131" y="128"/>
                    <a:pt x="131" y="127"/>
                    <a:pt x="131" y="127"/>
                  </a:cubicBezTo>
                  <a:cubicBezTo>
                    <a:pt x="131" y="127"/>
                    <a:pt x="131" y="127"/>
                    <a:pt x="131" y="126"/>
                  </a:cubicBezTo>
                  <a:cubicBezTo>
                    <a:pt x="131" y="126"/>
                    <a:pt x="131" y="126"/>
                    <a:pt x="132" y="125"/>
                  </a:cubicBezTo>
                  <a:cubicBezTo>
                    <a:pt x="132" y="125"/>
                    <a:pt x="132" y="124"/>
                    <a:pt x="133" y="123"/>
                  </a:cubicBezTo>
                  <a:cubicBezTo>
                    <a:pt x="133" y="123"/>
                    <a:pt x="134" y="122"/>
                    <a:pt x="135" y="122"/>
                  </a:cubicBezTo>
                  <a:cubicBezTo>
                    <a:pt x="136" y="121"/>
                    <a:pt x="137" y="121"/>
                    <a:pt x="138" y="120"/>
                  </a:cubicBezTo>
                  <a:cubicBezTo>
                    <a:pt x="139" y="120"/>
                    <a:pt x="140" y="120"/>
                    <a:pt x="140" y="119"/>
                  </a:cubicBezTo>
                  <a:cubicBezTo>
                    <a:pt x="140" y="119"/>
                    <a:pt x="140" y="118"/>
                    <a:pt x="140" y="118"/>
                  </a:cubicBezTo>
                  <a:cubicBezTo>
                    <a:pt x="140" y="116"/>
                    <a:pt x="141" y="115"/>
                    <a:pt x="142" y="114"/>
                  </a:cubicBezTo>
                  <a:cubicBezTo>
                    <a:pt x="142" y="113"/>
                    <a:pt x="144" y="112"/>
                    <a:pt x="145" y="112"/>
                  </a:cubicBezTo>
                  <a:cubicBezTo>
                    <a:pt x="146" y="111"/>
                    <a:pt x="146" y="111"/>
                    <a:pt x="147" y="111"/>
                  </a:cubicBezTo>
                  <a:cubicBezTo>
                    <a:pt x="147" y="111"/>
                    <a:pt x="148" y="111"/>
                    <a:pt x="149" y="111"/>
                  </a:cubicBezTo>
                  <a:cubicBezTo>
                    <a:pt x="149" y="111"/>
                    <a:pt x="150" y="111"/>
                    <a:pt x="150" y="111"/>
                  </a:cubicBezTo>
                  <a:cubicBezTo>
                    <a:pt x="151" y="111"/>
                    <a:pt x="151" y="111"/>
                    <a:pt x="152" y="112"/>
                  </a:cubicBezTo>
                  <a:cubicBezTo>
                    <a:pt x="152" y="112"/>
                    <a:pt x="153" y="113"/>
                    <a:pt x="154" y="113"/>
                  </a:cubicBezTo>
                  <a:cubicBezTo>
                    <a:pt x="155" y="112"/>
                    <a:pt x="155" y="112"/>
                    <a:pt x="155" y="111"/>
                  </a:cubicBezTo>
                  <a:cubicBezTo>
                    <a:pt x="156" y="111"/>
                    <a:pt x="157" y="110"/>
                    <a:pt x="157" y="110"/>
                  </a:cubicBezTo>
                  <a:cubicBezTo>
                    <a:pt x="164" y="110"/>
                    <a:pt x="164" y="110"/>
                    <a:pt x="164" y="110"/>
                  </a:cubicBezTo>
                  <a:cubicBezTo>
                    <a:pt x="165" y="110"/>
                    <a:pt x="165" y="110"/>
                    <a:pt x="165" y="110"/>
                  </a:cubicBezTo>
                  <a:cubicBezTo>
                    <a:pt x="166" y="110"/>
                    <a:pt x="166" y="109"/>
                    <a:pt x="166" y="108"/>
                  </a:cubicBezTo>
                  <a:cubicBezTo>
                    <a:pt x="167" y="107"/>
                    <a:pt x="167" y="107"/>
                    <a:pt x="168" y="106"/>
                  </a:cubicBezTo>
                  <a:cubicBezTo>
                    <a:pt x="168" y="106"/>
                    <a:pt x="169" y="105"/>
                    <a:pt x="169" y="105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70" y="104"/>
                    <a:pt x="170" y="104"/>
                    <a:pt x="170" y="104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3" y="104"/>
                    <a:pt x="174" y="105"/>
                    <a:pt x="175" y="105"/>
                  </a:cubicBezTo>
                  <a:cubicBezTo>
                    <a:pt x="176" y="105"/>
                    <a:pt x="177" y="106"/>
                    <a:pt x="178" y="106"/>
                  </a:cubicBezTo>
                  <a:cubicBezTo>
                    <a:pt x="178" y="106"/>
                    <a:pt x="179" y="106"/>
                    <a:pt x="180" y="106"/>
                  </a:cubicBezTo>
                  <a:cubicBezTo>
                    <a:pt x="180" y="107"/>
                    <a:pt x="181" y="107"/>
                    <a:pt x="181" y="107"/>
                  </a:cubicBezTo>
                  <a:cubicBezTo>
                    <a:pt x="182" y="107"/>
                    <a:pt x="183" y="108"/>
                    <a:pt x="183" y="108"/>
                  </a:cubicBezTo>
                  <a:cubicBezTo>
                    <a:pt x="184" y="108"/>
                    <a:pt x="184" y="108"/>
                    <a:pt x="185" y="108"/>
                  </a:cubicBezTo>
                  <a:cubicBezTo>
                    <a:pt x="186" y="108"/>
                    <a:pt x="186" y="108"/>
                    <a:pt x="187" y="109"/>
                  </a:cubicBezTo>
                  <a:cubicBezTo>
                    <a:pt x="187" y="109"/>
                    <a:pt x="187" y="110"/>
                    <a:pt x="187" y="110"/>
                  </a:cubicBezTo>
                  <a:cubicBezTo>
                    <a:pt x="187" y="110"/>
                    <a:pt x="188" y="111"/>
                    <a:pt x="188" y="111"/>
                  </a:cubicBezTo>
                  <a:cubicBezTo>
                    <a:pt x="189" y="111"/>
                    <a:pt x="189" y="112"/>
                    <a:pt x="190" y="113"/>
                  </a:cubicBezTo>
                  <a:cubicBezTo>
                    <a:pt x="191" y="113"/>
                    <a:pt x="191" y="114"/>
                    <a:pt x="192" y="114"/>
                  </a:cubicBezTo>
                  <a:cubicBezTo>
                    <a:pt x="192" y="115"/>
                    <a:pt x="193" y="116"/>
                    <a:pt x="194" y="116"/>
                  </a:cubicBezTo>
                  <a:cubicBezTo>
                    <a:pt x="194" y="116"/>
                    <a:pt x="194" y="116"/>
                    <a:pt x="194" y="116"/>
                  </a:cubicBezTo>
                  <a:cubicBezTo>
                    <a:pt x="195" y="117"/>
                    <a:pt x="195" y="117"/>
                    <a:pt x="196" y="117"/>
                  </a:cubicBezTo>
                  <a:cubicBezTo>
                    <a:pt x="197" y="116"/>
                    <a:pt x="195" y="115"/>
                    <a:pt x="196" y="114"/>
                  </a:cubicBezTo>
                  <a:cubicBezTo>
                    <a:pt x="196" y="114"/>
                    <a:pt x="196" y="113"/>
                    <a:pt x="197" y="113"/>
                  </a:cubicBezTo>
                  <a:cubicBezTo>
                    <a:pt x="197" y="113"/>
                    <a:pt x="197" y="112"/>
                    <a:pt x="197" y="112"/>
                  </a:cubicBezTo>
                  <a:cubicBezTo>
                    <a:pt x="198" y="111"/>
                    <a:pt x="198" y="110"/>
                    <a:pt x="198" y="109"/>
                  </a:cubicBezTo>
                  <a:cubicBezTo>
                    <a:pt x="199" y="109"/>
                    <a:pt x="198" y="108"/>
                    <a:pt x="199" y="107"/>
                  </a:cubicBezTo>
                  <a:cubicBezTo>
                    <a:pt x="199" y="107"/>
                    <a:pt x="199" y="107"/>
                    <a:pt x="199" y="107"/>
                  </a:cubicBezTo>
                  <a:cubicBezTo>
                    <a:pt x="199" y="107"/>
                    <a:pt x="200" y="107"/>
                    <a:pt x="200" y="107"/>
                  </a:cubicBezTo>
                  <a:cubicBezTo>
                    <a:pt x="200" y="107"/>
                    <a:pt x="201" y="107"/>
                    <a:pt x="201" y="108"/>
                  </a:cubicBezTo>
                  <a:cubicBezTo>
                    <a:pt x="201" y="108"/>
                    <a:pt x="201" y="108"/>
                    <a:pt x="202" y="108"/>
                  </a:cubicBezTo>
                  <a:cubicBezTo>
                    <a:pt x="202" y="108"/>
                    <a:pt x="203" y="109"/>
                    <a:pt x="204" y="109"/>
                  </a:cubicBezTo>
                  <a:cubicBezTo>
                    <a:pt x="204" y="110"/>
                    <a:pt x="204" y="110"/>
                    <a:pt x="204" y="111"/>
                  </a:cubicBezTo>
                  <a:cubicBezTo>
                    <a:pt x="205" y="111"/>
                    <a:pt x="206" y="110"/>
                    <a:pt x="207" y="110"/>
                  </a:cubicBezTo>
                  <a:cubicBezTo>
                    <a:pt x="207" y="110"/>
                    <a:pt x="208" y="111"/>
                    <a:pt x="208" y="110"/>
                  </a:cubicBezTo>
                  <a:cubicBezTo>
                    <a:pt x="208" y="110"/>
                    <a:pt x="208" y="110"/>
                    <a:pt x="208" y="110"/>
                  </a:cubicBezTo>
                  <a:cubicBezTo>
                    <a:pt x="209" y="109"/>
                    <a:pt x="210" y="110"/>
                    <a:pt x="210" y="110"/>
                  </a:cubicBezTo>
                  <a:cubicBezTo>
                    <a:pt x="212" y="109"/>
                    <a:pt x="214" y="109"/>
                    <a:pt x="215" y="110"/>
                  </a:cubicBezTo>
                  <a:cubicBezTo>
                    <a:pt x="216" y="110"/>
                    <a:pt x="217" y="110"/>
                    <a:pt x="217" y="110"/>
                  </a:cubicBezTo>
                  <a:cubicBezTo>
                    <a:pt x="218" y="110"/>
                    <a:pt x="218" y="110"/>
                    <a:pt x="219" y="111"/>
                  </a:cubicBezTo>
                  <a:cubicBezTo>
                    <a:pt x="219" y="111"/>
                    <a:pt x="220" y="111"/>
                    <a:pt x="221" y="112"/>
                  </a:cubicBezTo>
                  <a:cubicBezTo>
                    <a:pt x="222" y="112"/>
                    <a:pt x="222" y="112"/>
                    <a:pt x="222" y="112"/>
                  </a:cubicBezTo>
                  <a:cubicBezTo>
                    <a:pt x="223" y="112"/>
                    <a:pt x="223" y="111"/>
                    <a:pt x="223" y="111"/>
                  </a:cubicBezTo>
                  <a:cubicBezTo>
                    <a:pt x="224" y="111"/>
                    <a:pt x="224" y="110"/>
                    <a:pt x="224" y="110"/>
                  </a:cubicBezTo>
                  <a:cubicBezTo>
                    <a:pt x="223" y="109"/>
                    <a:pt x="223" y="108"/>
                    <a:pt x="222" y="108"/>
                  </a:cubicBezTo>
                  <a:cubicBezTo>
                    <a:pt x="221" y="107"/>
                    <a:pt x="221" y="107"/>
                    <a:pt x="221" y="107"/>
                  </a:cubicBezTo>
                  <a:cubicBezTo>
                    <a:pt x="220" y="106"/>
                    <a:pt x="220" y="106"/>
                    <a:pt x="220" y="106"/>
                  </a:cubicBezTo>
                  <a:cubicBezTo>
                    <a:pt x="220" y="106"/>
                    <a:pt x="220" y="105"/>
                    <a:pt x="220" y="105"/>
                  </a:cubicBezTo>
                  <a:cubicBezTo>
                    <a:pt x="220" y="105"/>
                    <a:pt x="220" y="105"/>
                    <a:pt x="220" y="104"/>
                  </a:cubicBezTo>
                  <a:cubicBezTo>
                    <a:pt x="220" y="104"/>
                    <a:pt x="220" y="104"/>
                    <a:pt x="220" y="104"/>
                  </a:cubicBezTo>
                  <a:cubicBezTo>
                    <a:pt x="221" y="103"/>
                    <a:pt x="220" y="103"/>
                    <a:pt x="220" y="102"/>
                  </a:cubicBezTo>
                  <a:cubicBezTo>
                    <a:pt x="220" y="102"/>
                    <a:pt x="219" y="101"/>
                    <a:pt x="219" y="101"/>
                  </a:cubicBezTo>
                  <a:cubicBezTo>
                    <a:pt x="219" y="101"/>
                    <a:pt x="218" y="101"/>
                    <a:pt x="217" y="101"/>
                  </a:cubicBezTo>
                  <a:cubicBezTo>
                    <a:pt x="217" y="101"/>
                    <a:pt x="216" y="101"/>
                    <a:pt x="216" y="101"/>
                  </a:cubicBezTo>
                  <a:cubicBezTo>
                    <a:pt x="215" y="101"/>
                    <a:pt x="213" y="101"/>
                    <a:pt x="213" y="100"/>
                  </a:cubicBezTo>
                  <a:cubicBezTo>
                    <a:pt x="213" y="100"/>
                    <a:pt x="213" y="99"/>
                    <a:pt x="213" y="99"/>
                  </a:cubicBezTo>
                  <a:cubicBezTo>
                    <a:pt x="213" y="98"/>
                    <a:pt x="213" y="98"/>
                    <a:pt x="214" y="98"/>
                  </a:cubicBezTo>
                  <a:cubicBezTo>
                    <a:pt x="214" y="98"/>
                    <a:pt x="214" y="97"/>
                    <a:pt x="214" y="97"/>
                  </a:cubicBezTo>
                  <a:cubicBezTo>
                    <a:pt x="214" y="97"/>
                    <a:pt x="214" y="96"/>
                    <a:pt x="215" y="96"/>
                  </a:cubicBezTo>
                  <a:cubicBezTo>
                    <a:pt x="215" y="96"/>
                    <a:pt x="215" y="97"/>
                    <a:pt x="215" y="97"/>
                  </a:cubicBezTo>
                  <a:cubicBezTo>
                    <a:pt x="215" y="97"/>
                    <a:pt x="216" y="97"/>
                    <a:pt x="216" y="97"/>
                  </a:cubicBezTo>
                  <a:cubicBezTo>
                    <a:pt x="216" y="98"/>
                    <a:pt x="217" y="98"/>
                    <a:pt x="217" y="98"/>
                  </a:cubicBezTo>
                  <a:cubicBezTo>
                    <a:pt x="217" y="97"/>
                    <a:pt x="217" y="97"/>
                    <a:pt x="217" y="97"/>
                  </a:cubicBezTo>
                  <a:cubicBezTo>
                    <a:pt x="217" y="95"/>
                    <a:pt x="217" y="94"/>
                    <a:pt x="216" y="94"/>
                  </a:cubicBezTo>
                  <a:cubicBezTo>
                    <a:pt x="215" y="93"/>
                    <a:pt x="215" y="93"/>
                    <a:pt x="215" y="94"/>
                  </a:cubicBezTo>
                  <a:cubicBezTo>
                    <a:pt x="215" y="95"/>
                    <a:pt x="214" y="94"/>
                    <a:pt x="214" y="94"/>
                  </a:cubicBezTo>
                  <a:cubicBezTo>
                    <a:pt x="214" y="93"/>
                    <a:pt x="214" y="93"/>
                    <a:pt x="214" y="92"/>
                  </a:cubicBezTo>
                  <a:cubicBezTo>
                    <a:pt x="214" y="92"/>
                    <a:pt x="214" y="92"/>
                    <a:pt x="214" y="91"/>
                  </a:cubicBezTo>
                  <a:cubicBezTo>
                    <a:pt x="214" y="91"/>
                    <a:pt x="213" y="91"/>
                    <a:pt x="213" y="91"/>
                  </a:cubicBezTo>
                  <a:cubicBezTo>
                    <a:pt x="212" y="90"/>
                    <a:pt x="213" y="89"/>
                    <a:pt x="213" y="89"/>
                  </a:cubicBezTo>
                  <a:cubicBezTo>
                    <a:pt x="213" y="88"/>
                    <a:pt x="212" y="88"/>
                    <a:pt x="212" y="88"/>
                  </a:cubicBezTo>
                  <a:cubicBezTo>
                    <a:pt x="211" y="87"/>
                    <a:pt x="212" y="87"/>
                    <a:pt x="213" y="87"/>
                  </a:cubicBezTo>
                  <a:cubicBezTo>
                    <a:pt x="213" y="88"/>
                    <a:pt x="214" y="89"/>
                    <a:pt x="214" y="89"/>
                  </a:cubicBezTo>
                  <a:cubicBezTo>
                    <a:pt x="215" y="89"/>
                    <a:pt x="215" y="89"/>
                    <a:pt x="215" y="88"/>
                  </a:cubicBezTo>
                  <a:cubicBezTo>
                    <a:pt x="216" y="88"/>
                    <a:pt x="216" y="87"/>
                    <a:pt x="216" y="86"/>
                  </a:cubicBezTo>
                  <a:cubicBezTo>
                    <a:pt x="216" y="85"/>
                    <a:pt x="217" y="84"/>
                    <a:pt x="216" y="83"/>
                  </a:cubicBezTo>
                  <a:cubicBezTo>
                    <a:pt x="216" y="83"/>
                    <a:pt x="216" y="83"/>
                    <a:pt x="215" y="83"/>
                  </a:cubicBezTo>
                  <a:cubicBezTo>
                    <a:pt x="215" y="83"/>
                    <a:pt x="215" y="83"/>
                    <a:pt x="214" y="84"/>
                  </a:cubicBezTo>
                  <a:cubicBezTo>
                    <a:pt x="214" y="84"/>
                    <a:pt x="214" y="84"/>
                    <a:pt x="214" y="84"/>
                  </a:cubicBezTo>
                  <a:cubicBezTo>
                    <a:pt x="214" y="84"/>
                    <a:pt x="213" y="84"/>
                    <a:pt x="21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3" y="85"/>
                    <a:pt x="213" y="85"/>
                    <a:pt x="212" y="86"/>
                  </a:cubicBezTo>
                  <a:cubicBezTo>
                    <a:pt x="212" y="86"/>
                    <a:pt x="212" y="86"/>
                    <a:pt x="211" y="85"/>
                  </a:cubicBezTo>
                  <a:cubicBezTo>
                    <a:pt x="211" y="85"/>
                    <a:pt x="211" y="85"/>
                    <a:pt x="211" y="85"/>
                  </a:cubicBezTo>
                  <a:cubicBezTo>
                    <a:pt x="211" y="85"/>
                    <a:pt x="211" y="85"/>
                    <a:pt x="210" y="85"/>
                  </a:cubicBezTo>
                  <a:cubicBezTo>
                    <a:pt x="210" y="85"/>
                    <a:pt x="210" y="84"/>
                    <a:pt x="209" y="84"/>
                  </a:cubicBezTo>
                  <a:cubicBezTo>
                    <a:pt x="209" y="84"/>
                    <a:pt x="208" y="84"/>
                    <a:pt x="208" y="85"/>
                  </a:cubicBezTo>
                  <a:cubicBezTo>
                    <a:pt x="208" y="85"/>
                    <a:pt x="207" y="86"/>
                    <a:pt x="207" y="86"/>
                  </a:cubicBezTo>
                  <a:cubicBezTo>
                    <a:pt x="206" y="86"/>
                    <a:pt x="206" y="86"/>
                    <a:pt x="205" y="87"/>
                  </a:cubicBezTo>
                  <a:cubicBezTo>
                    <a:pt x="204" y="87"/>
                    <a:pt x="204" y="87"/>
                    <a:pt x="203" y="88"/>
                  </a:cubicBezTo>
                  <a:cubicBezTo>
                    <a:pt x="202" y="88"/>
                    <a:pt x="202" y="88"/>
                    <a:pt x="201" y="88"/>
                  </a:cubicBezTo>
                  <a:cubicBezTo>
                    <a:pt x="200" y="87"/>
                    <a:pt x="200" y="87"/>
                    <a:pt x="199" y="86"/>
                  </a:cubicBezTo>
                  <a:cubicBezTo>
                    <a:pt x="199" y="86"/>
                    <a:pt x="198" y="85"/>
                    <a:pt x="198" y="85"/>
                  </a:cubicBezTo>
                  <a:cubicBezTo>
                    <a:pt x="198" y="85"/>
                    <a:pt x="197" y="85"/>
                    <a:pt x="197" y="85"/>
                  </a:cubicBezTo>
                  <a:cubicBezTo>
                    <a:pt x="197" y="85"/>
                    <a:pt x="196" y="86"/>
                    <a:pt x="196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195" y="86"/>
                    <a:pt x="194" y="86"/>
                    <a:pt x="194" y="86"/>
                  </a:cubicBezTo>
                  <a:cubicBezTo>
                    <a:pt x="194" y="87"/>
                    <a:pt x="193" y="87"/>
                    <a:pt x="193" y="87"/>
                  </a:cubicBezTo>
                  <a:cubicBezTo>
                    <a:pt x="193" y="87"/>
                    <a:pt x="193" y="87"/>
                    <a:pt x="192" y="87"/>
                  </a:cubicBezTo>
                  <a:cubicBezTo>
                    <a:pt x="192" y="87"/>
                    <a:pt x="191" y="86"/>
                    <a:pt x="191" y="86"/>
                  </a:cubicBezTo>
                  <a:cubicBezTo>
                    <a:pt x="190" y="86"/>
                    <a:pt x="190" y="85"/>
                    <a:pt x="189" y="85"/>
                  </a:cubicBezTo>
                  <a:cubicBezTo>
                    <a:pt x="189" y="85"/>
                    <a:pt x="189" y="84"/>
                    <a:pt x="188" y="85"/>
                  </a:cubicBezTo>
                  <a:cubicBezTo>
                    <a:pt x="188" y="85"/>
                    <a:pt x="187" y="85"/>
                    <a:pt x="187" y="85"/>
                  </a:cubicBezTo>
                  <a:cubicBezTo>
                    <a:pt x="186" y="85"/>
                    <a:pt x="186" y="85"/>
                    <a:pt x="186" y="85"/>
                  </a:cubicBezTo>
                  <a:cubicBezTo>
                    <a:pt x="186" y="84"/>
                    <a:pt x="186" y="84"/>
                    <a:pt x="186" y="83"/>
                  </a:cubicBezTo>
                  <a:cubicBezTo>
                    <a:pt x="186" y="82"/>
                    <a:pt x="186" y="82"/>
                    <a:pt x="186" y="81"/>
                  </a:cubicBezTo>
                  <a:cubicBezTo>
                    <a:pt x="186" y="80"/>
                    <a:pt x="186" y="79"/>
                    <a:pt x="186" y="78"/>
                  </a:cubicBezTo>
                  <a:cubicBezTo>
                    <a:pt x="186" y="76"/>
                    <a:pt x="186" y="74"/>
                    <a:pt x="187" y="73"/>
                  </a:cubicBezTo>
                  <a:cubicBezTo>
                    <a:pt x="187" y="72"/>
                    <a:pt x="188" y="72"/>
                    <a:pt x="188" y="71"/>
                  </a:cubicBezTo>
                  <a:cubicBezTo>
                    <a:pt x="187" y="71"/>
                    <a:pt x="186" y="71"/>
                    <a:pt x="186" y="71"/>
                  </a:cubicBezTo>
                  <a:cubicBezTo>
                    <a:pt x="182" y="71"/>
                    <a:pt x="182" y="71"/>
                    <a:pt x="182" y="71"/>
                  </a:cubicBezTo>
                  <a:cubicBezTo>
                    <a:pt x="181" y="71"/>
                    <a:pt x="181" y="72"/>
                    <a:pt x="180" y="72"/>
                  </a:cubicBezTo>
                  <a:cubicBezTo>
                    <a:pt x="178" y="72"/>
                    <a:pt x="177" y="72"/>
                    <a:pt x="176" y="73"/>
                  </a:cubicBezTo>
                  <a:cubicBezTo>
                    <a:pt x="175" y="73"/>
                    <a:pt x="174" y="74"/>
                    <a:pt x="173" y="74"/>
                  </a:cubicBezTo>
                  <a:cubicBezTo>
                    <a:pt x="173" y="74"/>
                    <a:pt x="172" y="75"/>
                    <a:pt x="172" y="75"/>
                  </a:cubicBezTo>
                  <a:cubicBezTo>
                    <a:pt x="171" y="75"/>
                    <a:pt x="170" y="75"/>
                    <a:pt x="170" y="75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48" y="75"/>
                    <a:pt x="148" y="75"/>
                    <a:pt x="148" y="75"/>
                  </a:cubicBezTo>
                  <a:cubicBezTo>
                    <a:pt x="147" y="76"/>
                    <a:pt x="147" y="76"/>
                    <a:pt x="146" y="76"/>
                  </a:cubicBezTo>
                  <a:cubicBezTo>
                    <a:pt x="146" y="76"/>
                    <a:pt x="145" y="77"/>
                    <a:pt x="144" y="78"/>
                  </a:cubicBezTo>
                  <a:cubicBezTo>
                    <a:pt x="144" y="78"/>
                    <a:pt x="144" y="78"/>
                    <a:pt x="143" y="79"/>
                  </a:cubicBezTo>
                  <a:cubicBezTo>
                    <a:pt x="143" y="79"/>
                    <a:pt x="142" y="79"/>
                    <a:pt x="142" y="80"/>
                  </a:cubicBezTo>
                  <a:cubicBezTo>
                    <a:pt x="141" y="80"/>
                    <a:pt x="141" y="80"/>
                    <a:pt x="140" y="80"/>
                  </a:cubicBezTo>
                  <a:cubicBezTo>
                    <a:pt x="139" y="81"/>
                    <a:pt x="139" y="81"/>
                    <a:pt x="138" y="81"/>
                  </a:cubicBezTo>
                  <a:cubicBezTo>
                    <a:pt x="137" y="82"/>
                    <a:pt x="136" y="83"/>
                    <a:pt x="135" y="84"/>
                  </a:cubicBezTo>
                  <a:cubicBezTo>
                    <a:pt x="134" y="84"/>
                    <a:pt x="133" y="85"/>
                    <a:pt x="133" y="86"/>
                  </a:cubicBezTo>
                  <a:cubicBezTo>
                    <a:pt x="132" y="86"/>
                    <a:pt x="133" y="87"/>
                    <a:pt x="132" y="87"/>
                  </a:cubicBezTo>
                  <a:cubicBezTo>
                    <a:pt x="132" y="87"/>
                    <a:pt x="132" y="87"/>
                    <a:pt x="131" y="88"/>
                  </a:cubicBezTo>
                  <a:cubicBezTo>
                    <a:pt x="131" y="88"/>
                    <a:pt x="131" y="88"/>
                    <a:pt x="130" y="88"/>
                  </a:cubicBezTo>
                  <a:cubicBezTo>
                    <a:pt x="130" y="88"/>
                    <a:pt x="130" y="88"/>
                    <a:pt x="130" y="87"/>
                  </a:cubicBezTo>
                  <a:cubicBezTo>
                    <a:pt x="129" y="87"/>
                    <a:pt x="129" y="86"/>
                    <a:pt x="128" y="86"/>
                  </a:cubicBezTo>
                  <a:cubicBezTo>
                    <a:pt x="127" y="86"/>
                    <a:pt x="127" y="85"/>
                    <a:pt x="126" y="86"/>
                  </a:cubicBezTo>
                  <a:cubicBezTo>
                    <a:pt x="126" y="86"/>
                    <a:pt x="125" y="86"/>
                    <a:pt x="124" y="87"/>
                  </a:cubicBezTo>
                  <a:cubicBezTo>
                    <a:pt x="123" y="87"/>
                    <a:pt x="122" y="88"/>
                    <a:pt x="122" y="87"/>
                  </a:cubicBezTo>
                  <a:cubicBezTo>
                    <a:pt x="121" y="87"/>
                    <a:pt x="121" y="86"/>
                    <a:pt x="121" y="86"/>
                  </a:cubicBezTo>
                  <a:cubicBezTo>
                    <a:pt x="121" y="85"/>
                    <a:pt x="120" y="85"/>
                    <a:pt x="119" y="84"/>
                  </a:cubicBezTo>
                  <a:cubicBezTo>
                    <a:pt x="119" y="83"/>
                    <a:pt x="119" y="83"/>
                    <a:pt x="118" y="83"/>
                  </a:cubicBezTo>
                  <a:cubicBezTo>
                    <a:pt x="117" y="83"/>
                    <a:pt x="116" y="84"/>
                    <a:pt x="115" y="84"/>
                  </a:cubicBezTo>
                  <a:cubicBezTo>
                    <a:pt x="113" y="85"/>
                    <a:pt x="111" y="85"/>
                    <a:pt x="108" y="85"/>
                  </a:cubicBezTo>
                  <a:cubicBezTo>
                    <a:pt x="107" y="84"/>
                    <a:pt x="106" y="84"/>
                    <a:pt x="105" y="83"/>
                  </a:cubicBezTo>
                  <a:cubicBezTo>
                    <a:pt x="105" y="83"/>
                    <a:pt x="105" y="83"/>
                    <a:pt x="104" y="82"/>
                  </a:cubicBezTo>
                  <a:cubicBezTo>
                    <a:pt x="104" y="82"/>
                    <a:pt x="105" y="81"/>
                    <a:pt x="104" y="80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04" y="80"/>
                    <a:pt x="104" y="80"/>
                    <a:pt x="104" y="79"/>
                  </a:cubicBezTo>
                  <a:cubicBezTo>
                    <a:pt x="103" y="79"/>
                    <a:pt x="103" y="79"/>
                    <a:pt x="102" y="78"/>
                  </a:cubicBezTo>
                  <a:cubicBezTo>
                    <a:pt x="102" y="78"/>
                    <a:pt x="101" y="77"/>
                    <a:pt x="101" y="76"/>
                  </a:cubicBezTo>
                  <a:cubicBezTo>
                    <a:pt x="100" y="76"/>
                    <a:pt x="99" y="75"/>
                    <a:pt x="99" y="75"/>
                  </a:cubicBezTo>
                  <a:cubicBezTo>
                    <a:pt x="99" y="74"/>
                    <a:pt x="98" y="74"/>
                    <a:pt x="98" y="73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7" y="71"/>
                    <a:pt x="97" y="71"/>
                  </a:cubicBezTo>
                  <a:cubicBezTo>
                    <a:pt x="97" y="70"/>
                    <a:pt x="98" y="70"/>
                    <a:pt x="97" y="70"/>
                  </a:cubicBezTo>
                  <a:cubicBezTo>
                    <a:pt x="97" y="70"/>
                    <a:pt x="97" y="70"/>
                    <a:pt x="96" y="70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69"/>
                    <a:pt x="95" y="69"/>
                    <a:pt x="95" y="69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3" y="68"/>
                    <a:pt x="93" y="68"/>
                    <a:pt x="93" y="67"/>
                  </a:cubicBezTo>
                  <a:cubicBezTo>
                    <a:pt x="92" y="67"/>
                    <a:pt x="91" y="66"/>
                    <a:pt x="91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89" y="65"/>
                    <a:pt x="89" y="64"/>
                    <a:pt x="88" y="64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6" y="64"/>
                    <a:pt x="86" y="64"/>
                    <a:pt x="85" y="64"/>
                  </a:cubicBezTo>
                  <a:cubicBezTo>
                    <a:pt x="84" y="64"/>
                    <a:pt x="83" y="64"/>
                    <a:pt x="82" y="64"/>
                  </a:cubicBezTo>
                  <a:cubicBezTo>
                    <a:pt x="81" y="64"/>
                    <a:pt x="81" y="64"/>
                    <a:pt x="80" y="64"/>
                  </a:cubicBezTo>
                  <a:cubicBezTo>
                    <a:pt x="80" y="63"/>
                    <a:pt x="79" y="63"/>
                    <a:pt x="79" y="64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8" y="64"/>
                    <a:pt x="77" y="64"/>
                    <a:pt x="77" y="64"/>
                  </a:cubicBezTo>
                  <a:cubicBezTo>
                    <a:pt x="77" y="64"/>
                    <a:pt x="77" y="63"/>
                    <a:pt x="77" y="62"/>
                  </a:cubicBezTo>
                  <a:cubicBezTo>
                    <a:pt x="77" y="62"/>
                    <a:pt x="76" y="62"/>
                    <a:pt x="75" y="62"/>
                  </a:cubicBezTo>
                  <a:cubicBezTo>
                    <a:pt x="75" y="62"/>
                    <a:pt x="74" y="63"/>
                    <a:pt x="74" y="63"/>
                  </a:cubicBezTo>
                  <a:cubicBezTo>
                    <a:pt x="74" y="64"/>
                    <a:pt x="74" y="64"/>
                    <a:pt x="73" y="64"/>
                  </a:cubicBezTo>
                  <a:cubicBezTo>
                    <a:pt x="73" y="65"/>
                    <a:pt x="73" y="65"/>
                    <a:pt x="72" y="65"/>
                  </a:cubicBezTo>
                  <a:cubicBezTo>
                    <a:pt x="72" y="66"/>
                    <a:pt x="71" y="66"/>
                    <a:pt x="70" y="67"/>
                  </a:cubicBezTo>
                  <a:cubicBezTo>
                    <a:pt x="70" y="68"/>
                    <a:pt x="69" y="69"/>
                    <a:pt x="68" y="70"/>
                  </a:cubicBezTo>
                  <a:cubicBezTo>
                    <a:pt x="68" y="70"/>
                    <a:pt x="68" y="71"/>
                    <a:pt x="67" y="71"/>
                  </a:cubicBezTo>
                  <a:cubicBezTo>
                    <a:pt x="67" y="70"/>
                    <a:pt x="67" y="69"/>
                    <a:pt x="67" y="69"/>
                  </a:cubicBezTo>
                  <a:cubicBezTo>
                    <a:pt x="67" y="67"/>
                    <a:pt x="67" y="66"/>
                    <a:pt x="67" y="64"/>
                  </a:cubicBezTo>
                  <a:cubicBezTo>
                    <a:pt x="68" y="63"/>
                    <a:pt x="68" y="62"/>
                    <a:pt x="68" y="60"/>
                  </a:cubicBezTo>
                  <a:cubicBezTo>
                    <a:pt x="69" y="60"/>
                    <a:pt x="69" y="59"/>
                    <a:pt x="70" y="59"/>
                  </a:cubicBezTo>
                  <a:cubicBezTo>
                    <a:pt x="70" y="58"/>
                    <a:pt x="70" y="57"/>
                    <a:pt x="71" y="56"/>
                  </a:cubicBezTo>
                  <a:cubicBezTo>
                    <a:pt x="71" y="56"/>
                    <a:pt x="72" y="55"/>
                    <a:pt x="72" y="54"/>
                  </a:cubicBezTo>
                  <a:cubicBezTo>
                    <a:pt x="73" y="53"/>
                    <a:pt x="73" y="53"/>
                    <a:pt x="74" y="52"/>
                  </a:cubicBezTo>
                  <a:cubicBezTo>
                    <a:pt x="75" y="50"/>
                    <a:pt x="76" y="49"/>
                    <a:pt x="77" y="48"/>
                  </a:cubicBezTo>
                  <a:cubicBezTo>
                    <a:pt x="78" y="47"/>
                    <a:pt x="79" y="47"/>
                    <a:pt x="79" y="47"/>
                  </a:cubicBezTo>
                  <a:cubicBezTo>
                    <a:pt x="80" y="46"/>
                    <a:pt x="80" y="46"/>
                    <a:pt x="81" y="45"/>
                  </a:cubicBezTo>
                  <a:cubicBezTo>
                    <a:pt x="81" y="45"/>
                    <a:pt x="82" y="45"/>
                    <a:pt x="83" y="44"/>
                  </a:cubicBezTo>
                  <a:cubicBezTo>
                    <a:pt x="83" y="43"/>
                    <a:pt x="84" y="43"/>
                    <a:pt x="84" y="42"/>
                  </a:cubicBezTo>
                  <a:cubicBezTo>
                    <a:pt x="85" y="41"/>
                    <a:pt x="85" y="40"/>
                    <a:pt x="86" y="40"/>
                  </a:cubicBezTo>
                  <a:cubicBezTo>
                    <a:pt x="88" y="39"/>
                    <a:pt x="90" y="40"/>
                    <a:pt x="91" y="39"/>
                  </a:cubicBezTo>
                  <a:cubicBezTo>
                    <a:pt x="92" y="38"/>
                    <a:pt x="92" y="38"/>
                    <a:pt x="92" y="37"/>
                  </a:cubicBezTo>
                  <a:cubicBezTo>
                    <a:pt x="93" y="37"/>
                    <a:pt x="93" y="37"/>
                    <a:pt x="93" y="36"/>
                  </a:cubicBezTo>
                  <a:cubicBezTo>
                    <a:pt x="92" y="36"/>
                    <a:pt x="91" y="35"/>
                    <a:pt x="91" y="35"/>
                  </a:cubicBezTo>
                  <a:cubicBezTo>
                    <a:pt x="89" y="34"/>
                    <a:pt x="88" y="34"/>
                    <a:pt x="87" y="34"/>
                  </a:cubicBezTo>
                  <a:cubicBezTo>
                    <a:pt x="86" y="35"/>
                    <a:pt x="84" y="34"/>
                    <a:pt x="83" y="35"/>
                  </a:cubicBezTo>
                  <a:cubicBezTo>
                    <a:pt x="82" y="35"/>
                    <a:pt x="82" y="35"/>
                    <a:pt x="81" y="35"/>
                  </a:cubicBezTo>
                  <a:cubicBezTo>
                    <a:pt x="80" y="35"/>
                    <a:pt x="79" y="35"/>
                    <a:pt x="78" y="35"/>
                  </a:cubicBezTo>
                  <a:cubicBezTo>
                    <a:pt x="77" y="36"/>
                    <a:pt x="76" y="36"/>
                    <a:pt x="75" y="37"/>
                  </a:cubicBezTo>
                  <a:cubicBezTo>
                    <a:pt x="74" y="37"/>
                    <a:pt x="73" y="38"/>
                    <a:pt x="73" y="38"/>
                  </a:cubicBezTo>
                  <a:cubicBezTo>
                    <a:pt x="72" y="38"/>
                    <a:pt x="71" y="39"/>
                    <a:pt x="70" y="39"/>
                  </a:cubicBezTo>
                  <a:cubicBezTo>
                    <a:pt x="69" y="40"/>
                    <a:pt x="68" y="41"/>
                    <a:pt x="68" y="42"/>
                  </a:cubicBezTo>
                  <a:cubicBezTo>
                    <a:pt x="67" y="43"/>
                    <a:pt x="67" y="44"/>
                    <a:pt x="66" y="44"/>
                  </a:cubicBezTo>
                  <a:cubicBezTo>
                    <a:pt x="65" y="45"/>
                    <a:pt x="64" y="46"/>
                    <a:pt x="63" y="46"/>
                  </a:cubicBezTo>
                  <a:cubicBezTo>
                    <a:pt x="63" y="47"/>
                    <a:pt x="63" y="47"/>
                    <a:pt x="62" y="47"/>
                  </a:cubicBezTo>
                  <a:cubicBezTo>
                    <a:pt x="62" y="48"/>
                    <a:pt x="61" y="48"/>
                    <a:pt x="61" y="48"/>
                  </a:cubicBezTo>
                  <a:cubicBezTo>
                    <a:pt x="60" y="48"/>
                    <a:pt x="60" y="49"/>
                    <a:pt x="60" y="49"/>
                  </a:cubicBezTo>
                  <a:cubicBezTo>
                    <a:pt x="59" y="49"/>
                    <a:pt x="59" y="49"/>
                    <a:pt x="58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7" y="50"/>
                    <a:pt x="57" y="51"/>
                    <a:pt x="57" y="51"/>
                  </a:cubicBezTo>
                  <a:cubicBezTo>
                    <a:pt x="56" y="51"/>
                    <a:pt x="56" y="52"/>
                    <a:pt x="55" y="52"/>
                  </a:cubicBezTo>
                  <a:cubicBezTo>
                    <a:pt x="54" y="53"/>
                    <a:pt x="53" y="53"/>
                    <a:pt x="53" y="54"/>
                  </a:cubicBezTo>
                  <a:cubicBezTo>
                    <a:pt x="52" y="54"/>
                    <a:pt x="52" y="55"/>
                    <a:pt x="52" y="55"/>
                  </a:cubicBezTo>
                  <a:cubicBezTo>
                    <a:pt x="52" y="56"/>
                    <a:pt x="51" y="57"/>
                    <a:pt x="51" y="57"/>
                  </a:cubicBezTo>
                  <a:cubicBezTo>
                    <a:pt x="50" y="58"/>
                    <a:pt x="50" y="58"/>
                    <a:pt x="49" y="59"/>
                  </a:cubicBezTo>
                  <a:cubicBezTo>
                    <a:pt x="49" y="59"/>
                    <a:pt x="48" y="59"/>
                    <a:pt x="47" y="59"/>
                  </a:cubicBezTo>
                  <a:cubicBezTo>
                    <a:pt x="47" y="60"/>
                    <a:pt x="46" y="60"/>
                    <a:pt x="45" y="60"/>
                  </a:cubicBezTo>
                  <a:cubicBezTo>
                    <a:pt x="45" y="60"/>
                    <a:pt x="44" y="60"/>
                    <a:pt x="43" y="61"/>
                  </a:cubicBezTo>
                  <a:cubicBezTo>
                    <a:pt x="42" y="61"/>
                    <a:pt x="41" y="62"/>
                    <a:pt x="40" y="63"/>
                  </a:cubicBezTo>
                  <a:cubicBezTo>
                    <a:pt x="38" y="65"/>
                    <a:pt x="36" y="66"/>
                    <a:pt x="33" y="67"/>
                  </a:cubicBezTo>
                  <a:cubicBezTo>
                    <a:pt x="32" y="67"/>
                    <a:pt x="31" y="67"/>
                    <a:pt x="29" y="68"/>
                  </a:cubicBezTo>
                  <a:cubicBezTo>
                    <a:pt x="28" y="68"/>
                    <a:pt x="27" y="68"/>
                    <a:pt x="26" y="68"/>
                  </a:cubicBezTo>
                  <a:cubicBezTo>
                    <a:pt x="24" y="68"/>
                    <a:pt x="22" y="68"/>
                    <a:pt x="22" y="69"/>
                  </a:cubicBezTo>
                  <a:cubicBezTo>
                    <a:pt x="21" y="69"/>
                    <a:pt x="20" y="69"/>
                    <a:pt x="20" y="70"/>
                  </a:cubicBezTo>
                  <a:cubicBezTo>
                    <a:pt x="20" y="70"/>
                    <a:pt x="19" y="70"/>
                    <a:pt x="19" y="71"/>
                  </a:cubicBezTo>
                  <a:cubicBezTo>
                    <a:pt x="18" y="72"/>
                    <a:pt x="16" y="74"/>
                    <a:pt x="15" y="74"/>
                  </a:cubicBezTo>
                  <a:cubicBezTo>
                    <a:pt x="14" y="75"/>
                    <a:pt x="12" y="76"/>
                    <a:pt x="11" y="77"/>
                  </a:cubicBezTo>
                  <a:cubicBezTo>
                    <a:pt x="11" y="77"/>
                    <a:pt x="7" y="78"/>
                    <a:pt x="5" y="78"/>
                  </a:cubicBezTo>
                  <a:cubicBezTo>
                    <a:pt x="4" y="78"/>
                    <a:pt x="2" y="79"/>
                    <a:pt x="1" y="80"/>
                  </a:cubicBezTo>
                  <a:cubicBezTo>
                    <a:pt x="1" y="80"/>
                    <a:pt x="0" y="80"/>
                    <a:pt x="0" y="80"/>
                  </a:cubicBezTo>
                  <a:cubicBezTo>
                    <a:pt x="0" y="82"/>
                    <a:pt x="0" y="82"/>
                    <a:pt x="0" y="82"/>
                  </a:cubicBezTo>
                  <a:lnTo>
                    <a:pt x="3" y="82"/>
                  </a:lnTo>
                  <a:close/>
                  <a:moveTo>
                    <a:pt x="240" y="313"/>
                  </a:moveTo>
                  <a:cubicBezTo>
                    <a:pt x="240" y="312"/>
                    <a:pt x="241" y="311"/>
                    <a:pt x="241" y="311"/>
                  </a:cubicBezTo>
                  <a:cubicBezTo>
                    <a:pt x="241" y="310"/>
                    <a:pt x="242" y="308"/>
                    <a:pt x="242" y="308"/>
                  </a:cubicBezTo>
                  <a:cubicBezTo>
                    <a:pt x="242" y="307"/>
                    <a:pt x="243" y="306"/>
                    <a:pt x="243" y="306"/>
                  </a:cubicBezTo>
                  <a:cubicBezTo>
                    <a:pt x="243" y="306"/>
                    <a:pt x="249" y="301"/>
                    <a:pt x="249" y="301"/>
                  </a:cubicBezTo>
                  <a:cubicBezTo>
                    <a:pt x="249" y="300"/>
                    <a:pt x="249" y="298"/>
                    <a:pt x="249" y="297"/>
                  </a:cubicBezTo>
                  <a:cubicBezTo>
                    <a:pt x="249" y="297"/>
                    <a:pt x="250" y="295"/>
                    <a:pt x="250" y="295"/>
                  </a:cubicBezTo>
                  <a:cubicBezTo>
                    <a:pt x="250" y="295"/>
                    <a:pt x="251" y="294"/>
                    <a:pt x="251" y="293"/>
                  </a:cubicBezTo>
                  <a:cubicBezTo>
                    <a:pt x="251" y="293"/>
                    <a:pt x="251" y="291"/>
                    <a:pt x="251" y="291"/>
                  </a:cubicBezTo>
                  <a:cubicBezTo>
                    <a:pt x="251" y="290"/>
                    <a:pt x="251" y="289"/>
                    <a:pt x="251" y="289"/>
                  </a:cubicBezTo>
                  <a:cubicBezTo>
                    <a:pt x="254" y="286"/>
                    <a:pt x="254" y="286"/>
                    <a:pt x="254" y="286"/>
                  </a:cubicBezTo>
                  <a:cubicBezTo>
                    <a:pt x="257" y="285"/>
                    <a:pt x="257" y="285"/>
                    <a:pt x="257" y="285"/>
                  </a:cubicBezTo>
                  <a:cubicBezTo>
                    <a:pt x="257" y="285"/>
                    <a:pt x="258" y="285"/>
                    <a:pt x="258" y="284"/>
                  </a:cubicBezTo>
                  <a:cubicBezTo>
                    <a:pt x="258" y="284"/>
                    <a:pt x="259" y="283"/>
                    <a:pt x="259" y="283"/>
                  </a:cubicBezTo>
                  <a:cubicBezTo>
                    <a:pt x="259" y="283"/>
                    <a:pt x="259" y="282"/>
                    <a:pt x="260" y="281"/>
                  </a:cubicBezTo>
                  <a:cubicBezTo>
                    <a:pt x="260" y="281"/>
                    <a:pt x="260" y="280"/>
                    <a:pt x="260" y="280"/>
                  </a:cubicBezTo>
                  <a:cubicBezTo>
                    <a:pt x="261" y="280"/>
                    <a:pt x="260" y="278"/>
                    <a:pt x="260" y="276"/>
                  </a:cubicBezTo>
                  <a:cubicBezTo>
                    <a:pt x="261" y="275"/>
                    <a:pt x="261" y="276"/>
                    <a:pt x="262" y="275"/>
                  </a:cubicBezTo>
                  <a:cubicBezTo>
                    <a:pt x="263" y="275"/>
                    <a:pt x="263" y="275"/>
                    <a:pt x="263" y="275"/>
                  </a:cubicBezTo>
                  <a:cubicBezTo>
                    <a:pt x="263" y="275"/>
                    <a:pt x="263" y="274"/>
                    <a:pt x="263" y="274"/>
                  </a:cubicBezTo>
                  <a:cubicBezTo>
                    <a:pt x="263" y="273"/>
                    <a:pt x="263" y="272"/>
                    <a:pt x="263" y="271"/>
                  </a:cubicBezTo>
                  <a:cubicBezTo>
                    <a:pt x="263" y="271"/>
                    <a:pt x="264" y="271"/>
                    <a:pt x="264" y="271"/>
                  </a:cubicBezTo>
                  <a:cubicBezTo>
                    <a:pt x="265" y="271"/>
                    <a:pt x="265" y="270"/>
                    <a:pt x="265" y="270"/>
                  </a:cubicBezTo>
                  <a:cubicBezTo>
                    <a:pt x="266" y="270"/>
                    <a:pt x="266" y="270"/>
                    <a:pt x="267" y="270"/>
                  </a:cubicBezTo>
                  <a:cubicBezTo>
                    <a:pt x="267" y="270"/>
                    <a:pt x="269" y="270"/>
                    <a:pt x="269" y="270"/>
                  </a:cubicBezTo>
                  <a:cubicBezTo>
                    <a:pt x="269" y="271"/>
                    <a:pt x="269" y="271"/>
                    <a:pt x="268" y="271"/>
                  </a:cubicBezTo>
                  <a:cubicBezTo>
                    <a:pt x="268" y="271"/>
                    <a:pt x="268" y="272"/>
                    <a:pt x="268" y="273"/>
                  </a:cubicBezTo>
                  <a:cubicBezTo>
                    <a:pt x="269" y="273"/>
                    <a:pt x="269" y="274"/>
                    <a:pt x="269" y="274"/>
                  </a:cubicBezTo>
                  <a:cubicBezTo>
                    <a:pt x="269" y="274"/>
                    <a:pt x="269" y="275"/>
                    <a:pt x="270" y="275"/>
                  </a:cubicBezTo>
                  <a:cubicBezTo>
                    <a:pt x="270" y="275"/>
                    <a:pt x="272" y="273"/>
                    <a:pt x="272" y="273"/>
                  </a:cubicBezTo>
                  <a:cubicBezTo>
                    <a:pt x="276" y="253"/>
                    <a:pt x="276" y="253"/>
                    <a:pt x="276" y="253"/>
                  </a:cubicBezTo>
                  <a:cubicBezTo>
                    <a:pt x="276" y="253"/>
                    <a:pt x="275" y="253"/>
                    <a:pt x="275" y="252"/>
                  </a:cubicBezTo>
                  <a:cubicBezTo>
                    <a:pt x="275" y="252"/>
                    <a:pt x="274" y="251"/>
                    <a:pt x="274" y="250"/>
                  </a:cubicBezTo>
                  <a:cubicBezTo>
                    <a:pt x="274" y="249"/>
                    <a:pt x="274" y="249"/>
                    <a:pt x="274" y="248"/>
                  </a:cubicBezTo>
                  <a:cubicBezTo>
                    <a:pt x="273" y="246"/>
                    <a:pt x="273" y="245"/>
                    <a:pt x="273" y="244"/>
                  </a:cubicBezTo>
                  <a:cubicBezTo>
                    <a:pt x="273" y="243"/>
                    <a:pt x="272" y="242"/>
                    <a:pt x="272" y="241"/>
                  </a:cubicBezTo>
                  <a:cubicBezTo>
                    <a:pt x="272" y="240"/>
                    <a:pt x="272" y="239"/>
                    <a:pt x="272" y="238"/>
                  </a:cubicBezTo>
                  <a:cubicBezTo>
                    <a:pt x="272" y="237"/>
                    <a:pt x="271" y="236"/>
                    <a:pt x="271" y="236"/>
                  </a:cubicBezTo>
                  <a:cubicBezTo>
                    <a:pt x="271" y="234"/>
                    <a:pt x="271" y="233"/>
                    <a:pt x="271" y="232"/>
                  </a:cubicBezTo>
                  <a:cubicBezTo>
                    <a:pt x="271" y="231"/>
                    <a:pt x="271" y="231"/>
                    <a:pt x="271" y="230"/>
                  </a:cubicBezTo>
                  <a:cubicBezTo>
                    <a:pt x="271" y="230"/>
                    <a:pt x="271" y="229"/>
                    <a:pt x="271" y="229"/>
                  </a:cubicBezTo>
                  <a:cubicBezTo>
                    <a:pt x="271" y="228"/>
                    <a:pt x="270" y="228"/>
                    <a:pt x="270" y="227"/>
                  </a:cubicBezTo>
                  <a:cubicBezTo>
                    <a:pt x="270" y="227"/>
                    <a:pt x="270" y="226"/>
                    <a:pt x="270" y="225"/>
                  </a:cubicBezTo>
                  <a:cubicBezTo>
                    <a:pt x="270" y="224"/>
                    <a:pt x="270" y="222"/>
                    <a:pt x="270" y="221"/>
                  </a:cubicBezTo>
                  <a:cubicBezTo>
                    <a:pt x="269" y="220"/>
                    <a:pt x="269" y="218"/>
                    <a:pt x="269" y="217"/>
                  </a:cubicBezTo>
                  <a:cubicBezTo>
                    <a:pt x="269" y="216"/>
                    <a:pt x="269" y="215"/>
                    <a:pt x="268" y="214"/>
                  </a:cubicBezTo>
                  <a:cubicBezTo>
                    <a:pt x="268" y="214"/>
                    <a:pt x="268" y="214"/>
                    <a:pt x="268" y="213"/>
                  </a:cubicBezTo>
                  <a:cubicBezTo>
                    <a:pt x="267" y="212"/>
                    <a:pt x="267" y="211"/>
                    <a:pt x="267" y="210"/>
                  </a:cubicBezTo>
                  <a:cubicBezTo>
                    <a:pt x="266" y="209"/>
                    <a:pt x="266" y="209"/>
                    <a:pt x="265" y="208"/>
                  </a:cubicBezTo>
                  <a:cubicBezTo>
                    <a:pt x="265" y="208"/>
                    <a:pt x="265" y="207"/>
                    <a:pt x="265" y="207"/>
                  </a:cubicBezTo>
                  <a:cubicBezTo>
                    <a:pt x="264" y="207"/>
                    <a:pt x="264" y="207"/>
                    <a:pt x="264" y="206"/>
                  </a:cubicBezTo>
                  <a:cubicBezTo>
                    <a:pt x="263" y="206"/>
                    <a:pt x="262" y="206"/>
                    <a:pt x="262" y="205"/>
                  </a:cubicBezTo>
                  <a:cubicBezTo>
                    <a:pt x="260" y="205"/>
                    <a:pt x="258" y="203"/>
                    <a:pt x="257" y="205"/>
                  </a:cubicBezTo>
                  <a:cubicBezTo>
                    <a:pt x="256" y="205"/>
                    <a:pt x="256" y="206"/>
                    <a:pt x="255" y="206"/>
                  </a:cubicBezTo>
                  <a:cubicBezTo>
                    <a:pt x="255" y="207"/>
                    <a:pt x="254" y="207"/>
                    <a:pt x="253" y="207"/>
                  </a:cubicBezTo>
                  <a:cubicBezTo>
                    <a:pt x="253" y="207"/>
                    <a:pt x="252" y="207"/>
                    <a:pt x="252" y="207"/>
                  </a:cubicBezTo>
                  <a:cubicBezTo>
                    <a:pt x="251" y="207"/>
                    <a:pt x="251" y="207"/>
                    <a:pt x="251" y="208"/>
                  </a:cubicBezTo>
                  <a:cubicBezTo>
                    <a:pt x="250" y="208"/>
                    <a:pt x="250" y="207"/>
                    <a:pt x="249" y="207"/>
                  </a:cubicBezTo>
                  <a:cubicBezTo>
                    <a:pt x="249" y="208"/>
                    <a:pt x="248" y="207"/>
                    <a:pt x="247" y="208"/>
                  </a:cubicBezTo>
                  <a:cubicBezTo>
                    <a:pt x="247" y="208"/>
                    <a:pt x="247" y="208"/>
                    <a:pt x="247" y="209"/>
                  </a:cubicBezTo>
                  <a:cubicBezTo>
                    <a:pt x="247" y="209"/>
                    <a:pt x="247" y="209"/>
                    <a:pt x="246" y="209"/>
                  </a:cubicBezTo>
                  <a:cubicBezTo>
                    <a:pt x="246" y="209"/>
                    <a:pt x="246" y="209"/>
                    <a:pt x="246" y="210"/>
                  </a:cubicBezTo>
                  <a:cubicBezTo>
                    <a:pt x="246" y="210"/>
                    <a:pt x="246" y="211"/>
                    <a:pt x="245" y="211"/>
                  </a:cubicBezTo>
                  <a:cubicBezTo>
                    <a:pt x="244" y="211"/>
                    <a:pt x="242" y="210"/>
                    <a:pt x="242" y="211"/>
                  </a:cubicBezTo>
                  <a:cubicBezTo>
                    <a:pt x="242" y="211"/>
                    <a:pt x="242" y="212"/>
                    <a:pt x="243" y="212"/>
                  </a:cubicBezTo>
                  <a:cubicBezTo>
                    <a:pt x="243" y="212"/>
                    <a:pt x="243" y="212"/>
                    <a:pt x="244" y="212"/>
                  </a:cubicBezTo>
                  <a:cubicBezTo>
                    <a:pt x="244" y="212"/>
                    <a:pt x="244" y="212"/>
                    <a:pt x="244" y="213"/>
                  </a:cubicBezTo>
                  <a:cubicBezTo>
                    <a:pt x="244" y="213"/>
                    <a:pt x="244" y="213"/>
                    <a:pt x="244" y="213"/>
                  </a:cubicBezTo>
                  <a:cubicBezTo>
                    <a:pt x="243" y="214"/>
                    <a:pt x="243" y="214"/>
                    <a:pt x="242" y="214"/>
                  </a:cubicBezTo>
                  <a:cubicBezTo>
                    <a:pt x="242" y="215"/>
                    <a:pt x="242" y="215"/>
                    <a:pt x="242" y="215"/>
                  </a:cubicBezTo>
                  <a:cubicBezTo>
                    <a:pt x="242" y="215"/>
                    <a:pt x="242" y="216"/>
                    <a:pt x="242" y="216"/>
                  </a:cubicBezTo>
                  <a:cubicBezTo>
                    <a:pt x="241" y="216"/>
                    <a:pt x="241" y="217"/>
                    <a:pt x="241" y="217"/>
                  </a:cubicBezTo>
                  <a:cubicBezTo>
                    <a:pt x="241" y="218"/>
                    <a:pt x="241" y="219"/>
                    <a:pt x="240" y="220"/>
                  </a:cubicBezTo>
                  <a:cubicBezTo>
                    <a:pt x="239" y="220"/>
                    <a:pt x="238" y="220"/>
                    <a:pt x="237" y="221"/>
                  </a:cubicBezTo>
                  <a:cubicBezTo>
                    <a:pt x="237" y="221"/>
                    <a:pt x="237" y="221"/>
                    <a:pt x="237" y="222"/>
                  </a:cubicBezTo>
                  <a:cubicBezTo>
                    <a:pt x="237" y="222"/>
                    <a:pt x="237" y="222"/>
                    <a:pt x="236" y="223"/>
                  </a:cubicBezTo>
                  <a:cubicBezTo>
                    <a:pt x="235" y="224"/>
                    <a:pt x="234" y="225"/>
                    <a:pt x="233" y="226"/>
                  </a:cubicBezTo>
                  <a:cubicBezTo>
                    <a:pt x="233" y="226"/>
                    <a:pt x="232" y="226"/>
                    <a:pt x="232" y="226"/>
                  </a:cubicBezTo>
                  <a:cubicBezTo>
                    <a:pt x="232" y="226"/>
                    <a:pt x="232" y="226"/>
                    <a:pt x="231" y="226"/>
                  </a:cubicBezTo>
                  <a:cubicBezTo>
                    <a:pt x="231" y="226"/>
                    <a:pt x="230" y="226"/>
                    <a:pt x="229" y="226"/>
                  </a:cubicBezTo>
                  <a:cubicBezTo>
                    <a:pt x="229" y="225"/>
                    <a:pt x="229" y="225"/>
                    <a:pt x="229" y="225"/>
                  </a:cubicBezTo>
                  <a:cubicBezTo>
                    <a:pt x="228" y="225"/>
                    <a:pt x="228" y="225"/>
                    <a:pt x="228" y="225"/>
                  </a:cubicBezTo>
                  <a:cubicBezTo>
                    <a:pt x="227" y="225"/>
                    <a:pt x="227" y="224"/>
                    <a:pt x="226" y="224"/>
                  </a:cubicBezTo>
                  <a:cubicBezTo>
                    <a:pt x="226" y="223"/>
                    <a:pt x="225" y="223"/>
                    <a:pt x="225" y="222"/>
                  </a:cubicBezTo>
                  <a:cubicBezTo>
                    <a:pt x="225" y="222"/>
                    <a:pt x="224" y="222"/>
                    <a:pt x="224" y="221"/>
                  </a:cubicBezTo>
                  <a:cubicBezTo>
                    <a:pt x="224" y="220"/>
                    <a:pt x="224" y="219"/>
                    <a:pt x="224" y="218"/>
                  </a:cubicBezTo>
                  <a:cubicBezTo>
                    <a:pt x="224" y="217"/>
                    <a:pt x="224" y="216"/>
                    <a:pt x="224" y="215"/>
                  </a:cubicBezTo>
                  <a:cubicBezTo>
                    <a:pt x="224" y="214"/>
                    <a:pt x="225" y="213"/>
                    <a:pt x="224" y="213"/>
                  </a:cubicBezTo>
                  <a:cubicBezTo>
                    <a:pt x="224" y="212"/>
                    <a:pt x="224" y="212"/>
                    <a:pt x="225" y="212"/>
                  </a:cubicBezTo>
                  <a:cubicBezTo>
                    <a:pt x="225" y="212"/>
                    <a:pt x="225" y="211"/>
                    <a:pt x="225" y="211"/>
                  </a:cubicBezTo>
                  <a:cubicBezTo>
                    <a:pt x="225" y="210"/>
                    <a:pt x="225" y="210"/>
                    <a:pt x="225" y="210"/>
                  </a:cubicBezTo>
                  <a:cubicBezTo>
                    <a:pt x="226" y="209"/>
                    <a:pt x="226" y="209"/>
                    <a:pt x="226" y="209"/>
                  </a:cubicBezTo>
                  <a:cubicBezTo>
                    <a:pt x="227" y="209"/>
                    <a:pt x="227" y="208"/>
                    <a:pt x="227" y="208"/>
                  </a:cubicBezTo>
                  <a:cubicBezTo>
                    <a:pt x="228" y="208"/>
                    <a:pt x="229" y="208"/>
                    <a:pt x="229" y="208"/>
                  </a:cubicBezTo>
                  <a:cubicBezTo>
                    <a:pt x="230" y="208"/>
                    <a:pt x="232" y="208"/>
                    <a:pt x="232" y="207"/>
                  </a:cubicBezTo>
                  <a:cubicBezTo>
                    <a:pt x="233" y="207"/>
                    <a:pt x="232" y="206"/>
                    <a:pt x="233" y="205"/>
                  </a:cubicBezTo>
                  <a:cubicBezTo>
                    <a:pt x="233" y="205"/>
                    <a:pt x="233" y="205"/>
                    <a:pt x="234" y="205"/>
                  </a:cubicBezTo>
                  <a:cubicBezTo>
                    <a:pt x="235" y="205"/>
                    <a:pt x="235" y="204"/>
                    <a:pt x="236" y="204"/>
                  </a:cubicBezTo>
                  <a:cubicBezTo>
                    <a:pt x="236" y="204"/>
                    <a:pt x="236" y="199"/>
                    <a:pt x="237" y="199"/>
                  </a:cubicBezTo>
                  <a:cubicBezTo>
                    <a:pt x="237" y="199"/>
                    <a:pt x="237" y="199"/>
                    <a:pt x="237" y="199"/>
                  </a:cubicBezTo>
                  <a:cubicBezTo>
                    <a:pt x="237" y="197"/>
                    <a:pt x="237" y="196"/>
                    <a:pt x="238" y="195"/>
                  </a:cubicBezTo>
                  <a:cubicBezTo>
                    <a:pt x="238" y="195"/>
                    <a:pt x="239" y="194"/>
                    <a:pt x="239" y="194"/>
                  </a:cubicBezTo>
                  <a:cubicBezTo>
                    <a:pt x="240" y="194"/>
                    <a:pt x="240" y="194"/>
                    <a:pt x="240" y="195"/>
                  </a:cubicBezTo>
                  <a:cubicBezTo>
                    <a:pt x="241" y="195"/>
                    <a:pt x="242" y="194"/>
                    <a:pt x="242" y="194"/>
                  </a:cubicBezTo>
                  <a:cubicBezTo>
                    <a:pt x="243" y="193"/>
                    <a:pt x="244" y="192"/>
                    <a:pt x="244" y="191"/>
                  </a:cubicBezTo>
                  <a:cubicBezTo>
                    <a:pt x="245" y="190"/>
                    <a:pt x="245" y="189"/>
                    <a:pt x="245" y="188"/>
                  </a:cubicBezTo>
                  <a:cubicBezTo>
                    <a:pt x="245" y="188"/>
                    <a:pt x="245" y="187"/>
                    <a:pt x="245" y="187"/>
                  </a:cubicBezTo>
                  <a:cubicBezTo>
                    <a:pt x="245" y="186"/>
                    <a:pt x="245" y="186"/>
                    <a:pt x="245" y="186"/>
                  </a:cubicBezTo>
                  <a:cubicBezTo>
                    <a:pt x="245" y="185"/>
                    <a:pt x="245" y="184"/>
                    <a:pt x="245" y="183"/>
                  </a:cubicBezTo>
                  <a:cubicBezTo>
                    <a:pt x="245" y="182"/>
                    <a:pt x="245" y="181"/>
                    <a:pt x="246" y="180"/>
                  </a:cubicBezTo>
                  <a:cubicBezTo>
                    <a:pt x="246" y="180"/>
                    <a:pt x="246" y="180"/>
                    <a:pt x="246" y="180"/>
                  </a:cubicBezTo>
                  <a:cubicBezTo>
                    <a:pt x="246" y="179"/>
                    <a:pt x="246" y="179"/>
                    <a:pt x="246" y="179"/>
                  </a:cubicBezTo>
                  <a:cubicBezTo>
                    <a:pt x="246" y="177"/>
                    <a:pt x="246" y="176"/>
                    <a:pt x="246" y="175"/>
                  </a:cubicBezTo>
                  <a:cubicBezTo>
                    <a:pt x="246" y="174"/>
                    <a:pt x="247" y="174"/>
                    <a:pt x="247" y="173"/>
                  </a:cubicBezTo>
                  <a:cubicBezTo>
                    <a:pt x="247" y="173"/>
                    <a:pt x="247" y="172"/>
                    <a:pt x="247" y="171"/>
                  </a:cubicBezTo>
                  <a:cubicBezTo>
                    <a:pt x="247" y="171"/>
                    <a:pt x="247" y="170"/>
                    <a:pt x="247" y="169"/>
                  </a:cubicBezTo>
                  <a:cubicBezTo>
                    <a:pt x="247" y="169"/>
                    <a:pt x="246" y="168"/>
                    <a:pt x="246" y="167"/>
                  </a:cubicBezTo>
                  <a:cubicBezTo>
                    <a:pt x="246" y="167"/>
                    <a:pt x="246" y="166"/>
                    <a:pt x="246" y="166"/>
                  </a:cubicBezTo>
                  <a:cubicBezTo>
                    <a:pt x="245" y="165"/>
                    <a:pt x="245" y="165"/>
                    <a:pt x="245" y="165"/>
                  </a:cubicBezTo>
                  <a:cubicBezTo>
                    <a:pt x="245" y="164"/>
                    <a:pt x="244" y="163"/>
                    <a:pt x="244" y="163"/>
                  </a:cubicBezTo>
                  <a:cubicBezTo>
                    <a:pt x="244" y="163"/>
                    <a:pt x="243" y="163"/>
                    <a:pt x="243" y="163"/>
                  </a:cubicBezTo>
                  <a:cubicBezTo>
                    <a:pt x="243" y="163"/>
                    <a:pt x="243" y="162"/>
                    <a:pt x="242" y="162"/>
                  </a:cubicBezTo>
                  <a:cubicBezTo>
                    <a:pt x="242" y="161"/>
                    <a:pt x="241" y="161"/>
                    <a:pt x="241" y="160"/>
                  </a:cubicBezTo>
                  <a:cubicBezTo>
                    <a:pt x="241" y="159"/>
                    <a:pt x="241" y="158"/>
                    <a:pt x="241" y="157"/>
                  </a:cubicBezTo>
                  <a:cubicBezTo>
                    <a:pt x="240" y="157"/>
                    <a:pt x="240" y="157"/>
                    <a:pt x="240" y="157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242" y="156"/>
                    <a:pt x="243" y="155"/>
                    <a:pt x="243" y="155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4" y="155"/>
                    <a:pt x="245" y="155"/>
                    <a:pt x="245" y="155"/>
                  </a:cubicBezTo>
                  <a:cubicBezTo>
                    <a:pt x="245" y="155"/>
                    <a:pt x="246" y="155"/>
                    <a:pt x="246" y="155"/>
                  </a:cubicBezTo>
                  <a:cubicBezTo>
                    <a:pt x="246" y="155"/>
                    <a:pt x="246" y="154"/>
                    <a:pt x="246" y="154"/>
                  </a:cubicBezTo>
                  <a:cubicBezTo>
                    <a:pt x="246" y="153"/>
                    <a:pt x="246" y="153"/>
                    <a:pt x="245" y="152"/>
                  </a:cubicBezTo>
                  <a:cubicBezTo>
                    <a:pt x="245" y="151"/>
                    <a:pt x="245" y="151"/>
                    <a:pt x="244" y="151"/>
                  </a:cubicBezTo>
                  <a:cubicBezTo>
                    <a:pt x="244" y="150"/>
                    <a:pt x="244" y="150"/>
                    <a:pt x="244" y="149"/>
                  </a:cubicBezTo>
                  <a:cubicBezTo>
                    <a:pt x="243" y="149"/>
                    <a:pt x="243" y="149"/>
                    <a:pt x="243" y="148"/>
                  </a:cubicBezTo>
                  <a:cubicBezTo>
                    <a:pt x="243" y="148"/>
                    <a:pt x="243" y="147"/>
                    <a:pt x="242" y="147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6"/>
                    <a:pt x="242" y="146"/>
                    <a:pt x="242" y="146"/>
                  </a:cubicBezTo>
                  <a:cubicBezTo>
                    <a:pt x="242" y="146"/>
                    <a:pt x="242" y="146"/>
                    <a:pt x="242" y="146"/>
                  </a:cubicBezTo>
                  <a:cubicBezTo>
                    <a:pt x="242" y="145"/>
                    <a:pt x="242" y="145"/>
                    <a:pt x="242" y="144"/>
                  </a:cubicBezTo>
                  <a:cubicBezTo>
                    <a:pt x="242" y="144"/>
                    <a:pt x="242" y="144"/>
                    <a:pt x="242" y="143"/>
                  </a:cubicBezTo>
                  <a:cubicBezTo>
                    <a:pt x="241" y="143"/>
                    <a:pt x="241" y="143"/>
                    <a:pt x="241" y="143"/>
                  </a:cubicBezTo>
                  <a:cubicBezTo>
                    <a:pt x="240" y="143"/>
                    <a:pt x="240" y="142"/>
                    <a:pt x="240" y="142"/>
                  </a:cubicBezTo>
                  <a:cubicBezTo>
                    <a:pt x="239" y="142"/>
                    <a:pt x="239" y="142"/>
                    <a:pt x="238" y="142"/>
                  </a:cubicBezTo>
                  <a:cubicBezTo>
                    <a:pt x="237" y="142"/>
                    <a:pt x="236" y="141"/>
                    <a:pt x="235" y="140"/>
                  </a:cubicBezTo>
                  <a:cubicBezTo>
                    <a:pt x="234" y="139"/>
                    <a:pt x="233" y="138"/>
                    <a:pt x="232" y="138"/>
                  </a:cubicBezTo>
                  <a:cubicBezTo>
                    <a:pt x="231" y="138"/>
                    <a:pt x="229" y="139"/>
                    <a:pt x="229" y="138"/>
                  </a:cubicBezTo>
                  <a:cubicBezTo>
                    <a:pt x="228" y="138"/>
                    <a:pt x="228" y="137"/>
                    <a:pt x="228" y="137"/>
                  </a:cubicBezTo>
                  <a:cubicBezTo>
                    <a:pt x="227" y="137"/>
                    <a:pt x="227" y="137"/>
                    <a:pt x="226" y="137"/>
                  </a:cubicBezTo>
                  <a:cubicBezTo>
                    <a:pt x="226" y="136"/>
                    <a:pt x="225" y="135"/>
                    <a:pt x="225" y="135"/>
                  </a:cubicBezTo>
                  <a:cubicBezTo>
                    <a:pt x="224" y="134"/>
                    <a:pt x="223" y="134"/>
                    <a:pt x="222" y="134"/>
                  </a:cubicBezTo>
                  <a:cubicBezTo>
                    <a:pt x="221" y="134"/>
                    <a:pt x="218" y="134"/>
                    <a:pt x="218" y="133"/>
                  </a:cubicBezTo>
                  <a:cubicBezTo>
                    <a:pt x="217" y="131"/>
                    <a:pt x="216" y="130"/>
                    <a:pt x="215" y="129"/>
                  </a:cubicBezTo>
                  <a:cubicBezTo>
                    <a:pt x="215" y="128"/>
                    <a:pt x="214" y="127"/>
                    <a:pt x="212" y="127"/>
                  </a:cubicBezTo>
                  <a:cubicBezTo>
                    <a:pt x="212" y="127"/>
                    <a:pt x="212" y="127"/>
                    <a:pt x="211" y="127"/>
                  </a:cubicBezTo>
                  <a:cubicBezTo>
                    <a:pt x="211" y="127"/>
                    <a:pt x="211" y="127"/>
                    <a:pt x="211" y="126"/>
                  </a:cubicBezTo>
                  <a:cubicBezTo>
                    <a:pt x="210" y="126"/>
                    <a:pt x="209" y="126"/>
                    <a:pt x="209" y="126"/>
                  </a:cubicBezTo>
                  <a:cubicBezTo>
                    <a:pt x="209" y="126"/>
                    <a:pt x="208" y="126"/>
                    <a:pt x="208" y="126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8" y="127"/>
                    <a:pt x="207" y="127"/>
                    <a:pt x="207" y="127"/>
                  </a:cubicBezTo>
                  <a:cubicBezTo>
                    <a:pt x="206" y="127"/>
                    <a:pt x="206" y="126"/>
                    <a:pt x="205" y="126"/>
                  </a:cubicBezTo>
                  <a:cubicBezTo>
                    <a:pt x="205" y="126"/>
                    <a:pt x="204" y="126"/>
                    <a:pt x="204" y="125"/>
                  </a:cubicBezTo>
                  <a:cubicBezTo>
                    <a:pt x="203" y="125"/>
                    <a:pt x="203" y="124"/>
                    <a:pt x="202" y="124"/>
                  </a:cubicBezTo>
                  <a:cubicBezTo>
                    <a:pt x="202" y="124"/>
                    <a:pt x="202" y="123"/>
                    <a:pt x="201" y="123"/>
                  </a:cubicBezTo>
                  <a:cubicBezTo>
                    <a:pt x="201" y="123"/>
                    <a:pt x="200" y="123"/>
                    <a:pt x="199" y="122"/>
                  </a:cubicBezTo>
                  <a:cubicBezTo>
                    <a:pt x="199" y="122"/>
                    <a:pt x="198" y="122"/>
                    <a:pt x="198" y="121"/>
                  </a:cubicBezTo>
                  <a:cubicBezTo>
                    <a:pt x="198" y="121"/>
                    <a:pt x="197" y="121"/>
                    <a:pt x="197" y="121"/>
                  </a:cubicBezTo>
                  <a:cubicBezTo>
                    <a:pt x="197" y="121"/>
                    <a:pt x="197" y="121"/>
                    <a:pt x="196" y="120"/>
                  </a:cubicBezTo>
                  <a:cubicBezTo>
                    <a:pt x="196" y="120"/>
                    <a:pt x="196" y="120"/>
                    <a:pt x="195" y="120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21"/>
                    <a:pt x="194" y="121"/>
                    <a:pt x="194" y="121"/>
                  </a:cubicBezTo>
                  <a:cubicBezTo>
                    <a:pt x="193" y="121"/>
                    <a:pt x="192" y="121"/>
                    <a:pt x="191" y="121"/>
                  </a:cubicBezTo>
                  <a:cubicBezTo>
                    <a:pt x="190" y="121"/>
                    <a:pt x="189" y="121"/>
                    <a:pt x="188" y="121"/>
                  </a:cubicBezTo>
                  <a:cubicBezTo>
                    <a:pt x="187" y="121"/>
                    <a:pt x="187" y="121"/>
                    <a:pt x="187" y="122"/>
                  </a:cubicBezTo>
                  <a:cubicBezTo>
                    <a:pt x="187" y="122"/>
                    <a:pt x="188" y="122"/>
                    <a:pt x="188" y="122"/>
                  </a:cubicBezTo>
                  <a:cubicBezTo>
                    <a:pt x="188" y="123"/>
                    <a:pt x="189" y="123"/>
                    <a:pt x="189" y="124"/>
                  </a:cubicBezTo>
                  <a:cubicBezTo>
                    <a:pt x="189" y="124"/>
                    <a:pt x="189" y="125"/>
                    <a:pt x="188" y="125"/>
                  </a:cubicBezTo>
                  <a:cubicBezTo>
                    <a:pt x="188" y="126"/>
                    <a:pt x="187" y="126"/>
                    <a:pt x="187" y="127"/>
                  </a:cubicBezTo>
                  <a:cubicBezTo>
                    <a:pt x="186" y="127"/>
                    <a:pt x="186" y="127"/>
                    <a:pt x="186" y="127"/>
                  </a:cubicBezTo>
                  <a:cubicBezTo>
                    <a:pt x="186" y="128"/>
                    <a:pt x="185" y="128"/>
                    <a:pt x="185" y="128"/>
                  </a:cubicBezTo>
                  <a:cubicBezTo>
                    <a:pt x="185" y="129"/>
                    <a:pt x="184" y="129"/>
                    <a:pt x="183" y="130"/>
                  </a:cubicBezTo>
                  <a:cubicBezTo>
                    <a:pt x="183" y="131"/>
                    <a:pt x="183" y="132"/>
                    <a:pt x="183" y="133"/>
                  </a:cubicBezTo>
                  <a:cubicBezTo>
                    <a:pt x="183" y="133"/>
                    <a:pt x="183" y="133"/>
                    <a:pt x="183" y="134"/>
                  </a:cubicBezTo>
                  <a:cubicBezTo>
                    <a:pt x="183" y="134"/>
                    <a:pt x="184" y="134"/>
                    <a:pt x="184" y="134"/>
                  </a:cubicBezTo>
                  <a:cubicBezTo>
                    <a:pt x="184" y="135"/>
                    <a:pt x="184" y="135"/>
                    <a:pt x="184" y="135"/>
                  </a:cubicBezTo>
                  <a:cubicBezTo>
                    <a:pt x="184" y="136"/>
                    <a:pt x="185" y="136"/>
                    <a:pt x="185" y="137"/>
                  </a:cubicBezTo>
                  <a:cubicBezTo>
                    <a:pt x="186" y="137"/>
                    <a:pt x="186" y="137"/>
                    <a:pt x="187" y="138"/>
                  </a:cubicBezTo>
                  <a:cubicBezTo>
                    <a:pt x="187" y="138"/>
                    <a:pt x="188" y="138"/>
                    <a:pt x="188" y="139"/>
                  </a:cubicBezTo>
                  <a:cubicBezTo>
                    <a:pt x="189" y="139"/>
                    <a:pt x="189" y="139"/>
                    <a:pt x="189" y="140"/>
                  </a:cubicBezTo>
                  <a:cubicBezTo>
                    <a:pt x="189" y="140"/>
                    <a:pt x="189" y="140"/>
                    <a:pt x="189" y="140"/>
                  </a:cubicBezTo>
                  <a:cubicBezTo>
                    <a:pt x="188" y="140"/>
                    <a:pt x="186" y="140"/>
                    <a:pt x="185" y="140"/>
                  </a:cubicBezTo>
                  <a:cubicBezTo>
                    <a:pt x="185" y="140"/>
                    <a:pt x="184" y="140"/>
                    <a:pt x="184" y="140"/>
                  </a:cubicBezTo>
                  <a:cubicBezTo>
                    <a:pt x="183" y="140"/>
                    <a:pt x="183" y="140"/>
                    <a:pt x="183" y="141"/>
                  </a:cubicBezTo>
                  <a:cubicBezTo>
                    <a:pt x="182" y="141"/>
                    <a:pt x="182" y="141"/>
                    <a:pt x="181" y="141"/>
                  </a:cubicBezTo>
                  <a:cubicBezTo>
                    <a:pt x="180" y="141"/>
                    <a:pt x="180" y="141"/>
                    <a:pt x="179" y="141"/>
                  </a:cubicBezTo>
                  <a:cubicBezTo>
                    <a:pt x="179" y="141"/>
                    <a:pt x="179" y="142"/>
                    <a:pt x="179" y="142"/>
                  </a:cubicBezTo>
                  <a:cubicBezTo>
                    <a:pt x="178" y="143"/>
                    <a:pt x="177" y="143"/>
                    <a:pt x="177" y="144"/>
                  </a:cubicBezTo>
                  <a:cubicBezTo>
                    <a:pt x="177" y="144"/>
                    <a:pt x="176" y="145"/>
                    <a:pt x="176" y="145"/>
                  </a:cubicBezTo>
                  <a:cubicBezTo>
                    <a:pt x="175" y="146"/>
                    <a:pt x="174" y="147"/>
                    <a:pt x="173" y="148"/>
                  </a:cubicBezTo>
                  <a:cubicBezTo>
                    <a:pt x="173" y="148"/>
                    <a:pt x="173" y="149"/>
                    <a:pt x="173" y="149"/>
                  </a:cubicBezTo>
                  <a:cubicBezTo>
                    <a:pt x="173" y="150"/>
                    <a:pt x="173" y="150"/>
                    <a:pt x="173" y="151"/>
                  </a:cubicBezTo>
                  <a:cubicBezTo>
                    <a:pt x="173" y="151"/>
                    <a:pt x="173" y="151"/>
                    <a:pt x="173" y="151"/>
                  </a:cubicBezTo>
                  <a:cubicBezTo>
                    <a:pt x="174" y="152"/>
                    <a:pt x="174" y="152"/>
                    <a:pt x="174" y="152"/>
                  </a:cubicBezTo>
                  <a:cubicBezTo>
                    <a:pt x="174" y="153"/>
                    <a:pt x="174" y="153"/>
                    <a:pt x="174" y="154"/>
                  </a:cubicBezTo>
                  <a:cubicBezTo>
                    <a:pt x="173" y="154"/>
                    <a:pt x="173" y="154"/>
                    <a:pt x="173" y="155"/>
                  </a:cubicBezTo>
                  <a:cubicBezTo>
                    <a:pt x="173" y="156"/>
                    <a:pt x="173" y="157"/>
                    <a:pt x="173" y="158"/>
                  </a:cubicBezTo>
                  <a:cubicBezTo>
                    <a:pt x="173" y="160"/>
                    <a:pt x="174" y="161"/>
                    <a:pt x="173" y="163"/>
                  </a:cubicBezTo>
                  <a:cubicBezTo>
                    <a:pt x="173" y="163"/>
                    <a:pt x="173" y="163"/>
                    <a:pt x="173" y="164"/>
                  </a:cubicBezTo>
                  <a:cubicBezTo>
                    <a:pt x="172" y="164"/>
                    <a:pt x="172" y="164"/>
                    <a:pt x="172" y="164"/>
                  </a:cubicBezTo>
                  <a:cubicBezTo>
                    <a:pt x="172" y="165"/>
                    <a:pt x="172" y="165"/>
                    <a:pt x="172" y="165"/>
                  </a:cubicBezTo>
                  <a:cubicBezTo>
                    <a:pt x="172" y="166"/>
                    <a:pt x="171" y="166"/>
                    <a:pt x="171" y="166"/>
                  </a:cubicBezTo>
                  <a:cubicBezTo>
                    <a:pt x="171" y="167"/>
                    <a:pt x="171" y="167"/>
                    <a:pt x="171" y="167"/>
                  </a:cubicBezTo>
                  <a:cubicBezTo>
                    <a:pt x="170" y="167"/>
                    <a:pt x="170" y="168"/>
                    <a:pt x="170" y="168"/>
                  </a:cubicBezTo>
                  <a:cubicBezTo>
                    <a:pt x="170" y="169"/>
                    <a:pt x="170" y="169"/>
                    <a:pt x="170" y="169"/>
                  </a:cubicBezTo>
                  <a:cubicBezTo>
                    <a:pt x="169" y="170"/>
                    <a:pt x="169" y="170"/>
                    <a:pt x="169" y="171"/>
                  </a:cubicBezTo>
                  <a:cubicBezTo>
                    <a:pt x="168" y="171"/>
                    <a:pt x="167" y="170"/>
                    <a:pt x="167" y="170"/>
                  </a:cubicBezTo>
                  <a:cubicBezTo>
                    <a:pt x="167" y="169"/>
                    <a:pt x="168" y="169"/>
                    <a:pt x="168" y="169"/>
                  </a:cubicBezTo>
                  <a:cubicBezTo>
                    <a:pt x="168" y="168"/>
                    <a:pt x="168" y="168"/>
                    <a:pt x="168" y="167"/>
                  </a:cubicBezTo>
                  <a:cubicBezTo>
                    <a:pt x="169" y="167"/>
                    <a:pt x="169" y="166"/>
                    <a:pt x="169" y="166"/>
                  </a:cubicBezTo>
                  <a:cubicBezTo>
                    <a:pt x="169" y="165"/>
                    <a:pt x="169" y="165"/>
                    <a:pt x="169" y="164"/>
                  </a:cubicBezTo>
                  <a:cubicBezTo>
                    <a:pt x="169" y="164"/>
                    <a:pt x="169" y="163"/>
                    <a:pt x="169" y="162"/>
                  </a:cubicBezTo>
                  <a:cubicBezTo>
                    <a:pt x="169" y="162"/>
                    <a:pt x="170" y="162"/>
                    <a:pt x="170" y="161"/>
                  </a:cubicBezTo>
                  <a:cubicBezTo>
                    <a:pt x="170" y="161"/>
                    <a:pt x="170" y="160"/>
                    <a:pt x="170" y="160"/>
                  </a:cubicBezTo>
                  <a:cubicBezTo>
                    <a:pt x="170" y="159"/>
                    <a:pt x="170" y="159"/>
                    <a:pt x="170" y="159"/>
                  </a:cubicBezTo>
                  <a:cubicBezTo>
                    <a:pt x="169" y="160"/>
                    <a:pt x="169" y="162"/>
                    <a:pt x="169" y="163"/>
                  </a:cubicBezTo>
                  <a:cubicBezTo>
                    <a:pt x="169" y="164"/>
                    <a:pt x="168" y="164"/>
                    <a:pt x="168" y="165"/>
                  </a:cubicBezTo>
                  <a:cubicBezTo>
                    <a:pt x="168" y="166"/>
                    <a:pt x="168" y="166"/>
                    <a:pt x="168" y="166"/>
                  </a:cubicBezTo>
                  <a:cubicBezTo>
                    <a:pt x="167" y="167"/>
                    <a:pt x="167" y="167"/>
                    <a:pt x="167" y="168"/>
                  </a:cubicBezTo>
                  <a:cubicBezTo>
                    <a:pt x="167" y="168"/>
                    <a:pt x="167" y="168"/>
                    <a:pt x="167" y="168"/>
                  </a:cubicBezTo>
                  <a:cubicBezTo>
                    <a:pt x="166" y="169"/>
                    <a:pt x="166" y="169"/>
                    <a:pt x="166" y="169"/>
                  </a:cubicBezTo>
                  <a:cubicBezTo>
                    <a:pt x="166" y="170"/>
                    <a:pt x="165" y="169"/>
                    <a:pt x="165" y="169"/>
                  </a:cubicBezTo>
                  <a:cubicBezTo>
                    <a:pt x="165" y="168"/>
                    <a:pt x="165" y="168"/>
                    <a:pt x="165" y="167"/>
                  </a:cubicBezTo>
                  <a:cubicBezTo>
                    <a:pt x="165" y="166"/>
                    <a:pt x="165" y="166"/>
                    <a:pt x="165" y="165"/>
                  </a:cubicBezTo>
                  <a:cubicBezTo>
                    <a:pt x="165" y="165"/>
                    <a:pt x="165" y="164"/>
                    <a:pt x="165" y="164"/>
                  </a:cubicBezTo>
                  <a:cubicBezTo>
                    <a:pt x="165" y="164"/>
                    <a:pt x="165" y="164"/>
                    <a:pt x="166" y="164"/>
                  </a:cubicBezTo>
                  <a:cubicBezTo>
                    <a:pt x="166" y="163"/>
                    <a:pt x="166" y="163"/>
                    <a:pt x="166" y="162"/>
                  </a:cubicBezTo>
                  <a:cubicBezTo>
                    <a:pt x="166" y="162"/>
                    <a:pt x="166" y="161"/>
                    <a:pt x="166" y="161"/>
                  </a:cubicBezTo>
                  <a:cubicBezTo>
                    <a:pt x="166" y="160"/>
                    <a:pt x="165" y="160"/>
                    <a:pt x="165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65" y="159"/>
                    <a:pt x="165" y="159"/>
                    <a:pt x="165" y="158"/>
                  </a:cubicBezTo>
                  <a:cubicBezTo>
                    <a:pt x="166" y="158"/>
                    <a:pt x="166" y="158"/>
                    <a:pt x="167" y="157"/>
                  </a:cubicBezTo>
                  <a:cubicBezTo>
                    <a:pt x="167" y="156"/>
                    <a:pt x="167" y="156"/>
                    <a:pt x="167" y="155"/>
                  </a:cubicBezTo>
                  <a:cubicBezTo>
                    <a:pt x="167" y="155"/>
                    <a:pt x="168" y="154"/>
                    <a:pt x="167" y="154"/>
                  </a:cubicBezTo>
                  <a:cubicBezTo>
                    <a:pt x="167" y="154"/>
                    <a:pt x="167" y="154"/>
                    <a:pt x="167" y="154"/>
                  </a:cubicBezTo>
                  <a:cubicBezTo>
                    <a:pt x="166" y="153"/>
                    <a:pt x="166" y="153"/>
                    <a:pt x="166" y="153"/>
                  </a:cubicBezTo>
                  <a:cubicBezTo>
                    <a:pt x="166" y="153"/>
                    <a:pt x="166" y="152"/>
                    <a:pt x="166" y="152"/>
                  </a:cubicBezTo>
                  <a:cubicBezTo>
                    <a:pt x="166" y="152"/>
                    <a:pt x="165" y="152"/>
                    <a:pt x="165" y="151"/>
                  </a:cubicBezTo>
                  <a:cubicBezTo>
                    <a:pt x="165" y="151"/>
                    <a:pt x="165" y="151"/>
                    <a:pt x="165" y="151"/>
                  </a:cubicBezTo>
                  <a:cubicBezTo>
                    <a:pt x="165" y="150"/>
                    <a:pt x="164" y="151"/>
                    <a:pt x="164" y="151"/>
                  </a:cubicBezTo>
                  <a:cubicBezTo>
                    <a:pt x="164" y="152"/>
                    <a:pt x="164" y="152"/>
                    <a:pt x="164" y="152"/>
                  </a:cubicBezTo>
                  <a:cubicBezTo>
                    <a:pt x="163" y="153"/>
                    <a:pt x="163" y="153"/>
                    <a:pt x="163" y="154"/>
                  </a:cubicBezTo>
                  <a:cubicBezTo>
                    <a:pt x="163" y="154"/>
                    <a:pt x="163" y="154"/>
                    <a:pt x="162" y="155"/>
                  </a:cubicBezTo>
                  <a:cubicBezTo>
                    <a:pt x="162" y="155"/>
                    <a:pt x="162" y="156"/>
                    <a:pt x="162" y="156"/>
                  </a:cubicBezTo>
                  <a:cubicBezTo>
                    <a:pt x="162" y="157"/>
                    <a:pt x="161" y="157"/>
                    <a:pt x="161" y="157"/>
                  </a:cubicBezTo>
                  <a:cubicBezTo>
                    <a:pt x="160" y="158"/>
                    <a:pt x="160" y="159"/>
                    <a:pt x="160" y="159"/>
                  </a:cubicBezTo>
                  <a:cubicBezTo>
                    <a:pt x="160" y="160"/>
                    <a:pt x="160" y="160"/>
                    <a:pt x="159" y="160"/>
                  </a:cubicBezTo>
                  <a:cubicBezTo>
                    <a:pt x="159" y="160"/>
                    <a:pt x="158" y="160"/>
                    <a:pt x="157" y="160"/>
                  </a:cubicBezTo>
                  <a:cubicBezTo>
                    <a:pt x="157" y="160"/>
                    <a:pt x="157" y="160"/>
                    <a:pt x="157" y="160"/>
                  </a:cubicBezTo>
                  <a:cubicBezTo>
                    <a:pt x="156" y="160"/>
                    <a:pt x="156" y="160"/>
                    <a:pt x="156" y="160"/>
                  </a:cubicBezTo>
                  <a:cubicBezTo>
                    <a:pt x="156" y="160"/>
                    <a:pt x="155" y="160"/>
                    <a:pt x="155" y="160"/>
                  </a:cubicBezTo>
                  <a:cubicBezTo>
                    <a:pt x="155" y="160"/>
                    <a:pt x="155" y="161"/>
                    <a:pt x="154" y="161"/>
                  </a:cubicBezTo>
                  <a:cubicBezTo>
                    <a:pt x="154" y="161"/>
                    <a:pt x="154" y="161"/>
                    <a:pt x="153" y="162"/>
                  </a:cubicBezTo>
                  <a:cubicBezTo>
                    <a:pt x="153" y="163"/>
                    <a:pt x="153" y="163"/>
                    <a:pt x="153" y="163"/>
                  </a:cubicBezTo>
                  <a:cubicBezTo>
                    <a:pt x="152" y="163"/>
                    <a:pt x="151" y="163"/>
                    <a:pt x="151" y="163"/>
                  </a:cubicBezTo>
                  <a:cubicBezTo>
                    <a:pt x="150" y="163"/>
                    <a:pt x="150" y="165"/>
                    <a:pt x="150" y="166"/>
                  </a:cubicBezTo>
                  <a:cubicBezTo>
                    <a:pt x="150" y="167"/>
                    <a:pt x="150" y="168"/>
                    <a:pt x="150" y="169"/>
                  </a:cubicBezTo>
                  <a:cubicBezTo>
                    <a:pt x="150" y="169"/>
                    <a:pt x="150" y="170"/>
                    <a:pt x="150" y="170"/>
                  </a:cubicBezTo>
                  <a:cubicBezTo>
                    <a:pt x="149" y="170"/>
                    <a:pt x="150" y="171"/>
                    <a:pt x="149" y="171"/>
                  </a:cubicBezTo>
                  <a:cubicBezTo>
                    <a:pt x="149" y="172"/>
                    <a:pt x="148" y="172"/>
                    <a:pt x="148" y="172"/>
                  </a:cubicBezTo>
                  <a:cubicBezTo>
                    <a:pt x="147" y="172"/>
                    <a:pt x="147" y="172"/>
                    <a:pt x="146" y="172"/>
                  </a:cubicBezTo>
                  <a:cubicBezTo>
                    <a:pt x="146" y="172"/>
                    <a:pt x="145" y="172"/>
                    <a:pt x="145" y="173"/>
                  </a:cubicBezTo>
                  <a:cubicBezTo>
                    <a:pt x="145" y="173"/>
                    <a:pt x="144" y="173"/>
                    <a:pt x="144" y="173"/>
                  </a:cubicBezTo>
                  <a:cubicBezTo>
                    <a:pt x="144" y="174"/>
                    <a:pt x="144" y="174"/>
                    <a:pt x="144" y="175"/>
                  </a:cubicBezTo>
                  <a:cubicBezTo>
                    <a:pt x="144" y="175"/>
                    <a:pt x="144" y="175"/>
                    <a:pt x="144" y="176"/>
                  </a:cubicBezTo>
                  <a:cubicBezTo>
                    <a:pt x="144" y="176"/>
                    <a:pt x="144" y="176"/>
                    <a:pt x="144" y="176"/>
                  </a:cubicBezTo>
                  <a:cubicBezTo>
                    <a:pt x="145" y="176"/>
                    <a:pt x="145" y="177"/>
                    <a:pt x="145" y="178"/>
                  </a:cubicBezTo>
                  <a:cubicBezTo>
                    <a:pt x="145" y="179"/>
                    <a:pt x="145" y="180"/>
                    <a:pt x="145" y="181"/>
                  </a:cubicBezTo>
                  <a:cubicBezTo>
                    <a:pt x="145" y="182"/>
                    <a:pt x="145" y="182"/>
                    <a:pt x="144" y="183"/>
                  </a:cubicBezTo>
                  <a:cubicBezTo>
                    <a:pt x="144" y="184"/>
                    <a:pt x="144" y="185"/>
                    <a:pt x="144" y="185"/>
                  </a:cubicBezTo>
                  <a:cubicBezTo>
                    <a:pt x="144" y="188"/>
                    <a:pt x="144" y="188"/>
                    <a:pt x="144" y="188"/>
                  </a:cubicBezTo>
                  <a:cubicBezTo>
                    <a:pt x="144" y="188"/>
                    <a:pt x="144" y="189"/>
                    <a:pt x="143" y="190"/>
                  </a:cubicBezTo>
                  <a:cubicBezTo>
                    <a:pt x="143" y="190"/>
                    <a:pt x="143" y="191"/>
                    <a:pt x="142" y="191"/>
                  </a:cubicBezTo>
                  <a:cubicBezTo>
                    <a:pt x="142" y="191"/>
                    <a:pt x="142" y="192"/>
                    <a:pt x="142" y="192"/>
                  </a:cubicBezTo>
                  <a:cubicBezTo>
                    <a:pt x="142" y="192"/>
                    <a:pt x="142" y="193"/>
                    <a:pt x="142" y="193"/>
                  </a:cubicBezTo>
                  <a:cubicBezTo>
                    <a:pt x="142" y="193"/>
                    <a:pt x="142" y="193"/>
                    <a:pt x="141" y="194"/>
                  </a:cubicBezTo>
                  <a:cubicBezTo>
                    <a:pt x="141" y="194"/>
                    <a:pt x="141" y="195"/>
                    <a:pt x="141" y="196"/>
                  </a:cubicBezTo>
                  <a:cubicBezTo>
                    <a:pt x="140" y="196"/>
                    <a:pt x="140" y="197"/>
                    <a:pt x="139" y="197"/>
                  </a:cubicBezTo>
                  <a:cubicBezTo>
                    <a:pt x="139" y="197"/>
                    <a:pt x="139" y="198"/>
                    <a:pt x="139" y="198"/>
                  </a:cubicBezTo>
                  <a:cubicBezTo>
                    <a:pt x="138" y="199"/>
                    <a:pt x="138" y="199"/>
                    <a:pt x="138" y="199"/>
                  </a:cubicBezTo>
                  <a:cubicBezTo>
                    <a:pt x="137" y="200"/>
                    <a:pt x="137" y="200"/>
                    <a:pt x="137" y="201"/>
                  </a:cubicBezTo>
                  <a:cubicBezTo>
                    <a:pt x="137" y="201"/>
                    <a:pt x="136" y="202"/>
                    <a:pt x="136" y="202"/>
                  </a:cubicBezTo>
                  <a:cubicBezTo>
                    <a:pt x="135" y="202"/>
                    <a:pt x="136" y="203"/>
                    <a:pt x="135" y="203"/>
                  </a:cubicBezTo>
                  <a:cubicBezTo>
                    <a:pt x="135" y="203"/>
                    <a:pt x="135" y="204"/>
                    <a:pt x="135" y="204"/>
                  </a:cubicBezTo>
                  <a:cubicBezTo>
                    <a:pt x="135" y="205"/>
                    <a:pt x="136" y="205"/>
                    <a:pt x="136" y="205"/>
                  </a:cubicBezTo>
                  <a:cubicBezTo>
                    <a:pt x="136" y="206"/>
                    <a:pt x="136" y="206"/>
                    <a:pt x="136" y="207"/>
                  </a:cubicBezTo>
                  <a:cubicBezTo>
                    <a:pt x="137" y="207"/>
                    <a:pt x="137" y="208"/>
                    <a:pt x="137" y="209"/>
                  </a:cubicBezTo>
                  <a:cubicBezTo>
                    <a:pt x="137" y="209"/>
                    <a:pt x="137" y="210"/>
                    <a:pt x="137" y="211"/>
                  </a:cubicBezTo>
                  <a:cubicBezTo>
                    <a:pt x="137" y="211"/>
                    <a:pt x="137" y="212"/>
                    <a:pt x="137" y="213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137" y="215"/>
                    <a:pt x="138" y="216"/>
                    <a:pt x="137" y="217"/>
                  </a:cubicBezTo>
                  <a:cubicBezTo>
                    <a:pt x="137" y="217"/>
                    <a:pt x="137" y="218"/>
                    <a:pt x="136" y="218"/>
                  </a:cubicBezTo>
                  <a:cubicBezTo>
                    <a:pt x="136" y="219"/>
                    <a:pt x="136" y="219"/>
                    <a:pt x="135" y="220"/>
                  </a:cubicBezTo>
                  <a:cubicBezTo>
                    <a:pt x="135" y="221"/>
                    <a:pt x="134" y="222"/>
                    <a:pt x="134" y="223"/>
                  </a:cubicBezTo>
                  <a:cubicBezTo>
                    <a:pt x="134" y="225"/>
                    <a:pt x="134" y="226"/>
                    <a:pt x="134" y="227"/>
                  </a:cubicBezTo>
                  <a:cubicBezTo>
                    <a:pt x="135" y="228"/>
                    <a:pt x="135" y="229"/>
                    <a:pt x="136" y="230"/>
                  </a:cubicBezTo>
                  <a:cubicBezTo>
                    <a:pt x="136" y="231"/>
                    <a:pt x="136" y="232"/>
                    <a:pt x="137" y="233"/>
                  </a:cubicBezTo>
                  <a:cubicBezTo>
                    <a:pt x="138" y="235"/>
                    <a:pt x="138" y="237"/>
                    <a:pt x="139" y="239"/>
                  </a:cubicBezTo>
                  <a:cubicBezTo>
                    <a:pt x="140" y="240"/>
                    <a:pt x="140" y="241"/>
                    <a:pt x="140" y="242"/>
                  </a:cubicBezTo>
                  <a:cubicBezTo>
                    <a:pt x="141" y="243"/>
                    <a:pt x="141" y="244"/>
                    <a:pt x="141" y="244"/>
                  </a:cubicBezTo>
                  <a:cubicBezTo>
                    <a:pt x="141" y="245"/>
                    <a:pt x="141" y="245"/>
                    <a:pt x="142" y="245"/>
                  </a:cubicBezTo>
                  <a:cubicBezTo>
                    <a:pt x="142" y="246"/>
                    <a:pt x="142" y="246"/>
                    <a:pt x="142" y="247"/>
                  </a:cubicBezTo>
                  <a:cubicBezTo>
                    <a:pt x="142" y="247"/>
                    <a:pt x="143" y="248"/>
                    <a:pt x="143" y="249"/>
                  </a:cubicBezTo>
                  <a:cubicBezTo>
                    <a:pt x="143" y="250"/>
                    <a:pt x="144" y="251"/>
                    <a:pt x="144" y="251"/>
                  </a:cubicBezTo>
                  <a:cubicBezTo>
                    <a:pt x="144" y="253"/>
                    <a:pt x="145" y="254"/>
                    <a:pt x="145" y="256"/>
                  </a:cubicBezTo>
                  <a:cubicBezTo>
                    <a:pt x="145" y="256"/>
                    <a:pt x="145" y="256"/>
                    <a:pt x="145" y="256"/>
                  </a:cubicBezTo>
                  <a:cubicBezTo>
                    <a:pt x="145" y="268"/>
                    <a:pt x="145" y="268"/>
                    <a:pt x="145" y="268"/>
                  </a:cubicBezTo>
                  <a:cubicBezTo>
                    <a:pt x="145" y="268"/>
                    <a:pt x="145" y="269"/>
                    <a:pt x="145" y="269"/>
                  </a:cubicBezTo>
                  <a:cubicBezTo>
                    <a:pt x="145" y="270"/>
                    <a:pt x="145" y="270"/>
                    <a:pt x="145" y="271"/>
                  </a:cubicBezTo>
                  <a:cubicBezTo>
                    <a:pt x="144" y="272"/>
                    <a:pt x="144" y="273"/>
                    <a:pt x="144" y="275"/>
                  </a:cubicBezTo>
                  <a:cubicBezTo>
                    <a:pt x="144" y="276"/>
                    <a:pt x="144" y="277"/>
                    <a:pt x="144" y="278"/>
                  </a:cubicBezTo>
                  <a:cubicBezTo>
                    <a:pt x="143" y="279"/>
                    <a:pt x="143" y="280"/>
                    <a:pt x="143" y="281"/>
                  </a:cubicBezTo>
                  <a:cubicBezTo>
                    <a:pt x="143" y="282"/>
                    <a:pt x="143" y="282"/>
                    <a:pt x="142" y="283"/>
                  </a:cubicBezTo>
                  <a:cubicBezTo>
                    <a:pt x="142" y="284"/>
                    <a:pt x="142" y="285"/>
                    <a:pt x="141" y="286"/>
                  </a:cubicBezTo>
                  <a:cubicBezTo>
                    <a:pt x="141" y="287"/>
                    <a:pt x="140" y="288"/>
                    <a:pt x="139" y="290"/>
                  </a:cubicBezTo>
                  <a:cubicBezTo>
                    <a:pt x="139" y="290"/>
                    <a:pt x="139" y="291"/>
                    <a:pt x="138" y="291"/>
                  </a:cubicBezTo>
                  <a:cubicBezTo>
                    <a:pt x="138" y="292"/>
                    <a:pt x="138" y="292"/>
                    <a:pt x="138" y="293"/>
                  </a:cubicBezTo>
                  <a:cubicBezTo>
                    <a:pt x="137" y="293"/>
                    <a:pt x="137" y="293"/>
                    <a:pt x="137" y="294"/>
                  </a:cubicBezTo>
                  <a:cubicBezTo>
                    <a:pt x="137" y="294"/>
                    <a:pt x="136" y="294"/>
                    <a:pt x="136" y="295"/>
                  </a:cubicBezTo>
                  <a:cubicBezTo>
                    <a:pt x="135" y="296"/>
                    <a:pt x="136" y="297"/>
                    <a:pt x="135" y="298"/>
                  </a:cubicBezTo>
                  <a:cubicBezTo>
                    <a:pt x="134" y="299"/>
                    <a:pt x="134" y="299"/>
                    <a:pt x="133" y="300"/>
                  </a:cubicBezTo>
                  <a:cubicBezTo>
                    <a:pt x="133" y="300"/>
                    <a:pt x="133" y="301"/>
                    <a:pt x="132" y="302"/>
                  </a:cubicBezTo>
                  <a:cubicBezTo>
                    <a:pt x="132" y="303"/>
                    <a:pt x="132" y="303"/>
                    <a:pt x="132" y="304"/>
                  </a:cubicBezTo>
                  <a:cubicBezTo>
                    <a:pt x="131" y="305"/>
                    <a:pt x="131" y="306"/>
                    <a:pt x="130" y="307"/>
                  </a:cubicBezTo>
                  <a:cubicBezTo>
                    <a:pt x="130" y="308"/>
                    <a:pt x="128" y="308"/>
                    <a:pt x="127" y="310"/>
                  </a:cubicBezTo>
                  <a:cubicBezTo>
                    <a:pt x="127" y="310"/>
                    <a:pt x="126" y="311"/>
                    <a:pt x="126" y="311"/>
                  </a:cubicBezTo>
                  <a:cubicBezTo>
                    <a:pt x="126" y="311"/>
                    <a:pt x="125" y="311"/>
                    <a:pt x="125" y="312"/>
                  </a:cubicBezTo>
                  <a:cubicBezTo>
                    <a:pt x="194" y="312"/>
                    <a:pt x="194" y="312"/>
                    <a:pt x="194" y="312"/>
                  </a:cubicBezTo>
                  <a:cubicBezTo>
                    <a:pt x="194" y="315"/>
                    <a:pt x="194" y="315"/>
                    <a:pt x="194" y="315"/>
                  </a:cubicBezTo>
                  <a:cubicBezTo>
                    <a:pt x="240" y="313"/>
                    <a:pt x="240" y="313"/>
                    <a:pt x="240" y="313"/>
                  </a:cubicBezTo>
                  <a:cubicBezTo>
                    <a:pt x="240" y="313"/>
                    <a:pt x="240" y="313"/>
                    <a:pt x="240" y="313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5F38EB44-CE55-47C1-8DB3-88192E59A3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0567" y="2467417"/>
              <a:ext cx="490705" cy="305657"/>
            </a:xfrm>
            <a:custGeom>
              <a:avLst/>
              <a:gdLst>
                <a:gd name="T0" fmla="*/ 94 w 124"/>
                <a:gd name="T1" fmla="*/ 71 h 77"/>
                <a:gd name="T2" fmla="*/ 100 w 124"/>
                <a:gd name="T3" fmla="*/ 66 h 77"/>
                <a:gd name="T4" fmla="*/ 103 w 124"/>
                <a:gd name="T5" fmla="*/ 68 h 77"/>
                <a:gd name="T6" fmla="*/ 106 w 124"/>
                <a:gd name="T7" fmla="*/ 70 h 77"/>
                <a:gd name="T8" fmla="*/ 100 w 124"/>
                <a:gd name="T9" fmla="*/ 71 h 77"/>
                <a:gd name="T10" fmla="*/ 95 w 124"/>
                <a:gd name="T11" fmla="*/ 74 h 77"/>
                <a:gd name="T12" fmla="*/ 120 w 124"/>
                <a:gd name="T13" fmla="*/ 76 h 77"/>
                <a:gd name="T14" fmla="*/ 121 w 124"/>
                <a:gd name="T15" fmla="*/ 75 h 77"/>
                <a:gd name="T16" fmla="*/ 118 w 124"/>
                <a:gd name="T17" fmla="*/ 74 h 77"/>
                <a:gd name="T18" fmla="*/ 124 w 124"/>
                <a:gd name="T19" fmla="*/ 47 h 77"/>
                <a:gd name="T20" fmla="*/ 122 w 124"/>
                <a:gd name="T21" fmla="*/ 43 h 77"/>
                <a:gd name="T22" fmla="*/ 120 w 124"/>
                <a:gd name="T23" fmla="*/ 40 h 77"/>
                <a:gd name="T24" fmla="*/ 118 w 124"/>
                <a:gd name="T25" fmla="*/ 38 h 77"/>
                <a:gd name="T26" fmla="*/ 117 w 124"/>
                <a:gd name="T27" fmla="*/ 39 h 77"/>
                <a:gd name="T28" fmla="*/ 119 w 124"/>
                <a:gd name="T29" fmla="*/ 45 h 77"/>
                <a:gd name="T30" fmla="*/ 121 w 124"/>
                <a:gd name="T31" fmla="*/ 46 h 77"/>
                <a:gd name="T32" fmla="*/ 121 w 124"/>
                <a:gd name="T33" fmla="*/ 51 h 77"/>
                <a:gd name="T34" fmla="*/ 117 w 124"/>
                <a:gd name="T35" fmla="*/ 53 h 77"/>
                <a:gd name="T36" fmla="*/ 113 w 124"/>
                <a:gd name="T37" fmla="*/ 54 h 77"/>
                <a:gd name="T38" fmla="*/ 108 w 124"/>
                <a:gd name="T39" fmla="*/ 53 h 77"/>
                <a:gd name="T40" fmla="*/ 103 w 124"/>
                <a:gd name="T41" fmla="*/ 50 h 77"/>
                <a:gd name="T42" fmla="*/ 102 w 124"/>
                <a:gd name="T43" fmla="*/ 44 h 77"/>
                <a:gd name="T44" fmla="*/ 99 w 124"/>
                <a:gd name="T45" fmla="*/ 43 h 77"/>
                <a:gd name="T46" fmla="*/ 100 w 124"/>
                <a:gd name="T47" fmla="*/ 40 h 77"/>
                <a:gd name="T48" fmla="*/ 96 w 124"/>
                <a:gd name="T49" fmla="*/ 31 h 77"/>
                <a:gd name="T50" fmla="*/ 92 w 124"/>
                <a:gd name="T51" fmla="*/ 29 h 77"/>
                <a:gd name="T52" fmla="*/ 86 w 124"/>
                <a:gd name="T53" fmla="*/ 26 h 77"/>
                <a:gd name="T54" fmla="*/ 89 w 124"/>
                <a:gd name="T55" fmla="*/ 22 h 77"/>
                <a:gd name="T56" fmla="*/ 96 w 124"/>
                <a:gd name="T57" fmla="*/ 15 h 77"/>
                <a:gd name="T58" fmla="*/ 99 w 124"/>
                <a:gd name="T59" fmla="*/ 13 h 77"/>
                <a:gd name="T60" fmla="*/ 98 w 124"/>
                <a:gd name="T61" fmla="*/ 10 h 77"/>
                <a:gd name="T62" fmla="*/ 94 w 124"/>
                <a:gd name="T63" fmla="*/ 7 h 77"/>
                <a:gd name="T64" fmla="*/ 86 w 124"/>
                <a:gd name="T65" fmla="*/ 1 h 77"/>
                <a:gd name="T66" fmla="*/ 80 w 124"/>
                <a:gd name="T67" fmla="*/ 6 h 77"/>
                <a:gd name="T68" fmla="*/ 9 w 124"/>
                <a:gd name="T69" fmla="*/ 6 h 77"/>
                <a:gd name="T70" fmla="*/ 24 w 124"/>
                <a:gd name="T71" fmla="*/ 41 h 77"/>
                <a:gd name="T72" fmla="*/ 74 w 124"/>
                <a:gd name="T73" fmla="*/ 40 h 77"/>
                <a:gd name="T74" fmla="*/ 79 w 124"/>
                <a:gd name="T75" fmla="*/ 54 h 77"/>
                <a:gd name="T76" fmla="*/ 81 w 124"/>
                <a:gd name="T77" fmla="*/ 56 h 77"/>
                <a:gd name="T78" fmla="*/ 85 w 124"/>
                <a:gd name="T79" fmla="*/ 64 h 77"/>
                <a:gd name="T80" fmla="*/ 89 w 124"/>
                <a:gd name="T81" fmla="*/ 63 h 77"/>
                <a:gd name="T82" fmla="*/ 90 w 124"/>
                <a:gd name="T83" fmla="*/ 59 h 77"/>
                <a:gd name="T84" fmla="*/ 95 w 124"/>
                <a:gd name="T85" fmla="*/ 58 h 77"/>
                <a:gd name="T86" fmla="*/ 97 w 124"/>
                <a:gd name="T87" fmla="*/ 54 h 77"/>
                <a:gd name="T88" fmla="*/ 101 w 124"/>
                <a:gd name="T89" fmla="*/ 54 h 77"/>
                <a:gd name="T90" fmla="*/ 100 w 124"/>
                <a:gd name="T91" fmla="*/ 60 h 77"/>
                <a:gd name="T92" fmla="*/ 100 w 124"/>
                <a:gd name="T93" fmla="*/ 63 h 77"/>
                <a:gd name="T94" fmla="*/ 104 w 124"/>
                <a:gd name="T95" fmla="*/ 62 h 77"/>
                <a:gd name="T96" fmla="*/ 107 w 124"/>
                <a:gd name="T97" fmla="*/ 60 h 77"/>
                <a:gd name="T98" fmla="*/ 110 w 124"/>
                <a:gd name="T99" fmla="*/ 59 h 77"/>
                <a:gd name="T100" fmla="*/ 113 w 124"/>
                <a:gd name="T101" fmla="*/ 58 h 77"/>
                <a:gd name="T102" fmla="*/ 117 w 124"/>
                <a:gd name="T103" fmla="*/ 58 h 77"/>
                <a:gd name="T104" fmla="*/ 123 w 124"/>
                <a:gd name="T105" fmla="*/ 57 h 77"/>
                <a:gd name="T106" fmla="*/ 124 w 124"/>
                <a:gd name="T107" fmla="*/ 5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77">
                  <a:moveTo>
                    <a:pt x="95" y="74"/>
                  </a:moveTo>
                  <a:cubicBezTo>
                    <a:pt x="95" y="73"/>
                    <a:pt x="94" y="73"/>
                    <a:pt x="94" y="72"/>
                  </a:cubicBezTo>
                  <a:cubicBezTo>
                    <a:pt x="93" y="72"/>
                    <a:pt x="93" y="72"/>
                    <a:pt x="93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5" y="71"/>
                    <a:pt x="96" y="71"/>
                    <a:pt x="96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8"/>
                    <a:pt x="98" y="68"/>
                  </a:cubicBezTo>
                  <a:cubicBezTo>
                    <a:pt x="98" y="67"/>
                    <a:pt x="99" y="67"/>
                    <a:pt x="100" y="66"/>
                  </a:cubicBezTo>
                  <a:cubicBezTo>
                    <a:pt x="100" y="66"/>
                    <a:pt x="101" y="66"/>
                    <a:pt x="101" y="66"/>
                  </a:cubicBezTo>
                  <a:cubicBezTo>
                    <a:pt x="101" y="66"/>
                    <a:pt x="101" y="67"/>
                    <a:pt x="102" y="67"/>
                  </a:cubicBezTo>
                  <a:cubicBezTo>
                    <a:pt x="102" y="67"/>
                    <a:pt x="102" y="67"/>
                    <a:pt x="103" y="67"/>
                  </a:cubicBezTo>
                  <a:cubicBezTo>
                    <a:pt x="103" y="67"/>
                    <a:pt x="103" y="68"/>
                    <a:pt x="103" y="68"/>
                  </a:cubicBezTo>
                  <a:cubicBezTo>
                    <a:pt x="104" y="68"/>
                    <a:pt x="104" y="68"/>
                    <a:pt x="104" y="68"/>
                  </a:cubicBezTo>
                  <a:cubicBezTo>
                    <a:pt x="105" y="68"/>
                    <a:pt x="105" y="69"/>
                    <a:pt x="105" y="69"/>
                  </a:cubicBezTo>
                  <a:cubicBezTo>
                    <a:pt x="105" y="69"/>
                    <a:pt x="105" y="69"/>
                    <a:pt x="105" y="69"/>
                  </a:cubicBezTo>
                  <a:cubicBezTo>
                    <a:pt x="105" y="70"/>
                    <a:pt x="106" y="70"/>
                    <a:pt x="106" y="70"/>
                  </a:cubicBezTo>
                  <a:cubicBezTo>
                    <a:pt x="106" y="70"/>
                    <a:pt x="106" y="71"/>
                    <a:pt x="106" y="71"/>
                  </a:cubicBezTo>
                  <a:cubicBezTo>
                    <a:pt x="106" y="72"/>
                    <a:pt x="105" y="72"/>
                    <a:pt x="105" y="71"/>
                  </a:cubicBezTo>
                  <a:cubicBezTo>
                    <a:pt x="104" y="71"/>
                    <a:pt x="103" y="71"/>
                    <a:pt x="103" y="71"/>
                  </a:cubicBezTo>
                  <a:cubicBezTo>
                    <a:pt x="102" y="71"/>
                    <a:pt x="101" y="71"/>
                    <a:pt x="100" y="71"/>
                  </a:cubicBezTo>
                  <a:cubicBezTo>
                    <a:pt x="99" y="72"/>
                    <a:pt x="99" y="72"/>
                    <a:pt x="98" y="72"/>
                  </a:cubicBezTo>
                  <a:cubicBezTo>
                    <a:pt x="98" y="72"/>
                    <a:pt x="97" y="73"/>
                    <a:pt x="97" y="73"/>
                  </a:cubicBezTo>
                  <a:cubicBezTo>
                    <a:pt x="97" y="73"/>
                    <a:pt x="97" y="73"/>
                    <a:pt x="96" y="73"/>
                  </a:cubicBezTo>
                  <a:cubicBezTo>
                    <a:pt x="96" y="73"/>
                    <a:pt x="96" y="74"/>
                    <a:pt x="95" y="74"/>
                  </a:cubicBezTo>
                  <a:close/>
                  <a:moveTo>
                    <a:pt x="118" y="76"/>
                  </a:moveTo>
                  <a:cubicBezTo>
                    <a:pt x="118" y="76"/>
                    <a:pt x="118" y="76"/>
                    <a:pt x="119" y="76"/>
                  </a:cubicBezTo>
                  <a:cubicBezTo>
                    <a:pt x="119" y="76"/>
                    <a:pt x="119" y="76"/>
                    <a:pt x="120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7"/>
                    <a:pt x="121" y="77"/>
                    <a:pt x="121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1" y="75"/>
                    <a:pt x="121" y="75"/>
                  </a:cubicBezTo>
                  <a:cubicBezTo>
                    <a:pt x="121" y="75"/>
                    <a:pt x="121" y="74"/>
                    <a:pt x="121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19" y="74"/>
                    <a:pt x="119" y="74"/>
                  </a:cubicBezTo>
                  <a:cubicBezTo>
                    <a:pt x="119" y="74"/>
                    <a:pt x="118" y="74"/>
                    <a:pt x="118" y="74"/>
                  </a:cubicBezTo>
                  <a:cubicBezTo>
                    <a:pt x="117" y="74"/>
                    <a:pt x="117" y="74"/>
                    <a:pt x="116" y="75"/>
                  </a:cubicBezTo>
                  <a:cubicBezTo>
                    <a:pt x="116" y="75"/>
                    <a:pt x="116" y="75"/>
                    <a:pt x="116" y="76"/>
                  </a:cubicBezTo>
                  <a:cubicBezTo>
                    <a:pt x="117" y="76"/>
                    <a:pt x="117" y="76"/>
                    <a:pt x="118" y="76"/>
                  </a:cubicBezTo>
                  <a:close/>
                  <a:moveTo>
                    <a:pt x="124" y="47"/>
                  </a:moveTo>
                  <a:cubicBezTo>
                    <a:pt x="123" y="47"/>
                    <a:pt x="123" y="47"/>
                    <a:pt x="123" y="46"/>
                  </a:cubicBezTo>
                  <a:cubicBezTo>
                    <a:pt x="123" y="46"/>
                    <a:pt x="123" y="45"/>
                    <a:pt x="123" y="45"/>
                  </a:cubicBezTo>
                  <a:cubicBezTo>
                    <a:pt x="123" y="45"/>
                    <a:pt x="123" y="44"/>
                    <a:pt x="123" y="44"/>
                  </a:cubicBezTo>
                  <a:cubicBezTo>
                    <a:pt x="123" y="44"/>
                    <a:pt x="122" y="44"/>
                    <a:pt x="122" y="43"/>
                  </a:cubicBezTo>
                  <a:cubicBezTo>
                    <a:pt x="122" y="43"/>
                    <a:pt x="122" y="42"/>
                    <a:pt x="122" y="42"/>
                  </a:cubicBezTo>
                  <a:cubicBezTo>
                    <a:pt x="121" y="42"/>
                    <a:pt x="121" y="41"/>
                    <a:pt x="121" y="41"/>
                  </a:cubicBezTo>
                  <a:cubicBezTo>
                    <a:pt x="121" y="41"/>
                    <a:pt x="121" y="41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40"/>
                    <a:pt x="118" y="39"/>
                    <a:pt x="118" y="40"/>
                  </a:cubicBezTo>
                  <a:cubicBezTo>
                    <a:pt x="119" y="40"/>
                    <a:pt x="119" y="42"/>
                    <a:pt x="119" y="43"/>
                  </a:cubicBezTo>
                  <a:cubicBezTo>
                    <a:pt x="119" y="43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5"/>
                  </a:cubicBezTo>
                  <a:cubicBezTo>
                    <a:pt x="119" y="45"/>
                    <a:pt x="120" y="45"/>
                    <a:pt x="120" y="45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20" y="45"/>
                    <a:pt x="120" y="46"/>
                    <a:pt x="121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8"/>
                    <a:pt x="121" y="49"/>
                  </a:cubicBezTo>
                  <a:cubicBezTo>
                    <a:pt x="121" y="49"/>
                    <a:pt x="121" y="50"/>
                    <a:pt x="121" y="50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9" y="52"/>
                    <a:pt x="118" y="52"/>
                    <a:pt x="117" y="52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5" y="54"/>
                    <a:pt x="115" y="54"/>
                    <a:pt x="114" y="54"/>
                  </a:cubicBezTo>
                  <a:cubicBezTo>
                    <a:pt x="114" y="54"/>
                    <a:pt x="114" y="54"/>
                    <a:pt x="114" y="54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13" y="54"/>
                    <a:pt x="112" y="54"/>
                    <a:pt x="112" y="54"/>
                  </a:cubicBezTo>
                  <a:cubicBezTo>
                    <a:pt x="111" y="54"/>
                    <a:pt x="110" y="54"/>
                    <a:pt x="109" y="53"/>
                  </a:cubicBezTo>
                  <a:cubicBezTo>
                    <a:pt x="109" y="53"/>
                    <a:pt x="109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7" y="53"/>
                    <a:pt x="107" y="53"/>
                    <a:pt x="106" y="53"/>
                  </a:cubicBezTo>
                  <a:cubicBezTo>
                    <a:pt x="106" y="52"/>
                    <a:pt x="106" y="52"/>
                    <a:pt x="105" y="52"/>
                  </a:cubicBezTo>
                  <a:cubicBezTo>
                    <a:pt x="105" y="52"/>
                    <a:pt x="105" y="52"/>
                    <a:pt x="105" y="51"/>
                  </a:cubicBezTo>
                  <a:cubicBezTo>
                    <a:pt x="104" y="51"/>
                    <a:pt x="104" y="51"/>
                    <a:pt x="103" y="50"/>
                  </a:cubicBezTo>
                  <a:cubicBezTo>
                    <a:pt x="103" y="50"/>
                    <a:pt x="103" y="49"/>
                    <a:pt x="103" y="49"/>
                  </a:cubicBezTo>
                  <a:cubicBezTo>
                    <a:pt x="103" y="48"/>
                    <a:pt x="103" y="47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0" y="44"/>
                    <a:pt x="100" y="43"/>
                    <a:pt x="99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3"/>
                    <a:pt x="99" y="43"/>
                    <a:pt x="98" y="43"/>
                  </a:cubicBezTo>
                  <a:cubicBezTo>
                    <a:pt x="98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1"/>
                  </a:cubicBezTo>
                  <a:cubicBezTo>
                    <a:pt x="100" y="41"/>
                    <a:pt x="100" y="40"/>
                    <a:pt x="100" y="40"/>
                  </a:cubicBezTo>
                  <a:cubicBezTo>
                    <a:pt x="100" y="39"/>
                    <a:pt x="100" y="38"/>
                    <a:pt x="99" y="37"/>
                  </a:cubicBezTo>
                  <a:cubicBezTo>
                    <a:pt x="99" y="36"/>
                    <a:pt x="98" y="35"/>
                    <a:pt x="98" y="35"/>
                  </a:cubicBezTo>
                  <a:cubicBezTo>
                    <a:pt x="98" y="34"/>
                    <a:pt x="97" y="33"/>
                    <a:pt x="97" y="32"/>
                  </a:cubicBezTo>
                  <a:cubicBezTo>
                    <a:pt x="96" y="32"/>
                    <a:pt x="96" y="31"/>
                    <a:pt x="96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29"/>
                    <a:pt x="93" y="30"/>
                    <a:pt x="93" y="29"/>
                  </a:cubicBezTo>
                  <a:cubicBezTo>
                    <a:pt x="93" y="29"/>
                    <a:pt x="92" y="29"/>
                    <a:pt x="92" y="29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0" y="29"/>
                    <a:pt x="90" y="29"/>
                    <a:pt x="89" y="28"/>
                  </a:cubicBezTo>
                  <a:cubicBezTo>
                    <a:pt x="88" y="28"/>
                    <a:pt x="88" y="28"/>
                    <a:pt x="88" y="27"/>
                  </a:cubicBezTo>
                  <a:cubicBezTo>
                    <a:pt x="87" y="26"/>
                    <a:pt x="86" y="26"/>
                    <a:pt x="86" y="26"/>
                  </a:cubicBezTo>
                  <a:cubicBezTo>
                    <a:pt x="86" y="26"/>
                    <a:pt x="87" y="25"/>
                    <a:pt x="87" y="25"/>
                  </a:cubicBezTo>
                  <a:cubicBezTo>
                    <a:pt x="87" y="25"/>
                    <a:pt x="88" y="24"/>
                    <a:pt x="88" y="24"/>
                  </a:cubicBezTo>
                  <a:cubicBezTo>
                    <a:pt x="88" y="24"/>
                    <a:pt x="89" y="23"/>
                    <a:pt x="89" y="23"/>
                  </a:cubicBezTo>
                  <a:cubicBezTo>
                    <a:pt x="89" y="23"/>
                    <a:pt x="89" y="22"/>
                    <a:pt x="89" y="22"/>
                  </a:cubicBezTo>
                  <a:cubicBezTo>
                    <a:pt x="90" y="21"/>
                    <a:pt x="90" y="21"/>
                    <a:pt x="91" y="20"/>
                  </a:cubicBezTo>
                  <a:cubicBezTo>
                    <a:pt x="92" y="19"/>
                    <a:pt x="92" y="17"/>
                    <a:pt x="94" y="16"/>
                  </a:cubicBezTo>
                  <a:cubicBezTo>
                    <a:pt x="94" y="15"/>
                    <a:pt x="95" y="15"/>
                    <a:pt x="95" y="15"/>
                  </a:cubicBezTo>
                  <a:cubicBezTo>
                    <a:pt x="95" y="15"/>
                    <a:pt x="95" y="15"/>
                    <a:pt x="96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6" y="14"/>
                    <a:pt x="97" y="15"/>
                    <a:pt x="97" y="14"/>
                  </a:cubicBezTo>
                  <a:cubicBezTo>
                    <a:pt x="97" y="14"/>
                    <a:pt x="98" y="14"/>
                    <a:pt x="98" y="14"/>
                  </a:cubicBezTo>
                  <a:cubicBezTo>
                    <a:pt x="98" y="14"/>
                    <a:pt x="98" y="13"/>
                    <a:pt x="99" y="13"/>
                  </a:cubicBezTo>
                  <a:cubicBezTo>
                    <a:pt x="99" y="13"/>
                    <a:pt x="100" y="13"/>
                    <a:pt x="100" y="12"/>
                  </a:cubicBezTo>
                  <a:cubicBezTo>
                    <a:pt x="100" y="12"/>
                    <a:pt x="100" y="11"/>
                    <a:pt x="100" y="11"/>
                  </a:cubicBezTo>
                  <a:cubicBezTo>
                    <a:pt x="100" y="10"/>
                    <a:pt x="100" y="9"/>
                    <a:pt x="100" y="9"/>
                  </a:cubicBezTo>
                  <a:cubicBezTo>
                    <a:pt x="100" y="9"/>
                    <a:pt x="99" y="10"/>
                    <a:pt x="98" y="10"/>
                  </a:cubicBezTo>
                  <a:cubicBezTo>
                    <a:pt x="98" y="10"/>
                    <a:pt x="98" y="11"/>
                    <a:pt x="97" y="11"/>
                  </a:cubicBezTo>
                  <a:cubicBezTo>
                    <a:pt x="97" y="11"/>
                    <a:pt x="96" y="11"/>
                    <a:pt x="96" y="10"/>
                  </a:cubicBezTo>
                  <a:cubicBezTo>
                    <a:pt x="96" y="10"/>
                    <a:pt x="95" y="10"/>
                    <a:pt x="95" y="9"/>
                  </a:cubicBezTo>
                  <a:cubicBezTo>
                    <a:pt x="94" y="9"/>
                    <a:pt x="94" y="8"/>
                    <a:pt x="94" y="7"/>
                  </a:cubicBezTo>
                  <a:cubicBezTo>
                    <a:pt x="94" y="5"/>
                    <a:pt x="94" y="3"/>
                    <a:pt x="94" y="1"/>
                  </a:cubicBezTo>
                  <a:cubicBezTo>
                    <a:pt x="94" y="1"/>
                    <a:pt x="94" y="0"/>
                    <a:pt x="94" y="0"/>
                  </a:cubicBezTo>
                  <a:cubicBezTo>
                    <a:pt x="92" y="0"/>
                    <a:pt x="90" y="0"/>
                    <a:pt x="90" y="0"/>
                  </a:cubicBezTo>
                  <a:cubicBezTo>
                    <a:pt x="89" y="0"/>
                    <a:pt x="86" y="1"/>
                    <a:pt x="86" y="1"/>
                  </a:cubicBezTo>
                  <a:cubicBezTo>
                    <a:pt x="86" y="1"/>
                    <a:pt x="85" y="2"/>
                    <a:pt x="85" y="2"/>
                  </a:cubicBezTo>
                  <a:cubicBezTo>
                    <a:pt x="85" y="2"/>
                    <a:pt x="82" y="3"/>
                    <a:pt x="82" y="3"/>
                  </a:cubicBezTo>
                  <a:cubicBezTo>
                    <a:pt x="82" y="3"/>
                    <a:pt x="80" y="4"/>
                    <a:pt x="80" y="5"/>
                  </a:cubicBezTo>
                  <a:cubicBezTo>
                    <a:pt x="80" y="5"/>
                    <a:pt x="80" y="6"/>
                    <a:pt x="80" y="6"/>
                  </a:cubicBezTo>
                  <a:cubicBezTo>
                    <a:pt x="80" y="6"/>
                    <a:pt x="78" y="6"/>
                    <a:pt x="78" y="6"/>
                  </a:cubicBezTo>
                  <a:cubicBezTo>
                    <a:pt x="78" y="7"/>
                    <a:pt x="76" y="9"/>
                    <a:pt x="76" y="9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4"/>
                    <a:pt x="74" y="44"/>
                  </a:cubicBezTo>
                  <a:cubicBezTo>
                    <a:pt x="74" y="45"/>
                    <a:pt x="75" y="46"/>
                    <a:pt x="75" y="46"/>
                  </a:cubicBezTo>
                  <a:cubicBezTo>
                    <a:pt x="75" y="46"/>
                    <a:pt x="75" y="49"/>
                    <a:pt x="75" y="49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80" y="54"/>
                    <a:pt x="80" y="54"/>
                  </a:cubicBezTo>
                  <a:cubicBezTo>
                    <a:pt x="80" y="54"/>
                    <a:pt x="81" y="55"/>
                    <a:pt x="81" y="55"/>
                  </a:cubicBezTo>
                  <a:cubicBezTo>
                    <a:pt x="81" y="55"/>
                    <a:pt x="81" y="55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3" y="59"/>
                    <a:pt x="83" y="59"/>
                  </a:cubicBezTo>
                  <a:cubicBezTo>
                    <a:pt x="83" y="59"/>
                    <a:pt x="84" y="63"/>
                    <a:pt x="84" y="65"/>
                  </a:cubicBezTo>
                  <a:cubicBezTo>
                    <a:pt x="84" y="65"/>
                    <a:pt x="84" y="65"/>
                    <a:pt x="85" y="64"/>
                  </a:cubicBezTo>
                  <a:cubicBezTo>
                    <a:pt x="85" y="64"/>
                    <a:pt x="86" y="64"/>
                    <a:pt x="86" y="64"/>
                  </a:cubicBezTo>
                  <a:cubicBezTo>
                    <a:pt x="86" y="64"/>
                    <a:pt x="87" y="64"/>
                    <a:pt x="87" y="64"/>
                  </a:cubicBezTo>
                  <a:cubicBezTo>
                    <a:pt x="87" y="64"/>
                    <a:pt x="87" y="63"/>
                    <a:pt x="87" y="63"/>
                  </a:cubicBezTo>
                  <a:cubicBezTo>
                    <a:pt x="88" y="63"/>
                    <a:pt x="88" y="63"/>
                    <a:pt x="89" y="63"/>
                  </a:cubicBezTo>
                  <a:cubicBezTo>
                    <a:pt x="89" y="63"/>
                    <a:pt x="89" y="63"/>
                    <a:pt x="90" y="62"/>
                  </a:cubicBezTo>
                  <a:cubicBezTo>
                    <a:pt x="90" y="62"/>
                    <a:pt x="90" y="62"/>
                    <a:pt x="90" y="61"/>
                  </a:cubicBezTo>
                  <a:cubicBezTo>
                    <a:pt x="90" y="61"/>
                    <a:pt x="90" y="60"/>
                    <a:pt x="90" y="60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91" y="59"/>
                    <a:pt x="91" y="59"/>
                    <a:pt x="92" y="59"/>
                  </a:cubicBezTo>
                  <a:cubicBezTo>
                    <a:pt x="92" y="59"/>
                    <a:pt x="93" y="59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58"/>
                    <a:pt x="94" y="58"/>
                    <a:pt x="95" y="58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5"/>
                    <a:pt x="96" y="55"/>
                  </a:cubicBezTo>
                  <a:cubicBezTo>
                    <a:pt x="96" y="55"/>
                    <a:pt x="97" y="55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9" y="54"/>
                    <a:pt x="100" y="54"/>
                    <a:pt x="100" y="53"/>
                  </a:cubicBezTo>
                  <a:cubicBezTo>
                    <a:pt x="101" y="53"/>
                    <a:pt x="101" y="53"/>
                    <a:pt x="101" y="54"/>
                  </a:cubicBezTo>
                  <a:cubicBezTo>
                    <a:pt x="101" y="55"/>
                    <a:pt x="101" y="56"/>
                    <a:pt x="101" y="56"/>
                  </a:cubicBezTo>
                  <a:cubicBezTo>
                    <a:pt x="101" y="57"/>
                    <a:pt x="101" y="58"/>
                    <a:pt x="101" y="58"/>
                  </a:cubicBez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100" y="64"/>
                    <a:pt x="100" y="63"/>
                    <a:pt x="100" y="63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4" y="62"/>
                  </a:cubicBezTo>
                  <a:cubicBezTo>
                    <a:pt x="104" y="62"/>
                    <a:pt x="104" y="62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7" y="61"/>
                    <a:pt x="107" y="60"/>
                  </a:cubicBezTo>
                  <a:cubicBezTo>
                    <a:pt x="107" y="60"/>
                    <a:pt x="107" y="60"/>
                    <a:pt x="108" y="60"/>
                  </a:cubicBezTo>
                  <a:cubicBezTo>
                    <a:pt x="108" y="60"/>
                    <a:pt x="108" y="59"/>
                    <a:pt x="108" y="59"/>
                  </a:cubicBezTo>
                  <a:cubicBezTo>
                    <a:pt x="108" y="59"/>
                    <a:pt x="109" y="59"/>
                    <a:pt x="109" y="59"/>
                  </a:cubicBezTo>
                  <a:cubicBezTo>
                    <a:pt x="109" y="59"/>
                    <a:pt x="110" y="59"/>
                    <a:pt x="110" y="59"/>
                  </a:cubicBezTo>
                  <a:cubicBezTo>
                    <a:pt x="110" y="59"/>
                    <a:pt x="110" y="59"/>
                    <a:pt x="111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58"/>
                    <a:pt x="112" y="59"/>
                    <a:pt x="112" y="58"/>
                  </a:cubicBezTo>
                  <a:cubicBezTo>
                    <a:pt x="112" y="58"/>
                    <a:pt x="112" y="58"/>
                    <a:pt x="113" y="58"/>
                  </a:cubicBezTo>
                  <a:cubicBezTo>
                    <a:pt x="113" y="58"/>
                    <a:pt x="113" y="58"/>
                    <a:pt x="114" y="58"/>
                  </a:cubicBezTo>
                  <a:cubicBezTo>
                    <a:pt x="114" y="58"/>
                    <a:pt x="114" y="58"/>
                    <a:pt x="114" y="58"/>
                  </a:cubicBezTo>
                  <a:cubicBezTo>
                    <a:pt x="114" y="58"/>
                    <a:pt x="115" y="58"/>
                    <a:pt x="115" y="58"/>
                  </a:cubicBezTo>
                  <a:cubicBezTo>
                    <a:pt x="116" y="58"/>
                    <a:pt x="116" y="58"/>
                    <a:pt x="117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57"/>
                    <a:pt x="117" y="57"/>
                    <a:pt x="118" y="57"/>
                  </a:cubicBezTo>
                  <a:cubicBezTo>
                    <a:pt x="118" y="57"/>
                    <a:pt x="118" y="57"/>
                    <a:pt x="118" y="57"/>
                  </a:cubicBezTo>
                  <a:cubicBezTo>
                    <a:pt x="120" y="57"/>
                    <a:pt x="121" y="57"/>
                    <a:pt x="123" y="57"/>
                  </a:cubicBezTo>
                  <a:cubicBezTo>
                    <a:pt x="123" y="57"/>
                    <a:pt x="123" y="57"/>
                    <a:pt x="123" y="56"/>
                  </a:cubicBezTo>
                  <a:cubicBezTo>
                    <a:pt x="124" y="56"/>
                    <a:pt x="124" y="56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49"/>
                    <a:pt x="124" y="48"/>
                    <a:pt x="124" y="47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9C10A4A7-7773-47D5-A3D8-7629FDC1ED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84378" y="3042385"/>
              <a:ext cx="609664" cy="313919"/>
            </a:xfrm>
            <a:custGeom>
              <a:avLst/>
              <a:gdLst>
                <a:gd name="T0" fmla="*/ 151 w 154"/>
                <a:gd name="T1" fmla="*/ 62 h 79"/>
                <a:gd name="T2" fmla="*/ 148 w 154"/>
                <a:gd name="T3" fmla="*/ 67 h 79"/>
                <a:gd name="T4" fmla="*/ 145 w 154"/>
                <a:gd name="T5" fmla="*/ 71 h 79"/>
                <a:gd name="T6" fmla="*/ 141 w 154"/>
                <a:gd name="T7" fmla="*/ 76 h 79"/>
                <a:gd name="T8" fmla="*/ 127 w 154"/>
                <a:gd name="T9" fmla="*/ 75 h 79"/>
                <a:gd name="T10" fmla="*/ 123 w 154"/>
                <a:gd name="T11" fmla="*/ 69 h 79"/>
                <a:gd name="T12" fmla="*/ 127 w 154"/>
                <a:gd name="T13" fmla="*/ 57 h 79"/>
                <a:gd name="T14" fmla="*/ 123 w 154"/>
                <a:gd name="T15" fmla="*/ 66 h 79"/>
                <a:gd name="T16" fmla="*/ 118 w 154"/>
                <a:gd name="T17" fmla="*/ 66 h 79"/>
                <a:gd name="T18" fmla="*/ 111 w 154"/>
                <a:gd name="T19" fmla="*/ 59 h 79"/>
                <a:gd name="T20" fmla="*/ 113 w 154"/>
                <a:gd name="T21" fmla="*/ 52 h 79"/>
                <a:gd name="T22" fmla="*/ 116 w 154"/>
                <a:gd name="T23" fmla="*/ 50 h 79"/>
                <a:gd name="T24" fmla="*/ 121 w 154"/>
                <a:gd name="T25" fmla="*/ 49 h 79"/>
                <a:gd name="T26" fmla="*/ 114 w 154"/>
                <a:gd name="T27" fmla="*/ 46 h 79"/>
                <a:gd name="T28" fmla="*/ 111 w 154"/>
                <a:gd name="T29" fmla="*/ 41 h 79"/>
                <a:gd name="T30" fmla="*/ 116 w 154"/>
                <a:gd name="T31" fmla="*/ 38 h 79"/>
                <a:gd name="T32" fmla="*/ 115 w 154"/>
                <a:gd name="T33" fmla="*/ 32 h 79"/>
                <a:gd name="T34" fmla="*/ 113 w 154"/>
                <a:gd name="T35" fmla="*/ 30 h 79"/>
                <a:gd name="T36" fmla="*/ 113 w 154"/>
                <a:gd name="T37" fmla="*/ 22 h 79"/>
                <a:gd name="T38" fmla="*/ 117 w 154"/>
                <a:gd name="T39" fmla="*/ 17 h 79"/>
                <a:gd name="T40" fmla="*/ 123 w 154"/>
                <a:gd name="T41" fmla="*/ 16 h 79"/>
                <a:gd name="T42" fmla="*/ 123 w 154"/>
                <a:gd name="T43" fmla="*/ 10 h 79"/>
                <a:gd name="T44" fmla="*/ 122 w 154"/>
                <a:gd name="T45" fmla="*/ 7 h 79"/>
                <a:gd name="T46" fmla="*/ 117 w 154"/>
                <a:gd name="T47" fmla="*/ 11 h 79"/>
                <a:gd name="T48" fmla="*/ 112 w 154"/>
                <a:gd name="T49" fmla="*/ 18 h 79"/>
                <a:gd name="T50" fmla="*/ 108 w 154"/>
                <a:gd name="T51" fmla="*/ 16 h 79"/>
                <a:gd name="T52" fmla="*/ 106 w 154"/>
                <a:gd name="T53" fmla="*/ 23 h 79"/>
                <a:gd name="T54" fmla="*/ 102 w 154"/>
                <a:gd name="T55" fmla="*/ 23 h 79"/>
                <a:gd name="T56" fmla="*/ 106 w 154"/>
                <a:gd name="T57" fmla="*/ 31 h 79"/>
                <a:gd name="T58" fmla="*/ 102 w 154"/>
                <a:gd name="T59" fmla="*/ 35 h 79"/>
                <a:gd name="T60" fmla="*/ 102 w 154"/>
                <a:gd name="T61" fmla="*/ 43 h 79"/>
                <a:gd name="T62" fmla="*/ 103 w 154"/>
                <a:gd name="T63" fmla="*/ 52 h 79"/>
                <a:gd name="T64" fmla="*/ 107 w 154"/>
                <a:gd name="T65" fmla="*/ 62 h 79"/>
                <a:gd name="T66" fmla="*/ 99 w 154"/>
                <a:gd name="T67" fmla="*/ 55 h 79"/>
                <a:gd name="T68" fmla="*/ 109 w 154"/>
                <a:gd name="T69" fmla="*/ 69 h 79"/>
                <a:gd name="T70" fmla="*/ 105 w 154"/>
                <a:gd name="T71" fmla="*/ 70 h 79"/>
                <a:gd name="T72" fmla="*/ 98 w 154"/>
                <a:gd name="T73" fmla="*/ 65 h 79"/>
                <a:gd name="T74" fmla="*/ 92 w 154"/>
                <a:gd name="T75" fmla="*/ 63 h 79"/>
                <a:gd name="T76" fmla="*/ 86 w 154"/>
                <a:gd name="T77" fmla="*/ 60 h 79"/>
                <a:gd name="T78" fmla="*/ 82 w 154"/>
                <a:gd name="T79" fmla="*/ 50 h 79"/>
                <a:gd name="T80" fmla="*/ 86 w 154"/>
                <a:gd name="T81" fmla="*/ 39 h 79"/>
                <a:gd name="T82" fmla="*/ 78 w 154"/>
                <a:gd name="T83" fmla="*/ 33 h 79"/>
                <a:gd name="T84" fmla="*/ 70 w 154"/>
                <a:gd name="T85" fmla="*/ 22 h 79"/>
                <a:gd name="T86" fmla="*/ 59 w 154"/>
                <a:gd name="T87" fmla="*/ 11 h 79"/>
                <a:gd name="T88" fmla="*/ 57 w 154"/>
                <a:gd name="T89" fmla="*/ 5 h 79"/>
                <a:gd name="T90" fmla="*/ 44 w 154"/>
                <a:gd name="T91" fmla="*/ 1 h 79"/>
                <a:gd name="T92" fmla="*/ 36 w 154"/>
                <a:gd name="T93" fmla="*/ 6 h 79"/>
                <a:gd name="T94" fmla="*/ 28 w 154"/>
                <a:gd name="T95" fmla="*/ 7 h 79"/>
                <a:gd name="T96" fmla="*/ 23 w 154"/>
                <a:gd name="T97" fmla="*/ 7 h 79"/>
                <a:gd name="T98" fmla="*/ 14 w 154"/>
                <a:gd name="T99" fmla="*/ 11 h 79"/>
                <a:gd name="T100" fmla="*/ 5 w 154"/>
                <a:gd name="T101" fmla="*/ 19 h 79"/>
                <a:gd name="T102" fmla="*/ 109 w 154"/>
                <a:gd name="T103" fmla="*/ 39 h 79"/>
                <a:gd name="T104" fmla="*/ 110 w 154"/>
                <a:gd name="T105" fmla="*/ 3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4" h="79">
                  <a:moveTo>
                    <a:pt x="154" y="56"/>
                  </a:moveTo>
                  <a:cubicBezTo>
                    <a:pt x="154" y="57"/>
                    <a:pt x="153" y="57"/>
                    <a:pt x="152" y="57"/>
                  </a:cubicBezTo>
                  <a:cubicBezTo>
                    <a:pt x="152" y="58"/>
                    <a:pt x="152" y="58"/>
                    <a:pt x="151" y="58"/>
                  </a:cubicBezTo>
                  <a:cubicBezTo>
                    <a:pt x="151" y="58"/>
                    <a:pt x="150" y="58"/>
                    <a:pt x="150" y="59"/>
                  </a:cubicBezTo>
                  <a:cubicBezTo>
                    <a:pt x="150" y="60"/>
                    <a:pt x="150" y="60"/>
                    <a:pt x="151" y="61"/>
                  </a:cubicBezTo>
                  <a:cubicBezTo>
                    <a:pt x="151" y="61"/>
                    <a:pt x="151" y="61"/>
                    <a:pt x="151" y="62"/>
                  </a:cubicBezTo>
                  <a:cubicBezTo>
                    <a:pt x="151" y="62"/>
                    <a:pt x="151" y="62"/>
                    <a:pt x="151" y="62"/>
                  </a:cubicBezTo>
                  <a:cubicBezTo>
                    <a:pt x="151" y="63"/>
                    <a:pt x="151" y="63"/>
                    <a:pt x="151" y="63"/>
                  </a:cubicBezTo>
                  <a:cubicBezTo>
                    <a:pt x="151" y="64"/>
                    <a:pt x="151" y="65"/>
                    <a:pt x="150" y="66"/>
                  </a:cubicBezTo>
                  <a:cubicBezTo>
                    <a:pt x="150" y="66"/>
                    <a:pt x="149" y="66"/>
                    <a:pt x="149" y="67"/>
                  </a:cubicBezTo>
                  <a:cubicBezTo>
                    <a:pt x="149" y="67"/>
                    <a:pt x="149" y="68"/>
                    <a:pt x="148" y="68"/>
                  </a:cubicBezTo>
                  <a:cubicBezTo>
                    <a:pt x="148" y="68"/>
                    <a:pt x="148" y="67"/>
                    <a:pt x="148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7"/>
                    <a:pt x="146" y="67"/>
                    <a:pt x="146" y="67"/>
                  </a:cubicBezTo>
                  <a:cubicBezTo>
                    <a:pt x="146" y="68"/>
                    <a:pt x="146" y="68"/>
                    <a:pt x="146" y="69"/>
                  </a:cubicBezTo>
                  <a:cubicBezTo>
                    <a:pt x="146" y="69"/>
                    <a:pt x="146" y="70"/>
                    <a:pt x="146" y="70"/>
                  </a:cubicBezTo>
                  <a:cubicBezTo>
                    <a:pt x="146" y="70"/>
                    <a:pt x="145" y="71"/>
                    <a:pt x="145" y="71"/>
                  </a:cubicBezTo>
                  <a:cubicBezTo>
                    <a:pt x="145" y="71"/>
                    <a:pt x="145" y="71"/>
                    <a:pt x="145" y="72"/>
                  </a:cubicBezTo>
                  <a:cubicBezTo>
                    <a:pt x="145" y="72"/>
                    <a:pt x="145" y="72"/>
                    <a:pt x="144" y="72"/>
                  </a:cubicBezTo>
                  <a:cubicBezTo>
                    <a:pt x="144" y="72"/>
                    <a:pt x="144" y="72"/>
                    <a:pt x="144" y="73"/>
                  </a:cubicBezTo>
                  <a:cubicBezTo>
                    <a:pt x="143" y="73"/>
                    <a:pt x="143" y="73"/>
                    <a:pt x="143" y="74"/>
                  </a:cubicBezTo>
                  <a:cubicBezTo>
                    <a:pt x="143" y="74"/>
                    <a:pt x="143" y="74"/>
                    <a:pt x="142" y="74"/>
                  </a:cubicBezTo>
                  <a:cubicBezTo>
                    <a:pt x="142" y="75"/>
                    <a:pt x="142" y="75"/>
                    <a:pt x="141" y="76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1" y="78"/>
                    <a:pt x="130" y="78"/>
                    <a:pt x="129" y="78"/>
                  </a:cubicBezTo>
                  <a:cubicBezTo>
                    <a:pt x="129" y="78"/>
                    <a:pt x="128" y="78"/>
                    <a:pt x="128" y="79"/>
                  </a:cubicBezTo>
                  <a:cubicBezTo>
                    <a:pt x="127" y="79"/>
                    <a:pt x="126" y="79"/>
                    <a:pt x="126" y="79"/>
                  </a:cubicBezTo>
                  <a:cubicBezTo>
                    <a:pt x="125" y="77"/>
                    <a:pt x="127" y="76"/>
                    <a:pt x="127" y="75"/>
                  </a:cubicBezTo>
                  <a:cubicBezTo>
                    <a:pt x="128" y="75"/>
                    <a:pt x="128" y="74"/>
                    <a:pt x="128" y="74"/>
                  </a:cubicBezTo>
                  <a:cubicBezTo>
                    <a:pt x="127" y="74"/>
                    <a:pt x="126" y="74"/>
                    <a:pt x="126" y="73"/>
                  </a:cubicBezTo>
                  <a:cubicBezTo>
                    <a:pt x="126" y="72"/>
                    <a:pt x="128" y="72"/>
                    <a:pt x="127" y="71"/>
                  </a:cubicBezTo>
                  <a:cubicBezTo>
                    <a:pt x="126" y="70"/>
                    <a:pt x="126" y="71"/>
                    <a:pt x="125" y="71"/>
                  </a:cubicBezTo>
                  <a:cubicBezTo>
                    <a:pt x="125" y="72"/>
                    <a:pt x="124" y="72"/>
                    <a:pt x="123" y="71"/>
                  </a:cubicBezTo>
                  <a:cubicBezTo>
                    <a:pt x="122" y="71"/>
                    <a:pt x="123" y="70"/>
                    <a:pt x="123" y="69"/>
                  </a:cubicBezTo>
                  <a:cubicBezTo>
                    <a:pt x="123" y="69"/>
                    <a:pt x="123" y="69"/>
                    <a:pt x="124" y="68"/>
                  </a:cubicBezTo>
                  <a:cubicBezTo>
                    <a:pt x="124" y="68"/>
                    <a:pt x="124" y="68"/>
                    <a:pt x="124" y="67"/>
                  </a:cubicBezTo>
                  <a:cubicBezTo>
                    <a:pt x="124" y="66"/>
                    <a:pt x="124" y="65"/>
                    <a:pt x="124" y="64"/>
                  </a:cubicBezTo>
                  <a:cubicBezTo>
                    <a:pt x="124" y="63"/>
                    <a:pt x="125" y="63"/>
                    <a:pt x="125" y="62"/>
                  </a:cubicBezTo>
                  <a:cubicBezTo>
                    <a:pt x="126" y="61"/>
                    <a:pt x="126" y="60"/>
                    <a:pt x="126" y="59"/>
                  </a:cubicBezTo>
                  <a:cubicBezTo>
                    <a:pt x="126" y="59"/>
                    <a:pt x="126" y="58"/>
                    <a:pt x="127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7" y="56"/>
                    <a:pt x="126" y="58"/>
                    <a:pt x="126" y="58"/>
                  </a:cubicBezTo>
                  <a:cubicBezTo>
                    <a:pt x="126" y="59"/>
                    <a:pt x="125" y="59"/>
                    <a:pt x="125" y="60"/>
                  </a:cubicBezTo>
                  <a:cubicBezTo>
                    <a:pt x="125" y="61"/>
                    <a:pt x="125" y="62"/>
                    <a:pt x="124" y="62"/>
                  </a:cubicBezTo>
                  <a:cubicBezTo>
                    <a:pt x="124" y="63"/>
                    <a:pt x="123" y="64"/>
                    <a:pt x="123" y="65"/>
                  </a:cubicBezTo>
                  <a:cubicBezTo>
                    <a:pt x="123" y="65"/>
                    <a:pt x="123" y="66"/>
                    <a:pt x="123" y="66"/>
                  </a:cubicBezTo>
                  <a:cubicBezTo>
                    <a:pt x="122" y="66"/>
                    <a:pt x="122" y="66"/>
                    <a:pt x="122" y="65"/>
                  </a:cubicBezTo>
                  <a:cubicBezTo>
                    <a:pt x="122" y="65"/>
                    <a:pt x="122" y="65"/>
                    <a:pt x="121" y="65"/>
                  </a:cubicBezTo>
                  <a:cubicBezTo>
                    <a:pt x="121" y="64"/>
                    <a:pt x="120" y="64"/>
                    <a:pt x="120" y="65"/>
                  </a:cubicBezTo>
                  <a:cubicBezTo>
                    <a:pt x="120" y="65"/>
                    <a:pt x="120" y="66"/>
                    <a:pt x="119" y="67"/>
                  </a:cubicBezTo>
                  <a:cubicBezTo>
                    <a:pt x="119" y="67"/>
                    <a:pt x="118" y="67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7" y="65"/>
                    <a:pt x="117" y="65"/>
                  </a:cubicBezTo>
                  <a:cubicBezTo>
                    <a:pt x="116" y="64"/>
                    <a:pt x="115" y="63"/>
                    <a:pt x="115" y="62"/>
                  </a:cubicBezTo>
                  <a:cubicBezTo>
                    <a:pt x="115" y="62"/>
                    <a:pt x="115" y="61"/>
                    <a:pt x="114" y="61"/>
                  </a:cubicBezTo>
                  <a:cubicBezTo>
                    <a:pt x="114" y="60"/>
                    <a:pt x="114" y="60"/>
                    <a:pt x="114" y="61"/>
                  </a:cubicBezTo>
                  <a:cubicBezTo>
                    <a:pt x="113" y="61"/>
                    <a:pt x="112" y="61"/>
                    <a:pt x="112" y="60"/>
                  </a:cubicBezTo>
                  <a:cubicBezTo>
                    <a:pt x="111" y="60"/>
                    <a:pt x="111" y="60"/>
                    <a:pt x="111" y="59"/>
                  </a:cubicBezTo>
                  <a:cubicBezTo>
                    <a:pt x="111" y="58"/>
                    <a:pt x="110" y="58"/>
                    <a:pt x="110" y="57"/>
                  </a:cubicBezTo>
                  <a:cubicBezTo>
                    <a:pt x="110" y="57"/>
                    <a:pt x="110" y="56"/>
                    <a:pt x="110" y="55"/>
                  </a:cubicBezTo>
                  <a:cubicBezTo>
                    <a:pt x="110" y="55"/>
                    <a:pt x="111" y="55"/>
                    <a:pt x="111" y="55"/>
                  </a:cubicBezTo>
                  <a:cubicBezTo>
                    <a:pt x="111" y="55"/>
                    <a:pt x="112" y="55"/>
                    <a:pt x="112" y="55"/>
                  </a:cubicBezTo>
                  <a:cubicBezTo>
                    <a:pt x="112" y="54"/>
                    <a:pt x="113" y="54"/>
                    <a:pt x="114" y="54"/>
                  </a:cubicBezTo>
                  <a:cubicBezTo>
                    <a:pt x="114" y="53"/>
                    <a:pt x="113" y="53"/>
                    <a:pt x="113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2" y="51"/>
                    <a:pt x="112" y="50"/>
                    <a:pt x="112" y="50"/>
                  </a:cubicBezTo>
                  <a:cubicBezTo>
                    <a:pt x="113" y="50"/>
                    <a:pt x="113" y="49"/>
                    <a:pt x="114" y="49"/>
                  </a:cubicBezTo>
                  <a:cubicBezTo>
                    <a:pt x="115" y="49"/>
                    <a:pt x="115" y="49"/>
                    <a:pt x="116" y="49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6" y="50"/>
                    <a:pt x="116" y="50"/>
                    <a:pt x="117" y="51"/>
                  </a:cubicBezTo>
                  <a:cubicBezTo>
                    <a:pt x="118" y="51"/>
                    <a:pt x="119" y="52"/>
                    <a:pt x="120" y="51"/>
                  </a:cubicBezTo>
                  <a:cubicBezTo>
                    <a:pt x="121" y="51"/>
                    <a:pt x="122" y="51"/>
                    <a:pt x="122" y="50"/>
                  </a:cubicBezTo>
                  <a:cubicBezTo>
                    <a:pt x="122" y="50"/>
                    <a:pt x="123" y="49"/>
                    <a:pt x="123" y="49"/>
                  </a:cubicBezTo>
                  <a:cubicBezTo>
                    <a:pt x="123" y="49"/>
                    <a:pt x="123" y="48"/>
                    <a:pt x="122" y="48"/>
                  </a:cubicBezTo>
                  <a:cubicBezTo>
                    <a:pt x="122" y="48"/>
                    <a:pt x="121" y="49"/>
                    <a:pt x="121" y="49"/>
                  </a:cubicBezTo>
                  <a:cubicBezTo>
                    <a:pt x="121" y="50"/>
                    <a:pt x="121" y="50"/>
                    <a:pt x="120" y="51"/>
                  </a:cubicBezTo>
                  <a:cubicBezTo>
                    <a:pt x="120" y="51"/>
                    <a:pt x="119" y="51"/>
                    <a:pt x="118" y="50"/>
                  </a:cubicBezTo>
                  <a:cubicBezTo>
                    <a:pt x="118" y="50"/>
                    <a:pt x="117" y="49"/>
                    <a:pt x="116" y="49"/>
                  </a:cubicBezTo>
                  <a:cubicBezTo>
                    <a:pt x="116" y="49"/>
                    <a:pt x="116" y="48"/>
                    <a:pt x="116" y="48"/>
                  </a:cubicBezTo>
                  <a:cubicBezTo>
                    <a:pt x="115" y="48"/>
                    <a:pt x="115" y="48"/>
                    <a:pt x="114" y="47"/>
                  </a:cubicBezTo>
                  <a:cubicBezTo>
                    <a:pt x="114" y="47"/>
                    <a:pt x="114" y="47"/>
                    <a:pt x="114" y="46"/>
                  </a:cubicBezTo>
                  <a:cubicBezTo>
                    <a:pt x="114" y="46"/>
                    <a:pt x="114" y="46"/>
                    <a:pt x="113" y="45"/>
                  </a:cubicBezTo>
                  <a:cubicBezTo>
                    <a:pt x="113" y="45"/>
                    <a:pt x="113" y="44"/>
                    <a:pt x="113" y="44"/>
                  </a:cubicBezTo>
                  <a:cubicBezTo>
                    <a:pt x="112" y="43"/>
                    <a:pt x="112" y="45"/>
                    <a:pt x="111" y="45"/>
                  </a:cubicBezTo>
                  <a:cubicBezTo>
                    <a:pt x="110" y="45"/>
                    <a:pt x="110" y="45"/>
                    <a:pt x="110" y="44"/>
                  </a:cubicBezTo>
                  <a:cubicBezTo>
                    <a:pt x="110" y="44"/>
                    <a:pt x="110" y="43"/>
                    <a:pt x="110" y="43"/>
                  </a:cubicBezTo>
                  <a:cubicBezTo>
                    <a:pt x="110" y="42"/>
                    <a:pt x="110" y="42"/>
                    <a:pt x="111" y="41"/>
                  </a:cubicBezTo>
                  <a:cubicBezTo>
                    <a:pt x="111" y="41"/>
                    <a:pt x="112" y="41"/>
                    <a:pt x="113" y="41"/>
                  </a:cubicBezTo>
                  <a:cubicBezTo>
                    <a:pt x="113" y="41"/>
                    <a:pt x="114" y="42"/>
                    <a:pt x="114" y="42"/>
                  </a:cubicBezTo>
                  <a:cubicBezTo>
                    <a:pt x="114" y="41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39"/>
                  </a:cubicBezTo>
                  <a:cubicBezTo>
                    <a:pt x="115" y="39"/>
                    <a:pt x="115" y="39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7"/>
                    <a:pt x="115" y="37"/>
                    <a:pt x="115" y="37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3" y="35"/>
                    <a:pt x="113" y="35"/>
                  </a:cubicBezTo>
                  <a:cubicBezTo>
                    <a:pt x="113" y="35"/>
                    <a:pt x="113" y="34"/>
                    <a:pt x="113" y="34"/>
                  </a:cubicBezTo>
                  <a:cubicBezTo>
                    <a:pt x="114" y="33"/>
                    <a:pt x="114" y="34"/>
                    <a:pt x="114" y="34"/>
                  </a:cubicBezTo>
                  <a:cubicBezTo>
                    <a:pt x="115" y="33"/>
                    <a:pt x="114" y="33"/>
                    <a:pt x="115" y="32"/>
                  </a:cubicBezTo>
                  <a:cubicBezTo>
                    <a:pt x="115" y="32"/>
                    <a:pt x="115" y="32"/>
                    <a:pt x="115" y="31"/>
                  </a:cubicBezTo>
                  <a:cubicBezTo>
                    <a:pt x="115" y="31"/>
                    <a:pt x="115" y="31"/>
                    <a:pt x="115" y="30"/>
                  </a:cubicBezTo>
                  <a:cubicBezTo>
                    <a:pt x="115" y="30"/>
                    <a:pt x="115" y="30"/>
                    <a:pt x="116" y="30"/>
                  </a:cubicBezTo>
                  <a:cubicBezTo>
                    <a:pt x="116" y="30"/>
                    <a:pt x="116" y="29"/>
                    <a:pt x="116" y="29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30"/>
                    <a:pt x="114" y="30"/>
                    <a:pt x="113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2" y="28"/>
                    <a:pt x="112" y="28"/>
                    <a:pt x="112" y="27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2" y="24"/>
                    <a:pt x="113" y="24"/>
                    <a:pt x="113" y="24"/>
                  </a:cubicBezTo>
                  <a:cubicBezTo>
                    <a:pt x="113" y="23"/>
                    <a:pt x="113" y="22"/>
                    <a:pt x="113" y="22"/>
                  </a:cubicBezTo>
                  <a:cubicBezTo>
                    <a:pt x="113" y="21"/>
                    <a:pt x="114" y="21"/>
                    <a:pt x="114" y="20"/>
                  </a:cubicBezTo>
                  <a:cubicBezTo>
                    <a:pt x="115" y="20"/>
                    <a:pt x="115" y="19"/>
                    <a:pt x="115" y="19"/>
                  </a:cubicBezTo>
                  <a:cubicBezTo>
                    <a:pt x="115" y="18"/>
                    <a:pt x="116" y="18"/>
                    <a:pt x="116" y="18"/>
                  </a:cubicBezTo>
                  <a:cubicBezTo>
                    <a:pt x="116" y="18"/>
                    <a:pt x="116" y="17"/>
                    <a:pt x="117" y="17"/>
                  </a:cubicBezTo>
                  <a:cubicBezTo>
                    <a:pt x="117" y="17"/>
                    <a:pt x="117" y="16"/>
                    <a:pt x="117" y="16"/>
                  </a:cubicBezTo>
                  <a:cubicBezTo>
                    <a:pt x="117" y="16"/>
                    <a:pt x="117" y="16"/>
                    <a:pt x="117" y="17"/>
                  </a:cubicBezTo>
                  <a:cubicBezTo>
                    <a:pt x="118" y="17"/>
                    <a:pt x="119" y="17"/>
                    <a:pt x="120" y="17"/>
                  </a:cubicBezTo>
                  <a:cubicBezTo>
                    <a:pt x="120" y="17"/>
                    <a:pt x="120" y="17"/>
                    <a:pt x="121" y="17"/>
                  </a:cubicBezTo>
                  <a:cubicBezTo>
                    <a:pt x="121" y="18"/>
                    <a:pt x="122" y="18"/>
                    <a:pt x="123" y="17"/>
                  </a:cubicBezTo>
                  <a:cubicBezTo>
                    <a:pt x="123" y="17"/>
                    <a:pt x="124" y="17"/>
                    <a:pt x="124" y="17"/>
                  </a:cubicBezTo>
                  <a:cubicBezTo>
                    <a:pt x="125" y="17"/>
                    <a:pt x="126" y="17"/>
                    <a:pt x="126" y="16"/>
                  </a:cubicBezTo>
                  <a:cubicBezTo>
                    <a:pt x="125" y="16"/>
                    <a:pt x="123" y="16"/>
                    <a:pt x="123" y="16"/>
                  </a:cubicBezTo>
                  <a:cubicBezTo>
                    <a:pt x="123" y="16"/>
                    <a:pt x="121" y="16"/>
                    <a:pt x="121" y="16"/>
                  </a:cubicBezTo>
                  <a:cubicBezTo>
                    <a:pt x="120" y="16"/>
                    <a:pt x="121" y="15"/>
                    <a:pt x="121" y="14"/>
                  </a:cubicBezTo>
                  <a:cubicBezTo>
                    <a:pt x="122" y="13"/>
                    <a:pt x="123" y="12"/>
                    <a:pt x="124" y="11"/>
                  </a:cubicBezTo>
                  <a:cubicBezTo>
                    <a:pt x="125" y="10"/>
                    <a:pt x="125" y="9"/>
                    <a:pt x="125" y="8"/>
                  </a:cubicBezTo>
                  <a:cubicBezTo>
                    <a:pt x="126" y="7"/>
                    <a:pt x="124" y="9"/>
                    <a:pt x="124" y="9"/>
                  </a:cubicBezTo>
                  <a:cubicBezTo>
                    <a:pt x="124" y="9"/>
                    <a:pt x="123" y="10"/>
                    <a:pt x="123" y="10"/>
                  </a:cubicBezTo>
                  <a:cubicBezTo>
                    <a:pt x="123" y="10"/>
                    <a:pt x="122" y="11"/>
                    <a:pt x="122" y="11"/>
                  </a:cubicBezTo>
                  <a:cubicBezTo>
                    <a:pt x="122" y="11"/>
                    <a:pt x="121" y="11"/>
                    <a:pt x="121" y="11"/>
                  </a:cubicBezTo>
                  <a:cubicBezTo>
                    <a:pt x="121" y="10"/>
                    <a:pt x="122" y="10"/>
                    <a:pt x="122" y="10"/>
                  </a:cubicBezTo>
                  <a:cubicBezTo>
                    <a:pt x="122" y="9"/>
                    <a:pt x="122" y="9"/>
                    <a:pt x="122" y="8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3" y="7"/>
                    <a:pt x="123" y="7"/>
                    <a:pt x="122" y="7"/>
                  </a:cubicBezTo>
                  <a:cubicBezTo>
                    <a:pt x="122" y="7"/>
                    <a:pt x="122" y="7"/>
                    <a:pt x="121" y="7"/>
                  </a:cubicBezTo>
                  <a:cubicBezTo>
                    <a:pt x="121" y="7"/>
                    <a:pt x="121" y="7"/>
                    <a:pt x="121" y="8"/>
                  </a:cubicBezTo>
                  <a:cubicBezTo>
                    <a:pt x="121" y="8"/>
                    <a:pt x="120" y="8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9"/>
                    <a:pt x="118" y="9"/>
                    <a:pt x="118" y="9"/>
                  </a:cubicBezTo>
                  <a:cubicBezTo>
                    <a:pt x="117" y="10"/>
                    <a:pt x="117" y="10"/>
                    <a:pt x="117" y="11"/>
                  </a:cubicBezTo>
                  <a:cubicBezTo>
                    <a:pt x="117" y="12"/>
                    <a:pt x="118" y="13"/>
                    <a:pt x="117" y="14"/>
                  </a:cubicBezTo>
                  <a:cubicBezTo>
                    <a:pt x="117" y="14"/>
                    <a:pt x="116" y="14"/>
                    <a:pt x="116" y="15"/>
                  </a:cubicBezTo>
                  <a:cubicBezTo>
                    <a:pt x="116" y="15"/>
                    <a:pt x="116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4" y="16"/>
                    <a:pt x="114" y="16"/>
                    <a:pt x="113" y="16"/>
                  </a:cubicBezTo>
                  <a:cubicBezTo>
                    <a:pt x="113" y="17"/>
                    <a:pt x="112" y="17"/>
                    <a:pt x="112" y="18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1" y="18"/>
                    <a:pt x="112" y="18"/>
                    <a:pt x="111" y="18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10" y="17"/>
                    <a:pt x="110" y="17"/>
                    <a:pt x="110" y="17"/>
                  </a:cubicBezTo>
                  <a:cubicBezTo>
                    <a:pt x="110" y="16"/>
                    <a:pt x="110" y="16"/>
                    <a:pt x="109" y="15"/>
                  </a:cubicBezTo>
                  <a:cubicBezTo>
                    <a:pt x="109" y="15"/>
                    <a:pt x="108" y="15"/>
                    <a:pt x="108" y="16"/>
                  </a:cubicBezTo>
                  <a:cubicBezTo>
                    <a:pt x="108" y="16"/>
                    <a:pt x="109" y="16"/>
                    <a:pt x="109" y="17"/>
                  </a:cubicBezTo>
                  <a:cubicBezTo>
                    <a:pt x="109" y="17"/>
                    <a:pt x="109" y="18"/>
                    <a:pt x="109" y="18"/>
                  </a:cubicBezTo>
                  <a:cubicBezTo>
                    <a:pt x="109" y="19"/>
                    <a:pt x="109" y="20"/>
                    <a:pt x="108" y="20"/>
                  </a:cubicBezTo>
                  <a:cubicBezTo>
                    <a:pt x="108" y="21"/>
                    <a:pt x="107" y="21"/>
                    <a:pt x="107" y="22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6" y="23"/>
                    <a:pt x="106" y="24"/>
                    <a:pt x="105" y="24"/>
                  </a:cubicBezTo>
                  <a:cubicBezTo>
                    <a:pt x="105" y="24"/>
                    <a:pt x="105" y="23"/>
                    <a:pt x="104" y="23"/>
                  </a:cubicBezTo>
                  <a:cubicBezTo>
                    <a:pt x="104" y="23"/>
                    <a:pt x="104" y="23"/>
                    <a:pt x="103" y="23"/>
                  </a:cubicBezTo>
                  <a:cubicBezTo>
                    <a:pt x="103" y="23"/>
                    <a:pt x="103" y="22"/>
                    <a:pt x="102" y="22"/>
                  </a:cubicBezTo>
                  <a:cubicBezTo>
                    <a:pt x="102" y="22"/>
                    <a:pt x="101" y="22"/>
                    <a:pt x="101" y="23"/>
                  </a:cubicBezTo>
                  <a:cubicBezTo>
                    <a:pt x="101" y="23"/>
                    <a:pt x="101" y="23"/>
                    <a:pt x="102" y="23"/>
                  </a:cubicBezTo>
                  <a:cubicBezTo>
                    <a:pt x="102" y="23"/>
                    <a:pt x="102" y="24"/>
                    <a:pt x="102" y="24"/>
                  </a:cubicBezTo>
                  <a:cubicBezTo>
                    <a:pt x="103" y="24"/>
                    <a:pt x="103" y="25"/>
                    <a:pt x="103" y="25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6" y="28"/>
                    <a:pt x="106" y="29"/>
                    <a:pt x="106" y="30"/>
                  </a:cubicBezTo>
                  <a:cubicBezTo>
                    <a:pt x="106" y="30"/>
                    <a:pt x="106" y="31"/>
                    <a:pt x="106" y="31"/>
                  </a:cubicBezTo>
                  <a:cubicBezTo>
                    <a:pt x="107" y="31"/>
                    <a:pt x="107" y="32"/>
                    <a:pt x="107" y="32"/>
                  </a:cubicBezTo>
                  <a:cubicBezTo>
                    <a:pt x="107" y="33"/>
                    <a:pt x="107" y="33"/>
                    <a:pt x="106" y="34"/>
                  </a:cubicBezTo>
                  <a:cubicBezTo>
                    <a:pt x="106" y="34"/>
                    <a:pt x="105" y="35"/>
                    <a:pt x="104" y="36"/>
                  </a:cubicBezTo>
                  <a:cubicBezTo>
                    <a:pt x="104" y="36"/>
                    <a:pt x="103" y="35"/>
                    <a:pt x="103" y="35"/>
                  </a:cubicBezTo>
                  <a:cubicBezTo>
                    <a:pt x="103" y="35"/>
                    <a:pt x="102" y="35"/>
                    <a:pt x="102" y="35"/>
                  </a:cubicBezTo>
                  <a:cubicBezTo>
                    <a:pt x="101" y="35"/>
                    <a:pt x="102" y="35"/>
                    <a:pt x="102" y="35"/>
                  </a:cubicBezTo>
                  <a:cubicBezTo>
                    <a:pt x="102" y="36"/>
                    <a:pt x="103" y="36"/>
                    <a:pt x="103" y="36"/>
                  </a:cubicBezTo>
                  <a:cubicBezTo>
                    <a:pt x="103" y="37"/>
                    <a:pt x="103" y="37"/>
                    <a:pt x="104" y="37"/>
                  </a:cubicBezTo>
                  <a:cubicBezTo>
                    <a:pt x="104" y="38"/>
                    <a:pt x="104" y="38"/>
                    <a:pt x="104" y="39"/>
                  </a:cubicBezTo>
                  <a:cubicBezTo>
                    <a:pt x="104" y="40"/>
                    <a:pt x="103" y="40"/>
                    <a:pt x="103" y="41"/>
                  </a:cubicBezTo>
                  <a:cubicBezTo>
                    <a:pt x="103" y="42"/>
                    <a:pt x="103" y="42"/>
                    <a:pt x="102" y="42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4"/>
                    <a:pt x="102" y="44"/>
                    <a:pt x="102" y="45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2" y="45"/>
                    <a:pt x="102" y="46"/>
                  </a:cubicBezTo>
                  <a:cubicBezTo>
                    <a:pt x="103" y="46"/>
                    <a:pt x="103" y="48"/>
                    <a:pt x="103" y="49"/>
                  </a:cubicBezTo>
                  <a:cubicBezTo>
                    <a:pt x="103" y="49"/>
                    <a:pt x="103" y="49"/>
                    <a:pt x="103" y="50"/>
                  </a:cubicBezTo>
                  <a:cubicBezTo>
                    <a:pt x="103" y="50"/>
                    <a:pt x="103" y="51"/>
                    <a:pt x="103" y="52"/>
                  </a:cubicBezTo>
                  <a:cubicBezTo>
                    <a:pt x="103" y="52"/>
                    <a:pt x="104" y="52"/>
                    <a:pt x="104" y="52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4"/>
                    <a:pt x="104" y="55"/>
                    <a:pt x="104" y="56"/>
                  </a:cubicBezTo>
                  <a:cubicBezTo>
                    <a:pt x="104" y="57"/>
                    <a:pt x="105" y="57"/>
                    <a:pt x="105" y="58"/>
                  </a:cubicBezTo>
                  <a:cubicBezTo>
                    <a:pt x="106" y="59"/>
                    <a:pt x="106" y="60"/>
                    <a:pt x="107" y="60"/>
                  </a:cubicBezTo>
                  <a:cubicBezTo>
                    <a:pt x="107" y="61"/>
                    <a:pt x="108" y="61"/>
                    <a:pt x="107" y="62"/>
                  </a:cubicBezTo>
                  <a:cubicBezTo>
                    <a:pt x="106" y="62"/>
                    <a:pt x="106" y="62"/>
                    <a:pt x="105" y="61"/>
                  </a:cubicBezTo>
                  <a:cubicBezTo>
                    <a:pt x="104" y="61"/>
                    <a:pt x="104" y="61"/>
                    <a:pt x="103" y="60"/>
                  </a:cubicBezTo>
                  <a:cubicBezTo>
                    <a:pt x="103" y="60"/>
                    <a:pt x="102" y="59"/>
                    <a:pt x="102" y="59"/>
                  </a:cubicBezTo>
                  <a:cubicBezTo>
                    <a:pt x="102" y="58"/>
                    <a:pt x="101" y="58"/>
                    <a:pt x="101" y="57"/>
                  </a:cubicBezTo>
                  <a:cubicBezTo>
                    <a:pt x="100" y="57"/>
                    <a:pt x="100" y="57"/>
                    <a:pt x="100" y="56"/>
                  </a:cubicBezTo>
                  <a:cubicBezTo>
                    <a:pt x="99" y="56"/>
                    <a:pt x="99" y="56"/>
                    <a:pt x="99" y="55"/>
                  </a:cubicBezTo>
                  <a:cubicBezTo>
                    <a:pt x="99" y="55"/>
                    <a:pt x="98" y="54"/>
                    <a:pt x="98" y="54"/>
                  </a:cubicBezTo>
                  <a:cubicBezTo>
                    <a:pt x="97" y="54"/>
                    <a:pt x="98" y="55"/>
                    <a:pt x="98" y="56"/>
                  </a:cubicBezTo>
                  <a:cubicBezTo>
                    <a:pt x="98" y="56"/>
                    <a:pt x="99" y="57"/>
                    <a:pt x="99" y="57"/>
                  </a:cubicBezTo>
                  <a:cubicBezTo>
                    <a:pt x="100" y="58"/>
                    <a:pt x="100" y="59"/>
                    <a:pt x="101" y="59"/>
                  </a:cubicBezTo>
                  <a:cubicBezTo>
                    <a:pt x="102" y="60"/>
                    <a:pt x="103" y="61"/>
                    <a:pt x="103" y="62"/>
                  </a:cubicBezTo>
                  <a:cubicBezTo>
                    <a:pt x="105" y="65"/>
                    <a:pt x="108" y="66"/>
                    <a:pt x="109" y="69"/>
                  </a:cubicBezTo>
                  <a:cubicBezTo>
                    <a:pt x="109" y="70"/>
                    <a:pt x="110" y="70"/>
                    <a:pt x="110" y="70"/>
                  </a:cubicBezTo>
                  <a:cubicBezTo>
                    <a:pt x="110" y="71"/>
                    <a:pt x="110" y="73"/>
                    <a:pt x="109" y="74"/>
                  </a:cubicBezTo>
                  <a:cubicBezTo>
                    <a:pt x="108" y="74"/>
                    <a:pt x="108" y="73"/>
                    <a:pt x="108" y="72"/>
                  </a:cubicBezTo>
                  <a:cubicBezTo>
                    <a:pt x="107" y="72"/>
                    <a:pt x="107" y="71"/>
                    <a:pt x="107" y="70"/>
                  </a:cubicBezTo>
                  <a:cubicBezTo>
                    <a:pt x="106" y="70"/>
                    <a:pt x="106" y="69"/>
                    <a:pt x="105" y="69"/>
                  </a:cubicBezTo>
                  <a:cubicBezTo>
                    <a:pt x="105" y="69"/>
                    <a:pt x="105" y="70"/>
                    <a:pt x="105" y="70"/>
                  </a:cubicBezTo>
                  <a:cubicBezTo>
                    <a:pt x="105" y="71"/>
                    <a:pt x="104" y="71"/>
                    <a:pt x="104" y="71"/>
                  </a:cubicBezTo>
                  <a:cubicBezTo>
                    <a:pt x="103" y="71"/>
                    <a:pt x="103" y="71"/>
                    <a:pt x="102" y="70"/>
                  </a:cubicBezTo>
                  <a:cubicBezTo>
                    <a:pt x="102" y="69"/>
                    <a:pt x="102" y="69"/>
                    <a:pt x="101" y="68"/>
                  </a:cubicBezTo>
                  <a:cubicBezTo>
                    <a:pt x="100" y="68"/>
                    <a:pt x="100" y="67"/>
                    <a:pt x="99" y="67"/>
                  </a:cubicBezTo>
                  <a:cubicBezTo>
                    <a:pt x="98" y="67"/>
                    <a:pt x="97" y="66"/>
                    <a:pt x="98" y="66"/>
                  </a:cubicBezTo>
                  <a:cubicBezTo>
                    <a:pt x="98" y="66"/>
                    <a:pt x="98" y="66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7" y="65"/>
                  </a:cubicBezTo>
                  <a:cubicBezTo>
                    <a:pt x="97" y="65"/>
                    <a:pt x="96" y="65"/>
                    <a:pt x="96" y="65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4" y="66"/>
                    <a:pt x="94" y="66"/>
                    <a:pt x="93" y="65"/>
                  </a:cubicBezTo>
                  <a:cubicBezTo>
                    <a:pt x="93" y="64"/>
                    <a:pt x="93" y="63"/>
                    <a:pt x="92" y="63"/>
                  </a:cubicBezTo>
                  <a:cubicBezTo>
                    <a:pt x="91" y="63"/>
                    <a:pt x="92" y="64"/>
                    <a:pt x="91" y="64"/>
                  </a:cubicBezTo>
                  <a:cubicBezTo>
                    <a:pt x="91" y="64"/>
                    <a:pt x="90" y="64"/>
                    <a:pt x="90" y="64"/>
                  </a:cubicBezTo>
                  <a:cubicBezTo>
                    <a:pt x="90" y="64"/>
                    <a:pt x="89" y="63"/>
                    <a:pt x="89" y="63"/>
                  </a:cubicBezTo>
                  <a:cubicBezTo>
                    <a:pt x="89" y="63"/>
                    <a:pt x="88" y="63"/>
                    <a:pt x="88" y="62"/>
                  </a:cubicBezTo>
                  <a:cubicBezTo>
                    <a:pt x="88" y="62"/>
                    <a:pt x="88" y="62"/>
                    <a:pt x="87" y="61"/>
                  </a:cubicBezTo>
                  <a:cubicBezTo>
                    <a:pt x="87" y="61"/>
                    <a:pt x="87" y="60"/>
                    <a:pt x="86" y="60"/>
                  </a:cubicBezTo>
                  <a:cubicBezTo>
                    <a:pt x="86" y="59"/>
                    <a:pt x="85" y="55"/>
                    <a:pt x="83" y="57"/>
                  </a:cubicBezTo>
                  <a:cubicBezTo>
                    <a:pt x="81" y="57"/>
                    <a:pt x="82" y="59"/>
                    <a:pt x="81" y="60"/>
                  </a:cubicBezTo>
                  <a:cubicBezTo>
                    <a:pt x="80" y="62"/>
                    <a:pt x="78" y="61"/>
                    <a:pt x="78" y="59"/>
                  </a:cubicBezTo>
                  <a:cubicBezTo>
                    <a:pt x="77" y="58"/>
                    <a:pt x="77" y="56"/>
                    <a:pt x="78" y="54"/>
                  </a:cubicBezTo>
                  <a:cubicBezTo>
                    <a:pt x="78" y="53"/>
                    <a:pt x="79" y="53"/>
                    <a:pt x="79" y="52"/>
                  </a:cubicBezTo>
                  <a:cubicBezTo>
                    <a:pt x="80" y="51"/>
                    <a:pt x="81" y="51"/>
                    <a:pt x="82" y="50"/>
                  </a:cubicBezTo>
                  <a:cubicBezTo>
                    <a:pt x="83" y="49"/>
                    <a:pt x="85" y="48"/>
                    <a:pt x="86" y="46"/>
                  </a:cubicBezTo>
                  <a:cubicBezTo>
                    <a:pt x="86" y="45"/>
                    <a:pt x="86" y="45"/>
                    <a:pt x="86" y="44"/>
                  </a:cubicBezTo>
                  <a:cubicBezTo>
                    <a:pt x="86" y="44"/>
                    <a:pt x="85" y="43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2" y="36"/>
                    <a:pt x="82" y="35"/>
                  </a:cubicBezTo>
                  <a:cubicBezTo>
                    <a:pt x="82" y="35"/>
                    <a:pt x="80" y="33"/>
                    <a:pt x="80" y="33"/>
                  </a:cubicBezTo>
                  <a:cubicBezTo>
                    <a:pt x="80" y="33"/>
                    <a:pt x="78" y="33"/>
                    <a:pt x="78" y="33"/>
                  </a:cubicBezTo>
                  <a:cubicBezTo>
                    <a:pt x="78" y="33"/>
                    <a:pt x="77" y="31"/>
                    <a:pt x="77" y="31"/>
                  </a:cubicBezTo>
                  <a:cubicBezTo>
                    <a:pt x="77" y="31"/>
                    <a:pt x="76" y="30"/>
                    <a:pt x="75" y="30"/>
                  </a:cubicBezTo>
                  <a:cubicBezTo>
                    <a:pt x="75" y="30"/>
                    <a:pt x="72" y="29"/>
                    <a:pt x="71" y="29"/>
                  </a:cubicBezTo>
                  <a:cubicBezTo>
                    <a:pt x="71" y="29"/>
                    <a:pt x="68" y="28"/>
                    <a:pt x="68" y="27"/>
                  </a:cubicBezTo>
                  <a:cubicBezTo>
                    <a:pt x="68" y="27"/>
                    <a:pt x="68" y="25"/>
                    <a:pt x="68" y="25"/>
                  </a:cubicBezTo>
                  <a:cubicBezTo>
                    <a:pt x="68" y="25"/>
                    <a:pt x="70" y="22"/>
                    <a:pt x="70" y="22"/>
                  </a:cubicBezTo>
                  <a:cubicBezTo>
                    <a:pt x="70" y="22"/>
                    <a:pt x="67" y="19"/>
                    <a:pt x="67" y="19"/>
                  </a:cubicBezTo>
                  <a:cubicBezTo>
                    <a:pt x="66" y="18"/>
                    <a:pt x="61" y="18"/>
                    <a:pt x="61" y="18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9" y="11"/>
                    <a:pt x="59" y="11"/>
                  </a:cubicBezTo>
                  <a:cubicBezTo>
                    <a:pt x="59" y="11"/>
                    <a:pt x="59" y="10"/>
                    <a:pt x="59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7"/>
                    <a:pt x="56" y="6"/>
                  </a:cubicBezTo>
                  <a:cubicBezTo>
                    <a:pt x="56" y="6"/>
                    <a:pt x="57" y="5"/>
                    <a:pt x="57" y="5"/>
                  </a:cubicBezTo>
                  <a:cubicBezTo>
                    <a:pt x="57" y="5"/>
                    <a:pt x="55" y="5"/>
                    <a:pt x="55" y="5"/>
                  </a:cubicBezTo>
                  <a:cubicBezTo>
                    <a:pt x="55" y="5"/>
                    <a:pt x="53" y="6"/>
                    <a:pt x="53" y="6"/>
                  </a:cubicBezTo>
                  <a:cubicBezTo>
                    <a:pt x="53" y="6"/>
                    <a:pt x="54" y="5"/>
                    <a:pt x="53" y="5"/>
                  </a:cubicBezTo>
                  <a:cubicBezTo>
                    <a:pt x="53" y="4"/>
                    <a:pt x="52" y="5"/>
                    <a:pt x="52" y="5"/>
                  </a:cubicBezTo>
                  <a:cubicBezTo>
                    <a:pt x="52" y="5"/>
                    <a:pt x="46" y="1"/>
                    <a:pt x="46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39" y="4"/>
                    <a:pt x="39" y="4"/>
                  </a:cubicBezTo>
                  <a:cubicBezTo>
                    <a:pt x="39" y="3"/>
                    <a:pt x="38" y="5"/>
                    <a:pt x="38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7" y="6"/>
                    <a:pt x="37" y="6"/>
                  </a:cubicBezTo>
                  <a:cubicBezTo>
                    <a:pt x="37" y="6"/>
                    <a:pt x="36" y="6"/>
                    <a:pt x="36" y="6"/>
                  </a:cubicBezTo>
                  <a:cubicBezTo>
                    <a:pt x="35" y="7"/>
                    <a:pt x="35" y="8"/>
                    <a:pt x="35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3" y="9"/>
                    <a:pt x="33" y="9"/>
                  </a:cubicBezTo>
                  <a:cubicBezTo>
                    <a:pt x="33" y="9"/>
                    <a:pt x="31" y="9"/>
                    <a:pt x="30" y="8"/>
                  </a:cubicBezTo>
                  <a:cubicBezTo>
                    <a:pt x="30" y="8"/>
                    <a:pt x="28" y="7"/>
                    <a:pt x="28" y="7"/>
                  </a:cubicBezTo>
                  <a:cubicBezTo>
                    <a:pt x="28" y="7"/>
                    <a:pt x="26" y="7"/>
                    <a:pt x="26" y="7"/>
                  </a:cubicBezTo>
                  <a:cubicBezTo>
                    <a:pt x="26" y="6"/>
                    <a:pt x="25" y="5"/>
                    <a:pt x="25" y="5"/>
                  </a:cubicBezTo>
                  <a:cubicBezTo>
                    <a:pt x="25" y="4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5"/>
                    <a:pt x="23" y="6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19" y="10"/>
                    <a:pt x="19" y="10"/>
                  </a:cubicBezTo>
                  <a:cubicBezTo>
                    <a:pt x="19" y="11"/>
                    <a:pt x="18" y="12"/>
                    <a:pt x="18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5" y="10"/>
                    <a:pt x="14" y="11"/>
                    <a:pt x="14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5" y="19"/>
                    <a:pt x="5" y="19"/>
                  </a:cubicBezTo>
                  <a:cubicBezTo>
                    <a:pt x="5" y="19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1" y="56"/>
                    <a:pt x="131" y="56"/>
                    <a:pt x="131" y="56"/>
                  </a:cubicBezTo>
                  <a:lnTo>
                    <a:pt x="154" y="56"/>
                  </a:lnTo>
                  <a:close/>
                  <a:moveTo>
                    <a:pt x="109" y="39"/>
                  </a:moveTo>
                  <a:cubicBezTo>
                    <a:pt x="110" y="38"/>
                    <a:pt x="110" y="37"/>
                    <a:pt x="110" y="37"/>
                  </a:cubicBezTo>
                  <a:cubicBezTo>
                    <a:pt x="110" y="36"/>
                    <a:pt x="111" y="36"/>
                    <a:pt x="111" y="36"/>
                  </a:cubicBezTo>
                  <a:cubicBezTo>
                    <a:pt x="112" y="35"/>
                    <a:pt x="112" y="35"/>
                    <a:pt x="112" y="34"/>
                  </a:cubicBezTo>
                  <a:cubicBezTo>
                    <a:pt x="112" y="34"/>
                    <a:pt x="112" y="34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0" y="33"/>
                    <a:pt x="110" y="33"/>
                    <a:pt x="110" y="34"/>
                  </a:cubicBezTo>
                  <a:cubicBezTo>
                    <a:pt x="110" y="34"/>
                    <a:pt x="110" y="35"/>
                    <a:pt x="109" y="35"/>
                  </a:cubicBezTo>
                  <a:cubicBezTo>
                    <a:pt x="109" y="35"/>
                    <a:pt x="109" y="36"/>
                    <a:pt x="109" y="36"/>
                  </a:cubicBezTo>
                  <a:cubicBezTo>
                    <a:pt x="108" y="37"/>
                    <a:pt x="109" y="37"/>
                    <a:pt x="108" y="37"/>
                  </a:cubicBezTo>
                  <a:cubicBezTo>
                    <a:pt x="109" y="38"/>
                    <a:pt x="109" y="39"/>
                    <a:pt x="109" y="39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21D44D7F-5A7E-4F78-B7C7-F54362D6D7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32659" y="1575226"/>
              <a:ext cx="558445" cy="860798"/>
            </a:xfrm>
            <a:custGeom>
              <a:avLst/>
              <a:gdLst>
                <a:gd name="T0" fmla="*/ 76 w 141"/>
                <a:gd name="T1" fmla="*/ 158 h 217"/>
                <a:gd name="T2" fmla="*/ 78 w 141"/>
                <a:gd name="T3" fmla="*/ 165 h 217"/>
                <a:gd name="T4" fmla="*/ 76 w 141"/>
                <a:gd name="T5" fmla="*/ 164 h 217"/>
                <a:gd name="T6" fmla="*/ 78 w 141"/>
                <a:gd name="T7" fmla="*/ 170 h 217"/>
                <a:gd name="T8" fmla="*/ 76 w 141"/>
                <a:gd name="T9" fmla="*/ 168 h 217"/>
                <a:gd name="T10" fmla="*/ 85 w 141"/>
                <a:gd name="T11" fmla="*/ 162 h 217"/>
                <a:gd name="T12" fmla="*/ 83 w 141"/>
                <a:gd name="T13" fmla="*/ 161 h 217"/>
                <a:gd name="T14" fmla="*/ 77 w 141"/>
                <a:gd name="T15" fmla="*/ 154 h 217"/>
                <a:gd name="T16" fmla="*/ 138 w 141"/>
                <a:gd name="T17" fmla="*/ 130 h 217"/>
                <a:gd name="T18" fmla="*/ 137 w 141"/>
                <a:gd name="T19" fmla="*/ 127 h 217"/>
                <a:gd name="T20" fmla="*/ 138 w 141"/>
                <a:gd name="T21" fmla="*/ 121 h 217"/>
                <a:gd name="T22" fmla="*/ 132 w 141"/>
                <a:gd name="T23" fmla="*/ 114 h 217"/>
                <a:gd name="T24" fmla="*/ 124 w 141"/>
                <a:gd name="T25" fmla="*/ 100 h 217"/>
                <a:gd name="T26" fmla="*/ 121 w 141"/>
                <a:gd name="T27" fmla="*/ 93 h 217"/>
                <a:gd name="T28" fmla="*/ 113 w 141"/>
                <a:gd name="T29" fmla="*/ 84 h 217"/>
                <a:gd name="T30" fmla="*/ 114 w 141"/>
                <a:gd name="T31" fmla="*/ 77 h 217"/>
                <a:gd name="T32" fmla="*/ 86 w 141"/>
                <a:gd name="T33" fmla="*/ 11 h 217"/>
                <a:gd name="T34" fmla="*/ 36 w 141"/>
                <a:gd name="T35" fmla="*/ 53 h 217"/>
                <a:gd name="T36" fmla="*/ 28 w 141"/>
                <a:gd name="T37" fmla="*/ 74 h 217"/>
                <a:gd name="T38" fmla="*/ 16 w 141"/>
                <a:gd name="T39" fmla="*/ 93 h 217"/>
                <a:gd name="T40" fmla="*/ 9 w 141"/>
                <a:gd name="T41" fmla="*/ 109 h 217"/>
                <a:gd name="T42" fmla="*/ 4 w 141"/>
                <a:gd name="T43" fmla="*/ 186 h 217"/>
                <a:gd name="T44" fmla="*/ 13 w 141"/>
                <a:gd name="T45" fmla="*/ 216 h 217"/>
                <a:gd name="T46" fmla="*/ 20 w 141"/>
                <a:gd name="T47" fmla="*/ 204 h 217"/>
                <a:gd name="T48" fmla="*/ 29 w 141"/>
                <a:gd name="T49" fmla="*/ 193 h 217"/>
                <a:gd name="T50" fmla="*/ 36 w 141"/>
                <a:gd name="T51" fmla="*/ 180 h 217"/>
                <a:gd name="T52" fmla="*/ 40 w 141"/>
                <a:gd name="T53" fmla="*/ 179 h 217"/>
                <a:gd name="T54" fmla="*/ 45 w 141"/>
                <a:gd name="T55" fmla="*/ 184 h 217"/>
                <a:gd name="T56" fmla="*/ 45 w 141"/>
                <a:gd name="T57" fmla="*/ 175 h 217"/>
                <a:gd name="T58" fmla="*/ 47 w 141"/>
                <a:gd name="T59" fmla="*/ 181 h 217"/>
                <a:gd name="T60" fmla="*/ 47 w 141"/>
                <a:gd name="T61" fmla="*/ 177 h 217"/>
                <a:gd name="T62" fmla="*/ 51 w 141"/>
                <a:gd name="T63" fmla="*/ 178 h 217"/>
                <a:gd name="T64" fmla="*/ 53 w 141"/>
                <a:gd name="T65" fmla="*/ 172 h 217"/>
                <a:gd name="T66" fmla="*/ 55 w 141"/>
                <a:gd name="T67" fmla="*/ 178 h 217"/>
                <a:gd name="T68" fmla="*/ 59 w 141"/>
                <a:gd name="T69" fmla="*/ 169 h 217"/>
                <a:gd name="T70" fmla="*/ 61 w 141"/>
                <a:gd name="T71" fmla="*/ 173 h 217"/>
                <a:gd name="T72" fmla="*/ 66 w 141"/>
                <a:gd name="T73" fmla="*/ 173 h 217"/>
                <a:gd name="T74" fmla="*/ 70 w 141"/>
                <a:gd name="T75" fmla="*/ 168 h 217"/>
                <a:gd name="T76" fmla="*/ 70 w 141"/>
                <a:gd name="T77" fmla="*/ 163 h 217"/>
                <a:gd name="T78" fmla="*/ 74 w 141"/>
                <a:gd name="T79" fmla="*/ 157 h 217"/>
                <a:gd name="T80" fmla="*/ 74 w 141"/>
                <a:gd name="T81" fmla="*/ 151 h 217"/>
                <a:gd name="T82" fmla="*/ 79 w 141"/>
                <a:gd name="T83" fmla="*/ 147 h 217"/>
                <a:gd name="T84" fmla="*/ 79 w 141"/>
                <a:gd name="T85" fmla="*/ 151 h 217"/>
                <a:gd name="T86" fmla="*/ 81 w 141"/>
                <a:gd name="T87" fmla="*/ 156 h 217"/>
                <a:gd name="T88" fmla="*/ 88 w 141"/>
                <a:gd name="T89" fmla="*/ 160 h 217"/>
                <a:gd name="T90" fmla="*/ 88 w 141"/>
                <a:gd name="T91" fmla="*/ 156 h 217"/>
                <a:gd name="T92" fmla="*/ 90 w 141"/>
                <a:gd name="T93" fmla="*/ 149 h 217"/>
                <a:gd name="T94" fmla="*/ 93 w 141"/>
                <a:gd name="T95" fmla="*/ 152 h 217"/>
                <a:gd name="T96" fmla="*/ 94 w 141"/>
                <a:gd name="T97" fmla="*/ 156 h 217"/>
                <a:gd name="T98" fmla="*/ 98 w 141"/>
                <a:gd name="T99" fmla="*/ 159 h 217"/>
                <a:gd name="T100" fmla="*/ 98 w 141"/>
                <a:gd name="T101" fmla="*/ 153 h 217"/>
                <a:gd name="T102" fmla="*/ 99 w 141"/>
                <a:gd name="T103" fmla="*/ 149 h 217"/>
                <a:gd name="T104" fmla="*/ 103 w 141"/>
                <a:gd name="T105" fmla="*/ 153 h 217"/>
                <a:gd name="T106" fmla="*/ 107 w 141"/>
                <a:gd name="T107" fmla="*/ 149 h 217"/>
                <a:gd name="T108" fmla="*/ 111 w 141"/>
                <a:gd name="T109" fmla="*/ 152 h 217"/>
                <a:gd name="T110" fmla="*/ 113 w 141"/>
                <a:gd name="T111" fmla="*/ 145 h 217"/>
                <a:gd name="T112" fmla="*/ 123 w 141"/>
                <a:gd name="T113" fmla="*/ 142 h 217"/>
                <a:gd name="T114" fmla="*/ 126 w 141"/>
                <a:gd name="T115" fmla="*/ 143 h 217"/>
                <a:gd name="T116" fmla="*/ 129 w 141"/>
                <a:gd name="T117" fmla="*/ 138 h 217"/>
                <a:gd name="T118" fmla="*/ 135 w 141"/>
                <a:gd name="T119" fmla="*/ 14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1" h="217">
                  <a:moveTo>
                    <a:pt x="74" y="159"/>
                  </a:moveTo>
                  <a:cubicBezTo>
                    <a:pt x="74" y="158"/>
                    <a:pt x="74" y="158"/>
                    <a:pt x="74" y="158"/>
                  </a:cubicBezTo>
                  <a:cubicBezTo>
                    <a:pt x="75" y="158"/>
                    <a:pt x="75" y="158"/>
                    <a:pt x="75" y="157"/>
                  </a:cubicBezTo>
                  <a:cubicBezTo>
                    <a:pt x="75" y="157"/>
                    <a:pt x="75" y="157"/>
                    <a:pt x="75" y="157"/>
                  </a:cubicBezTo>
                  <a:cubicBezTo>
                    <a:pt x="75" y="157"/>
                    <a:pt x="75" y="156"/>
                    <a:pt x="75" y="156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6" y="156"/>
                    <a:pt x="76" y="157"/>
                    <a:pt x="76" y="157"/>
                  </a:cubicBezTo>
                  <a:cubicBezTo>
                    <a:pt x="76" y="157"/>
                    <a:pt x="76" y="157"/>
                    <a:pt x="76" y="158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6" y="158"/>
                    <a:pt x="76" y="158"/>
                    <a:pt x="75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5" y="159"/>
                    <a:pt x="75" y="159"/>
                    <a:pt x="74" y="159"/>
                  </a:cubicBezTo>
                  <a:close/>
                  <a:moveTo>
                    <a:pt x="76" y="165"/>
                  </a:moveTo>
                  <a:cubicBezTo>
                    <a:pt x="76" y="165"/>
                    <a:pt x="76" y="165"/>
                    <a:pt x="77" y="165"/>
                  </a:cubicBezTo>
                  <a:cubicBezTo>
                    <a:pt x="77" y="165"/>
                    <a:pt x="77" y="165"/>
                    <a:pt x="77" y="165"/>
                  </a:cubicBezTo>
                  <a:cubicBezTo>
                    <a:pt x="78" y="165"/>
                    <a:pt x="78" y="165"/>
                    <a:pt x="78" y="165"/>
                  </a:cubicBezTo>
                  <a:cubicBezTo>
                    <a:pt x="79" y="165"/>
                    <a:pt x="79" y="165"/>
                    <a:pt x="79" y="165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9" y="164"/>
                    <a:pt x="78" y="164"/>
                    <a:pt x="78" y="164"/>
                  </a:cubicBezTo>
                  <a:cubicBezTo>
                    <a:pt x="78" y="164"/>
                    <a:pt x="78" y="164"/>
                    <a:pt x="78" y="163"/>
                  </a:cubicBezTo>
                  <a:cubicBezTo>
                    <a:pt x="78" y="163"/>
                    <a:pt x="77" y="163"/>
                    <a:pt x="77" y="164"/>
                  </a:cubicBezTo>
                  <a:cubicBezTo>
                    <a:pt x="77" y="164"/>
                    <a:pt x="77" y="164"/>
                    <a:pt x="77" y="164"/>
                  </a:cubicBezTo>
                  <a:cubicBezTo>
                    <a:pt x="77" y="164"/>
                    <a:pt x="76" y="164"/>
                    <a:pt x="76" y="164"/>
                  </a:cubicBezTo>
                  <a:cubicBezTo>
                    <a:pt x="76" y="164"/>
                    <a:pt x="75" y="164"/>
                    <a:pt x="75" y="164"/>
                  </a:cubicBezTo>
                  <a:cubicBezTo>
                    <a:pt x="75" y="165"/>
                    <a:pt x="76" y="165"/>
                    <a:pt x="76" y="165"/>
                  </a:cubicBezTo>
                  <a:close/>
                  <a:moveTo>
                    <a:pt x="76" y="168"/>
                  </a:moveTo>
                  <a:cubicBezTo>
                    <a:pt x="76" y="168"/>
                    <a:pt x="76" y="168"/>
                    <a:pt x="77" y="168"/>
                  </a:cubicBezTo>
                  <a:cubicBezTo>
                    <a:pt x="77" y="168"/>
                    <a:pt x="77" y="168"/>
                    <a:pt x="77" y="169"/>
                  </a:cubicBezTo>
                  <a:cubicBezTo>
                    <a:pt x="77" y="169"/>
                    <a:pt x="77" y="169"/>
                    <a:pt x="77" y="169"/>
                  </a:cubicBezTo>
                  <a:cubicBezTo>
                    <a:pt x="77" y="169"/>
                    <a:pt x="77" y="170"/>
                    <a:pt x="77" y="170"/>
                  </a:cubicBezTo>
                  <a:cubicBezTo>
                    <a:pt x="77" y="170"/>
                    <a:pt x="78" y="170"/>
                    <a:pt x="78" y="170"/>
                  </a:cubicBezTo>
                  <a:cubicBezTo>
                    <a:pt x="78" y="170"/>
                    <a:pt x="79" y="170"/>
                    <a:pt x="79" y="170"/>
                  </a:cubicBezTo>
                  <a:cubicBezTo>
                    <a:pt x="79" y="170"/>
                    <a:pt x="79" y="169"/>
                    <a:pt x="79" y="169"/>
                  </a:cubicBezTo>
                  <a:cubicBezTo>
                    <a:pt x="79" y="168"/>
                    <a:pt x="79" y="168"/>
                    <a:pt x="79" y="168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79" y="166"/>
                    <a:pt x="78" y="167"/>
                    <a:pt x="78" y="167"/>
                  </a:cubicBezTo>
                  <a:cubicBezTo>
                    <a:pt x="78" y="167"/>
                    <a:pt x="77" y="167"/>
                    <a:pt x="77" y="167"/>
                  </a:cubicBezTo>
                  <a:cubicBezTo>
                    <a:pt x="77" y="167"/>
                    <a:pt x="76" y="166"/>
                    <a:pt x="76" y="167"/>
                  </a:cubicBezTo>
                  <a:cubicBezTo>
                    <a:pt x="76" y="167"/>
                    <a:pt x="76" y="167"/>
                    <a:pt x="76" y="168"/>
                  </a:cubicBezTo>
                  <a:cubicBezTo>
                    <a:pt x="76" y="168"/>
                    <a:pt x="76" y="168"/>
                    <a:pt x="76" y="168"/>
                  </a:cubicBezTo>
                  <a:close/>
                  <a:moveTo>
                    <a:pt x="82" y="163"/>
                  </a:moveTo>
                  <a:cubicBezTo>
                    <a:pt x="83" y="163"/>
                    <a:pt x="83" y="163"/>
                    <a:pt x="83" y="163"/>
                  </a:cubicBezTo>
                  <a:cubicBezTo>
                    <a:pt x="83" y="163"/>
                    <a:pt x="83" y="163"/>
                    <a:pt x="83" y="163"/>
                  </a:cubicBezTo>
                  <a:cubicBezTo>
                    <a:pt x="83" y="163"/>
                    <a:pt x="84" y="163"/>
                    <a:pt x="84" y="163"/>
                  </a:cubicBezTo>
                  <a:cubicBezTo>
                    <a:pt x="84" y="163"/>
                    <a:pt x="84" y="163"/>
                    <a:pt x="84" y="163"/>
                  </a:cubicBezTo>
                  <a:cubicBezTo>
                    <a:pt x="84" y="163"/>
                    <a:pt x="84" y="162"/>
                    <a:pt x="84" y="162"/>
                  </a:cubicBezTo>
                  <a:cubicBezTo>
                    <a:pt x="84" y="162"/>
                    <a:pt x="85" y="162"/>
                    <a:pt x="85" y="162"/>
                  </a:cubicBezTo>
                  <a:cubicBezTo>
                    <a:pt x="85" y="162"/>
                    <a:pt x="85" y="161"/>
                    <a:pt x="85" y="161"/>
                  </a:cubicBezTo>
                  <a:cubicBezTo>
                    <a:pt x="85" y="161"/>
                    <a:pt x="86" y="161"/>
                    <a:pt x="86" y="161"/>
                  </a:cubicBezTo>
                  <a:cubicBezTo>
                    <a:pt x="86" y="160"/>
                    <a:pt x="86" y="160"/>
                    <a:pt x="86" y="160"/>
                  </a:cubicBezTo>
                  <a:cubicBezTo>
                    <a:pt x="86" y="160"/>
                    <a:pt x="85" y="160"/>
                    <a:pt x="85" y="160"/>
                  </a:cubicBezTo>
                  <a:cubicBezTo>
                    <a:pt x="85" y="160"/>
                    <a:pt x="85" y="160"/>
                    <a:pt x="84" y="15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83" y="159"/>
                    <a:pt x="83" y="160"/>
                  </a:cubicBezTo>
                  <a:cubicBezTo>
                    <a:pt x="83" y="160"/>
                    <a:pt x="83" y="160"/>
                    <a:pt x="83" y="161"/>
                  </a:cubicBezTo>
                  <a:cubicBezTo>
                    <a:pt x="83" y="161"/>
                    <a:pt x="83" y="161"/>
                    <a:pt x="83" y="162"/>
                  </a:cubicBezTo>
                  <a:cubicBezTo>
                    <a:pt x="83" y="162"/>
                    <a:pt x="82" y="162"/>
                    <a:pt x="82" y="162"/>
                  </a:cubicBezTo>
                  <a:cubicBezTo>
                    <a:pt x="82" y="163"/>
                    <a:pt x="82" y="163"/>
                    <a:pt x="82" y="163"/>
                  </a:cubicBezTo>
                  <a:cubicBezTo>
                    <a:pt x="82" y="163"/>
                    <a:pt x="82" y="163"/>
                    <a:pt x="82" y="163"/>
                  </a:cubicBezTo>
                  <a:close/>
                  <a:moveTo>
                    <a:pt x="77" y="154"/>
                  </a:moveTo>
                  <a:cubicBezTo>
                    <a:pt x="77" y="154"/>
                    <a:pt x="77" y="154"/>
                    <a:pt x="77" y="154"/>
                  </a:cubicBezTo>
                  <a:cubicBezTo>
                    <a:pt x="76" y="153"/>
                    <a:pt x="76" y="154"/>
                    <a:pt x="76" y="154"/>
                  </a:cubicBezTo>
                  <a:cubicBezTo>
                    <a:pt x="76" y="154"/>
                    <a:pt x="76" y="154"/>
                    <a:pt x="77" y="154"/>
                  </a:cubicBezTo>
                  <a:close/>
                  <a:moveTo>
                    <a:pt x="141" y="131"/>
                  </a:moveTo>
                  <a:cubicBezTo>
                    <a:pt x="141" y="131"/>
                    <a:pt x="140" y="131"/>
                    <a:pt x="140" y="131"/>
                  </a:cubicBezTo>
                  <a:cubicBezTo>
                    <a:pt x="140" y="131"/>
                    <a:pt x="140" y="130"/>
                    <a:pt x="140" y="130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40" y="129"/>
                    <a:pt x="140" y="129"/>
                    <a:pt x="140" y="129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39" y="130"/>
                    <a:pt x="139" y="130"/>
                    <a:pt x="138" y="130"/>
                  </a:cubicBezTo>
                  <a:cubicBezTo>
                    <a:pt x="138" y="130"/>
                    <a:pt x="138" y="130"/>
                    <a:pt x="138" y="131"/>
                  </a:cubicBezTo>
                  <a:cubicBezTo>
                    <a:pt x="138" y="131"/>
                    <a:pt x="138" y="131"/>
                    <a:pt x="137" y="131"/>
                  </a:cubicBezTo>
                  <a:cubicBezTo>
                    <a:pt x="137" y="132"/>
                    <a:pt x="137" y="132"/>
                    <a:pt x="137" y="132"/>
                  </a:cubicBezTo>
                  <a:cubicBezTo>
                    <a:pt x="136" y="132"/>
                    <a:pt x="136" y="132"/>
                    <a:pt x="136" y="131"/>
                  </a:cubicBezTo>
                  <a:cubicBezTo>
                    <a:pt x="136" y="131"/>
                    <a:pt x="136" y="131"/>
                    <a:pt x="137" y="131"/>
                  </a:cubicBezTo>
                  <a:cubicBezTo>
                    <a:pt x="137" y="130"/>
                    <a:pt x="137" y="130"/>
                    <a:pt x="137" y="130"/>
                  </a:cubicBezTo>
                  <a:cubicBezTo>
                    <a:pt x="137" y="129"/>
                    <a:pt x="137" y="129"/>
                    <a:pt x="137" y="128"/>
                  </a:cubicBezTo>
                  <a:cubicBezTo>
                    <a:pt x="137" y="128"/>
                    <a:pt x="137" y="127"/>
                    <a:pt x="137" y="127"/>
                  </a:cubicBezTo>
                  <a:cubicBezTo>
                    <a:pt x="137" y="126"/>
                    <a:pt x="137" y="126"/>
                    <a:pt x="138" y="126"/>
                  </a:cubicBezTo>
                  <a:cubicBezTo>
                    <a:pt x="138" y="126"/>
                    <a:pt x="138" y="126"/>
                    <a:pt x="139" y="126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139" y="126"/>
                    <a:pt x="140" y="126"/>
                    <a:pt x="140" y="126"/>
                  </a:cubicBezTo>
                  <a:cubicBezTo>
                    <a:pt x="139" y="126"/>
                    <a:pt x="139" y="125"/>
                    <a:pt x="139" y="125"/>
                  </a:cubicBezTo>
                  <a:cubicBezTo>
                    <a:pt x="139" y="124"/>
                    <a:pt x="139" y="124"/>
                    <a:pt x="139" y="123"/>
                  </a:cubicBezTo>
                  <a:cubicBezTo>
                    <a:pt x="138" y="123"/>
                    <a:pt x="138" y="123"/>
                    <a:pt x="138" y="122"/>
                  </a:cubicBezTo>
                  <a:cubicBezTo>
                    <a:pt x="138" y="122"/>
                    <a:pt x="138" y="121"/>
                    <a:pt x="138" y="121"/>
                  </a:cubicBezTo>
                  <a:cubicBezTo>
                    <a:pt x="138" y="120"/>
                    <a:pt x="137" y="120"/>
                    <a:pt x="137" y="119"/>
                  </a:cubicBezTo>
                  <a:cubicBezTo>
                    <a:pt x="137" y="119"/>
                    <a:pt x="137" y="119"/>
                    <a:pt x="137" y="118"/>
                  </a:cubicBezTo>
                  <a:cubicBezTo>
                    <a:pt x="137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5" y="116"/>
                    <a:pt x="135" y="116"/>
                  </a:cubicBezTo>
                  <a:cubicBezTo>
                    <a:pt x="135" y="116"/>
                    <a:pt x="134" y="116"/>
                    <a:pt x="134" y="116"/>
                  </a:cubicBezTo>
                  <a:cubicBezTo>
                    <a:pt x="134" y="115"/>
                    <a:pt x="133" y="115"/>
                    <a:pt x="133" y="114"/>
                  </a:cubicBezTo>
                  <a:cubicBezTo>
                    <a:pt x="133" y="114"/>
                    <a:pt x="132" y="114"/>
                    <a:pt x="132" y="114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7" y="115"/>
                    <a:pt x="127" y="115"/>
                    <a:pt x="127" y="115"/>
                  </a:cubicBezTo>
                  <a:cubicBezTo>
                    <a:pt x="127" y="115"/>
                    <a:pt x="126" y="113"/>
                    <a:pt x="126" y="113"/>
                  </a:cubicBezTo>
                  <a:cubicBezTo>
                    <a:pt x="126" y="113"/>
                    <a:pt x="125" y="111"/>
                    <a:pt x="125" y="111"/>
                  </a:cubicBezTo>
                  <a:cubicBezTo>
                    <a:pt x="124" y="110"/>
                    <a:pt x="124" y="109"/>
                    <a:pt x="124" y="109"/>
                  </a:cubicBezTo>
                  <a:cubicBezTo>
                    <a:pt x="124" y="109"/>
                    <a:pt x="127" y="105"/>
                    <a:pt x="127" y="105"/>
                  </a:cubicBezTo>
                  <a:cubicBezTo>
                    <a:pt x="126" y="105"/>
                    <a:pt x="126" y="104"/>
                    <a:pt x="126" y="104"/>
                  </a:cubicBezTo>
                  <a:cubicBezTo>
                    <a:pt x="126" y="104"/>
                    <a:pt x="124" y="100"/>
                    <a:pt x="124" y="100"/>
                  </a:cubicBezTo>
                  <a:cubicBezTo>
                    <a:pt x="124" y="100"/>
                    <a:pt x="124" y="99"/>
                    <a:pt x="124" y="99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7" y="99"/>
                    <a:pt x="127" y="99"/>
                    <a:pt x="127" y="99"/>
                  </a:cubicBezTo>
                  <a:cubicBezTo>
                    <a:pt x="127" y="99"/>
                    <a:pt x="127" y="94"/>
                    <a:pt x="127" y="94"/>
                  </a:cubicBezTo>
                  <a:cubicBezTo>
                    <a:pt x="126" y="94"/>
                    <a:pt x="125" y="93"/>
                    <a:pt x="125" y="93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4" y="94"/>
                    <a:pt x="123" y="94"/>
                    <a:pt x="123" y="94"/>
                  </a:cubicBezTo>
                  <a:cubicBezTo>
                    <a:pt x="123" y="94"/>
                    <a:pt x="121" y="93"/>
                    <a:pt x="121" y="93"/>
                  </a:cubicBezTo>
                  <a:cubicBezTo>
                    <a:pt x="121" y="93"/>
                    <a:pt x="119" y="93"/>
                    <a:pt x="119" y="93"/>
                  </a:cubicBezTo>
                  <a:cubicBezTo>
                    <a:pt x="119" y="93"/>
                    <a:pt x="118" y="91"/>
                    <a:pt x="118" y="91"/>
                  </a:cubicBezTo>
                  <a:cubicBezTo>
                    <a:pt x="118" y="91"/>
                    <a:pt x="116" y="90"/>
                    <a:pt x="116" y="90"/>
                  </a:cubicBezTo>
                  <a:cubicBezTo>
                    <a:pt x="116" y="89"/>
                    <a:pt x="115" y="90"/>
                    <a:pt x="114" y="90"/>
                  </a:cubicBezTo>
                  <a:cubicBezTo>
                    <a:pt x="114" y="90"/>
                    <a:pt x="113" y="89"/>
                    <a:pt x="113" y="89"/>
                  </a:cubicBezTo>
                  <a:cubicBezTo>
                    <a:pt x="113" y="89"/>
                    <a:pt x="114" y="87"/>
                    <a:pt x="114" y="87"/>
                  </a:cubicBezTo>
                  <a:cubicBezTo>
                    <a:pt x="114" y="87"/>
                    <a:pt x="114" y="86"/>
                    <a:pt x="114" y="86"/>
                  </a:cubicBezTo>
                  <a:cubicBezTo>
                    <a:pt x="114" y="86"/>
                    <a:pt x="113" y="85"/>
                    <a:pt x="113" y="84"/>
                  </a:cubicBezTo>
                  <a:cubicBezTo>
                    <a:pt x="113" y="84"/>
                    <a:pt x="113" y="84"/>
                    <a:pt x="114" y="84"/>
                  </a:cubicBezTo>
                  <a:cubicBezTo>
                    <a:pt x="114" y="84"/>
                    <a:pt x="115" y="82"/>
                    <a:pt x="115" y="82"/>
                  </a:cubicBezTo>
                  <a:cubicBezTo>
                    <a:pt x="115" y="82"/>
                    <a:pt x="114" y="81"/>
                    <a:pt x="114" y="81"/>
                  </a:cubicBezTo>
                  <a:cubicBezTo>
                    <a:pt x="114" y="81"/>
                    <a:pt x="113" y="80"/>
                    <a:pt x="113" y="80"/>
                  </a:cubicBezTo>
                  <a:cubicBezTo>
                    <a:pt x="113" y="80"/>
                    <a:pt x="114" y="80"/>
                    <a:pt x="114" y="80"/>
                  </a:cubicBezTo>
                  <a:cubicBezTo>
                    <a:pt x="114" y="80"/>
                    <a:pt x="115" y="78"/>
                    <a:pt x="115" y="78"/>
                  </a:cubicBezTo>
                  <a:cubicBezTo>
                    <a:pt x="115" y="78"/>
                    <a:pt x="115" y="77"/>
                    <a:pt x="115" y="77"/>
                  </a:cubicBezTo>
                  <a:cubicBezTo>
                    <a:pt x="115" y="77"/>
                    <a:pt x="114" y="77"/>
                    <a:pt x="114" y="77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69" y="2"/>
                    <a:pt x="68" y="2"/>
                  </a:cubicBezTo>
                  <a:cubicBezTo>
                    <a:pt x="68" y="2"/>
                    <a:pt x="64" y="0"/>
                    <a:pt x="64" y="0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7" y="70"/>
                    <a:pt x="27" y="70"/>
                  </a:cubicBezTo>
                  <a:cubicBezTo>
                    <a:pt x="27" y="71"/>
                    <a:pt x="28" y="71"/>
                    <a:pt x="28" y="71"/>
                  </a:cubicBezTo>
                  <a:cubicBezTo>
                    <a:pt x="28" y="71"/>
                    <a:pt x="27" y="73"/>
                    <a:pt x="26" y="73"/>
                  </a:cubicBezTo>
                  <a:cubicBezTo>
                    <a:pt x="26" y="73"/>
                    <a:pt x="28" y="74"/>
                    <a:pt x="28" y="74"/>
                  </a:cubicBezTo>
                  <a:cubicBezTo>
                    <a:pt x="28" y="74"/>
                    <a:pt x="27" y="75"/>
                    <a:pt x="26" y="75"/>
                  </a:cubicBezTo>
                  <a:cubicBezTo>
                    <a:pt x="26" y="76"/>
                    <a:pt x="27" y="76"/>
                    <a:pt x="2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9"/>
                    <a:pt x="29" y="79"/>
                    <a:pt x="29" y="79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3" y="84"/>
                    <a:pt x="24" y="85"/>
                    <a:pt x="24" y="86"/>
                  </a:cubicBezTo>
                  <a:cubicBezTo>
                    <a:pt x="24" y="86"/>
                    <a:pt x="24" y="87"/>
                    <a:pt x="24" y="87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2" y="98"/>
                    <a:pt x="12" y="98"/>
                  </a:cubicBezTo>
                  <a:cubicBezTo>
                    <a:pt x="12" y="98"/>
                    <a:pt x="16" y="102"/>
                    <a:pt x="16" y="102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9" y="105"/>
                    <a:pt x="9" y="105"/>
                  </a:cubicBezTo>
                  <a:cubicBezTo>
                    <a:pt x="9" y="106"/>
                    <a:pt x="10" y="107"/>
                    <a:pt x="10" y="107"/>
                  </a:cubicBezTo>
                  <a:cubicBezTo>
                    <a:pt x="10" y="107"/>
                    <a:pt x="9" y="109"/>
                    <a:pt x="9" y="109"/>
                  </a:cubicBezTo>
                  <a:cubicBezTo>
                    <a:pt x="9" y="109"/>
                    <a:pt x="8" y="112"/>
                    <a:pt x="8" y="112"/>
                  </a:cubicBezTo>
                  <a:cubicBezTo>
                    <a:pt x="8" y="112"/>
                    <a:pt x="6" y="109"/>
                    <a:pt x="6" y="109"/>
                  </a:cubicBezTo>
                  <a:cubicBezTo>
                    <a:pt x="6" y="109"/>
                    <a:pt x="5" y="106"/>
                    <a:pt x="5" y="106"/>
                  </a:cubicBezTo>
                  <a:cubicBezTo>
                    <a:pt x="3" y="106"/>
                    <a:pt x="3" y="106"/>
                    <a:pt x="3" y="106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3" y="166"/>
                    <a:pt x="3" y="166"/>
                    <a:pt x="3" y="16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4" y="186"/>
                    <a:pt x="4" y="195"/>
                    <a:pt x="4" y="195"/>
                  </a:cubicBezTo>
                  <a:cubicBezTo>
                    <a:pt x="4" y="195"/>
                    <a:pt x="4" y="202"/>
                    <a:pt x="4" y="202"/>
                  </a:cubicBezTo>
                  <a:cubicBezTo>
                    <a:pt x="9" y="208"/>
                    <a:pt x="9" y="208"/>
                    <a:pt x="9" y="208"/>
                  </a:cubicBezTo>
                  <a:cubicBezTo>
                    <a:pt x="9" y="208"/>
                    <a:pt x="9" y="211"/>
                    <a:pt x="9" y="211"/>
                  </a:cubicBezTo>
                  <a:cubicBezTo>
                    <a:pt x="9" y="211"/>
                    <a:pt x="9" y="213"/>
                    <a:pt x="9" y="214"/>
                  </a:cubicBezTo>
                  <a:cubicBezTo>
                    <a:pt x="9" y="214"/>
                    <a:pt x="10" y="214"/>
                    <a:pt x="10" y="214"/>
                  </a:cubicBezTo>
                  <a:cubicBezTo>
                    <a:pt x="10" y="214"/>
                    <a:pt x="11" y="214"/>
                    <a:pt x="12" y="215"/>
                  </a:cubicBezTo>
                  <a:cubicBezTo>
                    <a:pt x="12" y="215"/>
                    <a:pt x="13" y="215"/>
                    <a:pt x="13" y="216"/>
                  </a:cubicBezTo>
                  <a:cubicBezTo>
                    <a:pt x="13" y="216"/>
                    <a:pt x="13" y="216"/>
                    <a:pt x="14" y="217"/>
                  </a:cubicBezTo>
                  <a:cubicBezTo>
                    <a:pt x="14" y="217"/>
                    <a:pt x="14" y="216"/>
                    <a:pt x="15" y="216"/>
                  </a:cubicBezTo>
                  <a:cubicBezTo>
                    <a:pt x="15" y="215"/>
                    <a:pt x="15" y="215"/>
                    <a:pt x="15" y="214"/>
                  </a:cubicBezTo>
                  <a:cubicBezTo>
                    <a:pt x="16" y="213"/>
                    <a:pt x="17" y="213"/>
                    <a:pt x="17" y="212"/>
                  </a:cubicBezTo>
                  <a:cubicBezTo>
                    <a:pt x="17" y="211"/>
                    <a:pt x="17" y="210"/>
                    <a:pt x="18" y="209"/>
                  </a:cubicBezTo>
                  <a:cubicBezTo>
                    <a:pt x="18" y="209"/>
                    <a:pt x="18" y="209"/>
                    <a:pt x="18" y="208"/>
                  </a:cubicBezTo>
                  <a:cubicBezTo>
                    <a:pt x="18" y="207"/>
                    <a:pt x="18" y="207"/>
                    <a:pt x="19" y="206"/>
                  </a:cubicBezTo>
                  <a:cubicBezTo>
                    <a:pt x="19" y="205"/>
                    <a:pt x="19" y="204"/>
                    <a:pt x="20" y="204"/>
                  </a:cubicBezTo>
                  <a:cubicBezTo>
                    <a:pt x="21" y="204"/>
                    <a:pt x="22" y="203"/>
                    <a:pt x="22" y="203"/>
                  </a:cubicBezTo>
                  <a:cubicBezTo>
                    <a:pt x="23" y="202"/>
                    <a:pt x="24" y="201"/>
                    <a:pt x="24" y="200"/>
                  </a:cubicBezTo>
                  <a:cubicBezTo>
                    <a:pt x="24" y="199"/>
                    <a:pt x="24" y="198"/>
                    <a:pt x="25" y="198"/>
                  </a:cubicBezTo>
                  <a:cubicBezTo>
                    <a:pt x="25" y="197"/>
                    <a:pt x="25" y="197"/>
                    <a:pt x="25" y="196"/>
                  </a:cubicBezTo>
                  <a:cubicBezTo>
                    <a:pt x="25" y="195"/>
                    <a:pt x="25" y="194"/>
                    <a:pt x="26" y="194"/>
                  </a:cubicBezTo>
                  <a:cubicBezTo>
                    <a:pt x="27" y="194"/>
                    <a:pt x="27" y="194"/>
                    <a:pt x="28" y="194"/>
                  </a:cubicBezTo>
                  <a:cubicBezTo>
                    <a:pt x="28" y="194"/>
                    <a:pt x="29" y="194"/>
                    <a:pt x="29" y="194"/>
                  </a:cubicBezTo>
                  <a:cubicBezTo>
                    <a:pt x="29" y="194"/>
                    <a:pt x="29" y="194"/>
                    <a:pt x="29" y="193"/>
                  </a:cubicBezTo>
                  <a:cubicBezTo>
                    <a:pt x="30" y="193"/>
                    <a:pt x="31" y="193"/>
                    <a:pt x="31" y="192"/>
                  </a:cubicBezTo>
                  <a:cubicBezTo>
                    <a:pt x="31" y="191"/>
                    <a:pt x="31" y="190"/>
                    <a:pt x="30" y="189"/>
                  </a:cubicBezTo>
                  <a:cubicBezTo>
                    <a:pt x="30" y="188"/>
                    <a:pt x="29" y="188"/>
                    <a:pt x="29" y="187"/>
                  </a:cubicBezTo>
                  <a:cubicBezTo>
                    <a:pt x="29" y="187"/>
                    <a:pt x="30" y="186"/>
                    <a:pt x="30" y="186"/>
                  </a:cubicBezTo>
                  <a:cubicBezTo>
                    <a:pt x="30" y="185"/>
                    <a:pt x="31" y="185"/>
                    <a:pt x="31" y="185"/>
                  </a:cubicBezTo>
                  <a:cubicBezTo>
                    <a:pt x="32" y="184"/>
                    <a:pt x="32" y="183"/>
                    <a:pt x="33" y="183"/>
                  </a:cubicBezTo>
                  <a:cubicBezTo>
                    <a:pt x="34" y="182"/>
                    <a:pt x="34" y="182"/>
                    <a:pt x="35" y="181"/>
                  </a:cubicBezTo>
                  <a:cubicBezTo>
                    <a:pt x="35" y="181"/>
                    <a:pt x="36" y="180"/>
                    <a:pt x="36" y="180"/>
                  </a:cubicBezTo>
                  <a:cubicBezTo>
                    <a:pt x="36" y="180"/>
                    <a:pt x="36" y="179"/>
                    <a:pt x="37" y="179"/>
                  </a:cubicBezTo>
                  <a:cubicBezTo>
                    <a:pt x="37" y="179"/>
                    <a:pt x="37" y="179"/>
                    <a:pt x="37" y="179"/>
                  </a:cubicBezTo>
                  <a:cubicBezTo>
                    <a:pt x="37" y="179"/>
                    <a:pt x="37" y="179"/>
                    <a:pt x="37" y="179"/>
                  </a:cubicBezTo>
                  <a:cubicBezTo>
                    <a:pt x="37" y="179"/>
                    <a:pt x="38" y="179"/>
                    <a:pt x="38" y="179"/>
                  </a:cubicBezTo>
                  <a:cubicBezTo>
                    <a:pt x="38" y="179"/>
                    <a:pt x="38" y="179"/>
                    <a:pt x="38" y="180"/>
                  </a:cubicBezTo>
                  <a:cubicBezTo>
                    <a:pt x="39" y="180"/>
                    <a:pt x="39" y="180"/>
                    <a:pt x="40" y="180"/>
                  </a:cubicBezTo>
                  <a:cubicBezTo>
                    <a:pt x="40" y="180"/>
                    <a:pt x="40" y="180"/>
                    <a:pt x="40" y="179"/>
                  </a:cubicBezTo>
                  <a:cubicBezTo>
                    <a:pt x="40" y="179"/>
                    <a:pt x="40" y="179"/>
                    <a:pt x="40" y="179"/>
                  </a:cubicBezTo>
                  <a:cubicBezTo>
                    <a:pt x="40" y="179"/>
                    <a:pt x="40" y="178"/>
                    <a:pt x="41" y="178"/>
                  </a:cubicBezTo>
                  <a:cubicBezTo>
                    <a:pt x="41" y="178"/>
                    <a:pt x="42" y="179"/>
                    <a:pt x="42" y="179"/>
                  </a:cubicBezTo>
                  <a:cubicBezTo>
                    <a:pt x="43" y="179"/>
                    <a:pt x="43" y="180"/>
                    <a:pt x="43" y="181"/>
                  </a:cubicBezTo>
                  <a:cubicBezTo>
                    <a:pt x="44" y="181"/>
                    <a:pt x="44" y="182"/>
                    <a:pt x="44" y="182"/>
                  </a:cubicBezTo>
                  <a:cubicBezTo>
                    <a:pt x="43" y="183"/>
                    <a:pt x="43" y="184"/>
                    <a:pt x="43" y="184"/>
                  </a:cubicBezTo>
                  <a:cubicBezTo>
                    <a:pt x="43" y="185"/>
                    <a:pt x="44" y="185"/>
                    <a:pt x="44" y="185"/>
                  </a:cubicBezTo>
                  <a:cubicBezTo>
                    <a:pt x="44" y="185"/>
                    <a:pt x="45" y="185"/>
                    <a:pt x="45" y="184"/>
                  </a:cubicBezTo>
                  <a:cubicBezTo>
                    <a:pt x="45" y="184"/>
                    <a:pt x="45" y="184"/>
                    <a:pt x="45" y="184"/>
                  </a:cubicBezTo>
                  <a:cubicBezTo>
                    <a:pt x="45" y="184"/>
                    <a:pt x="45" y="184"/>
                    <a:pt x="45" y="183"/>
                  </a:cubicBezTo>
                  <a:cubicBezTo>
                    <a:pt x="45" y="183"/>
                    <a:pt x="45" y="183"/>
                    <a:pt x="45" y="183"/>
                  </a:cubicBezTo>
                  <a:cubicBezTo>
                    <a:pt x="45" y="183"/>
                    <a:pt x="45" y="182"/>
                    <a:pt x="45" y="182"/>
                  </a:cubicBezTo>
                  <a:cubicBezTo>
                    <a:pt x="45" y="181"/>
                    <a:pt x="45" y="181"/>
                    <a:pt x="45" y="180"/>
                  </a:cubicBezTo>
                  <a:cubicBezTo>
                    <a:pt x="45" y="180"/>
                    <a:pt x="45" y="179"/>
                    <a:pt x="45" y="179"/>
                  </a:cubicBezTo>
                  <a:cubicBezTo>
                    <a:pt x="45" y="179"/>
                    <a:pt x="44" y="178"/>
                    <a:pt x="44" y="178"/>
                  </a:cubicBezTo>
                  <a:cubicBezTo>
                    <a:pt x="44" y="177"/>
                    <a:pt x="44" y="177"/>
                    <a:pt x="44" y="176"/>
                  </a:cubicBezTo>
                  <a:cubicBezTo>
                    <a:pt x="44" y="176"/>
                    <a:pt x="44" y="175"/>
                    <a:pt x="45" y="175"/>
                  </a:cubicBezTo>
                  <a:cubicBezTo>
                    <a:pt x="45" y="175"/>
                    <a:pt x="45" y="176"/>
                    <a:pt x="45" y="176"/>
                  </a:cubicBezTo>
                  <a:cubicBezTo>
                    <a:pt x="45" y="176"/>
                    <a:pt x="45" y="177"/>
                    <a:pt x="45" y="178"/>
                  </a:cubicBezTo>
                  <a:cubicBezTo>
                    <a:pt x="46" y="179"/>
                    <a:pt x="46" y="180"/>
                    <a:pt x="46" y="181"/>
                  </a:cubicBezTo>
                  <a:cubicBezTo>
                    <a:pt x="46" y="181"/>
                    <a:pt x="46" y="182"/>
                    <a:pt x="46" y="182"/>
                  </a:cubicBezTo>
                  <a:cubicBezTo>
                    <a:pt x="46" y="182"/>
                    <a:pt x="46" y="183"/>
                    <a:pt x="46" y="183"/>
                  </a:cubicBezTo>
                  <a:cubicBezTo>
                    <a:pt x="47" y="183"/>
                    <a:pt x="46" y="182"/>
                    <a:pt x="47" y="182"/>
                  </a:cubicBezTo>
                  <a:cubicBezTo>
                    <a:pt x="47" y="182"/>
                    <a:pt x="47" y="182"/>
                    <a:pt x="47" y="181"/>
                  </a:cubicBezTo>
                  <a:cubicBezTo>
                    <a:pt x="47" y="181"/>
                    <a:pt x="47" y="181"/>
                    <a:pt x="47" y="181"/>
                  </a:cubicBezTo>
                  <a:cubicBezTo>
                    <a:pt x="47" y="180"/>
                    <a:pt x="47" y="180"/>
                    <a:pt x="48" y="180"/>
                  </a:cubicBezTo>
                  <a:cubicBezTo>
                    <a:pt x="48" y="180"/>
                    <a:pt x="48" y="179"/>
                    <a:pt x="48" y="179"/>
                  </a:cubicBezTo>
                  <a:cubicBezTo>
                    <a:pt x="47" y="180"/>
                    <a:pt x="47" y="180"/>
                    <a:pt x="47" y="180"/>
                  </a:cubicBezTo>
                  <a:cubicBezTo>
                    <a:pt x="47" y="180"/>
                    <a:pt x="47" y="180"/>
                    <a:pt x="47" y="180"/>
                  </a:cubicBezTo>
                  <a:cubicBezTo>
                    <a:pt x="47" y="180"/>
                    <a:pt x="47" y="180"/>
                    <a:pt x="47" y="180"/>
                  </a:cubicBezTo>
                  <a:cubicBezTo>
                    <a:pt x="46" y="179"/>
                    <a:pt x="46" y="179"/>
                    <a:pt x="46" y="179"/>
                  </a:cubicBezTo>
                  <a:cubicBezTo>
                    <a:pt x="46" y="178"/>
                    <a:pt x="46" y="177"/>
                    <a:pt x="47" y="177"/>
                  </a:cubicBezTo>
                  <a:cubicBezTo>
                    <a:pt x="47" y="177"/>
                    <a:pt x="47" y="176"/>
                    <a:pt x="47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48" y="178"/>
                    <a:pt x="47" y="178"/>
                    <a:pt x="47" y="178"/>
                  </a:cubicBezTo>
                  <a:cubicBezTo>
                    <a:pt x="47" y="179"/>
                    <a:pt x="47" y="179"/>
                    <a:pt x="48" y="179"/>
                  </a:cubicBezTo>
                  <a:cubicBezTo>
                    <a:pt x="48" y="179"/>
                    <a:pt x="48" y="179"/>
                    <a:pt x="48" y="178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49" y="178"/>
                    <a:pt x="49" y="178"/>
                    <a:pt x="49" y="178"/>
                  </a:cubicBezTo>
                  <a:cubicBezTo>
                    <a:pt x="49" y="178"/>
                    <a:pt x="50" y="178"/>
                    <a:pt x="50" y="178"/>
                  </a:cubicBezTo>
                  <a:cubicBezTo>
                    <a:pt x="50" y="178"/>
                    <a:pt x="51" y="178"/>
                    <a:pt x="51" y="178"/>
                  </a:cubicBezTo>
                  <a:cubicBezTo>
                    <a:pt x="51" y="178"/>
                    <a:pt x="51" y="178"/>
                    <a:pt x="51" y="179"/>
                  </a:cubicBezTo>
                  <a:cubicBezTo>
                    <a:pt x="51" y="179"/>
                    <a:pt x="51" y="178"/>
                    <a:pt x="51" y="178"/>
                  </a:cubicBezTo>
                  <a:cubicBezTo>
                    <a:pt x="51" y="178"/>
                    <a:pt x="52" y="177"/>
                    <a:pt x="52" y="177"/>
                  </a:cubicBezTo>
                  <a:cubicBezTo>
                    <a:pt x="52" y="176"/>
                    <a:pt x="52" y="176"/>
                    <a:pt x="52" y="175"/>
                  </a:cubicBezTo>
                  <a:cubicBezTo>
                    <a:pt x="52" y="175"/>
                    <a:pt x="52" y="175"/>
                    <a:pt x="52" y="174"/>
                  </a:cubicBezTo>
                  <a:cubicBezTo>
                    <a:pt x="52" y="174"/>
                    <a:pt x="52" y="174"/>
                    <a:pt x="52" y="173"/>
                  </a:cubicBezTo>
                  <a:cubicBezTo>
                    <a:pt x="52" y="173"/>
                    <a:pt x="52" y="173"/>
                    <a:pt x="52" y="173"/>
                  </a:cubicBezTo>
                  <a:cubicBezTo>
                    <a:pt x="53" y="173"/>
                    <a:pt x="53" y="172"/>
                    <a:pt x="53" y="172"/>
                  </a:cubicBezTo>
                  <a:cubicBezTo>
                    <a:pt x="53" y="172"/>
                    <a:pt x="53" y="173"/>
                    <a:pt x="53" y="174"/>
                  </a:cubicBezTo>
                  <a:cubicBezTo>
                    <a:pt x="53" y="174"/>
                    <a:pt x="53" y="175"/>
                    <a:pt x="53" y="175"/>
                  </a:cubicBezTo>
                  <a:cubicBezTo>
                    <a:pt x="53" y="176"/>
                    <a:pt x="53" y="176"/>
                    <a:pt x="53" y="177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54" y="177"/>
                    <a:pt x="54" y="178"/>
                    <a:pt x="54" y="178"/>
                  </a:cubicBezTo>
                  <a:cubicBezTo>
                    <a:pt x="54" y="178"/>
                    <a:pt x="54" y="178"/>
                    <a:pt x="54" y="178"/>
                  </a:cubicBezTo>
                  <a:cubicBezTo>
                    <a:pt x="54" y="178"/>
                    <a:pt x="54" y="179"/>
                    <a:pt x="54" y="179"/>
                  </a:cubicBezTo>
                  <a:cubicBezTo>
                    <a:pt x="55" y="179"/>
                    <a:pt x="55" y="178"/>
                    <a:pt x="55" y="178"/>
                  </a:cubicBezTo>
                  <a:cubicBezTo>
                    <a:pt x="56" y="178"/>
                    <a:pt x="56" y="177"/>
                    <a:pt x="56" y="177"/>
                  </a:cubicBezTo>
                  <a:cubicBezTo>
                    <a:pt x="56" y="177"/>
                    <a:pt x="56" y="176"/>
                    <a:pt x="57" y="176"/>
                  </a:cubicBezTo>
                  <a:cubicBezTo>
                    <a:pt x="57" y="175"/>
                    <a:pt x="57" y="175"/>
                    <a:pt x="57" y="175"/>
                  </a:cubicBezTo>
                  <a:cubicBezTo>
                    <a:pt x="57" y="174"/>
                    <a:pt x="58" y="174"/>
                    <a:pt x="58" y="173"/>
                  </a:cubicBezTo>
                  <a:cubicBezTo>
                    <a:pt x="58" y="173"/>
                    <a:pt x="58" y="173"/>
                    <a:pt x="59" y="173"/>
                  </a:cubicBezTo>
                  <a:cubicBezTo>
                    <a:pt x="59" y="172"/>
                    <a:pt x="59" y="172"/>
                    <a:pt x="59" y="171"/>
                  </a:cubicBezTo>
                  <a:cubicBezTo>
                    <a:pt x="59" y="171"/>
                    <a:pt x="59" y="170"/>
                    <a:pt x="59" y="170"/>
                  </a:cubicBezTo>
                  <a:cubicBezTo>
                    <a:pt x="59" y="170"/>
                    <a:pt x="59" y="169"/>
                    <a:pt x="59" y="169"/>
                  </a:cubicBezTo>
                  <a:cubicBezTo>
                    <a:pt x="59" y="169"/>
                    <a:pt x="59" y="169"/>
                    <a:pt x="59" y="169"/>
                  </a:cubicBezTo>
                  <a:cubicBezTo>
                    <a:pt x="60" y="169"/>
                    <a:pt x="60" y="169"/>
                    <a:pt x="60" y="169"/>
                  </a:cubicBezTo>
                  <a:cubicBezTo>
                    <a:pt x="60" y="169"/>
                    <a:pt x="61" y="170"/>
                    <a:pt x="61" y="170"/>
                  </a:cubicBezTo>
                  <a:cubicBezTo>
                    <a:pt x="61" y="170"/>
                    <a:pt x="61" y="170"/>
                    <a:pt x="60" y="170"/>
                  </a:cubicBezTo>
                  <a:cubicBezTo>
                    <a:pt x="60" y="170"/>
                    <a:pt x="60" y="170"/>
                    <a:pt x="60" y="170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0" y="173"/>
                    <a:pt x="60" y="173"/>
                    <a:pt x="61" y="173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62" y="174"/>
                    <a:pt x="62" y="174"/>
                    <a:pt x="63" y="174"/>
                  </a:cubicBezTo>
                  <a:cubicBezTo>
                    <a:pt x="63" y="174"/>
                    <a:pt x="63" y="175"/>
                    <a:pt x="63" y="175"/>
                  </a:cubicBezTo>
                  <a:cubicBezTo>
                    <a:pt x="64" y="175"/>
                    <a:pt x="64" y="175"/>
                    <a:pt x="64" y="175"/>
                  </a:cubicBezTo>
                  <a:cubicBezTo>
                    <a:pt x="65" y="175"/>
                    <a:pt x="65" y="175"/>
                    <a:pt x="65" y="174"/>
                  </a:cubicBezTo>
                  <a:cubicBezTo>
                    <a:pt x="65" y="174"/>
                    <a:pt x="65" y="174"/>
                    <a:pt x="66" y="173"/>
                  </a:cubicBezTo>
                  <a:cubicBezTo>
                    <a:pt x="66" y="173"/>
                    <a:pt x="66" y="173"/>
                    <a:pt x="66" y="173"/>
                  </a:cubicBezTo>
                  <a:cubicBezTo>
                    <a:pt x="66" y="173"/>
                    <a:pt x="66" y="173"/>
                    <a:pt x="66" y="173"/>
                  </a:cubicBezTo>
                  <a:cubicBezTo>
                    <a:pt x="67" y="173"/>
                    <a:pt x="67" y="173"/>
                    <a:pt x="67" y="173"/>
                  </a:cubicBezTo>
                  <a:cubicBezTo>
                    <a:pt x="68" y="173"/>
                    <a:pt x="68" y="172"/>
                    <a:pt x="68" y="172"/>
                  </a:cubicBezTo>
                  <a:cubicBezTo>
                    <a:pt x="68" y="172"/>
                    <a:pt x="69" y="172"/>
                    <a:pt x="69" y="171"/>
                  </a:cubicBezTo>
                  <a:cubicBezTo>
                    <a:pt x="69" y="171"/>
                    <a:pt x="69" y="171"/>
                    <a:pt x="69" y="171"/>
                  </a:cubicBezTo>
                  <a:cubicBezTo>
                    <a:pt x="70" y="170"/>
                    <a:pt x="70" y="170"/>
                    <a:pt x="70" y="169"/>
                  </a:cubicBezTo>
                  <a:cubicBezTo>
                    <a:pt x="70" y="169"/>
                    <a:pt x="71" y="169"/>
                    <a:pt x="71" y="168"/>
                  </a:cubicBezTo>
                  <a:cubicBezTo>
                    <a:pt x="71" y="168"/>
                    <a:pt x="71" y="168"/>
                    <a:pt x="70" y="168"/>
                  </a:cubicBezTo>
                  <a:cubicBezTo>
                    <a:pt x="70" y="168"/>
                    <a:pt x="70" y="168"/>
                    <a:pt x="70" y="168"/>
                  </a:cubicBezTo>
                  <a:cubicBezTo>
                    <a:pt x="70" y="168"/>
                    <a:pt x="70" y="167"/>
                    <a:pt x="70" y="167"/>
                  </a:cubicBezTo>
                  <a:cubicBezTo>
                    <a:pt x="70" y="167"/>
                    <a:pt x="70" y="167"/>
                    <a:pt x="70" y="167"/>
                  </a:cubicBezTo>
                  <a:cubicBezTo>
                    <a:pt x="69" y="166"/>
                    <a:pt x="69" y="166"/>
                    <a:pt x="69" y="166"/>
                  </a:cubicBezTo>
                  <a:cubicBezTo>
                    <a:pt x="70" y="166"/>
                    <a:pt x="70" y="166"/>
                    <a:pt x="70" y="166"/>
                  </a:cubicBezTo>
                  <a:cubicBezTo>
                    <a:pt x="70" y="166"/>
                    <a:pt x="70" y="165"/>
                    <a:pt x="70" y="165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70" y="164"/>
                    <a:pt x="70" y="164"/>
                    <a:pt x="70" y="163"/>
                  </a:cubicBezTo>
                  <a:cubicBezTo>
                    <a:pt x="70" y="163"/>
                    <a:pt x="70" y="163"/>
                    <a:pt x="70" y="163"/>
                  </a:cubicBezTo>
                  <a:cubicBezTo>
                    <a:pt x="71" y="163"/>
                    <a:pt x="71" y="162"/>
                    <a:pt x="71" y="162"/>
                  </a:cubicBezTo>
                  <a:cubicBezTo>
                    <a:pt x="71" y="162"/>
                    <a:pt x="71" y="162"/>
                    <a:pt x="71" y="161"/>
                  </a:cubicBezTo>
                  <a:cubicBezTo>
                    <a:pt x="71" y="161"/>
                    <a:pt x="71" y="161"/>
                    <a:pt x="71" y="161"/>
                  </a:cubicBezTo>
                  <a:cubicBezTo>
                    <a:pt x="71" y="160"/>
                    <a:pt x="71" y="160"/>
                    <a:pt x="72" y="160"/>
                  </a:cubicBezTo>
                  <a:cubicBezTo>
                    <a:pt x="72" y="160"/>
                    <a:pt x="72" y="160"/>
                    <a:pt x="72" y="160"/>
                  </a:cubicBezTo>
                  <a:cubicBezTo>
                    <a:pt x="72" y="159"/>
                    <a:pt x="72" y="159"/>
                    <a:pt x="72" y="159"/>
                  </a:cubicBezTo>
                  <a:cubicBezTo>
                    <a:pt x="72" y="159"/>
                    <a:pt x="72" y="159"/>
                    <a:pt x="73" y="158"/>
                  </a:cubicBezTo>
                  <a:cubicBezTo>
                    <a:pt x="73" y="158"/>
                    <a:pt x="73" y="158"/>
                    <a:pt x="74" y="157"/>
                  </a:cubicBezTo>
                  <a:cubicBezTo>
                    <a:pt x="74" y="157"/>
                    <a:pt x="74" y="156"/>
                    <a:pt x="74" y="156"/>
                  </a:cubicBezTo>
                  <a:cubicBezTo>
                    <a:pt x="74" y="156"/>
                    <a:pt x="74" y="155"/>
                    <a:pt x="74" y="154"/>
                  </a:cubicBezTo>
                  <a:cubicBezTo>
                    <a:pt x="74" y="154"/>
                    <a:pt x="73" y="154"/>
                    <a:pt x="73" y="154"/>
                  </a:cubicBezTo>
                  <a:cubicBezTo>
                    <a:pt x="73" y="154"/>
                    <a:pt x="73" y="153"/>
                    <a:pt x="73" y="153"/>
                  </a:cubicBezTo>
                  <a:cubicBezTo>
                    <a:pt x="73" y="153"/>
                    <a:pt x="73" y="153"/>
                    <a:pt x="73" y="152"/>
                  </a:cubicBezTo>
                  <a:cubicBezTo>
                    <a:pt x="73" y="152"/>
                    <a:pt x="74" y="152"/>
                    <a:pt x="74" y="152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51"/>
                    <a:pt x="74" y="151"/>
                    <a:pt x="74" y="151"/>
                  </a:cubicBezTo>
                  <a:cubicBezTo>
                    <a:pt x="75" y="151"/>
                    <a:pt x="75" y="151"/>
                    <a:pt x="75" y="151"/>
                  </a:cubicBezTo>
                  <a:cubicBezTo>
                    <a:pt x="75" y="151"/>
                    <a:pt x="76" y="151"/>
                    <a:pt x="76" y="150"/>
                  </a:cubicBezTo>
                  <a:cubicBezTo>
                    <a:pt x="76" y="150"/>
                    <a:pt x="76" y="150"/>
                    <a:pt x="77" y="150"/>
                  </a:cubicBezTo>
                  <a:cubicBezTo>
                    <a:pt x="77" y="150"/>
                    <a:pt x="77" y="150"/>
                    <a:pt x="78" y="150"/>
                  </a:cubicBezTo>
                  <a:cubicBezTo>
                    <a:pt x="78" y="150"/>
                    <a:pt x="78" y="150"/>
                    <a:pt x="78" y="149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8" y="148"/>
                    <a:pt x="78" y="148"/>
                    <a:pt x="79" y="148"/>
                  </a:cubicBezTo>
                  <a:cubicBezTo>
                    <a:pt x="79" y="148"/>
                    <a:pt x="79" y="147"/>
                    <a:pt x="79" y="147"/>
                  </a:cubicBezTo>
                  <a:cubicBezTo>
                    <a:pt x="79" y="147"/>
                    <a:pt x="79" y="147"/>
                    <a:pt x="79" y="146"/>
                  </a:cubicBezTo>
                  <a:cubicBezTo>
                    <a:pt x="79" y="146"/>
                    <a:pt x="79" y="146"/>
                    <a:pt x="79" y="145"/>
                  </a:cubicBezTo>
                  <a:cubicBezTo>
                    <a:pt x="79" y="145"/>
                    <a:pt x="80" y="145"/>
                    <a:pt x="80" y="145"/>
                  </a:cubicBezTo>
                  <a:cubicBezTo>
                    <a:pt x="80" y="146"/>
                    <a:pt x="80" y="146"/>
                    <a:pt x="80" y="147"/>
                  </a:cubicBezTo>
                  <a:cubicBezTo>
                    <a:pt x="80" y="147"/>
                    <a:pt x="80" y="147"/>
                    <a:pt x="80" y="148"/>
                  </a:cubicBezTo>
                  <a:cubicBezTo>
                    <a:pt x="80" y="148"/>
                    <a:pt x="81" y="148"/>
                    <a:pt x="81" y="148"/>
                  </a:cubicBezTo>
                  <a:cubicBezTo>
                    <a:pt x="81" y="148"/>
                    <a:pt x="80" y="148"/>
                    <a:pt x="80" y="149"/>
                  </a:cubicBezTo>
                  <a:cubicBezTo>
                    <a:pt x="80" y="149"/>
                    <a:pt x="79" y="150"/>
                    <a:pt x="79" y="151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79" y="151"/>
                    <a:pt x="79" y="152"/>
                    <a:pt x="78" y="152"/>
                  </a:cubicBezTo>
                  <a:cubicBezTo>
                    <a:pt x="78" y="152"/>
                    <a:pt x="78" y="153"/>
                    <a:pt x="78" y="153"/>
                  </a:cubicBezTo>
                  <a:cubicBezTo>
                    <a:pt x="78" y="154"/>
                    <a:pt x="78" y="154"/>
                    <a:pt x="78" y="155"/>
                  </a:cubicBezTo>
                  <a:cubicBezTo>
                    <a:pt x="78" y="155"/>
                    <a:pt x="78" y="156"/>
                    <a:pt x="79" y="156"/>
                  </a:cubicBezTo>
                  <a:cubicBezTo>
                    <a:pt x="79" y="156"/>
                    <a:pt x="79" y="156"/>
                    <a:pt x="80" y="156"/>
                  </a:cubicBezTo>
                  <a:cubicBezTo>
                    <a:pt x="80" y="157"/>
                    <a:pt x="80" y="157"/>
                    <a:pt x="81" y="157"/>
                  </a:cubicBezTo>
                  <a:cubicBezTo>
                    <a:pt x="81" y="157"/>
                    <a:pt x="81" y="157"/>
                    <a:pt x="81" y="156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83" y="157"/>
                    <a:pt x="83" y="157"/>
                    <a:pt x="84" y="158"/>
                  </a:cubicBezTo>
                  <a:cubicBezTo>
                    <a:pt x="84" y="158"/>
                    <a:pt x="84" y="158"/>
                    <a:pt x="85" y="158"/>
                  </a:cubicBezTo>
                  <a:cubicBezTo>
                    <a:pt x="85" y="158"/>
                    <a:pt x="85" y="158"/>
                    <a:pt x="85" y="158"/>
                  </a:cubicBezTo>
                  <a:cubicBezTo>
                    <a:pt x="85" y="159"/>
                    <a:pt x="86" y="159"/>
                    <a:pt x="86" y="159"/>
                  </a:cubicBezTo>
                  <a:cubicBezTo>
                    <a:pt x="87" y="159"/>
                    <a:pt x="87" y="160"/>
                    <a:pt x="88" y="160"/>
                  </a:cubicBezTo>
                  <a:cubicBezTo>
                    <a:pt x="88" y="160"/>
                    <a:pt x="88" y="160"/>
                    <a:pt x="88" y="160"/>
                  </a:cubicBezTo>
                  <a:cubicBezTo>
                    <a:pt x="88" y="160"/>
                    <a:pt x="88" y="160"/>
                    <a:pt x="88" y="160"/>
                  </a:cubicBezTo>
                  <a:cubicBezTo>
                    <a:pt x="88" y="161"/>
                    <a:pt x="89" y="161"/>
                    <a:pt x="89" y="161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9" y="159"/>
                    <a:pt x="89" y="159"/>
                    <a:pt x="89" y="159"/>
                  </a:cubicBezTo>
                  <a:cubicBezTo>
                    <a:pt x="89" y="158"/>
                    <a:pt x="89" y="158"/>
                    <a:pt x="89" y="158"/>
                  </a:cubicBezTo>
                  <a:cubicBezTo>
                    <a:pt x="89" y="158"/>
                    <a:pt x="89" y="157"/>
                    <a:pt x="88" y="157"/>
                  </a:cubicBezTo>
                  <a:cubicBezTo>
                    <a:pt x="88" y="157"/>
                    <a:pt x="88" y="156"/>
                    <a:pt x="88" y="156"/>
                  </a:cubicBezTo>
                  <a:cubicBezTo>
                    <a:pt x="88" y="155"/>
                    <a:pt x="88" y="155"/>
                    <a:pt x="88" y="154"/>
                  </a:cubicBezTo>
                  <a:cubicBezTo>
                    <a:pt x="88" y="154"/>
                    <a:pt x="89" y="154"/>
                    <a:pt x="89" y="153"/>
                  </a:cubicBezTo>
                  <a:cubicBezTo>
                    <a:pt x="89" y="153"/>
                    <a:pt x="89" y="153"/>
                    <a:pt x="89" y="153"/>
                  </a:cubicBezTo>
                  <a:cubicBezTo>
                    <a:pt x="89" y="152"/>
                    <a:pt x="89" y="152"/>
                    <a:pt x="89" y="152"/>
                  </a:cubicBezTo>
                  <a:cubicBezTo>
                    <a:pt x="90" y="152"/>
                    <a:pt x="89" y="151"/>
                    <a:pt x="89" y="151"/>
                  </a:cubicBezTo>
                  <a:cubicBezTo>
                    <a:pt x="89" y="151"/>
                    <a:pt x="90" y="150"/>
                    <a:pt x="90" y="150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0" y="150"/>
                    <a:pt x="90" y="149"/>
                    <a:pt x="90" y="149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8"/>
                    <a:pt x="91" y="148"/>
                  </a:cubicBezTo>
                  <a:cubicBezTo>
                    <a:pt x="91" y="148"/>
                    <a:pt x="91" y="149"/>
                    <a:pt x="91" y="150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1"/>
                    <a:pt x="92" y="151"/>
                    <a:pt x="92" y="151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92" y="151"/>
                    <a:pt x="92" y="152"/>
                    <a:pt x="92" y="152"/>
                  </a:cubicBezTo>
                  <a:cubicBezTo>
                    <a:pt x="92" y="152"/>
                    <a:pt x="92" y="152"/>
                    <a:pt x="93" y="152"/>
                  </a:cubicBezTo>
                  <a:cubicBezTo>
                    <a:pt x="93" y="152"/>
                    <a:pt x="93" y="152"/>
                    <a:pt x="93" y="152"/>
                  </a:cubicBezTo>
                  <a:cubicBezTo>
                    <a:pt x="94" y="151"/>
                    <a:pt x="94" y="151"/>
                    <a:pt x="94" y="151"/>
                  </a:cubicBezTo>
                  <a:cubicBezTo>
                    <a:pt x="95" y="151"/>
                    <a:pt x="95" y="150"/>
                    <a:pt x="95" y="151"/>
                  </a:cubicBezTo>
                  <a:cubicBezTo>
                    <a:pt x="96" y="151"/>
                    <a:pt x="95" y="151"/>
                    <a:pt x="95" y="152"/>
                  </a:cubicBezTo>
                  <a:cubicBezTo>
                    <a:pt x="95" y="152"/>
                    <a:pt x="94" y="152"/>
                    <a:pt x="94" y="153"/>
                  </a:cubicBezTo>
                  <a:cubicBezTo>
                    <a:pt x="94" y="153"/>
                    <a:pt x="94" y="153"/>
                    <a:pt x="94" y="154"/>
                  </a:cubicBezTo>
                  <a:cubicBezTo>
                    <a:pt x="94" y="154"/>
                    <a:pt x="94" y="155"/>
                    <a:pt x="94" y="155"/>
                  </a:cubicBezTo>
                  <a:cubicBezTo>
                    <a:pt x="94" y="155"/>
                    <a:pt x="94" y="156"/>
                    <a:pt x="94" y="156"/>
                  </a:cubicBezTo>
                  <a:cubicBezTo>
                    <a:pt x="94" y="156"/>
                    <a:pt x="94" y="157"/>
                    <a:pt x="94" y="157"/>
                  </a:cubicBezTo>
                  <a:cubicBezTo>
                    <a:pt x="93" y="157"/>
                    <a:pt x="93" y="157"/>
                    <a:pt x="93" y="157"/>
                  </a:cubicBezTo>
                  <a:cubicBezTo>
                    <a:pt x="93" y="158"/>
                    <a:pt x="93" y="158"/>
                    <a:pt x="92" y="158"/>
                  </a:cubicBezTo>
                  <a:cubicBezTo>
                    <a:pt x="92" y="158"/>
                    <a:pt x="92" y="158"/>
                    <a:pt x="92" y="159"/>
                  </a:cubicBezTo>
                  <a:cubicBezTo>
                    <a:pt x="92" y="159"/>
                    <a:pt x="93" y="160"/>
                    <a:pt x="94" y="160"/>
                  </a:cubicBezTo>
                  <a:cubicBezTo>
                    <a:pt x="94" y="160"/>
                    <a:pt x="94" y="160"/>
                    <a:pt x="95" y="160"/>
                  </a:cubicBezTo>
                  <a:cubicBezTo>
                    <a:pt x="95" y="160"/>
                    <a:pt x="96" y="160"/>
                    <a:pt x="96" y="159"/>
                  </a:cubicBezTo>
                  <a:cubicBezTo>
                    <a:pt x="97" y="159"/>
                    <a:pt x="97" y="159"/>
                    <a:pt x="98" y="159"/>
                  </a:cubicBezTo>
                  <a:cubicBezTo>
                    <a:pt x="98" y="159"/>
                    <a:pt x="98" y="158"/>
                    <a:pt x="98" y="158"/>
                  </a:cubicBezTo>
                  <a:cubicBezTo>
                    <a:pt x="98" y="158"/>
                    <a:pt x="98" y="158"/>
                    <a:pt x="98" y="158"/>
                  </a:cubicBezTo>
                  <a:cubicBezTo>
                    <a:pt x="98" y="158"/>
                    <a:pt x="99" y="157"/>
                    <a:pt x="99" y="157"/>
                  </a:cubicBezTo>
                  <a:cubicBezTo>
                    <a:pt x="99" y="157"/>
                    <a:pt x="100" y="156"/>
                    <a:pt x="100" y="156"/>
                  </a:cubicBezTo>
                  <a:cubicBezTo>
                    <a:pt x="100" y="156"/>
                    <a:pt x="100" y="155"/>
                    <a:pt x="100" y="155"/>
                  </a:cubicBezTo>
                  <a:cubicBezTo>
                    <a:pt x="100" y="155"/>
                    <a:pt x="100" y="154"/>
                    <a:pt x="100" y="154"/>
                  </a:cubicBezTo>
                  <a:cubicBezTo>
                    <a:pt x="100" y="153"/>
                    <a:pt x="99" y="154"/>
                    <a:pt x="99" y="153"/>
                  </a:cubicBezTo>
                  <a:cubicBezTo>
                    <a:pt x="99" y="153"/>
                    <a:pt x="98" y="153"/>
                    <a:pt x="98" y="153"/>
                  </a:cubicBezTo>
                  <a:cubicBezTo>
                    <a:pt x="98" y="152"/>
                    <a:pt x="98" y="152"/>
                    <a:pt x="97" y="152"/>
                  </a:cubicBezTo>
                  <a:cubicBezTo>
                    <a:pt x="97" y="152"/>
                    <a:pt x="96" y="151"/>
                    <a:pt x="96" y="151"/>
                  </a:cubicBezTo>
                  <a:cubicBezTo>
                    <a:pt x="96" y="150"/>
                    <a:pt x="97" y="150"/>
                    <a:pt x="97" y="150"/>
                  </a:cubicBezTo>
                  <a:cubicBezTo>
                    <a:pt x="97" y="149"/>
                    <a:pt x="97" y="149"/>
                    <a:pt x="97" y="148"/>
                  </a:cubicBezTo>
                  <a:cubicBezTo>
                    <a:pt x="96" y="148"/>
                    <a:pt x="96" y="147"/>
                    <a:pt x="97" y="147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7"/>
                    <a:pt x="97" y="148"/>
                    <a:pt x="97" y="148"/>
                  </a:cubicBezTo>
                  <a:cubicBezTo>
                    <a:pt x="98" y="148"/>
                    <a:pt x="98" y="149"/>
                    <a:pt x="99" y="149"/>
                  </a:cubicBezTo>
                  <a:cubicBezTo>
                    <a:pt x="99" y="149"/>
                    <a:pt x="99" y="149"/>
                    <a:pt x="99" y="148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100" y="148"/>
                    <a:pt x="100" y="148"/>
                    <a:pt x="100" y="148"/>
                  </a:cubicBezTo>
                  <a:cubicBezTo>
                    <a:pt x="101" y="147"/>
                    <a:pt x="101" y="148"/>
                    <a:pt x="101" y="148"/>
                  </a:cubicBezTo>
                  <a:cubicBezTo>
                    <a:pt x="101" y="148"/>
                    <a:pt x="102" y="148"/>
                    <a:pt x="102" y="149"/>
                  </a:cubicBezTo>
                  <a:cubicBezTo>
                    <a:pt x="103" y="149"/>
                    <a:pt x="103" y="149"/>
                    <a:pt x="103" y="150"/>
                  </a:cubicBezTo>
                  <a:cubicBezTo>
                    <a:pt x="103" y="151"/>
                    <a:pt x="103" y="152"/>
                    <a:pt x="103" y="152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4"/>
                    <a:pt x="104" y="154"/>
                    <a:pt x="104" y="154"/>
                  </a:cubicBezTo>
                  <a:cubicBezTo>
                    <a:pt x="104" y="154"/>
                    <a:pt x="104" y="154"/>
                    <a:pt x="105" y="154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6" y="155"/>
                    <a:pt x="105" y="154"/>
                    <a:pt x="105" y="154"/>
                  </a:cubicBezTo>
                  <a:cubicBezTo>
                    <a:pt x="105" y="153"/>
                    <a:pt x="105" y="153"/>
                    <a:pt x="106" y="152"/>
                  </a:cubicBezTo>
                  <a:cubicBezTo>
                    <a:pt x="106" y="151"/>
                    <a:pt x="106" y="151"/>
                    <a:pt x="106" y="150"/>
                  </a:cubicBezTo>
                  <a:cubicBezTo>
                    <a:pt x="106" y="150"/>
                    <a:pt x="106" y="149"/>
                    <a:pt x="106" y="149"/>
                  </a:cubicBezTo>
                  <a:cubicBezTo>
                    <a:pt x="106" y="149"/>
                    <a:pt x="107" y="149"/>
                    <a:pt x="107" y="149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108" y="148"/>
                    <a:pt x="108" y="149"/>
                    <a:pt x="108" y="149"/>
                  </a:cubicBezTo>
                  <a:cubicBezTo>
                    <a:pt x="108" y="149"/>
                    <a:pt x="108" y="149"/>
                    <a:pt x="108" y="150"/>
                  </a:cubicBezTo>
                  <a:cubicBezTo>
                    <a:pt x="108" y="150"/>
                    <a:pt x="108" y="150"/>
                    <a:pt x="108" y="150"/>
                  </a:cubicBezTo>
                  <a:cubicBezTo>
                    <a:pt x="109" y="151"/>
                    <a:pt x="109" y="151"/>
                    <a:pt x="109" y="152"/>
                  </a:cubicBezTo>
                  <a:cubicBezTo>
                    <a:pt x="109" y="152"/>
                    <a:pt x="110" y="152"/>
                    <a:pt x="110" y="152"/>
                  </a:cubicBezTo>
                  <a:cubicBezTo>
                    <a:pt x="110" y="153"/>
                    <a:pt x="111" y="153"/>
                    <a:pt x="111" y="153"/>
                  </a:cubicBezTo>
                  <a:cubicBezTo>
                    <a:pt x="111" y="152"/>
                    <a:pt x="111" y="152"/>
                    <a:pt x="111" y="152"/>
                  </a:cubicBezTo>
                  <a:cubicBezTo>
                    <a:pt x="111" y="151"/>
                    <a:pt x="111" y="151"/>
                    <a:pt x="111" y="151"/>
                  </a:cubicBezTo>
                  <a:cubicBezTo>
                    <a:pt x="111" y="150"/>
                    <a:pt x="111" y="150"/>
                    <a:pt x="112" y="150"/>
                  </a:cubicBezTo>
                  <a:cubicBezTo>
                    <a:pt x="112" y="149"/>
                    <a:pt x="112" y="149"/>
                    <a:pt x="112" y="148"/>
                  </a:cubicBezTo>
                  <a:cubicBezTo>
                    <a:pt x="112" y="147"/>
                    <a:pt x="112" y="147"/>
                    <a:pt x="112" y="146"/>
                  </a:cubicBezTo>
                  <a:cubicBezTo>
                    <a:pt x="112" y="146"/>
                    <a:pt x="112" y="145"/>
                    <a:pt x="112" y="145"/>
                  </a:cubicBezTo>
                  <a:cubicBezTo>
                    <a:pt x="112" y="145"/>
                    <a:pt x="112" y="145"/>
                    <a:pt x="113" y="145"/>
                  </a:cubicBezTo>
                  <a:cubicBezTo>
                    <a:pt x="113" y="145"/>
                    <a:pt x="113" y="145"/>
                    <a:pt x="113" y="145"/>
                  </a:cubicBezTo>
                  <a:cubicBezTo>
                    <a:pt x="113" y="145"/>
                    <a:pt x="113" y="145"/>
                    <a:pt x="113" y="145"/>
                  </a:cubicBezTo>
                  <a:cubicBezTo>
                    <a:pt x="113" y="145"/>
                    <a:pt x="114" y="145"/>
                    <a:pt x="114" y="145"/>
                  </a:cubicBezTo>
                  <a:cubicBezTo>
                    <a:pt x="115" y="145"/>
                    <a:pt x="116" y="145"/>
                    <a:pt x="116" y="145"/>
                  </a:cubicBezTo>
                  <a:cubicBezTo>
                    <a:pt x="117" y="145"/>
                    <a:pt x="118" y="145"/>
                    <a:pt x="118" y="145"/>
                  </a:cubicBezTo>
                  <a:cubicBezTo>
                    <a:pt x="118" y="146"/>
                    <a:pt x="118" y="146"/>
                    <a:pt x="119" y="146"/>
                  </a:cubicBezTo>
                  <a:cubicBezTo>
                    <a:pt x="119" y="146"/>
                    <a:pt x="119" y="146"/>
                    <a:pt x="119" y="146"/>
                  </a:cubicBezTo>
                  <a:cubicBezTo>
                    <a:pt x="120" y="146"/>
                    <a:pt x="121" y="146"/>
                    <a:pt x="122" y="146"/>
                  </a:cubicBezTo>
                  <a:cubicBezTo>
                    <a:pt x="122" y="146"/>
                    <a:pt x="122" y="145"/>
                    <a:pt x="122" y="145"/>
                  </a:cubicBezTo>
                  <a:cubicBezTo>
                    <a:pt x="122" y="144"/>
                    <a:pt x="122" y="143"/>
                    <a:pt x="123" y="142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3" y="141"/>
                    <a:pt x="124" y="141"/>
                    <a:pt x="124" y="141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4" y="141"/>
                    <a:pt x="124" y="142"/>
                    <a:pt x="124" y="142"/>
                  </a:cubicBezTo>
                  <a:cubicBezTo>
                    <a:pt x="124" y="142"/>
                    <a:pt x="124" y="142"/>
                    <a:pt x="125" y="142"/>
                  </a:cubicBezTo>
                  <a:cubicBezTo>
                    <a:pt x="125" y="142"/>
                    <a:pt x="125" y="142"/>
                    <a:pt x="126" y="142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7" y="143"/>
                    <a:pt x="127" y="143"/>
                    <a:pt x="127" y="143"/>
                  </a:cubicBezTo>
                  <a:cubicBezTo>
                    <a:pt x="128" y="143"/>
                    <a:pt x="128" y="142"/>
                    <a:pt x="128" y="142"/>
                  </a:cubicBezTo>
                  <a:cubicBezTo>
                    <a:pt x="128" y="142"/>
                    <a:pt x="128" y="142"/>
                    <a:pt x="128" y="141"/>
                  </a:cubicBezTo>
                  <a:cubicBezTo>
                    <a:pt x="128" y="141"/>
                    <a:pt x="128" y="140"/>
                    <a:pt x="128" y="140"/>
                  </a:cubicBezTo>
                  <a:cubicBezTo>
                    <a:pt x="128" y="140"/>
                    <a:pt x="128" y="139"/>
                    <a:pt x="129" y="139"/>
                  </a:cubicBezTo>
                  <a:cubicBezTo>
                    <a:pt x="129" y="139"/>
                    <a:pt x="129" y="139"/>
                    <a:pt x="129" y="139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8"/>
                    <a:pt x="130" y="138"/>
                    <a:pt x="130" y="138"/>
                  </a:cubicBezTo>
                  <a:cubicBezTo>
                    <a:pt x="130" y="138"/>
                    <a:pt x="130" y="138"/>
                    <a:pt x="131" y="138"/>
                  </a:cubicBezTo>
                  <a:cubicBezTo>
                    <a:pt x="131" y="138"/>
                    <a:pt x="131" y="138"/>
                    <a:pt x="131" y="139"/>
                  </a:cubicBezTo>
                  <a:cubicBezTo>
                    <a:pt x="132" y="139"/>
                    <a:pt x="132" y="139"/>
                    <a:pt x="132" y="140"/>
                  </a:cubicBezTo>
                  <a:cubicBezTo>
                    <a:pt x="132" y="140"/>
                    <a:pt x="132" y="140"/>
                    <a:pt x="132" y="141"/>
                  </a:cubicBezTo>
                  <a:cubicBezTo>
                    <a:pt x="132" y="142"/>
                    <a:pt x="133" y="141"/>
                    <a:pt x="133" y="141"/>
                  </a:cubicBezTo>
                  <a:cubicBezTo>
                    <a:pt x="133" y="141"/>
                    <a:pt x="134" y="141"/>
                    <a:pt x="134" y="141"/>
                  </a:cubicBezTo>
                  <a:cubicBezTo>
                    <a:pt x="134" y="141"/>
                    <a:pt x="134" y="140"/>
                    <a:pt x="135" y="140"/>
                  </a:cubicBezTo>
                  <a:cubicBezTo>
                    <a:pt x="135" y="140"/>
                    <a:pt x="135" y="140"/>
                    <a:pt x="135" y="140"/>
                  </a:cubicBezTo>
                  <a:cubicBezTo>
                    <a:pt x="136" y="140"/>
                    <a:pt x="137" y="139"/>
                    <a:pt x="137" y="138"/>
                  </a:cubicBezTo>
                  <a:cubicBezTo>
                    <a:pt x="138" y="138"/>
                    <a:pt x="139" y="137"/>
                    <a:pt x="139" y="136"/>
                  </a:cubicBezTo>
                  <a:cubicBezTo>
                    <a:pt x="140" y="136"/>
                    <a:pt x="140" y="135"/>
                    <a:pt x="141" y="135"/>
                  </a:cubicBezTo>
                  <a:cubicBezTo>
                    <a:pt x="141" y="135"/>
                    <a:pt x="141" y="134"/>
                    <a:pt x="141" y="134"/>
                  </a:cubicBezTo>
                  <a:cubicBezTo>
                    <a:pt x="141" y="133"/>
                    <a:pt x="141" y="132"/>
                    <a:pt x="141" y="131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C3C0A478-0ADD-4EC0-9401-7F6D0D237F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5125" y="4184058"/>
              <a:ext cx="677403" cy="634447"/>
            </a:xfrm>
            <a:custGeom>
              <a:avLst/>
              <a:gdLst>
                <a:gd name="T0" fmla="*/ 150 w 171"/>
                <a:gd name="T1" fmla="*/ 151 h 160"/>
                <a:gd name="T2" fmla="*/ 159 w 171"/>
                <a:gd name="T3" fmla="*/ 153 h 160"/>
                <a:gd name="T4" fmla="*/ 159 w 171"/>
                <a:gd name="T5" fmla="*/ 155 h 160"/>
                <a:gd name="T6" fmla="*/ 166 w 171"/>
                <a:gd name="T7" fmla="*/ 150 h 160"/>
                <a:gd name="T8" fmla="*/ 171 w 171"/>
                <a:gd name="T9" fmla="*/ 156 h 160"/>
                <a:gd name="T10" fmla="*/ 150 w 171"/>
                <a:gd name="T11" fmla="*/ 104 h 160"/>
                <a:gd name="T12" fmla="*/ 83 w 171"/>
                <a:gd name="T13" fmla="*/ 77 h 160"/>
                <a:gd name="T14" fmla="*/ 86 w 171"/>
                <a:gd name="T15" fmla="*/ 65 h 160"/>
                <a:gd name="T16" fmla="*/ 90 w 171"/>
                <a:gd name="T17" fmla="*/ 59 h 160"/>
                <a:gd name="T18" fmla="*/ 94 w 171"/>
                <a:gd name="T19" fmla="*/ 52 h 160"/>
                <a:gd name="T20" fmla="*/ 97 w 171"/>
                <a:gd name="T21" fmla="*/ 46 h 160"/>
                <a:gd name="T22" fmla="*/ 103 w 171"/>
                <a:gd name="T23" fmla="*/ 38 h 160"/>
                <a:gd name="T24" fmla="*/ 99 w 171"/>
                <a:gd name="T25" fmla="*/ 34 h 160"/>
                <a:gd name="T26" fmla="*/ 109 w 171"/>
                <a:gd name="T27" fmla="*/ 27 h 160"/>
                <a:gd name="T28" fmla="*/ 102 w 171"/>
                <a:gd name="T29" fmla="*/ 20 h 160"/>
                <a:gd name="T30" fmla="*/ 100 w 171"/>
                <a:gd name="T31" fmla="*/ 18 h 160"/>
                <a:gd name="T32" fmla="*/ 100 w 171"/>
                <a:gd name="T33" fmla="*/ 7 h 160"/>
                <a:gd name="T34" fmla="*/ 99 w 171"/>
                <a:gd name="T35" fmla="*/ 0 h 160"/>
                <a:gd name="T36" fmla="*/ 10 w 171"/>
                <a:gd name="T37" fmla="*/ 63 h 160"/>
                <a:gd name="T38" fmla="*/ 17 w 171"/>
                <a:gd name="T39" fmla="*/ 75 h 160"/>
                <a:gd name="T40" fmla="*/ 15 w 171"/>
                <a:gd name="T41" fmla="*/ 94 h 160"/>
                <a:gd name="T42" fmla="*/ 11 w 171"/>
                <a:gd name="T43" fmla="*/ 120 h 160"/>
                <a:gd name="T44" fmla="*/ 7 w 171"/>
                <a:gd name="T45" fmla="*/ 134 h 160"/>
                <a:gd name="T46" fmla="*/ 37 w 171"/>
                <a:gd name="T47" fmla="*/ 134 h 160"/>
                <a:gd name="T48" fmla="*/ 65 w 171"/>
                <a:gd name="T49" fmla="*/ 140 h 160"/>
                <a:gd name="T50" fmla="*/ 64 w 171"/>
                <a:gd name="T51" fmla="*/ 134 h 160"/>
                <a:gd name="T52" fmla="*/ 71 w 171"/>
                <a:gd name="T53" fmla="*/ 128 h 160"/>
                <a:gd name="T54" fmla="*/ 77 w 171"/>
                <a:gd name="T55" fmla="*/ 129 h 160"/>
                <a:gd name="T56" fmla="*/ 84 w 171"/>
                <a:gd name="T57" fmla="*/ 137 h 160"/>
                <a:gd name="T58" fmla="*/ 94 w 171"/>
                <a:gd name="T59" fmla="*/ 142 h 160"/>
                <a:gd name="T60" fmla="*/ 97 w 171"/>
                <a:gd name="T61" fmla="*/ 143 h 160"/>
                <a:gd name="T62" fmla="*/ 94 w 171"/>
                <a:gd name="T63" fmla="*/ 151 h 160"/>
                <a:gd name="T64" fmla="*/ 104 w 171"/>
                <a:gd name="T65" fmla="*/ 154 h 160"/>
                <a:gd name="T66" fmla="*/ 111 w 171"/>
                <a:gd name="T67" fmla="*/ 154 h 160"/>
                <a:gd name="T68" fmla="*/ 117 w 171"/>
                <a:gd name="T69" fmla="*/ 152 h 160"/>
                <a:gd name="T70" fmla="*/ 123 w 171"/>
                <a:gd name="T71" fmla="*/ 149 h 160"/>
                <a:gd name="T72" fmla="*/ 136 w 171"/>
                <a:gd name="T73" fmla="*/ 156 h 160"/>
                <a:gd name="T74" fmla="*/ 134 w 171"/>
                <a:gd name="T75" fmla="*/ 139 h 160"/>
                <a:gd name="T76" fmla="*/ 128 w 171"/>
                <a:gd name="T77" fmla="*/ 133 h 160"/>
                <a:gd name="T78" fmla="*/ 135 w 171"/>
                <a:gd name="T79" fmla="*/ 137 h 160"/>
                <a:gd name="T80" fmla="*/ 150 w 171"/>
                <a:gd name="T81" fmla="*/ 147 h 160"/>
                <a:gd name="T82" fmla="*/ 162 w 171"/>
                <a:gd name="T83" fmla="*/ 151 h 160"/>
                <a:gd name="T84" fmla="*/ 158 w 171"/>
                <a:gd name="T85" fmla="*/ 147 h 160"/>
                <a:gd name="T86" fmla="*/ 149 w 171"/>
                <a:gd name="T87" fmla="*/ 139 h 160"/>
                <a:gd name="T88" fmla="*/ 149 w 171"/>
                <a:gd name="T89" fmla="*/ 137 h 160"/>
                <a:gd name="T90" fmla="*/ 153 w 171"/>
                <a:gd name="T91" fmla="*/ 134 h 160"/>
                <a:gd name="T92" fmla="*/ 159 w 171"/>
                <a:gd name="T93" fmla="*/ 133 h 160"/>
                <a:gd name="T94" fmla="*/ 159 w 171"/>
                <a:gd name="T95" fmla="*/ 120 h 160"/>
                <a:gd name="T96" fmla="*/ 146 w 171"/>
                <a:gd name="T97" fmla="*/ 126 h 160"/>
                <a:gd name="T98" fmla="*/ 148 w 171"/>
                <a:gd name="T99" fmla="*/ 116 h 160"/>
                <a:gd name="T100" fmla="*/ 132 w 171"/>
                <a:gd name="T101" fmla="*/ 121 h 160"/>
                <a:gd name="T102" fmla="*/ 128 w 171"/>
                <a:gd name="T103" fmla="*/ 112 h 160"/>
                <a:gd name="T104" fmla="*/ 124 w 171"/>
                <a:gd name="T105" fmla="*/ 109 h 160"/>
                <a:gd name="T106" fmla="*/ 139 w 171"/>
                <a:gd name="T107" fmla="*/ 110 h 160"/>
                <a:gd name="T108" fmla="*/ 152 w 171"/>
                <a:gd name="T109" fmla="*/ 114 h 160"/>
                <a:gd name="T110" fmla="*/ 73 w 171"/>
                <a:gd name="T111" fmla="*/ 142 h 160"/>
                <a:gd name="T112" fmla="*/ 77 w 171"/>
                <a:gd name="T113" fmla="*/ 139 h 160"/>
                <a:gd name="T114" fmla="*/ 70 w 171"/>
                <a:gd name="T115" fmla="*/ 14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1" h="160">
                  <a:moveTo>
                    <a:pt x="148" y="150"/>
                  </a:moveTo>
                  <a:cubicBezTo>
                    <a:pt x="148" y="150"/>
                    <a:pt x="148" y="150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50" y="148"/>
                    <a:pt x="150" y="148"/>
                  </a:cubicBezTo>
                  <a:cubicBezTo>
                    <a:pt x="150" y="147"/>
                    <a:pt x="151" y="148"/>
                    <a:pt x="151" y="148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50"/>
                    <a:pt x="150" y="150"/>
                    <a:pt x="150" y="150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49" y="151"/>
                    <a:pt x="149" y="151"/>
                    <a:pt x="148" y="150"/>
                  </a:cubicBezTo>
                  <a:close/>
                  <a:moveTo>
                    <a:pt x="160" y="155"/>
                  </a:moveTo>
                  <a:cubicBezTo>
                    <a:pt x="160" y="155"/>
                    <a:pt x="160" y="155"/>
                    <a:pt x="160" y="154"/>
                  </a:cubicBezTo>
                  <a:cubicBezTo>
                    <a:pt x="161" y="154"/>
                    <a:pt x="161" y="154"/>
                    <a:pt x="161" y="153"/>
                  </a:cubicBezTo>
                  <a:cubicBezTo>
                    <a:pt x="161" y="153"/>
                    <a:pt x="161" y="153"/>
                    <a:pt x="162" y="152"/>
                  </a:cubicBezTo>
                  <a:cubicBezTo>
                    <a:pt x="162" y="152"/>
                    <a:pt x="162" y="152"/>
                    <a:pt x="162" y="152"/>
                  </a:cubicBezTo>
                  <a:cubicBezTo>
                    <a:pt x="161" y="152"/>
                    <a:pt x="161" y="152"/>
                    <a:pt x="161" y="152"/>
                  </a:cubicBezTo>
                  <a:cubicBezTo>
                    <a:pt x="161" y="152"/>
                    <a:pt x="161" y="152"/>
                    <a:pt x="161" y="152"/>
                  </a:cubicBezTo>
                  <a:cubicBezTo>
                    <a:pt x="160" y="153"/>
                    <a:pt x="160" y="153"/>
                    <a:pt x="159" y="153"/>
                  </a:cubicBezTo>
                  <a:cubicBezTo>
                    <a:pt x="159" y="153"/>
                    <a:pt x="159" y="152"/>
                    <a:pt x="159" y="152"/>
                  </a:cubicBezTo>
                  <a:cubicBezTo>
                    <a:pt x="158" y="152"/>
                    <a:pt x="158" y="151"/>
                    <a:pt x="158" y="151"/>
                  </a:cubicBezTo>
                  <a:cubicBezTo>
                    <a:pt x="158" y="151"/>
                    <a:pt x="158" y="151"/>
                    <a:pt x="158" y="151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7" y="152"/>
                    <a:pt x="157" y="152"/>
                    <a:pt x="157" y="152"/>
                  </a:cubicBezTo>
                  <a:cubicBezTo>
                    <a:pt x="157" y="153"/>
                    <a:pt x="157" y="153"/>
                    <a:pt x="157" y="153"/>
                  </a:cubicBezTo>
                  <a:cubicBezTo>
                    <a:pt x="158" y="154"/>
                    <a:pt x="158" y="154"/>
                    <a:pt x="158" y="154"/>
                  </a:cubicBezTo>
                  <a:cubicBezTo>
                    <a:pt x="158" y="155"/>
                    <a:pt x="158" y="155"/>
                    <a:pt x="159" y="155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0" y="156"/>
                    <a:pt x="160" y="156"/>
                    <a:pt x="160" y="155"/>
                  </a:cubicBezTo>
                  <a:close/>
                  <a:moveTo>
                    <a:pt x="168" y="152"/>
                  </a:moveTo>
                  <a:cubicBezTo>
                    <a:pt x="168" y="152"/>
                    <a:pt x="168" y="152"/>
                    <a:pt x="169" y="152"/>
                  </a:cubicBezTo>
                  <a:cubicBezTo>
                    <a:pt x="169" y="153"/>
                    <a:pt x="169" y="153"/>
                    <a:pt x="169" y="153"/>
                  </a:cubicBezTo>
                  <a:cubicBezTo>
                    <a:pt x="170" y="152"/>
                    <a:pt x="169" y="152"/>
                    <a:pt x="169" y="152"/>
                  </a:cubicBezTo>
                  <a:cubicBezTo>
                    <a:pt x="169" y="152"/>
                    <a:pt x="169" y="151"/>
                    <a:pt x="168" y="150"/>
                  </a:cubicBezTo>
                  <a:cubicBezTo>
                    <a:pt x="168" y="150"/>
                    <a:pt x="167" y="150"/>
                    <a:pt x="167" y="150"/>
                  </a:cubicBezTo>
                  <a:cubicBezTo>
                    <a:pt x="166" y="150"/>
                    <a:pt x="166" y="150"/>
                    <a:pt x="166" y="150"/>
                  </a:cubicBezTo>
                  <a:cubicBezTo>
                    <a:pt x="166" y="151"/>
                    <a:pt x="166" y="151"/>
                    <a:pt x="166" y="151"/>
                  </a:cubicBezTo>
                  <a:cubicBezTo>
                    <a:pt x="167" y="151"/>
                    <a:pt x="167" y="152"/>
                    <a:pt x="168" y="152"/>
                  </a:cubicBezTo>
                  <a:close/>
                  <a:moveTo>
                    <a:pt x="168" y="160"/>
                  </a:moveTo>
                  <a:cubicBezTo>
                    <a:pt x="168" y="160"/>
                    <a:pt x="168" y="160"/>
                    <a:pt x="169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0" y="159"/>
                    <a:pt x="170" y="159"/>
                    <a:pt x="170" y="158"/>
                  </a:cubicBezTo>
                  <a:cubicBezTo>
                    <a:pt x="170" y="158"/>
                    <a:pt x="170" y="158"/>
                    <a:pt x="170" y="158"/>
                  </a:cubicBezTo>
                  <a:cubicBezTo>
                    <a:pt x="170" y="158"/>
                    <a:pt x="170" y="157"/>
                    <a:pt x="170" y="157"/>
                  </a:cubicBezTo>
                  <a:cubicBezTo>
                    <a:pt x="170" y="157"/>
                    <a:pt x="170" y="156"/>
                    <a:pt x="171" y="156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1" y="155"/>
                    <a:pt x="170" y="156"/>
                    <a:pt x="170" y="156"/>
                  </a:cubicBezTo>
                  <a:cubicBezTo>
                    <a:pt x="170" y="156"/>
                    <a:pt x="169" y="156"/>
                    <a:pt x="169" y="156"/>
                  </a:cubicBezTo>
                  <a:cubicBezTo>
                    <a:pt x="169" y="156"/>
                    <a:pt x="169" y="157"/>
                    <a:pt x="168" y="157"/>
                  </a:cubicBezTo>
                  <a:cubicBezTo>
                    <a:pt x="168" y="157"/>
                    <a:pt x="168" y="157"/>
                    <a:pt x="167" y="158"/>
                  </a:cubicBezTo>
                  <a:cubicBezTo>
                    <a:pt x="167" y="158"/>
                    <a:pt x="167" y="158"/>
                    <a:pt x="167" y="159"/>
                  </a:cubicBezTo>
                  <a:cubicBezTo>
                    <a:pt x="167" y="159"/>
                    <a:pt x="168" y="160"/>
                    <a:pt x="168" y="160"/>
                  </a:cubicBezTo>
                  <a:close/>
                  <a:moveTo>
                    <a:pt x="152" y="113"/>
                  </a:moveTo>
                  <a:cubicBezTo>
                    <a:pt x="152" y="113"/>
                    <a:pt x="150" y="104"/>
                    <a:pt x="150" y="104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8" y="85"/>
                    <a:pt x="148" y="85"/>
                  </a:cubicBezTo>
                  <a:cubicBezTo>
                    <a:pt x="148" y="85"/>
                    <a:pt x="148" y="82"/>
                    <a:pt x="148" y="82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2"/>
                    <a:pt x="84" y="81"/>
                    <a:pt x="84" y="81"/>
                  </a:cubicBezTo>
                  <a:cubicBezTo>
                    <a:pt x="84" y="81"/>
                    <a:pt x="85" y="80"/>
                    <a:pt x="85" y="80"/>
                  </a:cubicBezTo>
                  <a:cubicBezTo>
                    <a:pt x="85" y="79"/>
                    <a:pt x="83" y="78"/>
                    <a:pt x="83" y="78"/>
                  </a:cubicBezTo>
                  <a:cubicBezTo>
                    <a:pt x="83" y="78"/>
                    <a:pt x="83" y="77"/>
                    <a:pt x="83" y="77"/>
                  </a:cubicBezTo>
                  <a:cubicBezTo>
                    <a:pt x="83" y="76"/>
                    <a:pt x="84" y="75"/>
                    <a:pt x="84" y="75"/>
                  </a:cubicBezTo>
                  <a:cubicBezTo>
                    <a:pt x="84" y="75"/>
                    <a:pt x="84" y="74"/>
                    <a:pt x="84" y="74"/>
                  </a:cubicBezTo>
                  <a:cubicBezTo>
                    <a:pt x="83" y="73"/>
                    <a:pt x="83" y="73"/>
                    <a:pt x="83" y="7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3" y="72"/>
                    <a:pt x="84" y="72"/>
                    <a:pt x="85" y="71"/>
                  </a:cubicBezTo>
                  <a:cubicBezTo>
                    <a:pt x="86" y="71"/>
                    <a:pt x="87" y="71"/>
                    <a:pt x="87" y="71"/>
                  </a:cubicBezTo>
                  <a:cubicBezTo>
                    <a:pt x="87" y="71"/>
                    <a:pt x="86" y="69"/>
                    <a:pt x="86" y="68"/>
                  </a:cubicBezTo>
                  <a:cubicBezTo>
                    <a:pt x="85" y="67"/>
                    <a:pt x="85" y="66"/>
                    <a:pt x="85" y="65"/>
                  </a:cubicBezTo>
                  <a:cubicBezTo>
                    <a:pt x="85" y="65"/>
                    <a:pt x="86" y="65"/>
                    <a:pt x="86" y="65"/>
                  </a:cubicBezTo>
                  <a:cubicBezTo>
                    <a:pt x="87" y="65"/>
                    <a:pt x="86" y="66"/>
                    <a:pt x="86" y="66"/>
                  </a:cubicBezTo>
                  <a:cubicBezTo>
                    <a:pt x="87" y="67"/>
                    <a:pt x="87" y="68"/>
                    <a:pt x="88" y="67"/>
                  </a:cubicBezTo>
                  <a:cubicBezTo>
                    <a:pt x="88" y="67"/>
                    <a:pt x="88" y="66"/>
                    <a:pt x="88" y="66"/>
                  </a:cubicBezTo>
                  <a:cubicBezTo>
                    <a:pt x="88" y="65"/>
                    <a:pt x="88" y="64"/>
                    <a:pt x="87" y="64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6" y="61"/>
                    <a:pt x="88" y="61"/>
                    <a:pt x="88" y="60"/>
                  </a:cubicBezTo>
                  <a:cubicBezTo>
                    <a:pt x="89" y="60"/>
                    <a:pt x="89" y="60"/>
                    <a:pt x="90" y="59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90" y="58"/>
                    <a:pt x="89" y="58"/>
                    <a:pt x="89" y="58"/>
                  </a:cubicBezTo>
                  <a:cubicBezTo>
                    <a:pt x="88" y="58"/>
                    <a:pt x="88" y="58"/>
                    <a:pt x="87" y="57"/>
                  </a:cubicBezTo>
                  <a:cubicBezTo>
                    <a:pt x="87" y="57"/>
                    <a:pt x="87" y="57"/>
                    <a:pt x="88" y="57"/>
                  </a:cubicBezTo>
                  <a:cubicBezTo>
                    <a:pt x="88" y="57"/>
                    <a:pt x="89" y="57"/>
                    <a:pt x="90" y="57"/>
                  </a:cubicBezTo>
                  <a:cubicBezTo>
                    <a:pt x="90" y="57"/>
                    <a:pt x="90" y="58"/>
                    <a:pt x="91" y="58"/>
                  </a:cubicBezTo>
                  <a:cubicBezTo>
                    <a:pt x="91" y="57"/>
                    <a:pt x="91" y="55"/>
                    <a:pt x="92" y="53"/>
                  </a:cubicBezTo>
                  <a:cubicBezTo>
                    <a:pt x="92" y="53"/>
                    <a:pt x="92" y="53"/>
                    <a:pt x="92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4" y="52"/>
                    <a:pt x="94" y="52"/>
                  </a:cubicBezTo>
                  <a:cubicBezTo>
                    <a:pt x="94" y="52"/>
                    <a:pt x="95" y="52"/>
                    <a:pt x="95" y="51"/>
                  </a:cubicBezTo>
                  <a:cubicBezTo>
                    <a:pt x="95" y="51"/>
                    <a:pt x="94" y="51"/>
                    <a:pt x="94" y="51"/>
                  </a:cubicBezTo>
                  <a:cubicBezTo>
                    <a:pt x="94" y="51"/>
                    <a:pt x="93" y="51"/>
                    <a:pt x="93" y="51"/>
                  </a:cubicBezTo>
                  <a:cubicBezTo>
                    <a:pt x="92" y="50"/>
                    <a:pt x="93" y="49"/>
                    <a:pt x="93" y="49"/>
                  </a:cubicBezTo>
                  <a:cubicBezTo>
                    <a:pt x="93" y="48"/>
                    <a:pt x="94" y="47"/>
                    <a:pt x="94" y="48"/>
                  </a:cubicBezTo>
                  <a:cubicBezTo>
                    <a:pt x="95" y="48"/>
                    <a:pt x="94" y="49"/>
                    <a:pt x="95" y="49"/>
                  </a:cubicBezTo>
                  <a:cubicBezTo>
                    <a:pt x="95" y="49"/>
                    <a:pt x="95" y="49"/>
                    <a:pt x="96" y="49"/>
                  </a:cubicBezTo>
                  <a:cubicBezTo>
                    <a:pt x="96" y="48"/>
                    <a:pt x="96" y="47"/>
                    <a:pt x="96" y="47"/>
                  </a:cubicBezTo>
                  <a:cubicBezTo>
                    <a:pt x="96" y="46"/>
                    <a:pt x="97" y="46"/>
                    <a:pt x="97" y="46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4"/>
                    <a:pt x="99" y="43"/>
                    <a:pt x="100" y="42"/>
                  </a:cubicBezTo>
                  <a:cubicBezTo>
                    <a:pt x="101" y="42"/>
                    <a:pt x="102" y="42"/>
                    <a:pt x="101" y="41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9" y="38"/>
                    <a:pt x="100" y="38"/>
                    <a:pt x="100" y="38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101" y="39"/>
                    <a:pt x="102" y="40"/>
                    <a:pt x="102" y="39"/>
                  </a:cubicBezTo>
                  <a:cubicBezTo>
                    <a:pt x="102" y="39"/>
                    <a:pt x="103" y="38"/>
                    <a:pt x="103" y="38"/>
                  </a:cubicBezTo>
                  <a:cubicBezTo>
                    <a:pt x="103" y="38"/>
                    <a:pt x="103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6"/>
                    <a:pt x="104" y="36"/>
                    <a:pt x="104" y="35"/>
                  </a:cubicBezTo>
                  <a:cubicBezTo>
                    <a:pt x="104" y="35"/>
                    <a:pt x="103" y="34"/>
                    <a:pt x="103" y="34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6"/>
                    <a:pt x="103" y="36"/>
                  </a:cubicBezTo>
                  <a:cubicBezTo>
                    <a:pt x="103" y="36"/>
                    <a:pt x="102" y="36"/>
                    <a:pt x="102" y="37"/>
                  </a:cubicBezTo>
                  <a:cubicBezTo>
                    <a:pt x="101" y="37"/>
                    <a:pt x="100" y="37"/>
                    <a:pt x="100" y="36"/>
                  </a:cubicBezTo>
                  <a:cubicBezTo>
                    <a:pt x="99" y="36"/>
                    <a:pt x="99" y="35"/>
                    <a:pt x="99" y="34"/>
                  </a:cubicBezTo>
                  <a:cubicBezTo>
                    <a:pt x="99" y="34"/>
                    <a:pt x="99" y="33"/>
                    <a:pt x="100" y="33"/>
                  </a:cubicBezTo>
                  <a:cubicBezTo>
                    <a:pt x="101" y="33"/>
                    <a:pt x="101" y="33"/>
                    <a:pt x="102" y="33"/>
                  </a:cubicBezTo>
                  <a:cubicBezTo>
                    <a:pt x="102" y="32"/>
                    <a:pt x="103" y="32"/>
                    <a:pt x="104" y="32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4"/>
                    <a:pt x="105" y="34"/>
                  </a:cubicBezTo>
                  <a:cubicBezTo>
                    <a:pt x="106" y="34"/>
                    <a:pt x="105" y="32"/>
                    <a:pt x="105" y="32"/>
                  </a:cubicBezTo>
                  <a:cubicBezTo>
                    <a:pt x="105" y="31"/>
                    <a:pt x="105" y="30"/>
                    <a:pt x="106" y="30"/>
                  </a:cubicBezTo>
                  <a:cubicBezTo>
                    <a:pt x="106" y="30"/>
                    <a:pt x="108" y="29"/>
                    <a:pt x="108" y="29"/>
                  </a:cubicBezTo>
                  <a:cubicBezTo>
                    <a:pt x="109" y="29"/>
                    <a:pt x="109" y="28"/>
                    <a:pt x="109" y="27"/>
                  </a:cubicBezTo>
                  <a:cubicBezTo>
                    <a:pt x="108" y="27"/>
                    <a:pt x="108" y="28"/>
                    <a:pt x="107" y="28"/>
                  </a:cubicBezTo>
                  <a:cubicBezTo>
                    <a:pt x="107" y="28"/>
                    <a:pt x="105" y="28"/>
                    <a:pt x="105" y="27"/>
                  </a:cubicBezTo>
                  <a:cubicBezTo>
                    <a:pt x="105" y="26"/>
                    <a:pt x="106" y="25"/>
                    <a:pt x="106" y="24"/>
                  </a:cubicBezTo>
                  <a:cubicBezTo>
                    <a:pt x="105" y="24"/>
                    <a:pt x="105" y="24"/>
                    <a:pt x="104" y="24"/>
                  </a:cubicBezTo>
                  <a:cubicBezTo>
                    <a:pt x="104" y="24"/>
                    <a:pt x="103" y="24"/>
                    <a:pt x="103" y="24"/>
                  </a:cubicBezTo>
                  <a:cubicBezTo>
                    <a:pt x="102" y="24"/>
                    <a:pt x="102" y="23"/>
                    <a:pt x="101" y="23"/>
                  </a:cubicBezTo>
                  <a:cubicBezTo>
                    <a:pt x="101" y="23"/>
                    <a:pt x="101" y="22"/>
                    <a:pt x="101" y="22"/>
                  </a:cubicBezTo>
                  <a:cubicBezTo>
                    <a:pt x="101" y="21"/>
                    <a:pt x="101" y="21"/>
                    <a:pt x="101" y="20"/>
                  </a:cubicBezTo>
                  <a:cubicBezTo>
                    <a:pt x="101" y="20"/>
                    <a:pt x="101" y="19"/>
                    <a:pt x="102" y="20"/>
                  </a:cubicBezTo>
                  <a:cubicBezTo>
                    <a:pt x="102" y="20"/>
                    <a:pt x="102" y="21"/>
                    <a:pt x="103" y="21"/>
                  </a:cubicBezTo>
                  <a:cubicBezTo>
                    <a:pt x="103" y="21"/>
                    <a:pt x="105" y="22"/>
                    <a:pt x="105" y="22"/>
                  </a:cubicBezTo>
                  <a:cubicBezTo>
                    <a:pt x="105" y="21"/>
                    <a:pt x="104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19"/>
                    <a:pt x="102" y="19"/>
                    <a:pt x="102" y="19"/>
                  </a:cubicBezTo>
                  <a:cubicBezTo>
                    <a:pt x="103" y="18"/>
                    <a:pt x="104" y="18"/>
                    <a:pt x="104" y="17"/>
                  </a:cubicBezTo>
                  <a:cubicBezTo>
                    <a:pt x="105" y="16"/>
                    <a:pt x="105" y="16"/>
                    <a:pt x="104" y="16"/>
                  </a:cubicBezTo>
                  <a:cubicBezTo>
                    <a:pt x="103" y="16"/>
                    <a:pt x="103" y="16"/>
                    <a:pt x="102" y="17"/>
                  </a:cubicBezTo>
                  <a:cubicBezTo>
                    <a:pt x="102" y="17"/>
                    <a:pt x="101" y="18"/>
                    <a:pt x="100" y="18"/>
                  </a:cubicBezTo>
                  <a:cubicBezTo>
                    <a:pt x="100" y="18"/>
                    <a:pt x="100" y="17"/>
                    <a:pt x="100" y="17"/>
                  </a:cubicBezTo>
                  <a:cubicBezTo>
                    <a:pt x="100" y="16"/>
                    <a:pt x="101" y="15"/>
                    <a:pt x="101" y="14"/>
                  </a:cubicBezTo>
                  <a:cubicBezTo>
                    <a:pt x="101" y="14"/>
                    <a:pt x="102" y="13"/>
                    <a:pt x="102" y="13"/>
                  </a:cubicBezTo>
                  <a:cubicBezTo>
                    <a:pt x="103" y="12"/>
                    <a:pt x="103" y="12"/>
                    <a:pt x="102" y="12"/>
                  </a:cubicBezTo>
                  <a:cubicBezTo>
                    <a:pt x="101" y="12"/>
                    <a:pt x="100" y="12"/>
                    <a:pt x="99" y="11"/>
                  </a:cubicBezTo>
                  <a:cubicBezTo>
                    <a:pt x="99" y="11"/>
                    <a:pt x="99" y="10"/>
                    <a:pt x="99" y="10"/>
                  </a:cubicBezTo>
                  <a:cubicBezTo>
                    <a:pt x="99" y="10"/>
                    <a:pt x="99" y="9"/>
                    <a:pt x="99" y="9"/>
                  </a:cubicBezTo>
                  <a:cubicBezTo>
                    <a:pt x="99" y="9"/>
                    <a:pt x="99" y="8"/>
                    <a:pt x="99" y="8"/>
                  </a:cubicBezTo>
                  <a:cubicBezTo>
                    <a:pt x="99" y="8"/>
                    <a:pt x="100" y="8"/>
                    <a:pt x="100" y="7"/>
                  </a:cubicBezTo>
                  <a:cubicBezTo>
                    <a:pt x="101" y="7"/>
                    <a:pt x="103" y="6"/>
                    <a:pt x="102" y="4"/>
                  </a:cubicBezTo>
                  <a:cubicBezTo>
                    <a:pt x="102" y="3"/>
                    <a:pt x="102" y="3"/>
                    <a:pt x="101" y="2"/>
                  </a:cubicBezTo>
                  <a:cubicBezTo>
                    <a:pt x="101" y="2"/>
                    <a:pt x="101" y="1"/>
                    <a:pt x="100" y="1"/>
                  </a:cubicBezTo>
                  <a:cubicBezTo>
                    <a:pt x="100" y="1"/>
                    <a:pt x="100" y="2"/>
                    <a:pt x="100" y="2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4"/>
                    <a:pt x="100" y="4"/>
                    <a:pt x="99" y="5"/>
                  </a:cubicBezTo>
                  <a:cubicBezTo>
                    <a:pt x="98" y="5"/>
                    <a:pt x="97" y="4"/>
                    <a:pt x="97" y="3"/>
                  </a:cubicBezTo>
                  <a:cubicBezTo>
                    <a:pt x="97" y="3"/>
                    <a:pt x="98" y="2"/>
                    <a:pt x="98" y="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6" y="48"/>
                    <a:pt x="6" y="49"/>
                  </a:cubicBezTo>
                  <a:cubicBezTo>
                    <a:pt x="6" y="49"/>
                    <a:pt x="8" y="53"/>
                    <a:pt x="8" y="54"/>
                  </a:cubicBezTo>
                  <a:cubicBezTo>
                    <a:pt x="8" y="55"/>
                    <a:pt x="8" y="57"/>
                    <a:pt x="8" y="57"/>
                  </a:cubicBezTo>
                  <a:cubicBezTo>
                    <a:pt x="8" y="57"/>
                    <a:pt x="7" y="59"/>
                    <a:pt x="8" y="59"/>
                  </a:cubicBezTo>
                  <a:cubicBezTo>
                    <a:pt x="8" y="60"/>
                    <a:pt x="11" y="61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2"/>
                    <a:pt x="10" y="63"/>
                    <a:pt x="10" y="63"/>
                  </a:cubicBezTo>
                  <a:cubicBezTo>
                    <a:pt x="10" y="63"/>
                    <a:pt x="11" y="64"/>
                    <a:pt x="12" y="64"/>
                  </a:cubicBezTo>
                  <a:cubicBezTo>
                    <a:pt x="12" y="65"/>
                    <a:pt x="12" y="66"/>
                    <a:pt x="12" y="66"/>
                  </a:cubicBezTo>
                  <a:cubicBezTo>
                    <a:pt x="12" y="67"/>
                    <a:pt x="13" y="67"/>
                    <a:pt x="13" y="67"/>
                  </a:cubicBezTo>
                  <a:cubicBezTo>
                    <a:pt x="13" y="68"/>
                    <a:pt x="12" y="69"/>
                    <a:pt x="12" y="69"/>
                  </a:cubicBezTo>
                  <a:cubicBezTo>
                    <a:pt x="12" y="69"/>
                    <a:pt x="12" y="70"/>
                    <a:pt x="12" y="70"/>
                  </a:cubicBezTo>
                  <a:cubicBezTo>
                    <a:pt x="13" y="71"/>
                    <a:pt x="15" y="73"/>
                    <a:pt x="15" y="73"/>
                  </a:cubicBezTo>
                  <a:cubicBezTo>
                    <a:pt x="15" y="74"/>
                    <a:pt x="15" y="74"/>
                    <a:pt x="15" y="75"/>
                  </a:cubicBezTo>
                  <a:cubicBezTo>
                    <a:pt x="15" y="75"/>
                    <a:pt x="16" y="76"/>
                    <a:pt x="16" y="76"/>
                  </a:cubicBezTo>
                  <a:cubicBezTo>
                    <a:pt x="16" y="76"/>
                    <a:pt x="17" y="75"/>
                    <a:pt x="17" y="75"/>
                  </a:cubicBezTo>
                  <a:cubicBezTo>
                    <a:pt x="17" y="75"/>
                    <a:pt x="17" y="76"/>
                    <a:pt x="17" y="76"/>
                  </a:cubicBezTo>
                  <a:cubicBezTo>
                    <a:pt x="17" y="77"/>
                    <a:pt x="16" y="78"/>
                    <a:pt x="16" y="78"/>
                  </a:cubicBezTo>
                  <a:cubicBezTo>
                    <a:pt x="17" y="78"/>
                    <a:pt x="17" y="79"/>
                    <a:pt x="17" y="80"/>
                  </a:cubicBezTo>
                  <a:cubicBezTo>
                    <a:pt x="17" y="80"/>
                    <a:pt x="17" y="81"/>
                    <a:pt x="16" y="81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3"/>
                    <a:pt x="17" y="84"/>
                    <a:pt x="17" y="85"/>
                  </a:cubicBezTo>
                  <a:cubicBezTo>
                    <a:pt x="17" y="85"/>
                    <a:pt x="17" y="86"/>
                    <a:pt x="17" y="87"/>
                  </a:cubicBezTo>
                  <a:cubicBezTo>
                    <a:pt x="17" y="87"/>
                    <a:pt x="16" y="89"/>
                    <a:pt x="16" y="90"/>
                  </a:cubicBezTo>
                  <a:cubicBezTo>
                    <a:pt x="16" y="90"/>
                    <a:pt x="15" y="93"/>
                    <a:pt x="15" y="94"/>
                  </a:cubicBezTo>
                  <a:cubicBezTo>
                    <a:pt x="14" y="95"/>
                    <a:pt x="13" y="98"/>
                    <a:pt x="12" y="98"/>
                  </a:cubicBezTo>
                  <a:cubicBezTo>
                    <a:pt x="12" y="99"/>
                    <a:pt x="10" y="99"/>
                    <a:pt x="10" y="100"/>
                  </a:cubicBezTo>
                  <a:cubicBezTo>
                    <a:pt x="10" y="100"/>
                    <a:pt x="11" y="101"/>
                    <a:pt x="11" y="102"/>
                  </a:cubicBezTo>
                  <a:cubicBezTo>
                    <a:pt x="11" y="102"/>
                    <a:pt x="11" y="105"/>
                    <a:pt x="11" y="105"/>
                  </a:cubicBezTo>
                  <a:cubicBezTo>
                    <a:pt x="11" y="106"/>
                    <a:pt x="10" y="107"/>
                    <a:pt x="10" y="107"/>
                  </a:cubicBezTo>
                  <a:cubicBezTo>
                    <a:pt x="10" y="108"/>
                    <a:pt x="9" y="108"/>
                    <a:pt x="9" y="109"/>
                  </a:cubicBezTo>
                  <a:cubicBezTo>
                    <a:pt x="10" y="110"/>
                    <a:pt x="11" y="111"/>
                    <a:pt x="11" y="111"/>
                  </a:cubicBezTo>
                  <a:cubicBezTo>
                    <a:pt x="11" y="112"/>
                    <a:pt x="11" y="114"/>
                    <a:pt x="11" y="115"/>
                  </a:cubicBezTo>
                  <a:cubicBezTo>
                    <a:pt x="11" y="115"/>
                    <a:pt x="11" y="119"/>
                    <a:pt x="11" y="120"/>
                  </a:cubicBezTo>
                  <a:cubicBezTo>
                    <a:pt x="11" y="120"/>
                    <a:pt x="9" y="122"/>
                    <a:pt x="8" y="124"/>
                  </a:cubicBezTo>
                  <a:cubicBezTo>
                    <a:pt x="8" y="124"/>
                    <a:pt x="8" y="124"/>
                    <a:pt x="9" y="124"/>
                  </a:cubicBezTo>
                  <a:cubicBezTo>
                    <a:pt x="9" y="124"/>
                    <a:pt x="9" y="125"/>
                    <a:pt x="9" y="126"/>
                  </a:cubicBezTo>
                  <a:cubicBezTo>
                    <a:pt x="9" y="126"/>
                    <a:pt x="8" y="127"/>
                    <a:pt x="8" y="128"/>
                  </a:cubicBezTo>
                  <a:cubicBezTo>
                    <a:pt x="8" y="128"/>
                    <a:pt x="9" y="129"/>
                    <a:pt x="8" y="129"/>
                  </a:cubicBezTo>
                  <a:cubicBezTo>
                    <a:pt x="8" y="129"/>
                    <a:pt x="7" y="130"/>
                    <a:pt x="7" y="130"/>
                  </a:cubicBezTo>
                  <a:cubicBezTo>
                    <a:pt x="6" y="130"/>
                    <a:pt x="5" y="130"/>
                    <a:pt x="5" y="131"/>
                  </a:cubicBezTo>
                  <a:cubicBezTo>
                    <a:pt x="5" y="132"/>
                    <a:pt x="5" y="132"/>
                    <a:pt x="6" y="133"/>
                  </a:cubicBezTo>
                  <a:cubicBezTo>
                    <a:pt x="6" y="133"/>
                    <a:pt x="6" y="134"/>
                    <a:pt x="7" y="134"/>
                  </a:cubicBezTo>
                  <a:cubicBezTo>
                    <a:pt x="7" y="134"/>
                    <a:pt x="8" y="134"/>
                    <a:pt x="8" y="134"/>
                  </a:cubicBezTo>
                  <a:cubicBezTo>
                    <a:pt x="9" y="134"/>
                    <a:pt x="9" y="134"/>
                    <a:pt x="10" y="133"/>
                  </a:cubicBezTo>
                  <a:cubicBezTo>
                    <a:pt x="11" y="133"/>
                    <a:pt x="13" y="133"/>
                    <a:pt x="14" y="133"/>
                  </a:cubicBezTo>
                  <a:cubicBezTo>
                    <a:pt x="15" y="132"/>
                    <a:pt x="16" y="132"/>
                    <a:pt x="17" y="132"/>
                  </a:cubicBezTo>
                  <a:cubicBezTo>
                    <a:pt x="19" y="131"/>
                    <a:pt x="20" y="132"/>
                    <a:pt x="21" y="132"/>
                  </a:cubicBezTo>
                  <a:cubicBezTo>
                    <a:pt x="23" y="132"/>
                    <a:pt x="24" y="131"/>
                    <a:pt x="26" y="132"/>
                  </a:cubicBezTo>
                  <a:cubicBezTo>
                    <a:pt x="27" y="132"/>
                    <a:pt x="28" y="132"/>
                    <a:pt x="29" y="132"/>
                  </a:cubicBezTo>
                  <a:cubicBezTo>
                    <a:pt x="30" y="132"/>
                    <a:pt x="31" y="132"/>
                    <a:pt x="33" y="133"/>
                  </a:cubicBezTo>
                  <a:cubicBezTo>
                    <a:pt x="34" y="133"/>
                    <a:pt x="36" y="133"/>
                    <a:pt x="37" y="134"/>
                  </a:cubicBezTo>
                  <a:cubicBezTo>
                    <a:pt x="38" y="134"/>
                    <a:pt x="40" y="135"/>
                    <a:pt x="41" y="136"/>
                  </a:cubicBezTo>
                  <a:cubicBezTo>
                    <a:pt x="43" y="136"/>
                    <a:pt x="44" y="137"/>
                    <a:pt x="45" y="138"/>
                  </a:cubicBezTo>
                  <a:cubicBezTo>
                    <a:pt x="47" y="138"/>
                    <a:pt x="48" y="139"/>
                    <a:pt x="50" y="139"/>
                  </a:cubicBezTo>
                  <a:cubicBezTo>
                    <a:pt x="51" y="139"/>
                    <a:pt x="51" y="140"/>
                    <a:pt x="52" y="140"/>
                  </a:cubicBezTo>
                  <a:cubicBezTo>
                    <a:pt x="53" y="140"/>
                    <a:pt x="54" y="140"/>
                    <a:pt x="55" y="140"/>
                  </a:cubicBezTo>
                  <a:cubicBezTo>
                    <a:pt x="56" y="140"/>
                    <a:pt x="57" y="141"/>
                    <a:pt x="59" y="141"/>
                  </a:cubicBezTo>
                  <a:cubicBezTo>
                    <a:pt x="60" y="141"/>
                    <a:pt x="61" y="141"/>
                    <a:pt x="62" y="141"/>
                  </a:cubicBezTo>
                  <a:cubicBezTo>
                    <a:pt x="62" y="140"/>
                    <a:pt x="63" y="141"/>
                    <a:pt x="64" y="140"/>
                  </a:cubicBezTo>
                  <a:cubicBezTo>
                    <a:pt x="64" y="141"/>
                    <a:pt x="65" y="140"/>
                    <a:pt x="65" y="140"/>
                  </a:cubicBezTo>
                  <a:cubicBezTo>
                    <a:pt x="65" y="140"/>
                    <a:pt x="66" y="139"/>
                    <a:pt x="66" y="139"/>
                  </a:cubicBezTo>
                  <a:cubicBezTo>
                    <a:pt x="66" y="139"/>
                    <a:pt x="67" y="139"/>
                    <a:pt x="67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8" y="138"/>
                    <a:pt x="67" y="138"/>
                    <a:pt x="67" y="138"/>
                  </a:cubicBezTo>
                  <a:cubicBezTo>
                    <a:pt x="67" y="138"/>
                    <a:pt x="67" y="138"/>
                    <a:pt x="67" y="137"/>
                  </a:cubicBezTo>
                  <a:cubicBezTo>
                    <a:pt x="67" y="137"/>
                    <a:pt x="67" y="137"/>
                    <a:pt x="66" y="137"/>
                  </a:cubicBezTo>
                  <a:cubicBezTo>
                    <a:pt x="66" y="136"/>
                    <a:pt x="65" y="136"/>
                    <a:pt x="65" y="135"/>
                  </a:cubicBezTo>
                  <a:cubicBezTo>
                    <a:pt x="65" y="135"/>
                    <a:pt x="65" y="135"/>
                    <a:pt x="64" y="134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3" y="133"/>
                    <a:pt x="64" y="133"/>
                    <a:pt x="64" y="132"/>
                  </a:cubicBezTo>
                  <a:cubicBezTo>
                    <a:pt x="65" y="132"/>
                    <a:pt x="65" y="131"/>
                    <a:pt x="65" y="130"/>
                  </a:cubicBezTo>
                  <a:cubicBezTo>
                    <a:pt x="65" y="130"/>
                    <a:pt x="65" y="129"/>
                    <a:pt x="65" y="129"/>
                  </a:cubicBezTo>
                  <a:cubicBezTo>
                    <a:pt x="66" y="129"/>
                    <a:pt x="66" y="129"/>
                    <a:pt x="66" y="129"/>
                  </a:cubicBezTo>
                  <a:cubicBezTo>
                    <a:pt x="67" y="130"/>
                    <a:pt x="66" y="132"/>
                    <a:pt x="67" y="132"/>
                  </a:cubicBezTo>
                  <a:cubicBezTo>
                    <a:pt x="67" y="133"/>
                    <a:pt x="69" y="132"/>
                    <a:pt x="69" y="132"/>
                  </a:cubicBezTo>
                  <a:cubicBezTo>
                    <a:pt x="69" y="132"/>
                    <a:pt x="69" y="132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1" y="131"/>
                    <a:pt x="71" y="129"/>
                    <a:pt x="71" y="128"/>
                  </a:cubicBezTo>
                  <a:cubicBezTo>
                    <a:pt x="71" y="127"/>
                    <a:pt x="70" y="125"/>
                    <a:pt x="71" y="125"/>
                  </a:cubicBezTo>
                  <a:cubicBezTo>
                    <a:pt x="72" y="125"/>
                    <a:pt x="72" y="126"/>
                    <a:pt x="72" y="126"/>
                  </a:cubicBezTo>
                  <a:cubicBezTo>
                    <a:pt x="72" y="126"/>
                    <a:pt x="72" y="127"/>
                    <a:pt x="72" y="127"/>
                  </a:cubicBezTo>
                  <a:cubicBezTo>
                    <a:pt x="72" y="127"/>
                    <a:pt x="72" y="128"/>
                    <a:pt x="72" y="128"/>
                  </a:cubicBezTo>
                  <a:cubicBezTo>
                    <a:pt x="73" y="129"/>
                    <a:pt x="73" y="129"/>
                    <a:pt x="73" y="128"/>
                  </a:cubicBezTo>
                  <a:cubicBezTo>
                    <a:pt x="73" y="128"/>
                    <a:pt x="74" y="128"/>
                    <a:pt x="75" y="128"/>
                  </a:cubicBezTo>
                  <a:cubicBezTo>
                    <a:pt x="75" y="127"/>
                    <a:pt x="76" y="127"/>
                    <a:pt x="76" y="127"/>
                  </a:cubicBezTo>
                  <a:cubicBezTo>
                    <a:pt x="76" y="127"/>
                    <a:pt x="77" y="127"/>
                    <a:pt x="77" y="127"/>
                  </a:cubicBezTo>
                  <a:cubicBezTo>
                    <a:pt x="77" y="127"/>
                    <a:pt x="77" y="128"/>
                    <a:pt x="77" y="129"/>
                  </a:cubicBezTo>
                  <a:cubicBezTo>
                    <a:pt x="78" y="130"/>
                    <a:pt x="77" y="131"/>
                    <a:pt x="76" y="131"/>
                  </a:cubicBezTo>
                  <a:cubicBezTo>
                    <a:pt x="76" y="132"/>
                    <a:pt x="75" y="133"/>
                    <a:pt x="75" y="134"/>
                  </a:cubicBezTo>
                  <a:cubicBezTo>
                    <a:pt x="75" y="134"/>
                    <a:pt x="76" y="134"/>
                    <a:pt x="76" y="133"/>
                  </a:cubicBezTo>
                  <a:cubicBezTo>
                    <a:pt x="77" y="133"/>
                    <a:pt x="77" y="133"/>
                    <a:pt x="77" y="133"/>
                  </a:cubicBezTo>
                  <a:cubicBezTo>
                    <a:pt x="78" y="133"/>
                    <a:pt x="79" y="133"/>
                    <a:pt x="79" y="133"/>
                  </a:cubicBezTo>
                  <a:cubicBezTo>
                    <a:pt x="80" y="133"/>
                    <a:pt x="82" y="133"/>
                    <a:pt x="83" y="133"/>
                  </a:cubicBezTo>
                  <a:cubicBezTo>
                    <a:pt x="83" y="133"/>
                    <a:pt x="84" y="133"/>
                    <a:pt x="84" y="134"/>
                  </a:cubicBezTo>
                  <a:cubicBezTo>
                    <a:pt x="84" y="134"/>
                    <a:pt x="83" y="134"/>
                    <a:pt x="83" y="134"/>
                  </a:cubicBezTo>
                  <a:cubicBezTo>
                    <a:pt x="83" y="135"/>
                    <a:pt x="83" y="136"/>
                    <a:pt x="84" y="137"/>
                  </a:cubicBezTo>
                  <a:cubicBezTo>
                    <a:pt x="84" y="137"/>
                    <a:pt x="85" y="137"/>
                    <a:pt x="85" y="137"/>
                  </a:cubicBezTo>
                  <a:cubicBezTo>
                    <a:pt x="86" y="137"/>
                    <a:pt x="86" y="138"/>
                    <a:pt x="86" y="138"/>
                  </a:cubicBezTo>
                  <a:cubicBezTo>
                    <a:pt x="86" y="139"/>
                    <a:pt x="86" y="139"/>
                    <a:pt x="86" y="140"/>
                  </a:cubicBezTo>
                  <a:cubicBezTo>
                    <a:pt x="87" y="140"/>
                    <a:pt x="87" y="141"/>
                    <a:pt x="87" y="141"/>
                  </a:cubicBezTo>
                  <a:cubicBezTo>
                    <a:pt x="87" y="141"/>
                    <a:pt x="87" y="142"/>
                    <a:pt x="87" y="142"/>
                  </a:cubicBezTo>
                  <a:cubicBezTo>
                    <a:pt x="87" y="143"/>
                    <a:pt x="88" y="143"/>
                    <a:pt x="88" y="143"/>
                  </a:cubicBezTo>
                  <a:cubicBezTo>
                    <a:pt x="89" y="144"/>
                    <a:pt x="89" y="144"/>
                    <a:pt x="90" y="144"/>
                  </a:cubicBezTo>
                  <a:cubicBezTo>
                    <a:pt x="91" y="144"/>
                    <a:pt x="91" y="143"/>
                    <a:pt x="92" y="142"/>
                  </a:cubicBezTo>
                  <a:cubicBezTo>
                    <a:pt x="92" y="142"/>
                    <a:pt x="93" y="142"/>
                    <a:pt x="94" y="142"/>
                  </a:cubicBezTo>
                  <a:cubicBezTo>
                    <a:pt x="94" y="143"/>
                    <a:pt x="95" y="143"/>
                    <a:pt x="95" y="143"/>
                  </a:cubicBezTo>
                  <a:cubicBezTo>
                    <a:pt x="95" y="142"/>
                    <a:pt x="95" y="141"/>
                    <a:pt x="95" y="141"/>
                  </a:cubicBezTo>
                  <a:cubicBezTo>
                    <a:pt x="96" y="141"/>
                    <a:pt x="97" y="140"/>
                    <a:pt x="98" y="140"/>
                  </a:cubicBezTo>
                  <a:cubicBezTo>
                    <a:pt x="99" y="139"/>
                    <a:pt x="100" y="139"/>
                    <a:pt x="100" y="140"/>
                  </a:cubicBezTo>
                  <a:cubicBezTo>
                    <a:pt x="101" y="140"/>
                    <a:pt x="102" y="141"/>
                    <a:pt x="102" y="141"/>
                  </a:cubicBezTo>
                  <a:cubicBezTo>
                    <a:pt x="102" y="141"/>
                    <a:pt x="101" y="141"/>
                    <a:pt x="101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98" y="143"/>
                    <a:pt x="98" y="143"/>
                    <a:pt x="97" y="143"/>
                  </a:cubicBezTo>
                  <a:cubicBezTo>
                    <a:pt x="97" y="143"/>
                    <a:pt x="95" y="143"/>
                    <a:pt x="96" y="144"/>
                  </a:cubicBezTo>
                  <a:cubicBezTo>
                    <a:pt x="97" y="144"/>
                    <a:pt x="97" y="145"/>
                    <a:pt x="97" y="146"/>
                  </a:cubicBezTo>
                  <a:cubicBezTo>
                    <a:pt x="98" y="147"/>
                    <a:pt x="98" y="147"/>
                    <a:pt x="98" y="148"/>
                  </a:cubicBezTo>
                  <a:cubicBezTo>
                    <a:pt x="98" y="148"/>
                    <a:pt x="99" y="148"/>
                    <a:pt x="99" y="149"/>
                  </a:cubicBezTo>
                  <a:cubicBezTo>
                    <a:pt x="100" y="149"/>
                    <a:pt x="101" y="150"/>
                    <a:pt x="100" y="150"/>
                  </a:cubicBezTo>
                  <a:cubicBezTo>
                    <a:pt x="99" y="150"/>
                    <a:pt x="98" y="150"/>
                    <a:pt x="98" y="150"/>
                  </a:cubicBezTo>
                  <a:cubicBezTo>
                    <a:pt x="97" y="150"/>
                    <a:pt x="96" y="149"/>
                    <a:pt x="95" y="150"/>
                  </a:cubicBezTo>
                  <a:cubicBezTo>
                    <a:pt x="95" y="150"/>
                    <a:pt x="95" y="150"/>
                    <a:pt x="94" y="151"/>
                  </a:cubicBezTo>
                  <a:cubicBezTo>
                    <a:pt x="94" y="151"/>
                    <a:pt x="94" y="151"/>
                    <a:pt x="94" y="151"/>
                  </a:cubicBezTo>
                  <a:cubicBezTo>
                    <a:pt x="93" y="151"/>
                    <a:pt x="95" y="152"/>
                    <a:pt x="95" y="152"/>
                  </a:cubicBezTo>
                  <a:cubicBezTo>
                    <a:pt x="95" y="152"/>
                    <a:pt x="95" y="153"/>
                    <a:pt x="96" y="153"/>
                  </a:cubicBezTo>
                  <a:cubicBezTo>
                    <a:pt x="96" y="153"/>
                    <a:pt x="96" y="153"/>
                    <a:pt x="97" y="153"/>
                  </a:cubicBezTo>
                  <a:cubicBezTo>
                    <a:pt x="97" y="153"/>
                    <a:pt x="98" y="153"/>
                    <a:pt x="99" y="153"/>
                  </a:cubicBezTo>
                  <a:cubicBezTo>
                    <a:pt x="100" y="154"/>
                    <a:pt x="100" y="154"/>
                    <a:pt x="101" y="154"/>
                  </a:cubicBezTo>
                  <a:cubicBezTo>
                    <a:pt x="101" y="154"/>
                    <a:pt x="102" y="154"/>
                    <a:pt x="102" y="155"/>
                  </a:cubicBezTo>
                  <a:cubicBezTo>
                    <a:pt x="102" y="155"/>
                    <a:pt x="103" y="155"/>
                    <a:pt x="103" y="155"/>
                  </a:cubicBezTo>
                  <a:cubicBezTo>
                    <a:pt x="104" y="155"/>
                    <a:pt x="105" y="155"/>
                    <a:pt x="104" y="15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3" y="154"/>
                    <a:pt x="103" y="154"/>
                    <a:pt x="103" y="153"/>
                  </a:cubicBezTo>
                  <a:cubicBezTo>
                    <a:pt x="103" y="153"/>
                    <a:pt x="103" y="153"/>
                    <a:pt x="103" y="152"/>
                  </a:cubicBezTo>
                  <a:cubicBezTo>
                    <a:pt x="103" y="152"/>
                    <a:pt x="104" y="151"/>
                    <a:pt x="104" y="151"/>
                  </a:cubicBezTo>
                  <a:cubicBezTo>
                    <a:pt x="105" y="151"/>
                    <a:pt x="105" y="150"/>
                    <a:pt x="106" y="149"/>
                  </a:cubicBezTo>
                  <a:cubicBezTo>
                    <a:pt x="106" y="149"/>
                    <a:pt x="107" y="149"/>
                    <a:pt x="107" y="149"/>
                  </a:cubicBezTo>
                  <a:cubicBezTo>
                    <a:pt x="108" y="149"/>
                    <a:pt x="108" y="150"/>
                    <a:pt x="108" y="150"/>
                  </a:cubicBezTo>
                  <a:cubicBezTo>
                    <a:pt x="108" y="151"/>
                    <a:pt x="109" y="151"/>
                    <a:pt x="109" y="152"/>
                  </a:cubicBezTo>
                  <a:cubicBezTo>
                    <a:pt x="110" y="152"/>
                    <a:pt x="111" y="152"/>
                    <a:pt x="111" y="152"/>
                  </a:cubicBezTo>
                  <a:cubicBezTo>
                    <a:pt x="111" y="153"/>
                    <a:pt x="111" y="153"/>
                    <a:pt x="111" y="154"/>
                  </a:cubicBezTo>
                  <a:cubicBezTo>
                    <a:pt x="110" y="154"/>
                    <a:pt x="110" y="154"/>
                    <a:pt x="109" y="154"/>
                  </a:cubicBezTo>
                  <a:cubicBezTo>
                    <a:pt x="109" y="154"/>
                    <a:pt x="107" y="155"/>
                    <a:pt x="108" y="156"/>
                  </a:cubicBezTo>
                  <a:cubicBezTo>
                    <a:pt x="108" y="156"/>
                    <a:pt x="108" y="156"/>
                    <a:pt x="108" y="157"/>
                  </a:cubicBezTo>
                  <a:cubicBezTo>
                    <a:pt x="109" y="157"/>
                    <a:pt x="109" y="157"/>
                    <a:pt x="109" y="157"/>
                  </a:cubicBezTo>
                  <a:cubicBezTo>
                    <a:pt x="110" y="158"/>
                    <a:pt x="110" y="157"/>
                    <a:pt x="111" y="157"/>
                  </a:cubicBezTo>
                  <a:cubicBezTo>
                    <a:pt x="111" y="157"/>
                    <a:pt x="112" y="157"/>
                    <a:pt x="113" y="156"/>
                  </a:cubicBezTo>
                  <a:cubicBezTo>
                    <a:pt x="113" y="156"/>
                    <a:pt x="114" y="156"/>
                    <a:pt x="114" y="156"/>
                  </a:cubicBezTo>
                  <a:cubicBezTo>
                    <a:pt x="115" y="155"/>
                    <a:pt x="115" y="154"/>
                    <a:pt x="116" y="153"/>
                  </a:cubicBezTo>
                  <a:cubicBezTo>
                    <a:pt x="116" y="153"/>
                    <a:pt x="116" y="152"/>
                    <a:pt x="117" y="152"/>
                  </a:cubicBezTo>
                  <a:cubicBezTo>
                    <a:pt x="117" y="152"/>
                    <a:pt x="118" y="153"/>
                    <a:pt x="118" y="153"/>
                  </a:cubicBezTo>
                  <a:cubicBezTo>
                    <a:pt x="118" y="154"/>
                    <a:pt x="119" y="154"/>
                    <a:pt x="119" y="153"/>
                  </a:cubicBezTo>
                  <a:cubicBezTo>
                    <a:pt x="119" y="153"/>
                    <a:pt x="119" y="153"/>
                    <a:pt x="119" y="152"/>
                  </a:cubicBezTo>
                  <a:cubicBezTo>
                    <a:pt x="119" y="152"/>
                    <a:pt x="119" y="151"/>
                    <a:pt x="119" y="151"/>
                  </a:cubicBezTo>
                  <a:cubicBezTo>
                    <a:pt x="119" y="150"/>
                    <a:pt x="119" y="150"/>
                    <a:pt x="120" y="150"/>
                  </a:cubicBezTo>
                  <a:cubicBezTo>
                    <a:pt x="120" y="150"/>
                    <a:pt x="122" y="150"/>
                    <a:pt x="121" y="149"/>
                  </a:cubicBezTo>
                  <a:cubicBezTo>
                    <a:pt x="121" y="149"/>
                    <a:pt x="121" y="149"/>
                    <a:pt x="121" y="149"/>
                  </a:cubicBezTo>
                  <a:cubicBezTo>
                    <a:pt x="121" y="148"/>
                    <a:pt x="122" y="148"/>
                    <a:pt x="122" y="149"/>
                  </a:cubicBezTo>
                  <a:cubicBezTo>
                    <a:pt x="123" y="149"/>
                    <a:pt x="123" y="149"/>
                    <a:pt x="123" y="149"/>
                  </a:cubicBezTo>
                  <a:cubicBezTo>
                    <a:pt x="124" y="150"/>
                    <a:pt x="124" y="150"/>
                    <a:pt x="125" y="150"/>
                  </a:cubicBezTo>
                  <a:cubicBezTo>
                    <a:pt x="126" y="150"/>
                    <a:pt x="127" y="150"/>
                    <a:pt x="128" y="151"/>
                  </a:cubicBezTo>
                  <a:cubicBezTo>
                    <a:pt x="129" y="151"/>
                    <a:pt x="129" y="152"/>
                    <a:pt x="130" y="152"/>
                  </a:cubicBezTo>
                  <a:cubicBezTo>
                    <a:pt x="131" y="153"/>
                    <a:pt x="131" y="153"/>
                    <a:pt x="131" y="154"/>
                  </a:cubicBezTo>
                  <a:cubicBezTo>
                    <a:pt x="131" y="154"/>
                    <a:pt x="131" y="155"/>
                    <a:pt x="131" y="155"/>
                  </a:cubicBezTo>
                  <a:cubicBezTo>
                    <a:pt x="132" y="155"/>
                    <a:pt x="132" y="155"/>
                    <a:pt x="132" y="156"/>
                  </a:cubicBezTo>
                  <a:cubicBezTo>
                    <a:pt x="132" y="156"/>
                    <a:pt x="131" y="158"/>
                    <a:pt x="132" y="158"/>
                  </a:cubicBezTo>
                  <a:cubicBezTo>
                    <a:pt x="132" y="159"/>
                    <a:pt x="133" y="158"/>
                    <a:pt x="134" y="158"/>
                  </a:cubicBezTo>
                  <a:cubicBezTo>
                    <a:pt x="134" y="157"/>
                    <a:pt x="135" y="157"/>
                    <a:pt x="136" y="156"/>
                  </a:cubicBezTo>
                  <a:cubicBezTo>
                    <a:pt x="136" y="155"/>
                    <a:pt x="136" y="154"/>
                    <a:pt x="136" y="153"/>
                  </a:cubicBezTo>
                  <a:cubicBezTo>
                    <a:pt x="136" y="152"/>
                    <a:pt x="136" y="151"/>
                    <a:pt x="136" y="150"/>
                  </a:cubicBezTo>
                  <a:cubicBezTo>
                    <a:pt x="136" y="149"/>
                    <a:pt x="136" y="148"/>
                    <a:pt x="136" y="147"/>
                  </a:cubicBezTo>
                  <a:cubicBezTo>
                    <a:pt x="137" y="146"/>
                    <a:pt x="137" y="145"/>
                    <a:pt x="136" y="144"/>
                  </a:cubicBezTo>
                  <a:cubicBezTo>
                    <a:pt x="136" y="144"/>
                    <a:pt x="134" y="144"/>
                    <a:pt x="134" y="144"/>
                  </a:cubicBezTo>
                  <a:cubicBezTo>
                    <a:pt x="133" y="143"/>
                    <a:pt x="133" y="143"/>
                    <a:pt x="133" y="143"/>
                  </a:cubicBezTo>
                  <a:cubicBezTo>
                    <a:pt x="132" y="143"/>
                    <a:pt x="132" y="142"/>
                    <a:pt x="132" y="142"/>
                  </a:cubicBezTo>
                  <a:cubicBezTo>
                    <a:pt x="132" y="141"/>
                    <a:pt x="133" y="141"/>
                    <a:pt x="133" y="141"/>
                  </a:cubicBezTo>
                  <a:cubicBezTo>
                    <a:pt x="134" y="140"/>
                    <a:pt x="134" y="139"/>
                    <a:pt x="134" y="139"/>
                  </a:cubicBezTo>
                  <a:cubicBezTo>
                    <a:pt x="134" y="138"/>
                    <a:pt x="134" y="138"/>
                    <a:pt x="134" y="138"/>
                  </a:cubicBezTo>
                  <a:cubicBezTo>
                    <a:pt x="134" y="138"/>
                    <a:pt x="133" y="138"/>
                    <a:pt x="133" y="137"/>
                  </a:cubicBezTo>
                  <a:cubicBezTo>
                    <a:pt x="133" y="137"/>
                    <a:pt x="133" y="137"/>
                    <a:pt x="132" y="136"/>
                  </a:cubicBezTo>
                  <a:cubicBezTo>
                    <a:pt x="132" y="136"/>
                    <a:pt x="132" y="135"/>
                    <a:pt x="131" y="136"/>
                  </a:cubicBezTo>
                  <a:cubicBezTo>
                    <a:pt x="131" y="136"/>
                    <a:pt x="131" y="136"/>
                    <a:pt x="130" y="136"/>
                  </a:cubicBezTo>
                  <a:cubicBezTo>
                    <a:pt x="129" y="137"/>
                    <a:pt x="129" y="136"/>
                    <a:pt x="129" y="136"/>
                  </a:cubicBezTo>
                  <a:cubicBezTo>
                    <a:pt x="129" y="136"/>
                    <a:pt x="129" y="136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4"/>
                    <a:pt x="127" y="133"/>
                    <a:pt x="128" y="133"/>
                  </a:cubicBezTo>
                  <a:cubicBezTo>
                    <a:pt x="128" y="132"/>
                    <a:pt x="129" y="132"/>
                    <a:pt x="129" y="132"/>
                  </a:cubicBezTo>
                  <a:cubicBezTo>
                    <a:pt x="130" y="132"/>
                    <a:pt x="131" y="132"/>
                    <a:pt x="131" y="131"/>
                  </a:cubicBezTo>
                  <a:cubicBezTo>
                    <a:pt x="132" y="131"/>
                    <a:pt x="132" y="131"/>
                    <a:pt x="132" y="131"/>
                  </a:cubicBezTo>
                  <a:cubicBezTo>
                    <a:pt x="133" y="131"/>
                    <a:pt x="133" y="130"/>
                    <a:pt x="133" y="130"/>
                  </a:cubicBezTo>
                  <a:cubicBezTo>
                    <a:pt x="134" y="130"/>
                    <a:pt x="133" y="131"/>
                    <a:pt x="133" y="132"/>
                  </a:cubicBezTo>
                  <a:cubicBezTo>
                    <a:pt x="133" y="132"/>
                    <a:pt x="133" y="133"/>
                    <a:pt x="133" y="134"/>
                  </a:cubicBezTo>
                  <a:cubicBezTo>
                    <a:pt x="133" y="134"/>
                    <a:pt x="132" y="134"/>
                    <a:pt x="133" y="135"/>
                  </a:cubicBezTo>
                  <a:cubicBezTo>
                    <a:pt x="133" y="135"/>
                    <a:pt x="133" y="135"/>
                    <a:pt x="134" y="136"/>
                  </a:cubicBezTo>
                  <a:cubicBezTo>
                    <a:pt x="135" y="136"/>
                    <a:pt x="135" y="136"/>
                    <a:pt x="135" y="137"/>
                  </a:cubicBezTo>
                  <a:cubicBezTo>
                    <a:pt x="136" y="138"/>
                    <a:pt x="135" y="139"/>
                    <a:pt x="135" y="139"/>
                  </a:cubicBezTo>
                  <a:cubicBezTo>
                    <a:pt x="136" y="141"/>
                    <a:pt x="137" y="142"/>
                    <a:pt x="139" y="143"/>
                  </a:cubicBezTo>
                  <a:cubicBezTo>
                    <a:pt x="139" y="144"/>
                    <a:pt x="141" y="144"/>
                    <a:pt x="142" y="144"/>
                  </a:cubicBezTo>
                  <a:cubicBezTo>
                    <a:pt x="143" y="144"/>
                    <a:pt x="144" y="144"/>
                    <a:pt x="144" y="144"/>
                  </a:cubicBezTo>
                  <a:cubicBezTo>
                    <a:pt x="145" y="144"/>
                    <a:pt x="145" y="144"/>
                    <a:pt x="145" y="144"/>
                  </a:cubicBezTo>
                  <a:cubicBezTo>
                    <a:pt x="145" y="145"/>
                    <a:pt x="145" y="146"/>
                    <a:pt x="146" y="146"/>
                  </a:cubicBezTo>
                  <a:cubicBezTo>
                    <a:pt x="146" y="146"/>
                    <a:pt x="147" y="146"/>
                    <a:pt x="147" y="146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9" y="147"/>
                    <a:pt x="150" y="147"/>
                    <a:pt x="150" y="147"/>
                  </a:cubicBezTo>
                  <a:cubicBezTo>
                    <a:pt x="151" y="147"/>
                    <a:pt x="152" y="147"/>
                    <a:pt x="153" y="147"/>
                  </a:cubicBezTo>
                  <a:cubicBezTo>
                    <a:pt x="154" y="147"/>
                    <a:pt x="154" y="147"/>
                    <a:pt x="154" y="148"/>
                  </a:cubicBezTo>
                  <a:cubicBezTo>
                    <a:pt x="155" y="148"/>
                    <a:pt x="155" y="149"/>
                    <a:pt x="156" y="149"/>
                  </a:cubicBezTo>
                  <a:cubicBezTo>
                    <a:pt x="156" y="149"/>
                    <a:pt x="156" y="149"/>
                    <a:pt x="157" y="150"/>
                  </a:cubicBezTo>
                  <a:cubicBezTo>
                    <a:pt x="157" y="150"/>
                    <a:pt x="158" y="149"/>
                    <a:pt x="158" y="149"/>
                  </a:cubicBezTo>
                  <a:cubicBezTo>
                    <a:pt x="158" y="149"/>
                    <a:pt x="158" y="148"/>
                    <a:pt x="159" y="149"/>
                  </a:cubicBezTo>
                  <a:cubicBezTo>
                    <a:pt x="159" y="149"/>
                    <a:pt x="159" y="149"/>
                    <a:pt x="159" y="149"/>
                  </a:cubicBezTo>
                  <a:cubicBezTo>
                    <a:pt x="159" y="149"/>
                    <a:pt x="160" y="149"/>
                    <a:pt x="160" y="149"/>
                  </a:cubicBezTo>
                  <a:cubicBezTo>
                    <a:pt x="160" y="150"/>
                    <a:pt x="161" y="150"/>
                    <a:pt x="162" y="151"/>
                  </a:cubicBezTo>
                  <a:cubicBezTo>
                    <a:pt x="162" y="151"/>
                    <a:pt x="163" y="151"/>
                    <a:pt x="163" y="151"/>
                  </a:cubicBezTo>
                  <a:cubicBezTo>
                    <a:pt x="163" y="151"/>
                    <a:pt x="163" y="151"/>
                    <a:pt x="163" y="151"/>
                  </a:cubicBezTo>
                  <a:cubicBezTo>
                    <a:pt x="164" y="151"/>
                    <a:pt x="164" y="150"/>
                    <a:pt x="164" y="150"/>
                  </a:cubicBezTo>
                  <a:cubicBezTo>
                    <a:pt x="165" y="150"/>
                    <a:pt x="165" y="150"/>
                    <a:pt x="165" y="150"/>
                  </a:cubicBezTo>
                  <a:cubicBezTo>
                    <a:pt x="165" y="149"/>
                    <a:pt x="164" y="149"/>
                    <a:pt x="163" y="149"/>
                  </a:cubicBezTo>
                  <a:cubicBezTo>
                    <a:pt x="163" y="149"/>
                    <a:pt x="162" y="149"/>
                    <a:pt x="162" y="149"/>
                  </a:cubicBezTo>
                  <a:cubicBezTo>
                    <a:pt x="161" y="149"/>
                    <a:pt x="161" y="148"/>
                    <a:pt x="160" y="148"/>
                  </a:cubicBezTo>
                  <a:cubicBezTo>
                    <a:pt x="160" y="147"/>
                    <a:pt x="160" y="147"/>
                    <a:pt x="159" y="147"/>
                  </a:cubicBezTo>
                  <a:cubicBezTo>
                    <a:pt x="158" y="147"/>
                    <a:pt x="158" y="147"/>
                    <a:pt x="158" y="147"/>
                  </a:cubicBezTo>
                  <a:cubicBezTo>
                    <a:pt x="157" y="148"/>
                    <a:pt x="157" y="148"/>
                    <a:pt x="156" y="148"/>
                  </a:cubicBezTo>
                  <a:cubicBezTo>
                    <a:pt x="156" y="148"/>
                    <a:pt x="155" y="148"/>
                    <a:pt x="155" y="148"/>
                  </a:cubicBezTo>
                  <a:cubicBezTo>
                    <a:pt x="154" y="147"/>
                    <a:pt x="154" y="147"/>
                    <a:pt x="155" y="146"/>
                  </a:cubicBezTo>
                  <a:cubicBezTo>
                    <a:pt x="155" y="146"/>
                    <a:pt x="155" y="145"/>
                    <a:pt x="154" y="144"/>
                  </a:cubicBezTo>
                  <a:cubicBezTo>
                    <a:pt x="154" y="143"/>
                    <a:pt x="154" y="144"/>
                    <a:pt x="153" y="143"/>
                  </a:cubicBezTo>
                  <a:cubicBezTo>
                    <a:pt x="153" y="143"/>
                    <a:pt x="153" y="142"/>
                    <a:pt x="152" y="142"/>
                  </a:cubicBezTo>
                  <a:cubicBezTo>
                    <a:pt x="152" y="141"/>
                    <a:pt x="152" y="142"/>
                    <a:pt x="151" y="141"/>
                  </a:cubicBezTo>
                  <a:cubicBezTo>
                    <a:pt x="151" y="141"/>
                    <a:pt x="150" y="141"/>
                    <a:pt x="150" y="141"/>
                  </a:cubicBezTo>
                  <a:cubicBezTo>
                    <a:pt x="150" y="140"/>
                    <a:pt x="149" y="140"/>
                    <a:pt x="149" y="139"/>
                  </a:cubicBezTo>
                  <a:cubicBezTo>
                    <a:pt x="149" y="139"/>
                    <a:pt x="149" y="138"/>
                    <a:pt x="149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7" y="138"/>
                    <a:pt x="147" y="138"/>
                    <a:pt x="147" y="137"/>
                  </a:cubicBezTo>
                  <a:cubicBezTo>
                    <a:pt x="147" y="137"/>
                    <a:pt x="146" y="137"/>
                    <a:pt x="146" y="137"/>
                  </a:cubicBezTo>
                  <a:cubicBezTo>
                    <a:pt x="146" y="136"/>
                    <a:pt x="146" y="136"/>
                    <a:pt x="146" y="136"/>
                  </a:cubicBezTo>
                  <a:cubicBezTo>
                    <a:pt x="147" y="136"/>
                    <a:pt x="147" y="136"/>
                    <a:pt x="147" y="135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5"/>
                    <a:pt x="148" y="135"/>
                    <a:pt x="148" y="136"/>
                  </a:cubicBezTo>
                  <a:cubicBezTo>
                    <a:pt x="148" y="136"/>
                    <a:pt x="148" y="137"/>
                    <a:pt x="149" y="137"/>
                  </a:cubicBezTo>
                  <a:cubicBezTo>
                    <a:pt x="149" y="137"/>
                    <a:pt x="150" y="138"/>
                    <a:pt x="150" y="138"/>
                  </a:cubicBezTo>
                  <a:cubicBezTo>
                    <a:pt x="151" y="138"/>
                    <a:pt x="151" y="137"/>
                    <a:pt x="152" y="137"/>
                  </a:cubicBezTo>
                  <a:cubicBezTo>
                    <a:pt x="152" y="137"/>
                    <a:pt x="153" y="137"/>
                    <a:pt x="153" y="136"/>
                  </a:cubicBezTo>
                  <a:cubicBezTo>
                    <a:pt x="153" y="136"/>
                    <a:pt x="153" y="136"/>
                    <a:pt x="154" y="136"/>
                  </a:cubicBezTo>
                  <a:cubicBezTo>
                    <a:pt x="154" y="136"/>
                    <a:pt x="155" y="136"/>
                    <a:pt x="154" y="136"/>
                  </a:cubicBezTo>
                  <a:cubicBezTo>
                    <a:pt x="154" y="135"/>
                    <a:pt x="153" y="136"/>
                    <a:pt x="153" y="135"/>
                  </a:cubicBezTo>
                  <a:cubicBezTo>
                    <a:pt x="153" y="135"/>
                    <a:pt x="153" y="135"/>
                    <a:pt x="153" y="135"/>
                  </a:cubicBezTo>
                  <a:cubicBezTo>
                    <a:pt x="152" y="135"/>
                    <a:pt x="152" y="134"/>
                    <a:pt x="152" y="134"/>
                  </a:cubicBezTo>
                  <a:cubicBezTo>
                    <a:pt x="152" y="134"/>
                    <a:pt x="153" y="134"/>
                    <a:pt x="153" y="134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4" y="132"/>
                    <a:pt x="154" y="132"/>
                    <a:pt x="154" y="132"/>
                  </a:cubicBezTo>
                  <a:cubicBezTo>
                    <a:pt x="153" y="131"/>
                    <a:pt x="153" y="131"/>
                    <a:pt x="153" y="131"/>
                  </a:cubicBezTo>
                  <a:cubicBezTo>
                    <a:pt x="153" y="131"/>
                    <a:pt x="153" y="130"/>
                    <a:pt x="153" y="130"/>
                  </a:cubicBezTo>
                  <a:cubicBezTo>
                    <a:pt x="153" y="130"/>
                    <a:pt x="154" y="130"/>
                    <a:pt x="154" y="131"/>
                  </a:cubicBezTo>
                  <a:cubicBezTo>
                    <a:pt x="154" y="131"/>
                    <a:pt x="155" y="131"/>
                    <a:pt x="155" y="132"/>
                  </a:cubicBezTo>
                  <a:cubicBezTo>
                    <a:pt x="155" y="133"/>
                    <a:pt x="156" y="133"/>
                    <a:pt x="157" y="134"/>
                  </a:cubicBezTo>
                  <a:cubicBezTo>
                    <a:pt x="157" y="134"/>
                    <a:pt x="158" y="135"/>
                    <a:pt x="159" y="135"/>
                  </a:cubicBezTo>
                  <a:cubicBezTo>
                    <a:pt x="159" y="135"/>
                    <a:pt x="159" y="134"/>
                    <a:pt x="159" y="133"/>
                  </a:cubicBezTo>
                  <a:cubicBezTo>
                    <a:pt x="159" y="133"/>
                    <a:pt x="159" y="132"/>
                    <a:pt x="159" y="132"/>
                  </a:cubicBezTo>
                  <a:cubicBezTo>
                    <a:pt x="159" y="131"/>
                    <a:pt x="160" y="130"/>
                    <a:pt x="160" y="129"/>
                  </a:cubicBezTo>
                  <a:cubicBezTo>
                    <a:pt x="160" y="129"/>
                    <a:pt x="160" y="128"/>
                    <a:pt x="160" y="127"/>
                  </a:cubicBezTo>
                  <a:cubicBezTo>
                    <a:pt x="160" y="127"/>
                    <a:pt x="161" y="127"/>
                    <a:pt x="161" y="126"/>
                  </a:cubicBezTo>
                  <a:cubicBezTo>
                    <a:pt x="161" y="126"/>
                    <a:pt x="161" y="125"/>
                    <a:pt x="161" y="125"/>
                  </a:cubicBezTo>
                  <a:cubicBezTo>
                    <a:pt x="161" y="124"/>
                    <a:pt x="160" y="124"/>
                    <a:pt x="159" y="124"/>
                  </a:cubicBezTo>
                  <a:cubicBezTo>
                    <a:pt x="159" y="124"/>
                    <a:pt x="159" y="124"/>
                    <a:pt x="159" y="123"/>
                  </a:cubicBezTo>
                  <a:cubicBezTo>
                    <a:pt x="159" y="123"/>
                    <a:pt x="159" y="123"/>
                    <a:pt x="158" y="123"/>
                  </a:cubicBezTo>
                  <a:cubicBezTo>
                    <a:pt x="158" y="122"/>
                    <a:pt x="159" y="121"/>
                    <a:pt x="159" y="120"/>
                  </a:cubicBezTo>
                  <a:cubicBezTo>
                    <a:pt x="158" y="121"/>
                    <a:pt x="157" y="121"/>
                    <a:pt x="156" y="122"/>
                  </a:cubicBezTo>
                  <a:cubicBezTo>
                    <a:pt x="156" y="122"/>
                    <a:pt x="155" y="122"/>
                    <a:pt x="155" y="123"/>
                  </a:cubicBezTo>
                  <a:cubicBezTo>
                    <a:pt x="155" y="123"/>
                    <a:pt x="155" y="124"/>
                    <a:pt x="155" y="124"/>
                  </a:cubicBezTo>
                  <a:cubicBezTo>
                    <a:pt x="156" y="125"/>
                    <a:pt x="157" y="125"/>
                    <a:pt x="156" y="126"/>
                  </a:cubicBezTo>
                  <a:cubicBezTo>
                    <a:pt x="155" y="127"/>
                    <a:pt x="155" y="127"/>
                    <a:pt x="155" y="128"/>
                  </a:cubicBezTo>
                  <a:cubicBezTo>
                    <a:pt x="155" y="128"/>
                    <a:pt x="155" y="128"/>
                    <a:pt x="154" y="128"/>
                  </a:cubicBezTo>
                  <a:cubicBezTo>
                    <a:pt x="153" y="129"/>
                    <a:pt x="153" y="128"/>
                    <a:pt x="152" y="128"/>
                  </a:cubicBezTo>
                  <a:cubicBezTo>
                    <a:pt x="151" y="127"/>
                    <a:pt x="150" y="128"/>
                    <a:pt x="149" y="127"/>
                  </a:cubicBezTo>
                  <a:cubicBezTo>
                    <a:pt x="148" y="126"/>
                    <a:pt x="147" y="126"/>
                    <a:pt x="146" y="126"/>
                  </a:cubicBezTo>
                  <a:cubicBezTo>
                    <a:pt x="146" y="125"/>
                    <a:pt x="145" y="125"/>
                    <a:pt x="145" y="125"/>
                  </a:cubicBezTo>
                  <a:cubicBezTo>
                    <a:pt x="145" y="124"/>
                    <a:pt x="144" y="124"/>
                    <a:pt x="144" y="124"/>
                  </a:cubicBezTo>
                  <a:cubicBezTo>
                    <a:pt x="144" y="123"/>
                    <a:pt x="145" y="122"/>
                    <a:pt x="145" y="122"/>
                  </a:cubicBezTo>
                  <a:cubicBezTo>
                    <a:pt x="145" y="122"/>
                    <a:pt x="145" y="121"/>
                    <a:pt x="146" y="121"/>
                  </a:cubicBezTo>
                  <a:cubicBezTo>
                    <a:pt x="146" y="121"/>
                    <a:pt x="146" y="121"/>
                    <a:pt x="147" y="120"/>
                  </a:cubicBezTo>
                  <a:cubicBezTo>
                    <a:pt x="147" y="120"/>
                    <a:pt x="147" y="120"/>
                    <a:pt x="148" y="120"/>
                  </a:cubicBezTo>
                  <a:cubicBezTo>
                    <a:pt x="148" y="119"/>
                    <a:pt x="149" y="119"/>
                    <a:pt x="149" y="119"/>
                  </a:cubicBezTo>
                  <a:cubicBezTo>
                    <a:pt x="150" y="118"/>
                    <a:pt x="150" y="118"/>
                    <a:pt x="149" y="117"/>
                  </a:cubicBezTo>
                  <a:cubicBezTo>
                    <a:pt x="149" y="117"/>
                    <a:pt x="149" y="116"/>
                    <a:pt x="148" y="116"/>
                  </a:cubicBezTo>
                  <a:cubicBezTo>
                    <a:pt x="148" y="116"/>
                    <a:pt x="147" y="117"/>
                    <a:pt x="147" y="117"/>
                  </a:cubicBezTo>
                  <a:cubicBezTo>
                    <a:pt x="146" y="117"/>
                    <a:pt x="145" y="118"/>
                    <a:pt x="145" y="118"/>
                  </a:cubicBezTo>
                  <a:cubicBezTo>
                    <a:pt x="144" y="118"/>
                    <a:pt x="144" y="118"/>
                    <a:pt x="144" y="118"/>
                  </a:cubicBezTo>
                  <a:cubicBezTo>
                    <a:pt x="144" y="118"/>
                    <a:pt x="144" y="118"/>
                    <a:pt x="143" y="118"/>
                  </a:cubicBezTo>
                  <a:cubicBezTo>
                    <a:pt x="143" y="118"/>
                    <a:pt x="142" y="119"/>
                    <a:pt x="142" y="119"/>
                  </a:cubicBezTo>
                  <a:cubicBezTo>
                    <a:pt x="141" y="119"/>
                    <a:pt x="141" y="120"/>
                    <a:pt x="140" y="120"/>
                  </a:cubicBezTo>
                  <a:cubicBezTo>
                    <a:pt x="139" y="120"/>
                    <a:pt x="139" y="120"/>
                    <a:pt x="138" y="121"/>
                  </a:cubicBezTo>
                  <a:cubicBezTo>
                    <a:pt x="137" y="121"/>
                    <a:pt x="137" y="121"/>
                    <a:pt x="136" y="121"/>
                  </a:cubicBezTo>
                  <a:cubicBezTo>
                    <a:pt x="135" y="121"/>
                    <a:pt x="133" y="121"/>
                    <a:pt x="132" y="121"/>
                  </a:cubicBezTo>
                  <a:cubicBezTo>
                    <a:pt x="131" y="121"/>
                    <a:pt x="130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27" y="120"/>
                    <a:pt x="127" y="120"/>
                    <a:pt x="126" y="119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124" y="118"/>
                    <a:pt x="125" y="117"/>
                    <a:pt x="125" y="116"/>
                  </a:cubicBezTo>
                  <a:cubicBezTo>
                    <a:pt x="125" y="115"/>
                    <a:pt x="125" y="115"/>
                    <a:pt x="126" y="114"/>
                  </a:cubicBezTo>
                  <a:cubicBezTo>
                    <a:pt x="127" y="113"/>
                    <a:pt x="128" y="112"/>
                    <a:pt x="128" y="112"/>
                  </a:cubicBezTo>
                  <a:cubicBezTo>
                    <a:pt x="128" y="111"/>
                    <a:pt x="126" y="111"/>
                    <a:pt x="126" y="111"/>
                  </a:cubicBezTo>
                  <a:cubicBezTo>
                    <a:pt x="125" y="111"/>
                    <a:pt x="125" y="112"/>
                    <a:pt x="125" y="113"/>
                  </a:cubicBezTo>
                  <a:cubicBezTo>
                    <a:pt x="125" y="113"/>
                    <a:pt x="124" y="113"/>
                    <a:pt x="124" y="114"/>
                  </a:cubicBezTo>
                  <a:cubicBezTo>
                    <a:pt x="124" y="114"/>
                    <a:pt x="124" y="114"/>
                    <a:pt x="124" y="115"/>
                  </a:cubicBezTo>
                  <a:cubicBezTo>
                    <a:pt x="123" y="116"/>
                    <a:pt x="120" y="116"/>
                    <a:pt x="120" y="115"/>
                  </a:cubicBezTo>
                  <a:cubicBezTo>
                    <a:pt x="119" y="115"/>
                    <a:pt x="120" y="114"/>
                    <a:pt x="120" y="114"/>
                  </a:cubicBezTo>
                  <a:cubicBezTo>
                    <a:pt x="120" y="113"/>
                    <a:pt x="120" y="112"/>
                    <a:pt x="120" y="112"/>
                  </a:cubicBezTo>
                  <a:cubicBezTo>
                    <a:pt x="121" y="111"/>
                    <a:pt x="121" y="110"/>
                    <a:pt x="122" y="110"/>
                  </a:cubicBezTo>
                  <a:cubicBezTo>
                    <a:pt x="122" y="110"/>
                    <a:pt x="123" y="109"/>
                    <a:pt x="124" y="109"/>
                  </a:cubicBezTo>
                  <a:cubicBezTo>
                    <a:pt x="124" y="109"/>
                    <a:pt x="124" y="110"/>
                    <a:pt x="125" y="110"/>
                  </a:cubicBezTo>
                  <a:cubicBezTo>
                    <a:pt x="125" y="110"/>
                    <a:pt x="125" y="110"/>
                    <a:pt x="126" y="110"/>
                  </a:cubicBezTo>
                  <a:cubicBezTo>
                    <a:pt x="127" y="110"/>
                    <a:pt x="127" y="111"/>
                    <a:pt x="128" y="110"/>
                  </a:cubicBezTo>
                  <a:cubicBezTo>
                    <a:pt x="130" y="110"/>
                    <a:pt x="130" y="109"/>
                    <a:pt x="131" y="108"/>
                  </a:cubicBezTo>
                  <a:cubicBezTo>
                    <a:pt x="132" y="108"/>
                    <a:pt x="132" y="108"/>
                    <a:pt x="133" y="108"/>
                  </a:cubicBezTo>
                  <a:cubicBezTo>
                    <a:pt x="134" y="108"/>
                    <a:pt x="135" y="108"/>
                    <a:pt x="136" y="108"/>
                  </a:cubicBezTo>
                  <a:cubicBezTo>
                    <a:pt x="136" y="108"/>
                    <a:pt x="136" y="108"/>
                    <a:pt x="137" y="108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8" y="110"/>
                    <a:pt x="138" y="110"/>
                    <a:pt x="139" y="110"/>
                  </a:cubicBezTo>
                  <a:cubicBezTo>
                    <a:pt x="139" y="110"/>
                    <a:pt x="139" y="111"/>
                    <a:pt x="139" y="111"/>
                  </a:cubicBezTo>
                  <a:cubicBezTo>
                    <a:pt x="140" y="111"/>
                    <a:pt x="139" y="112"/>
                    <a:pt x="140" y="112"/>
                  </a:cubicBezTo>
                  <a:cubicBezTo>
                    <a:pt x="141" y="112"/>
                    <a:pt x="142" y="112"/>
                    <a:pt x="143" y="113"/>
                  </a:cubicBezTo>
                  <a:cubicBezTo>
                    <a:pt x="143" y="114"/>
                    <a:pt x="144" y="114"/>
                    <a:pt x="145" y="114"/>
                  </a:cubicBezTo>
                  <a:cubicBezTo>
                    <a:pt x="146" y="114"/>
                    <a:pt x="147" y="115"/>
                    <a:pt x="148" y="115"/>
                  </a:cubicBezTo>
                  <a:cubicBezTo>
                    <a:pt x="148" y="115"/>
                    <a:pt x="148" y="115"/>
                    <a:pt x="149" y="115"/>
                  </a:cubicBezTo>
                  <a:cubicBezTo>
                    <a:pt x="149" y="115"/>
                    <a:pt x="149" y="116"/>
                    <a:pt x="149" y="116"/>
                  </a:cubicBezTo>
                  <a:cubicBezTo>
                    <a:pt x="150" y="116"/>
                    <a:pt x="151" y="116"/>
                    <a:pt x="151" y="116"/>
                  </a:cubicBezTo>
                  <a:cubicBezTo>
                    <a:pt x="152" y="115"/>
                    <a:pt x="152" y="115"/>
                    <a:pt x="152" y="114"/>
                  </a:cubicBezTo>
                  <a:cubicBezTo>
                    <a:pt x="153" y="114"/>
                    <a:pt x="153" y="114"/>
                    <a:pt x="153" y="115"/>
                  </a:cubicBezTo>
                  <a:cubicBezTo>
                    <a:pt x="154" y="115"/>
                    <a:pt x="154" y="115"/>
                    <a:pt x="154" y="115"/>
                  </a:cubicBezTo>
                  <a:cubicBezTo>
                    <a:pt x="155" y="116"/>
                    <a:pt x="156" y="116"/>
                    <a:pt x="157" y="115"/>
                  </a:cubicBezTo>
                  <a:cubicBezTo>
                    <a:pt x="155" y="115"/>
                    <a:pt x="155" y="115"/>
                    <a:pt x="155" y="115"/>
                  </a:cubicBezTo>
                  <a:cubicBezTo>
                    <a:pt x="155" y="115"/>
                    <a:pt x="153" y="113"/>
                    <a:pt x="152" y="113"/>
                  </a:cubicBezTo>
                  <a:close/>
                  <a:moveTo>
                    <a:pt x="70" y="140"/>
                  </a:moveTo>
                  <a:cubicBezTo>
                    <a:pt x="70" y="140"/>
                    <a:pt x="70" y="140"/>
                    <a:pt x="71" y="140"/>
                  </a:cubicBezTo>
                  <a:cubicBezTo>
                    <a:pt x="71" y="140"/>
                    <a:pt x="72" y="141"/>
                    <a:pt x="72" y="141"/>
                  </a:cubicBezTo>
                  <a:cubicBezTo>
                    <a:pt x="72" y="141"/>
                    <a:pt x="73" y="142"/>
                    <a:pt x="73" y="142"/>
                  </a:cubicBezTo>
                  <a:cubicBezTo>
                    <a:pt x="74" y="142"/>
                    <a:pt x="74" y="142"/>
                    <a:pt x="75" y="143"/>
                  </a:cubicBezTo>
                  <a:cubicBezTo>
                    <a:pt x="75" y="143"/>
                    <a:pt x="75" y="143"/>
                    <a:pt x="76" y="143"/>
                  </a:cubicBezTo>
                  <a:cubicBezTo>
                    <a:pt x="76" y="143"/>
                    <a:pt x="76" y="143"/>
                    <a:pt x="76" y="144"/>
                  </a:cubicBezTo>
                  <a:cubicBezTo>
                    <a:pt x="77" y="144"/>
                    <a:pt x="77" y="143"/>
                    <a:pt x="77" y="143"/>
                  </a:cubicBezTo>
                  <a:cubicBezTo>
                    <a:pt x="77" y="143"/>
                    <a:pt x="78" y="142"/>
                    <a:pt x="78" y="142"/>
                  </a:cubicBezTo>
                  <a:cubicBezTo>
                    <a:pt x="79" y="141"/>
                    <a:pt x="79" y="141"/>
                    <a:pt x="79" y="141"/>
                  </a:cubicBezTo>
                  <a:cubicBezTo>
                    <a:pt x="80" y="140"/>
                    <a:pt x="81" y="139"/>
                    <a:pt x="80" y="139"/>
                  </a:cubicBezTo>
                  <a:cubicBezTo>
                    <a:pt x="79" y="139"/>
                    <a:pt x="79" y="139"/>
                    <a:pt x="78" y="139"/>
                  </a:cubicBezTo>
                  <a:cubicBezTo>
                    <a:pt x="78" y="139"/>
                    <a:pt x="78" y="139"/>
                    <a:pt x="77" y="139"/>
                  </a:cubicBezTo>
                  <a:cubicBezTo>
                    <a:pt x="77" y="138"/>
                    <a:pt x="77" y="138"/>
                    <a:pt x="76" y="138"/>
                  </a:cubicBezTo>
                  <a:cubicBezTo>
                    <a:pt x="76" y="138"/>
                    <a:pt x="76" y="138"/>
                    <a:pt x="75" y="138"/>
                  </a:cubicBezTo>
                  <a:cubicBezTo>
                    <a:pt x="75" y="138"/>
                    <a:pt x="75" y="137"/>
                    <a:pt x="75" y="137"/>
                  </a:cubicBezTo>
                  <a:cubicBezTo>
                    <a:pt x="75" y="137"/>
                    <a:pt x="74" y="137"/>
                    <a:pt x="74" y="137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3" y="138"/>
                    <a:pt x="72" y="138"/>
                    <a:pt x="72" y="138"/>
                  </a:cubicBezTo>
                  <a:cubicBezTo>
                    <a:pt x="72" y="139"/>
                    <a:pt x="71" y="139"/>
                    <a:pt x="71" y="139"/>
                  </a:cubicBezTo>
                  <a:cubicBezTo>
                    <a:pt x="70" y="139"/>
                    <a:pt x="70" y="139"/>
                    <a:pt x="70" y="139"/>
                  </a:cubicBezTo>
                  <a:cubicBezTo>
                    <a:pt x="69" y="140"/>
                    <a:pt x="69" y="140"/>
                    <a:pt x="70" y="14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3E42F687-863A-459A-9F60-7DF7866FA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4614" y="3146473"/>
              <a:ext cx="1019410" cy="459313"/>
            </a:xfrm>
            <a:custGeom>
              <a:avLst/>
              <a:gdLst>
                <a:gd name="T0" fmla="*/ 249 w 257"/>
                <a:gd name="T1" fmla="*/ 67 h 116"/>
                <a:gd name="T2" fmla="*/ 243 w 257"/>
                <a:gd name="T3" fmla="*/ 59 h 116"/>
                <a:gd name="T4" fmla="*/ 240 w 257"/>
                <a:gd name="T5" fmla="*/ 51 h 116"/>
                <a:gd name="T6" fmla="*/ 234 w 257"/>
                <a:gd name="T7" fmla="*/ 45 h 116"/>
                <a:gd name="T8" fmla="*/ 236 w 257"/>
                <a:gd name="T9" fmla="*/ 39 h 116"/>
                <a:gd name="T10" fmla="*/ 235 w 257"/>
                <a:gd name="T11" fmla="*/ 30 h 116"/>
                <a:gd name="T12" fmla="*/ 228 w 257"/>
                <a:gd name="T13" fmla="*/ 25 h 116"/>
                <a:gd name="T14" fmla="*/ 226 w 257"/>
                <a:gd name="T15" fmla="*/ 18 h 116"/>
                <a:gd name="T16" fmla="*/ 218 w 257"/>
                <a:gd name="T17" fmla="*/ 21 h 116"/>
                <a:gd name="T18" fmla="*/ 213 w 257"/>
                <a:gd name="T19" fmla="*/ 23 h 116"/>
                <a:gd name="T20" fmla="*/ 206 w 257"/>
                <a:gd name="T21" fmla="*/ 20 h 116"/>
                <a:gd name="T22" fmla="*/ 201 w 257"/>
                <a:gd name="T23" fmla="*/ 20 h 116"/>
                <a:gd name="T24" fmla="*/ 192 w 257"/>
                <a:gd name="T25" fmla="*/ 17 h 116"/>
                <a:gd name="T26" fmla="*/ 180 w 257"/>
                <a:gd name="T27" fmla="*/ 14 h 116"/>
                <a:gd name="T28" fmla="*/ 177 w 257"/>
                <a:gd name="T29" fmla="*/ 6 h 116"/>
                <a:gd name="T30" fmla="*/ 172 w 257"/>
                <a:gd name="T31" fmla="*/ 1 h 116"/>
                <a:gd name="T32" fmla="*/ 166 w 257"/>
                <a:gd name="T33" fmla="*/ 3 h 116"/>
                <a:gd name="T34" fmla="*/ 160 w 257"/>
                <a:gd name="T35" fmla="*/ 0 h 116"/>
                <a:gd name="T36" fmla="*/ 157 w 257"/>
                <a:gd name="T37" fmla="*/ 5 h 116"/>
                <a:gd name="T38" fmla="*/ 159 w 257"/>
                <a:gd name="T39" fmla="*/ 11 h 116"/>
                <a:gd name="T40" fmla="*/ 155 w 257"/>
                <a:gd name="T41" fmla="*/ 16 h 116"/>
                <a:gd name="T42" fmla="*/ 143 w 257"/>
                <a:gd name="T43" fmla="*/ 18 h 116"/>
                <a:gd name="T44" fmla="*/ 138 w 257"/>
                <a:gd name="T45" fmla="*/ 26 h 116"/>
                <a:gd name="T46" fmla="*/ 129 w 257"/>
                <a:gd name="T47" fmla="*/ 37 h 116"/>
                <a:gd name="T48" fmla="*/ 121 w 257"/>
                <a:gd name="T49" fmla="*/ 47 h 116"/>
                <a:gd name="T50" fmla="*/ 115 w 257"/>
                <a:gd name="T51" fmla="*/ 51 h 116"/>
                <a:gd name="T52" fmla="*/ 108 w 257"/>
                <a:gd name="T53" fmla="*/ 43 h 116"/>
                <a:gd name="T54" fmla="*/ 105 w 257"/>
                <a:gd name="T55" fmla="*/ 46 h 116"/>
                <a:gd name="T56" fmla="*/ 100 w 257"/>
                <a:gd name="T57" fmla="*/ 51 h 116"/>
                <a:gd name="T58" fmla="*/ 96 w 257"/>
                <a:gd name="T59" fmla="*/ 57 h 116"/>
                <a:gd name="T60" fmla="*/ 91 w 257"/>
                <a:gd name="T61" fmla="*/ 52 h 116"/>
                <a:gd name="T62" fmla="*/ 82 w 257"/>
                <a:gd name="T63" fmla="*/ 55 h 116"/>
                <a:gd name="T64" fmla="*/ 79 w 257"/>
                <a:gd name="T65" fmla="*/ 58 h 116"/>
                <a:gd name="T66" fmla="*/ 68 w 257"/>
                <a:gd name="T67" fmla="*/ 53 h 116"/>
                <a:gd name="T68" fmla="*/ 62 w 257"/>
                <a:gd name="T69" fmla="*/ 54 h 116"/>
                <a:gd name="T70" fmla="*/ 59 w 257"/>
                <a:gd name="T71" fmla="*/ 55 h 116"/>
                <a:gd name="T72" fmla="*/ 52 w 257"/>
                <a:gd name="T73" fmla="*/ 54 h 116"/>
                <a:gd name="T74" fmla="*/ 51 w 257"/>
                <a:gd name="T75" fmla="*/ 60 h 116"/>
                <a:gd name="T76" fmla="*/ 45 w 257"/>
                <a:gd name="T77" fmla="*/ 69 h 116"/>
                <a:gd name="T78" fmla="*/ 41 w 257"/>
                <a:gd name="T79" fmla="*/ 74 h 116"/>
                <a:gd name="T80" fmla="*/ 33 w 257"/>
                <a:gd name="T81" fmla="*/ 77 h 116"/>
                <a:gd name="T82" fmla="*/ 31 w 257"/>
                <a:gd name="T83" fmla="*/ 92 h 116"/>
                <a:gd name="T84" fmla="*/ 13 w 257"/>
                <a:gd name="T85" fmla="*/ 86 h 116"/>
                <a:gd name="T86" fmla="*/ 12 w 257"/>
                <a:gd name="T87" fmla="*/ 97 h 116"/>
                <a:gd name="T88" fmla="*/ 8 w 257"/>
                <a:gd name="T89" fmla="*/ 105 h 116"/>
                <a:gd name="T90" fmla="*/ 5 w 257"/>
                <a:gd name="T91" fmla="*/ 111 h 116"/>
                <a:gd name="T92" fmla="*/ 47 w 257"/>
                <a:gd name="T93" fmla="*/ 116 h 116"/>
                <a:gd name="T94" fmla="*/ 55 w 257"/>
                <a:gd name="T95" fmla="*/ 110 h 116"/>
                <a:gd name="T96" fmla="*/ 184 w 257"/>
                <a:gd name="T97" fmla="*/ 111 h 116"/>
                <a:gd name="T98" fmla="*/ 213 w 257"/>
                <a:gd name="T99" fmla="*/ 107 h 116"/>
                <a:gd name="T100" fmla="*/ 223 w 257"/>
                <a:gd name="T101" fmla="*/ 100 h 116"/>
                <a:gd name="T102" fmla="*/ 230 w 257"/>
                <a:gd name="T103" fmla="*/ 93 h 116"/>
                <a:gd name="T104" fmla="*/ 240 w 257"/>
                <a:gd name="T105" fmla="*/ 84 h 116"/>
                <a:gd name="T106" fmla="*/ 255 w 257"/>
                <a:gd name="T107" fmla="*/ 7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7" h="116">
                  <a:moveTo>
                    <a:pt x="255" y="71"/>
                  </a:moveTo>
                  <a:cubicBezTo>
                    <a:pt x="252" y="70"/>
                    <a:pt x="252" y="70"/>
                    <a:pt x="252" y="70"/>
                  </a:cubicBezTo>
                  <a:cubicBezTo>
                    <a:pt x="251" y="67"/>
                    <a:pt x="251" y="67"/>
                    <a:pt x="251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7"/>
                    <a:pt x="245" y="64"/>
                    <a:pt x="245" y="64"/>
                  </a:cubicBezTo>
                  <a:cubicBezTo>
                    <a:pt x="245" y="64"/>
                    <a:pt x="245" y="63"/>
                    <a:pt x="245" y="62"/>
                  </a:cubicBezTo>
                  <a:cubicBezTo>
                    <a:pt x="245" y="62"/>
                    <a:pt x="246" y="61"/>
                    <a:pt x="246" y="61"/>
                  </a:cubicBezTo>
                  <a:cubicBezTo>
                    <a:pt x="243" y="59"/>
                    <a:pt x="243" y="59"/>
                    <a:pt x="243" y="59"/>
                  </a:cubicBezTo>
                  <a:cubicBezTo>
                    <a:pt x="243" y="59"/>
                    <a:pt x="242" y="55"/>
                    <a:pt x="242" y="55"/>
                  </a:cubicBezTo>
                  <a:cubicBezTo>
                    <a:pt x="242" y="55"/>
                    <a:pt x="239" y="54"/>
                    <a:pt x="239" y="54"/>
                  </a:cubicBezTo>
                  <a:cubicBezTo>
                    <a:pt x="240" y="52"/>
                    <a:pt x="240" y="52"/>
                    <a:pt x="240" y="52"/>
                  </a:cubicBezTo>
                  <a:cubicBezTo>
                    <a:pt x="240" y="52"/>
                    <a:pt x="240" y="51"/>
                    <a:pt x="240" y="51"/>
                  </a:cubicBezTo>
                  <a:cubicBezTo>
                    <a:pt x="240" y="51"/>
                    <a:pt x="238" y="50"/>
                    <a:pt x="238" y="50"/>
                  </a:cubicBezTo>
                  <a:cubicBezTo>
                    <a:pt x="238" y="50"/>
                    <a:pt x="238" y="48"/>
                    <a:pt x="237" y="48"/>
                  </a:cubicBezTo>
                  <a:cubicBezTo>
                    <a:pt x="237" y="48"/>
                    <a:pt x="236" y="45"/>
                    <a:pt x="236" y="45"/>
                  </a:cubicBezTo>
                  <a:cubicBezTo>
                    <a:pt x="236" y="45"/>
                    <a:pt x="234" y="45"/>
                    <a:pt x="234" y="45"/>
                  </a:cubicBezTo>
                  <a:cubicBezTo>
                    <a:pt x="234" y="44"/>
                    <a:pt x="235" y="43"/>
                    <a:pt x="235" y="43"/>
                  </a:cubicBezTo>
                  <a:cubicBezTo>
                    <a:pt x="236" y="42"/>
                    <a:pt x="236" y="42"/>
                    <a:pt x="236" y="42"/>
                  </a:cubicBezTo>
                  <a:cubicBezTo>
                    <a:pt x="235" y="40"/>
                    <a:pt x="235" y="40"/>
                    <a:pt x="235" y="40"/>
                  </a:cubicBezTo>
                  <a:cubicBezTo>
                    <a:pt x="235" y="40"/>
                    <a:pt x="236" y="39"/>
                    <a:pt x="236" y="39"/>
                  </a:cubicBezTo>
                  <a:cubicBezTo>
                    <a:pt x="236" y="39"/>
                    <a:pt x="236" y="36"/>
                    <a:pt x="236" y="36"/>
                  </a:cubicBezTo>
                  <a:cubicBezTo>
                    <a:pt x="236" y="35"/>
                    <a:pt x="236" y="33"/>
                    <a:pt x="236" y="33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29"/>
                    <a:pt x="235" y="28"/>
                    <a:pt x="234" y="28"/>
                  </a:cubicBezTo>
                  <a:cubicBezTo>
                    <a:pt x="233" y="27"/>
                    <a:pt x="232" y="26"/>
                    <a:pt x="231" y="26"/>
                  </a:cubicBezTo>
                  <a:cubicBezTo>
                    <a:pt x="231" y="26"/>
                    <a:pt x="230" y="26"/>
                    <a:pt x="230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7" y="24"/>
                    <a:pt x="227" y="23"/>
                    <a:pt x="226" y="23"/>
                  </a:cubicBezTo>
                  <a:cubicBezTo>
                    <a:pt x="226" y="22"/>
                    <a:pt x="226" y="21"/>
                    <a:pt x="226" y="20"/>
                  </a:cubicBezTo>
                  <a:cubicBezTo>
                    <a:pt x="226" y="19"/>
                    <a:pt x="226" y="19"/>
                    <a:pt x="226" y="19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5" y="17"/>
                    <a:pt x="224" y="17"/>
                    <a:pt x="224" y="17"/>
                  </a:cubicBezTo>
                  <a:cubicBezTo>
                    <a:pt x="223" y="18"/>
                    <a:pt x="222" y="18"/>
                    <a:pt x="221" y="18"/>
                  </a:cubicBezTo>
                  <a:cubicBezTo>
                    <a:pt x="221" y="18"/>
                    <a:pt x="220" y="19"/>
                    <a:pt x="220" y="20"/>
                  </a:cubicBezTo>
                  <a:cubicBezTo>
                    <a:pt x="219" y="20"/>
                    <a:pt x="219" y="21"/>
                    <a:pt x="218" y="21"/>
                  </a:cubicBezTo>
                  <a:cubicBezTo>
                    <a:pt x="218" y="22"/>
                    <a:pt x="217" y="22"/>
                    <a:pt x="217" y="22"/>
                  </a:cubicBezTo>
                  <a:cubicBezTo>
                    <a:pt x="216" y="23"/>
                    <a:pt x="216" y="23"/>
                    <a:pt x="215" y="23"/>
                  </a:cubicBezTo>
                  <a:cubicBezTo>
                    <a:pt x="215" y="23"/>
                    <a:pt x="214" y="23"/>
                    <a:pt x="214" y="23"/>
                  </a:cubicBezTo>
                  <a:cubicBezTo>
                    <a:pt x="213" y="23"/>
                    <a:pt x="213" y="23"/>
                    <a:pt x="213" y="23"/>
                  </a:cubicBezTo>
                  <a:cubicBezTo>
                    <a:pt x="212" y="23"/>
                    <a:pt x="211" y="24"/>
                    <a:pt x="211" y="24"/>
                  </a:cubicBezTo>
                  <a:cubicBezTo>
                    <a:pt x="211" y="24"/>
                    <a:pt x="210" y="23"/>
                    <a:pt x="210" y="23"/>
                  </a:cubicBezTo>
                  <a:cubicBezTo>
                    <a:pt x="209" y="22"/>
                    <a:pt x="208" y="21"/>
                    <a:pt x="207" y="21"/>
                  </a:cubicBezTo>
                  <a:cubicBezTo>
                    <a:pt x="207" y="21"/>
                    <a:pt x="206" y="20"/>
                    <a:pt x="206" y="20"/>
                  </a:cubicBezTo>
                  <a:cubicBezTo>
                    <a:pt x="206" y="20"/>
                    <a:pt x="205" y="20"/>
                    <a:pt x="205" y="20"/>
                  </a:cubicBezTo>
                  <a:cubicBezTo>
                    <a:pt x="205" y="19"/>
                    <a:pt x="205" y="19"/>
                    <a:pt x="204" y="19"/>
                  </a:cubicBezTo>
                  <a:cubicBezTo>
                    <a:pt x="204" y="19"/>
                    <a:pt x="203" y="20"/>
                    <a:pt x="202" y="20"/>
                  </a:cubicBezTo>
                  <a:cubicBezTo>
                    <a:pt x="202" y="20"/>
                    <a:pt x="201" y="20"/>
                    <a:pt x="201" y="20"/>
                  </a:cubicBezTo>
                  <a:cubicBezTo>
                    <a:pt x="200" y="21"/>
                    <a:pt x="200" y="21"/>
                    <a:pt x="199" y="22"/>
                  </a:cubicBezTo>
                  <a:cubicBezTo>
                    <a:pt x="199" y="22"/>
                    <a:pt x="197" y="23"/>
                    <a:pt x="196" y="22"/>
                  </a:cubicBezTo>
                  <a:cubicBezTo>
                    <a:pt x="195" y="21"/>
                    <a:pt x="195" y="20"/>
                    <a:pt x="194" y="19"/>
                  </a:cubicBezTo>
                  <a:cubicBezTo>
                    <a:pt x="193" y="18"/>
                    <a:pt x="193" y="18"/>
                    <a:pt x="192" y="17"/>
                  </a:cubicBezTo>
                  <a:cubicBezTo>
                    <a:pt x="192" y="17"/>
                    <a:pt x="191" y="16"/>
                    <a:pt x="190" y="16"/>
                  </a:cubicBezTo>
                  <a:cubicBezTo>
                    <a:pt x="189" y="15"/>
                    <a:pt x="187" y="16"/>
                    <a:pt x="186" y="16"/>
                  </a:cubicBezTo>
                  <a:cubicBezTo>
                    <a:pt x="185" y="16"/>
                    <a:pt x="184" y="16"/>
                    <a:pt x="182" y="16"/>
                  </a:cubicBezTo>
                  <a:cubicBezTo>
                    <a:pt x="181" y="16"/>
                    <a:pt x="181" y="15"/>
                    <a:pt x="180" y="14"/>
                  </a:cubicBezTo>
                  <a:cubicBezTo>
                    <a:pt x="180" y="13"/>
                    <a:pt x="179" y="12"/>
                    <a:pt x="179" y="11"/>
                  </a:cubicBezTo>
                  <a:cubicBezTo>
                    <a:pt x="178" y="10"/>
                    <a:pt x="178" y="9"/>
                    <a:pt x="178" y="8"/>
                  </a:cubicBezTo>
                  <a:cubicBezTo>
                    <a:pt x="178" y="8"/>
                    <a:pt x="177" y="8"/>
                    <a:pt x="177" y="7"/>
                  </a:cubicBezTo>
                  <a:cubicBezTo>
                    <a:pt x="177" y="7"/>
                    <a:pt x="177" y="7"/>
                    <a:pt x="177" y="6"/>
                  </a:cubicBezTo>
                  <a:cubicBezTo>
                    <a:pt x="177" y="6"/>
                    <a:pt x="176" y="5"/>
                    <a:pt x="176" y="5"/>
                  </a:cubicBezTo>
                  <a:cubicBezTo>
                    <a:pt x="176" y="5"/>
                    <a:pt x="175" y="4"/>
                    <a:pt x="175" y="4"/>
                  </a:cubicBezTo>
                  <a:cubicBezTo>
                    <a:pt x="174" y="4"/>
                    <a:pt x="173" y="3"/>
                    <a:pt x="173" y="2"/>
                  </a:cubicBezTo>
                  <a:cubicBezTo>
                    <a:pt x="172" y="2"/>
                    <a:pt x="172" y="2"/>
                    <a:pt x="172" y="1"/>
                  </a:cubicBezTo>
                  <a:cubicBezTo>
                    <a:pt x="172" y="1"/>
                    <a:pt x="171" y="1"/>
                    <a:pt x="170" y="1"/>
                  </a:cubicBezTo>
                  <a:cubicBezTo>
                    <a:pt x="170" y="1"/>
                    <a:pt x="169" y="2"/>
                    <a:pt x="168" y="2"/>
                  </a:cubicBezTo>
                  <a:cubicBezTo>
                    <a:pt x="168" y="2"/>
                    <a:pt x="167" y="2"/>
                    <a:pt x="167" y="3"/>
                  </a:cubicBezTo>
                  <a:cubicBezTo>
                    <a:pt x="167" y="3"/>
                    <a:pt x="166" y="3"/>
                    <a:pt x="166" y="3"/>
                  </a:cubicBezTo>
                  <a:cubicBezTo>
                    <a:pt x="165" y="3"/>
                    <a:pt x="164" y="2"/>
                    <a:pt x="164" y="2"/>
                  </a:cubicBezTo>
                  <a:cubicBezTo>
                    <a:pt x="163" y="2"/>
                    <a:pt x="163" y="1"/>
                    <a:pt x="163" y="1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1" y="0"/>
                    <a:pt x="160" y="0"/>
                    <a:pt x="160" y="0"/>
                  </a:cubicBezTo>
                  <a:cubicBezTo>
                    <a:pt x="160" y="0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3"/>
                    <a:pt x="157" y="4"/>
                    <a:pt x="157" y="5"/>
                  </a:cubicBezTo>
                  <a:cubicBezTo>
                    <a:pt x="157" y="6"/>
                    <a:pt x="158" y="6"/>
                    <a:pt x="158" y="7"/>
                  </a:cubicBezTo>
                  <a:cubicBezTo>
                    <a:pt x="158" y="7"/>
                    <a:pt x="159" y="8"/>
                    <a:pt x="158" y="9"/>
                  </a:cubicBezTo>
                  <a:cubicBezTo>
                    <a:pt x="158" y="10"/>
                    <a:pt x="158" y="10"/>
                    <a:pt x="158" y="11"/>
                  </a:cubicBezTo>
                  <a:cubicBezTo>
                    <a:pt x="158" y="11"/>
                    <a:pt x="158" y="11"/>
                    <a:pt x="159" y="11"/>
                  </a:cubicBezTo>
                  <a:cubicBezTo>
                    <a:pt x="160" y="11"/>
                    <a:pt x="160" y="12"/>
                    <a:pt x="160" y="13"/>
                  </a:cubicBezTo>
                  <a:cubicBezTo>
                    <a:pt x="160" y="13"/>
                    <a:pt x="159" y="14"/>
                    <a:pt x="159" y="14"/>
                  </a:cubicBezTo>
                  <a:cubicBezTo>
                    <a:pt x="159" y="14"/>
                    <a:pt x="160" y="16"/>
                    <a:pt x="159" y="16"/>
                  </a:cubicBezTo>
                  <a:cubicBezTo>
                    <a:pt x="158" y="17"/>
                    <a:pt x="157" y="16"/>
                    <a:pt x="155" y="16"/>
                  </a:cubicBezTo>
                  <a:cubicBezTo>
                    <a:pt x="153" y="16"/>
                    <a:pt x="153" y="16"/>
                    <a:pt x="152" y="17"/>
                  </a:cubicBezTo>
                  <a:cubicBezTo>
                    <a:pt x="151" y="17"/>
                    <a:pt x="150" y="19"/>
                    <a:pt x="149" y="19"/>
                  </a:cubicBezTo>
                  <a:cubicBezTo>
                    <a:pt x="147" y="20"/>
                    <a:pt x="147" y="20"/>
                    <a:pt x="146" y="20"/>
                  </a:cubicBezTo>
                  <a:cubicBezTo>
                    <a:pt x="145" y="20"/>
                    <a:pt x="144" y="18"/>
                    <a:pt x="143" y="18"/>
                  </a:cubicBezTo>
                  <a:cubicBezTo>
                    <a:pt x="143" y="18"/>
                    <a:pt x="142" y="18"/>
                    <a:pt x="141" y="18"/>
                  </a:cubicBezTo>
                  <a:cubicBezTo>
                    <a:pt x="140" y="18"/>
                    <a:pt x="139" y="18"/>
                    <a:pt x="138" y="19"/>
                  </a:cubicBezTo>
                  <a:cubicBezTo>
                    <a:pt x="137" y="19"/>
                    <a:pt x="137" y="22"/>
                    <a:pt x="137" y="23"/>
                  </a:cubicBezTo>
                  <a:cubicBezTo>
                    <a:pt x="137" y="24"/>
                    <a:pt x="138" y="25"/>
                    <a:pt x="138" y="26"/>
                  </a:cubicBezTo>
                  <a:cubicBezTo>
                    <a:pt x="138" y="27"/>
                    <a:pt x="137" y="29"/>
                    <a:pt x="137" y="29"/>
                  </a:cubicBezTo>
                  <a:cubicBezTo>
                    <a:pt x="137" y="29"/>
                    <a:pt x="132" y="31"/>
                    <a:pt x="132" y="32"/>
                  </a:cubicBezTo>
                  <a:cubicBezTo>
                    <a:pt x="131" y="33"/>
                    <a:pt x="131" y="34"/>
                    <a:pt x="131" y="35"/>
                  </a:cubicBezTo>
                  <a:cubicBezTo>
                    <a:pt x="131" y="36"/>
                    <a:pt x="130" y="36"/>
                    <a:pt x="129" y="37"/>
                  </a:cubicBezTo>
                  <a:cubicBezTo>
                    <a:pt x="128" y="38"/>
                    <a:pt x="128" y="38"/>
                    <a:pt x="127" y="38"/>
                  </a:cubicBezTo>
                  <a:cubicBezTo>
                    <a:pt x="126" y="38"/>
                    <a:pt x="125" y="39"/>
                    <a:pt x="124" y="39"/>
                  </a:cubicBezTo>
                  <a:cubicBezTo>
                    <a:pt x="123" y="40"/>
                    <a:pt x="123" y="41"/>
                    <a:pt x="122" y="42"/>
                  </a:cubicBezTo>
                  <a:cubicBezTo>
                    <a:pt x="122" y="43"/>
                    <a:pt x="121" y="46"/>
                    <a:pt x="121" y="47"/>
                  </a:cubicBezTo>
                  <a:cubicBezTo>
                    <a:pt x="121" y="48"/>
                    <a:pt x="121" y="49"/>
                    <a:pt x="121" y="49"/>
                  </a:cubicBezTo>
                  <a:cubicBezTo>
                    <a:pt x="121" y="50"/>
                    <a:pt x="119" y="50"/>
                    <a:pt x="119" y="50"/>
                  </a:cubicBezTo>
                  <a:cubicBezTo>
                    <a:pt x="118" y="50"/>
                    <a:pt x="117" y="52"/>
                    <a:pt x="117" y="52"/>
                  </a:cubicBezTo>
                  <a:cubicBezTo>
                    <a:pt x="117" y="52"/>
                    <a:pt x="116" y="51"/>
                    <a:pt x="115" y="51"/>
                  </a:cubicBezTo>
                  <a:cubicBezTo>
                    <a:pt x="115" y="50"/>
                    <a:pt x="114" y="50"/>
                    <a:pt x="113" y="49"/>
                  </a:cubicBezTo>
                  <a:cubicBezTo>
                    <a:pt x="112" y="49"/>
                    <a:pt x="111" y="49"/>
                    <a:pt x="110" y="48"/>
                  </a:cubicBezTo>
                  <a:cubicBezTo>
                    <a:pt x="109" y="48"/>
                    <a:pt x="109" y="46"/>
                    <a:pt x="109" y="45"/>
                  </a:cubicBezTo>
                  <a:cubicBezTo>
                    <a:pt x="108" y="44"/>
                    <a:pt x="108" y="44"/>
                    <a:pt x="108" y="43"/>
                  </a:cubicBezTo>
                  <a:cubicBezTo>
                    <a:pt x="108" y="43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3"/>
                  </a:cubicBezTo>
                  <a:cubicBezTo>
                    <a:pt x="105" y="44"/>
                    <a:pt x="107" y="44"/>
                    <a:pt x="107" y="45"/>
                  </a:cubicBezTo>
                  <a:cubicBezTo>
                    <a:pt x="107" y="45"/>
                    <a:pt x="105" y="46"/>
                    <a:pt x="105" y="46"/>
                  </a:cubicBezTo>
                  <a:cubicBezTo>
                    <a:pt x="104" y="46"/>
                    <a:pt x="102" y="45"/>
                    <a:pt x="102" y="46"/>
                  </a:cubicBezTo>
                  <a:cubicBezTo>
                    <a:pt x="102" y="46"/>
                    <a:pt x="103" y="47"/>
                    <a:pt x="103" y="48"/>
                  </a:cubicBezTo>
                  <a:cubicBezTo>
                    <a:pt x="103" y="48"/>
                    <a:pt x="101" y="48"/>
                    <a:pt x="101" y="49"/>
                  </a:cubicBezTo>
                  <a:cubicBezTo>
                    <a:pt x="100" y="49"/>
                    <a:pt x="100" y="50"/>
                    <a:pt x="100" y="51"/>
                  </a:cubicBezTo>
                  <a:cubicBezTo>
                    <a:pt x="101" y="52"/>
                    <a:pt x="101" y="54"/>
                    <a:pt x="101" y="54"/>
                  </a:cubicBezTo>
                  <a:cubicBezTo>
                    <a:pt x="100" y="54"/>
                    <a:pt x="99" y="54"/>
                    <a:pt x="98" y="54"/>
                  </a:cubicBezTo>
                  <a:cubicBezTo>
                    <a:pt x="98" y="54"/>
                    <a:pt x="98" y="56"/>
                    <a:pt x="98" y="57"/>
                  </a:cubicBezTo>
                  <a:cubicBezTo>
                    <a:pt x="97" y="58"/>
                    <a:pt x="96" y="57"/>
                    <a:pt x="96" y="57"/>
                  </a:cubicBezTo>
                  <a:cubicBezTo>
                    <a:pt x="96" y="57"/>
                    <a:pt x="96" y="55"/>
                    <a:pt x="96" y="55"/>
                  </a:cubicBezTo>
                  <a:cubicBezTo>
                    <a:pt x="96" y="54"/>
                    <a:pt x="95" y="55"/>
                    <a:pt x="95" y="55"/>
                  </a:cubicBezTo>
                  <a:cubicBezTo>
                    <a:pt x="94" y="55"/>
                    <a:pt x="93" y="55"/>
                    <a:pt x="93" y="54"/>
                  </a:cubicBezTo>
                  <a:cubicBezTo>
                    <a:pt x="92" y="54"/>
                    <a:pt x="91" y="53"/>
                    <a:pt x="91" y="52"/>
                  </a:cubicBezTo>
                  <a:cubicBezTo>
                    <a:pt x="91" y="52"/>
                    <a:pt x="90" y="51"/>
                    <a:pt x="90" y="51"/>
                  </a:cubicBezTo>
                  <a:cubicBezTo>
                    <a:pt x="90" y="51"/>
                    <a:pt x="88" y="52"/>
                    <a:pt x="88" y="53"/>
                  </a:cubicBezTo>
                  <a:cubicBezTo>
                    <a:pt x="87" y="53"/>
                    <a:pt x="85" y="54"/>
                    <a:pt x="84" y="54"/>
                  </a:cubicBezTo>
                  <a:cubicBezTo>
                    <a:pt x="83" y="55"/>
                    <a:pt x="82" y="55"/>
                    <a:pt x="82" y="55"/>
                  </a:cubicBezTo>
                  <a:cubicBezTo>
                    <a:pt x="82" y="56"/>
                    <a:pt x="82" y="57"/>
                    <a:pt x="81" y="58"/>
                  </a:cubicBezTo>
                  <a:cubicBezTo>
                    <a:pt x="81" y="58"/>
                    <a:pt x="81" y="59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ubicBezTo>
                    <a:pt x="79" y="60"/>
                    <a:pt x="79" y="59"/>
                    <a:pt x="79" y="58"/>
                  </a:cubicBezTo>
                  <a:cubicBezTo>
                    <a:pt x="78" y="58"/>
                    <a:pt x="78" y="57"/>
                    <a:pt x="78" y="57"/>
                  </a:cubicBezTo>
                  <a:cubicBezTo>
                    <a:pt x="78" y="57"/>
                    <a:pt x="77" y="57"/>
                    <a:pt x="76" y="57"/>
                  </a:cubicBezTo>
                  <a:cubicBezTo>
                    <a:pt x="76" y="57"/>
                    <a:pt x="70" y="53"/>
                    <a:pt x="70" y="53"/>
                  </a:cubicBezTo>
                  <a:cubicBezTo>
                    <a:pt x="70" y="53"/>
                    <a:pt x="69" y="53"/>
                    <a:pt x="68" y="53"/>
                  </a:cubicBezTo>
                  <a:cubicBezTo>
                    <a:pt x="67" y="54"/>
                    <a:pt x="67" y="54"/>
                    <a:pt x="66" y="54"/>
                  </a:cubicBezTo>
                  <a:cubicBezTo>
                    <a:pt x="66" y="54"/>
                    <a:pt x="65" y="53"/>
                    <a:pt x="64" y="52"/>
                  </a:cubicBezTo>
                  <a:cubicBezTo>
                    <a:pt x="64" y="52"/>
                    <a:pt x="64" y="52"/>
                    <a:pt x="63" y="52"/>
                  </a:cubicBezTo>
                  <a:cubicBezTo>
                    <a:pt x="62" y="53"/>
                    <a:pt x="62" y="54"/>
                    <a:pt x="62" y="54"/>
                  </a:cubicBezTo>
                  <a:cubicBezTo>
                    <a:pt x="63" y="55"/>
                    <a:pt x="63" y="57"/>
                    <a:pt x="63" y="57"/>
                  </a:cubicBezTo>
                  <a:cubicBezTo>
                    <a:pt x="63" y="58"/>
                    <a:pt x="63" y="58"/>
                    <a:pt x="61" y="58"/>
                  </a:cubicBezTo>
                  <a:cubicBezTo>
                    <a:pt x="60" y="58"/>
                    <a:pt x="60" y="57"/>
                    <a:pt x="60" y="57"/>
                  </a:cubicBezTo>
                  <a:cubicBezTo>
                    <a:pt x="60" y="56"/>
                    <a:pt x="60" y="55"/>
                    <a:pt x="59" y="55"/>
                  </a:cubicBezTo>
                  <a:cubicBezTo>
                    <a:pt x="59" y="55"/>
                    <a:pt x="58" y="55"/>
                    <a:pt x="58" y="56"/>
                  </a:cubicBezTo>
                  <a:cubicBezTo>
                    <a:pt x="57" y="56"/>
                    <a:pt x="55" y="56"/>
                    <a:pt x="55" y="56"/>
                  </a:cubicBezTo>
                  <a:cubicBezTo>
                    <a:pt x="55" y="56"/>
                    <a:pt x="54" y="55"/>
                    <a:pt x="54" y="54"/>
                  </a:cubicBezTo>
                  <a:cubicBezTo>
                    <a:pt x="53" y="54"/>
                    <a:pt x="52" y="54"/>
                    <a:pt x="52" y="54"/>
                  </a:cubicBezTo>
                  <a:cubicBezTo>
                    <a:pt x="52" y="54"/>
                    <a:pt x="52" y="56"/>
                    <a:pt x="51" y="56"/>
                  </a:cubicBezTo>
                  <a:cubicBezTo>
                    <a:pt x="51" y="57"/>
                    <a:pt x="52" y="58"/>
                    <a:pt x="52" y="58"/>
                  </a:cubicBezTo>
                  <a:cubicBezTo>
                    <a:pt x="52" y="58"/>
                    <a:pt x="53" y="59"/>
                    <a:pt x="53" y="59"/>
                  </a:cubicBezTo>
                  <a:cubicBezTo>
                    <a:pt x="53" y="59"/>
                    <a:pt x="51" y="61"/>
                    <a:pt x="51" y="60"/>
                  </a:cubicBezTo>
                  <a:cubicBezTo>
                    <a:pt x="50" y="60"/>
                    <a:pt x="49" y="60"/>
                    <a:pt x="49" y="60"/>
                  </a:cubicBezTo>
                  <a:cubicBezTo>
                    <a:pt x="49" y="60"/>
                    <a:pt x="45" y="64"/>
                    <a:pt x="45" y="64"/>
                  </a:cubicBezTo>
                  <a:cubicBezTo>
                    <a:pt x="45" y="65"/>
                    <a:pt x="44" y="66"/>
                    <a:pt x="44" y="66"/>
                  </a:cubicBezTo>
                  <a:cubicBezTo>
                    <a:pt x="44" y="66"/>
                    <a:pt x="45" y="69"/>
                    <a:pt x="45" y="69"/>
                  </a:cubicBezTo>
                  <a:cubicBezTo>
                    <a:pt x="45" y="69"/>
                    <a:pt x="47" y="71"/>
                    <a:pt x="47" y="71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6" y="74"/>
                    <a:pt x="46" y="74"/>
                  </a:cubicBezTo>
                  <a:cubicBezTo>
                    <a:pt x="45" y="74"/>
                    <a:pt x="42" y="74"/>
                    <a:pt x="41" y="74"/>
                  </a:cubicBezTo>
                  <a:cubicBezTo>
                    <a:pt x="41" y="74"/>
                    <a:pt x="39" y="75"/>
                    <a:pt x="39" y="75"/>
                  </a:cubicBezTo>
                  <a:cubicBezTo>
                    <a:pt x="38" y="76"/>
                    <a:pt x="37" y="76"/>
                    <a:pt x="37" y="76"/>
                  </a:cubicBezTo>
                  <a:cubicBezTo>
                    <a:pt x="37" y="77"/>
                    <a:pt x="34" y="76"/>
                    <a:pt x="34" y="76"/>
                  </a:cubicBezTo>
                  <a:cubicBezTo>
                    <a:pt x="34" y="76"/>
                    <a:pt x="33" y="77"/>
                    <a:pt x="33" y="77"/>
                  </a:cubicBezTo>
                  <a:cubicBezTo>
                    <a:pt x="32" y="78"/>
                    <a:pt x="32" y="82"/>
                    <a:pt x="32" y="82"/>
                  </a:cubicBezTo>
                  <a:cubicBezTo>
                    <a:pt x="32" y="82"/>
                    <a:pt x="34" y="87"/>
                    <a:pt x="34" y="87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1" y="92"/>
                    <a:pt x="31" y="92"/>
                    <a:pt x="31" y="92"/>
                  </a:cubicBezTo>
                  <a:cubicBezTo>
                    <a:pt x="31" y="92"/>
                    <a:pt x="27" y="89"/>
                    <a:pt x="27" y="89"/>
                  </a:cubicBezTo>
                  <a:cubicBezTo>
                    <a:pt x="27" y="89"/>
                    <a:pt x="20" y="85"/>
                    <a:pt x="20" y="85"/>
                  </a:cubicBezTo>
                  <a:cubicBezTo>
                    <a:pt x="20" y="85"/>
                    <a:pt x="15" y="84"/>
                    <a:pt x="15" y="84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0" y="90"/>
                    <a:pt x="10" y="90"/>
                  </a:cubicBezTo>
                  <a:cubicBezTo>
                    <a:pt x="10" y="90"/>
                    <a:pt x="9" y="93"/>
                    <a:pt x="9" y="93"/>
                  </a:cubicBezTo>
                  <a:cubicBezTo>
                    <a:pt x="9" y="93"/>
                    <a:pt x="10" y="95"/>
                    <a:pt x="10" y="95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0" y="99"/>
                    <a:pt x="10" y="99"/>
                  </a:cubicBezTo>
                  <a:cubicBezTo>
                    <a:pt x="10" y="99"/>
                    <a:pt x="8" y="102"/>
                    <a:pt x="8" y="102"/>
                  </a:cubicBezTo>
                  <a:cubicBezTo>
                    <a:pt x="8" y="102"/>
                    <a:pt x="11" y="104"/>
                    <a:pt x="11" y="104"/>
                  </a:cubicBezTo>
                  <a:cubicBezTo>
                    <a:pt x="11" y="104"/>
                    <a:pt x="8" y="105"/>
                    <a:pt x="8" y="105"/>
                  </a:cubicBezTo>
                  <a:cubicBezTo>
                    <a:pt x="8" y="105"/>
                    <a:pt x="9" y="109"/>
                    <a:pt x="9" y="109"/>
                  </a:cubicBezTo>
                  <a:cubicBezTo>
                    <a:pt x="9" y="109"/>
                    <a:pt x="7" y="113"/>
                    <a:pt x="7" y="113"/>
                  </a:cubicBezTo>
                  <a:cubicBezTo>
                    <a:pt x="7" y="113"/>
                    <a:pt x="6" y="112"/>
                    <a:pt x="6" y="112"/>
                  </a:cubicBezTo>
                  <a:cubicBezTo>
                    <a:pt x="6" y="112"/>
                    <a:pt x="5" y="111"/>
                    <a:pt x="5" y="111"/>
                  </a:cubicBezTo>
                  <a:cubicBezTo>
                    <a:pt x="5" y="111"/>
                    <a:pt x="3" y="110"/>
                    <a:pt x="3" y="110"/>
                  </a:cubicBezTo>
                  <a:cubicBezTo>
                    <a:pt x="3" y="110"/>
                    <a:pt x="1" y="112"/>
                    <a:pt x="1" y="112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47" y="116"/>
                    <a:pt x="47" y="116"/>
                    <a:pt x="47" y="116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84" y="111"/>
                    <a:pt x="184" y="111"/>
                    <a:pt x="184" y="111"/>
                  </a:cubicBezTo>
                  <a:cubicBezTo>
                    <a:pt x="199" y="111"/>
                    <a:pt x="199" y="111"/>
                    <a:pt x="199" y="111"/>
                  </a:cubicBezTo>
                  <a:cubicBezTo>
                    <a:pt x="205" y="108"/>
                    <a:pt x="205" y="108"/>
                    <a:pt x="205" y="108"/>
                  </a:cubicBezTo>
                  <a:cubicBezTo>
                    <a:pt x="205" y="108"/>
                    <a:pt x="208" y="108"/>
                    <a:pt x="208" y="108"/>
                  </a:cubicBezTo>
                  <a:cubicBezTo>
                    <a:pt x="208" y="108"/>
                    <a:pt x="212" y="107"/>
                    <a:pt x="213" y="107"/>
                  </a:cubicBezTo>
                  <a:cubicBezTo>
                    <a:pt x="213" y="106"/>
                    <a:pt x="216" y="106"/>
                    <a:pt x="217" y="105"/>
                  </a:cubicBezTo>
                  <a:cubicBezTo>
                    <a:pt x="217" y="105"/>
                    <a:pt x="218" y="104"/>
                    <a:pt x="218" y="104"/>
                  </a:cubicBezTo>
                  <a:cubicBezTo>
                    <a:pt x="218" y="103"/>
                    <a:pt x="219" y="101"/>
                    <a:pt x="219" y="101"/>
                  </a:cubicBezTo>
                  <a:cubicBezTo>
                    <a:pt x="220" y="101"/>
                    <a:pt x="222" y="100"/>
                    <a:pt x="223" y="100"/>
                  </a:cubicBezTo>
                  <a:cubicBezTo>
                    <a:pt x="224" y="100"/>
                    <a:pt x="224" y="100"/>
                    <a:pt x="225" y="100"/>
                  </a:cubicBezTo>
                  <a:cubicBezTo>
                    <a:pt x="225" y="99"/>
                    <a:pt x="226" y="98"/>
                    <a:pt x="227" y="98"/>
                  </a:cubicBezTo>
                  <a:cubicBezTo>
                    <a:pt x="227" y="97"/>
                    <a:pt x="226" y="95"/>
                    <a:pt x="227" y="95"/>
                  </a:cubicBezTo>
                  <a:cubicBezTo>
                    <a:pt x="228" y="94"/>
                    <a:pt x="230" y="93"/>
                    <a:pt x="230" y="93"/>
                  </a:cubicBezTo>
                  <a:cubicBezTo>
                    <a:pt x="231" y="92"/>
                    <a:pt x="231" y="93"/>
                    <a:pt x="231" y="92"/>
                  </a:cubicBezTo>
                  <a:cubicBezTo>
                    <a:pt x="232" y="91"/>
                    <a:pt x="232" y="90"/>
                    <a:pt x="232" y="89"/>
                  </a:cubicBezTo>
                  <a:cubicBezTo>
                    <a:pt x="232" y="89"/>
                    <a:pt x="234" y="88"/>
                    <a:pt x="235" y="87"/>
                  </a:cubicBezTo>
                  <a:cubicBezTo>
                    <a:pt x="236" y="86"/>
                    <a:pt x="239" y="84"/>
                    <a:pt x="240" y="84"/>
                  </a:cubicBezTo>
                  <a:cubicBezTo>
                    <a:pt x="242" y="83"/>
                    <a:pt x="244" y="83"/>
                    <a:pt x="245" y="82"/>
                  </a:cubicBezTo>
                  <a:cubicBezTo>
                    <a:pt x="246" y="82"/>
                    <a:pt x="247" y="80"/>
                    <a:pt x="248" y="79"/>
                  </a:cubicBezTo>
                  <a:cubicBezTo>
                    <a:pt x="249" y="79"/>
                    <a:pt x="257" y="71"/>
                    <a:pt x="257" y="71"/>
                  </a:cubicBezTo>
                  <a:lnTo>
                    <a:pt x="255" y="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DE580E74-172F-4BA0-862B-6FC1B7200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8062" y="2991166"/>
              <a:ext cx="1022715" cy="527053"/>
            </a:xfrm>
            <a:custGeom>
              <a:avLst/>
              <a:gdLst>
                <a:gd name="T0" fmla="*/ 258 w 258"/>
                <a:gd name="T1" fmla="*/ 40 h 133"/>
                <a:gd name="T2" fmla="*/ 257 w 258"/>
                <a:gd name="T3" fmla="*/ 38 h 133"/>
                <a:gd name="T4" fmla="*/ 255 w 258"/>
                <a:gd name="T5" fmla="*/ 38 h 133"/>
                <a:gd name="T6" fmla="*/ 251 w 258"/>
                <a:gd name="T7" fmla="*/ 37 h 133"/>
                <a:gd name="T8" fmla="*/ 249 w 258"/>
                <a:gd name="T9" fmla="*/ 34 h 133"/>
                <a:gd name="T10" fmla="*/ 247 w 258"/>
                <a:gd name="T11" fmla="*/ 30 h 133"/>
                <a:gd name="T12" fmla="*/ 247 w 258"/>
                <a:gd name="T13" fmla="*/ 28 h 133"/>
                <a:gd name="T14" fmla="*/ 246 w 258"/>
                <a:gd name="T15" fmla="*/ 28 h 133"/>
                <a:gd name="T16" fmla="*/ 245 w 258"/>
                <a:gd name="T17" fmla="*/ 28 h 133"/>
                <a:gd name="T18" fmla="*/ 243 w 258"/>
                <a:gd name="T19" fmla="*/ 26 h 133"/>
                <a:gd name="T20" fmla="*/ 242 w 258"/>
                <a:gd name="T21" fmla="*/ 24 h 133"/>
                <a:gd name="T22" fmla="*/ 241 w 258"/>
                <a:gd name="T23" fmla="*/ 19 h 133"/>
                <a:gd name="T24" fmla="*/ 242 w 258"/>
                <a:gd name="T25" fmla="*/ 19 h 133"/>
                <a:gd name="T26" fmla="*/ 242 w 258"/>
                <a:gd name="T27" fmla="*/ 18 h 133"/>
                <a:gd name="T28" fmla="*/ 243 w 258"/>
                <a:gd name="T29" fmla="*/ 16 h 133"/>
                <a:gd name="T30" fmla="*/ 243 w 258"/>
                <a:gd name="T31" fmla="*/ 15 h 133"/>
                <a:gd name="T32" fmla="*/ 245 w 258"/>
                <a:gd name="T33" fmla="*/ 15 h 133"/>
                <a:gd name="T34" fmla="*/ 245 w 258"/>
                <a:gd name="T35" fmla="*/ 13 h 133"/>
                <a:gd name="T36" fmla="*/ 247 w 258"/>
                <a:gd name="T37" fmla="*/ 13 h 133"/>
                <a:gd name="T38" fmla="*/ 246 w 258"/>
                <a:gd name="T39" fmla="*/ 11 h 133"/>
                <a:gd name="T40" fmla="*/ 247 w 258"/>
                <a:gd name="T41" fmla="*/ 11 h 133"/>
                <a:gd name="T42" fmla="*/ 248 w 258"/>
                <a:gd name="T43" fmla="*/ 10 h 133"/>
                <a:gd name="T44" fmla="*/ 248 w 258"/>
                <a:gd name="T45" fmla="*/ 8 h 133"/>
                <a:gd name="T46" fmla="*/ 246 w 258"/>
                <a:gd name="T47" fmla="*/ 8 h 133"/>
                <a:gd name="T48" fmla="*/ 245 w 258"/>
                <a:gd name="T49" fmla="*/ 6 h 133"/>
                <a:gd name="T50" fmla="*/ 244 w 258"/>
                <a:gd name="T51" fmla="*/ 5 h 133"/>
                <a:gd name="T52" fmla="*/ 243 w 258"/>
                <a:gd name="T53" fmla="*/ 6 h 133"/>
                <a:gd name="T54" fmla="*/ 242 w 258"/>
                <a:gd name="T55" fmla="*/ 7 h 133"/>
                <a:gd name="T56" fmla="*/ 240 w 258"/>
                <a:gd name="T57" fmla="*/ 7 h 133"/>
                <a:gd name="T58" fmla="*/ 238 w 258"/>
                <a:gd name="T59" fmla="*/ 5 h 133"/>
                <a:gd name="T60" fmla="*/ 236 w 258"/>
                <a:gd name="T61" fmla="*/ 3 h 133"/>
                <a:gd name="T62" fmla="*/ 234 w 258"/>
                <a:gd name="T63" fmla="*/ 1 h 133"/>
                <a:gd name="T64" fmla="*/ 232 w 258"/>
                <a:gd name="T65" fmla="*/ 0 h 133"/>
                <a:gd name="T66" fmla="*/ 0 w 258"/>
                <a:gd name="T67" fmla="*/ 0 h 133"/>
                <a:gd name="T68" fmla="*/ 0 w 258"/>
                <a:gd name="T69" fmla="*/ 133 h 133"/>
                <a:gd name="T70" fmla="*/ 257 w 258"/>
                <a:gd name="T71" fmla="*/ 133 h 133"/>
                <a:gd name="T72" fmla="*/ 258 w 258"/>
                <a:gd name="T73" fmla="*/ 4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133">
                  <a:moveTo>
                    <a:pt x="258" y="40"/>
                  </a:moveTo>
                  <a:cubicBezTo>
                    <a:pt x="257" y="38"/>
                    <a:pt x="257" y="38"/>
                    <a:pt x="257" y="38"/>
                  </a:cubicBezTo>
                  <a:cubicBezTo>
                    <a:pt x="257" y="38"/>
                    <a:pt x="256" y="38"/>
                    <a:pt x="255" y="38"/>
                  </a:cubicBezTo>
                  <a:cubicBezTo>
                    <a:pt x="254" y="38"/>
                    <a:pt x="253" y="37"/>
                    <a:pt x="251" y="37"/>
                  </a:cubicBezTo>
                  <a:cubicBezTo>
                    <a:pt x="250" y="36"/>
                    <a:pt x="250" y="35"/>
                    <a:pt x="249" y="34"/>
                  </a:cubicBezTo>
                  <a:cubicBezTo>
                    <a:pt x="248" y="33"/>
                    <a:pt x="246" y="32"/>
                    <a:pt x="247" y="30"/>
                  </a:cubicBezTo>
                  <a:cubicBezTo>
                    <a:pt x="247" y="29"/>
                    <a:pt x="247" y="29"/>
                    <a:pt x="247" y="28"/>
                  </a:cubicBezTo>
                  <a:cubicBezTo>
                    <a:pt x="247" y="28"/>
                    <a:pt x="246" y="28"/>
                    <a:pt x="246" y="28"/>
                  </a:cubicBezTo>
                  <a:cubicBezTo>
                    <a:pt x="245" y="28"/>
                    <a:pt x="245" y="28"/>
                    <a:pt x="245" y="28"/>
                  </a:cubicBezTo>
                  <a:cubicBezTo>
                    <a:pt x="244" y="27"/>
                    <a:pt x="244" y="26"/>
                    <a:pt x="243" y="26"/>
                  </a:cubicBezTo>
                  <a:cubicBezTo>
                    <a:pt x="243" y="25"/>
                    <a:pt x="242" y="24"/>
                    <a:pt x="242" y="24"/>
                  </a:cubicBezTo>
                  <a:cubicBezTo>
                    <a:pt x="241" y="23"/>
                    <a:pt x="239" y="20"/>
                    <a:pt x="241" y="19"/>
                  </a:cubicBezTo>
                  <a:cubicBezTo>
                    <a:pt x="241" y="19"/>
                    <a:pt x="242" y="19"/>
                    <a:pt x="242" y="19"/>
                  </a:cubicBezTo>
                  <a:cubicBezTo>
                    <a:pt x="242" y="19"/>
                    <a:pt x="242" y="18"/>
                    <a:pt x="242" y="18"/>
                  </a:cubicBezTo>
                  <a:cubicBezTo>
                    <a:pt x="242" y="17"/>
                    <a:pt x="242" y="17"/>
                    <a:pt x="243" y="16"/>
                  </a:cubicBezTo>
                  <a:cubicBezTo>
                    <a:pt x="243" y="16"/>
                    <a:pt x="243" y="16"/>
                    <a:pt x="243" y="15"/>
                  </a:cubicBezTo>
                  <a:cubicBezTo>
                    <a:pt x="244" y="15"/>
                    <a:pt x="244" y="15"/>
                    <a:pt x="245" y="15"/>
                  </a:cubicBezTo>
                  <a:cubicBezTo>
                    <a:pt x="245" y="14"/>
                    <a:pt x="245" y="13"/>
                    <a:pt x="245" y="13"/>
                  </a:cubicBezTo>
                  <a:cubicBezTo>
                    <a:pt x="246" y="13"/>
                    <a:pt x="247" y="13"/>
                    <a:pt x="247" y="13"/>
                  </a:cubicBezTo>
                  <a:cubicBezTo>
                    <a:pt x="247" y="12"/>
                    <a:pt x="245" y="12"/>
                    <a:pt x="246" y="11"/>
                  </a:cubicBezTo>
                  <a:cubicBezTo>
                    <a:pt x="247" y="10"/>
                    <a:pt x="247" y="11"/>
                    <a:pt x="247" y="11"/>
                  </a:cubicBezTo>
                  <a:cubicBezTo>
                    <a:pt x="248" y="11"/>
                    <a:pt x="248" y="10"/>
                    <a:pt x="248" y="10"/>
                  </a:cubicBezTo>
                  <a:cubicBezTo>
                    <a:pt x="248" y="9"/>
                    <a:pt x="248" y="9"/>
                    <a:pt x="248" y="8"/>
                  </a:cubicBezTo>
                  <a:cubicBezTo>
                    <a:pt x="247" y="8"/>
                    <a:pt x="247" y="8"/>
                    <a:pt x="246" y="8"/>
                  </a:cubicBezTo>
                  <a:cubicBezTo>
                    <a:pt x="246" y="7"/>
                    <a:pt x="246" y="6"/>
                    <a:pt x="245" y="6"/>
                  </a:cubicBezTo>
                  <a:cubicBezTo>
                    <a:pt x="245" y="5"/>
                    <a:pt x="245" y="5"/>
                    <a:pt x="244" y="5"/>
                  </a:cubicBezTo>
                  <a:cubicBezTo>
                    <a:pt x="244" y="5"/>
                    <a:pt x="243" y="5"/>
                    <a:pt x="243" y="6"/>
                  </a:cubicBezTo>
                  <a:cubicBezTo>
                    <a:pt x="243" y="6"/>
                    <a:pt x="243" y="7"/>
                    <a:pt x="242" y="7"/>
                  </a:cubicBezTo>
                  <a:cubicBezTo>
                    <a:pt x="242" y="7"/>
                    <a:pt x="241" y="7"/>
                    <a:pt x="240" y="7"/>
                  </a:cubicBezTo>
                  <a:cubicBezTo>
                    <a:pt x="239" y="6"/>
                    <a:pt x="238" y="5"/>
                    <a:pt x="238" y="5"/>
                  </a:cubicBezTo>
                  <a:cubicBezTo>
                    <a:pt x="237" y="4"/>
                    <a:pt x="236" y="4"/>
                    <a:pt x="236" y="3"/>
                  </a:cubicBezTo>
                  <a:cubicBezTo>
                    <a:pt x="235" y="2"/>
                    <a:pt x="235" y="2"/>
                    <a:pt x="234" y="1"/>
                  </a:cubicBezTo>
                  <a:cubicBezTo>
                    <a:pt x="233" y="1"/>
                    <a:pt x="233" y="1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57" y="133"/>
                    <a:pt x="257" y="133"/>
                    <a:pt x="257" y="133"/>
                  </a:cubicBezTo>
                  <a:lnTo>
                    <a:pt x="258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979EDAED-EE14-4544-ABCC-F44F7394F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8249" y="2348458"/>
              <a:ext cx="887234" cy="579924"/>
            </a:xfrm>
            <a:custGeom>
              <a:avLst/>
              <a:gdLst>
                <a:gd name="T0" fmla="*/ 173 w 224"/>
                <a:gd name="T1" fmla="*/ 138 h 146"/>
                <a:gd name="T2" fmla="*/ 176 w 224"/>
                <a:gd name="T3" fmla="*/ 142 h 146"/>
                <a:gd name="T4" fmla="*/ 180 w 224"/>
                <a:gd name="T5" fmla="*/ 145 h 146"/>
                <a:gd name="T6" fmla="*/ 182 w 224"/>
                <a:gd name="T7" fmla="*/ 142 h 146"/>
                <a:gd name="T8" fmla="*/ 182 w 224"/>
                <a:gd name="T9" fmla="*/ 135 h 146"/>
                <a:gd name="T10" fmla="*/ 189 w 224"/>
                <a:gd name="T11" fmla="*/ 133 h 146"/>
                <a:gd name="T12" fmla="*/ 192 w 224"/>
                <a:gd name="T13" fmla="*/ 125 h 146"/>
                <a:gd name="T14" fmla="*/ 195 w 224"/>
                <a:gd name="T15" fmla="*/ 111 h 146"/>
                <a:gd name="T16" fmla="*/ 192 w 224"/>
                <a:gd name="T17" fmla="*/ 100 h 146"/>
                <a:gd name="T18" fmla="*/ 197 w 224"/>
                <a:gd name="T19" fmla="*/ 98 h 146"/>
                <a:gd name="T20" fmla="*/ 206 w 224"/>
                <a:gd name="T21" fmla="*/ 95 h 146"/>
                <a:gd name="T22" fmla="*/ 215 w 224"/>
                <a:gd name="T23" fmla="*/ 91 h 146"/>
                <a:gd name="T24" fmla="*/ 221 w 224"/>
                <a:gd name="T25" fmla="*/ 81 h 146"/>
                <a:gd name="T26" fmla="*/ 223 w 224"/>
                <a:gd name="T27" fmla="*/ 66 h 146"/>
                <a:gd name="T28" fmla="*/ 213 w 224"/>
                <a:gd name="T29" fmla="*/ 54 h 146"/>
                <a:gd name="T30" fmla="*/ 207 w 224"/>
                <a:gd name="T31" fmla="*/ 47 h 146"/>
                <a:gd name="T32" fmla="*/ 203 w 224"/>
                <a:gd name="T33" fmla="*/ 41 h 146"/>
                <a:gd name="T34" fmla="*/ 196 w 224"/>
                <a:gd name="T35" fmla="*/ 39 h 146"/>
                <a:gd name="T36" fmla="*/ 191 w 224"/>
                <a:gd name="T37" fmla="*/ 30 h 146"/>
                <a:gd name="T38" fmla="*/ 189 w 224"/>
                <a:gd name="T39" fmla="*/ 24 h 146"/>
                <a:gd name="T40" fmla="*/ 190 w 224"/>
                <a:gd name="T41" fmla="*/ 15 h 146"/>
                <a:gd name="T42" fmla="*/ 187 w 224"/>
                <a:gd name="T43" fmla="*/ 7 h 146"/>
                <a:gd name="T44" fmla="*/ 187 w 224"/>
                <a:gd name="T45" fmla="*/ 0 h 146"/>
                <a:gd name="T46" fmla="*/ 1 w 224"/>
                <a:gd name="T47" fmla="*/ 3 h 146"/>
                <a:gd name="T48" fmla="*/ 2 w 224"/>
                <a:gd name="T49" fmla="*/ 10 h 146"/>
                <a:gd name="T50" fmla="*/ 6 w 224"/>
                <a:gd name="T51" fmla="*/ 14 h 146"/>
                <a:gd name="T52" fmla="*/ 5 w 224"/>
                <a:gd name="T53" fmla="*/ 22 h 146"/>
                <a:gd name="T54" fmla="*/ 3 w 224"/>
                <a:gd name="T55" fmla="*/ 28 h 146"/>
                <a:gd name="T56" fmla="*/ 0 w 224"/>
                <a:gd name="T57" fmla="*/ 37 h 146"/>
                <a:gd name="T58" fmla="*/ 6 w 224"/>
                <a:gd name="T59" fmla="*/ 46 h 146"/>
                <a:gd name="T60" fmla="*/ 8 w 224"/>
                <a:gd name="T61" fmla="*/ 52 h 146"/>
                <a:gd name="T62" fmla="*/ 11 w 224"/>
                <a:gd name="T63" fmla="*/ 59 h 146"/>
                <a:gd name="T64" fmla="*/ 12 w 224"/>
                <a:gd name="T65" fmla="*/ 65 h 146"/>
                <a:gd name="T66" fmla="*/ 14 w 224"/>
                <a:gd name="T67" fmla="*/ 71 h 146"/>
                <a:gd name="T68" fmla="*/ 17 w 224"/>
                <a:gd name="T69" fmla="*/ 73 h 146"/>
                <a:gd name="T70" fmla="*/ 19 w 224"/>
                <a:gd name="T71" fmla="*/ 82 h 146"/>
                <a:gd name="T72" fmla="*/ 18 w 224"/>
                <a:gd name="T73" fmla="*/ 87 h 146"/>
                <a:gd name="T74" fmla="*/ 20 w 224"/>
                <a:gd name="T75" fmla="*/ 94 h 146"/>
                <a:gd name="T76" fmla="*/ 24 w 224"/>
                <a:gd name="T77" fmla="*/ 96 h 146"/>
                <a:gd name="T78" fmla="*/ 25 w 224"/>
                <a:gd name="T79" fmla="*/ 105 h 146"/>
                <a:gd name="T80" fmla="*/ 26 w 224"/>
                <a:gd name="T81" fmla="*/ 113 h 146"/>
                <a:gd name="T82" fmla="*/ 28 w 224"/>
                <a:gd name="T83" fmla="*/ 127 h 146"/>
                <a:gd name="T84" fmla="*/ 29 w 224"/>
                <a:gd name="T85" fmla="*/ 133 h 146"/>
                <a:gd name="T86" fmla="*/ 169 w 224"/>
                <a:gd name="T87" fmla="*/ 13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4" h="146">
                  <a:moveTo>
                    <a:pt x="169" y="135"/>
                  </a:moveTo>
                  <a:cubicBezTo>
                    <a:pt x="169" y="135"/>
                    <a:pt x="170" y="137"/>
                    <a:pt x="171" y="137"/>
                  </a:cubicBezTo>
                  <a:cubicBezTo>
                    <a:pt x="171" y="137"/>
                    <a:pt x="173" y="138"/>
                    <a:pt x="173" y="138"/>
                  </a:cubicBezTo>
                  <a:cubicBezTo>
                    <a:pt x="173" y="138"/>
                    <a:pt x="174" y="139"/>
                    <a:pt x="174" y="139"/>
                  </a:cubicBezTo>
                  <a:cubicBezTo>
                    <a:pt x="174" y="139"/>
                    <a:pt x="174" y="141"/>
                    <a:pt x="175" y="141"/>
                  </a:cubicBezTo>
                  <a:cubicBezTo>
                    <a:pt x="175" y="141"/>
                    <a:pt x="176" y="142"/>
                    <a:pt x="176" y="142"/>
                  </a:cubicBezTo>
                  <a:cubicBezTo>
                    <a:pt x="176" y="142"/>
                    <a:pt x="176" y="143"/>
                    <a:pt x="176" y="143"/>
                  </a:cubicBezTo>
                  <a:cubicBezTo>
                    <a:pt x="177" y="144"/>
                    <a:pt x="177" y="144"/>
                    <a:pt x="178" y="144"/>
                  </a:cubicBezTo>
                  <a:cubicBezTo>
                    <a:pt x="178" y="144"/>
                    <a:pt x="180" y="145"/>
                    <a:pt x="180" y="145"/>
                  </a:cubicBezTo>
                  <a:cubicBezTo>
                    <a:pt x="180" y="146"/>
                    <a:pt x="180" y="146"/>
                    <a:pt x="180" y="146"/>
                  </a:cubicBezTo>
                  <a:cubicBezTo>
                    <a:pt x="180" y="146"/>
                    <a:pt x="181" y="145"/>
                    <a:pt x="181" y="145"/>
                  </a:cubicBezTo>
                  <a:cubicBezTo>
                    <a:pt x="182" y="144"/>
                    <a:pt x="182" y="142"/>
                    <a:pt x="182" y="142"/>
                  </a:cubicBezTo>
                  <a:cubicBezTo>
                    <a:pt x="182" y="141"/>
                    <a:pt x="181" y="140"/>
                    <a:pt x="181" y="139"/>
                  </a:cubicBezTo>
                  <a:cubicBezTo>
                    <a:pt x="181" y="139"/>
                    <a:pt x="181" y="138"/>
                    <a:pt x="181" y="137"/>
                  </a:cubicBezTo>
                  <a:cubicBezTo>
                    <a:pt x="181" y="136"/>
                    <a:pt x="182" y="136"/>
                    <a:pt x="182" y="135"/>
                  </a:cubicBezTo>
                  <a:cubicBezTo>
                    <a:pt x="183" y="135"/>
                    <a:pt x="183" y="134"/>
                    <a:pt x="184" y="134"/>
                  </a:cubicBezTo>
                  <a:cubicBezTo>
                    <a:pt x="185" y="134"/>
                    <a:pt x="186" y="134"/>
                    <a:pt x="187" y="134"/>
                  </a:cubicBezTo>
                  <a:cubicBezTo>
                    <a:pt x="188" y="134"/>
                    <a:pt x="189" y="134"/>
                    <a:pt x="189" y="133"/>
                  </a:cubicBezTo>
                  <a:cubicBezTo>
                    <a:pt x="190" y="132"/>
                    <a:pt x="190" y="132"/>
                    <a:pt x="191" y="131"/>
                  </a:cubicBezTo>
                  <a:cubicBezTo>
                    <a:pt x="191" y="130"/>
                    <a:pt x="191" y="128"/>
                    <a:pt x="191" y="128"/>
                  </a:cubicBezTo>
                  <a:cubicBezTo>
                    <a:pt x="191" y="127"/>
                    <a:pt x="191" y="126"/>
                    <a:pt x="192" y="125"/>
                  </a:cubicBezTo>
                  <a:cubicBezTo>
                    <a:pt x="192" y="124"/>
                    <a:pt x="194" y="123"/>
                    <a:pt x="195" y="122"/>
                  </a:cubicBezTo>
                  <a:cubicBezTo>
                    <a:pt x="196" y="121"/>
                    <a:pt x="196" y="118"/>
                    <a:pt x="196" y="117"/>
                  </a:cubicBezTo>
                  <a:cubicBezTo>
                    <a:pt x="196" y="116"/>
                    <a:pt x="196" y="112"/>
                    <a:pt x="195" y="111"/>
                  </a:cubicBezTo>
                  <a:cubicBezTo>
                    <a:pt x="194" y="109"/>
                    <a:pt x="192" y="107"/>
                    <a:pt x="191" y="107"/>
                  </a:cubicBezTo>
                  <a:cubicBezTo>
                    <a:pt x="191" y="106"/>
                    <a:pt x="191" y="105"/>
                    <a:pt x="191" y="104"/>
                  </a:cubicBezTo>
                  <a:cubicBezTo>
                    <a:pt x="191" y="103"/>
                    <a:pt x="192" y="101"/>
                    <a:pt x="192" y="100"/>
                  </a:cubicBezTo>
                  <a:cubicBezTo>
                    <a:pt x="192" y="100"/>
                    <a:pt x="193" y="98"/>
                    <a:pt x="193" y="98"/>
                  </a:cubicBezTo>
                  <a:cubicBezTo>
                    <a:pt x="194" y="98"/>
                    <a:pt x="194" y="97"/>
                    <a:pt x="195" y="97"/>
                  </a:cubicBezTo>
                  <a:cubicBezTo>
                    <a:pt x="196" y="97"/>
                    <a:pt x="196" y="98"/>
                    <a:pt x="197" y="98"/>
                  </a:cubicBezTo>
                  <a:cubicBezTo>
                    <a:pt x="198" y="97"/>
                    <a:pt x="198" y="97"/>
                    <a:pt x="199" y="96"/>
                  </a:cubicBezTo>
                  <a:cubicBezTo>
                    <a:pt x="200" y="96"/>
                    <a:pt x="201" y="96"/>
                    <a:pt x="201" y="96"/>
                  </a:cubicBezTo>
                  <a:cubicBezTo>
                    <a:pt x="202" y="96"/>
                    <a:pt x="206" y="96"/>
                    <a:pt x="206" y="95"/>
                  </a:cubicBezTo>
                  <a:cubicBezTo>
                    <a:pt x="207" y="94"/>
                    <a:pt x="207" y="94"/>
                    <a:pt x="208" y="93"/>
                  </a:cubicBezTo>
                  <a:cubicBezTo>
                    <a:pt x="210" y="93"/>
                    <a:pt x="211" y="94"/>
                    <a:pt x="212" y="93"/>
                  </a:cubicBezTo>
                  <a:cubicBezTo>
                    <a:pt x="213" y="93"/>
                    <a:pt x="214" y="92"/>
                    <a:pt x="215" y="91"/>
                  </a:cubicBezTo>
                  <a:cubicBezTo>
                    <a:pt x="216" y="91"/>
                    <a:pt x="216" y="91"/>
                    <a:pt x="217" y="89"/>
                  </a:cubicBezTo>
                  <a:cubicBezTo>
                    <a:pt x="218" y="88"/>
                    <a:pt x="218" y="86"/>
                    <a:pt x="218" y="85"/>
                  </a:cubicBezTo>
                  <a:cubicBezTo>
                    <a:pt x="218" y="83"/>
                    <a:pt x="219" y="82"/>
                    <a:pt x="221" y="81"/>
                  </a:cubicBezTo>
                  <a:cubicBezTo>
                    <a:pt x="222" y="80"/>
                    <a:pt x="223" y="79"/>
                    <a:pt x="223" y="78"/>
                  </a:cubicBezTo>
                  <a:cubicBezTo>
                    <a:pt x="224" y="76"/>
                    <a:pt x="224" y="73"/>
                    <a:pt x="224" y="71"/>
                  </a:cubicBezTo>
                  <a:cubicBezTo>
                    <a:pt x="224" y="70"/>
                    <a:pt x="224" y="67"/>
                    <a:pt x="223" y="66"/>
                  </a:cubicBezTo>
                  <a:cubicBezTo>
                    <a:pt x="222" y="65"/>
                    <a:pt x="218" y="62"/>
                    <a:pt x="216" y="61"/>
                  </a:cubicBezTo>
                  <a:cubicBezTo>
                    <a:pt x="215" y="60"/>
                    <a:pt x="214" y="59"/>
                    <a:pt x="214" y="57"/>
                  </a:cubicBezTo>
                  <a:cubicBezTo>
                    <a:pt x="214" y="56"/>
                    <a:pt x="214" y="55"/>
                    <a:pt x="213" y="54"/>
                  </a:cubicBezTo>
                  <a:cubicBezTo>
                    <a:pt x="212" y="53"/>
                    <a:pt x="211" y="52"/>
                    <a:pt x="210" y="51"/>
                  </a:cubicBezTo>
                  <a:cubicBezTo>
                    <a:pt x="208" y="50"/>
                    <a:pt x="207" y="50"/>
                    <a:pt x="207" y="49"/>
                  </a:cubicBezTo>
                  <a:cubicBezTo>
                    <a:pt x="207" y="49"/>
                    <a:pt x="207" y="47"/>
                    <a:pt x="207" y="47"/>
                  </a:cubicBezTo>
                  <a:cubicBezTo>
                    <a:pt x="206" y="46"/>
                    <a:pt x="206" y="45"/>
                    <a:pt x="206" y="44"/>
                  </a:cubicBezTo>
                  <a:cubicBezTo>
                    <a:pt x="205" y="44"/>
                    <a:pt x="205" y="43"/>
                    <a:pt x="205" y="42"/>
                  </a:cubicBezTo>
                  <a:cubicBezTo>
                    <a:pt x="204" y="42"/>
                    <a:pt x="204" y="41"/>
                    <a:pt x="203" y="41"/>
                  </a:cubicBezTo>
                  <a:cubicBezTo>
                    <a:pt x="202" y="40"/>
                    <a:pt x="201" y="40"/>
                    <a:pt x="200" y="40"/>
                  </a:cubicBezTo>
                  <a:cubicBezTo>
                    <a:pt x="199" y="40"/>
                    <a:pt x="199" y="40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5" y="39"/>
                    <a:pt x="195" y="38"/>
                    <a:pt x="194" y="38"/>
                  </a:cubicBezTo>
                  <a:cubicBezTo>
                    <a:pt x="192" y="36"/>
                    <a:pt x="192" y="34"/>
                    <a:pt x="192" y="32"/>
                  </a:cubicBezTo>
                  <a:cubicBezTo>
                    <a:pt x="192" y="31"/>
                    <a:pt x="192" y="30"/>
                    <a:pt x="191" y="30"/>
                  </a:cubicBezTo>
                  <a:cubicBezTo>
                    <a:pt x="191" y="29"/>
                    <a:pt x="190" y="28"/>
                    <a:pt x="190" y="28"/>
                  </a:cubicBezTo>
                  <a:cubicBezTo>
                    <a:pt x="190" y="27"/>
                    <a:pt x="189" y="27"/>
                    <a:pt x="189" y="26"/>
                  </a:cubicBezTo>
                  <a:cubicBezTo>
                    <a:pt x="189" y="25"/>
                    <a:pt x="189" y="25"/>
                    <a:pt x="189" y="24"/>
                  </a:cubicBezTo>
                  <a:cubicBezTo>
                    <a:pt x="188" y="23"/>
                    <a:pt x="189" y="21"/>
                    <a:pt x="189" y="20"/>
                  </a:cubicBezTo>
                  <a:cubicBezTo>
                    <a:pt x="189" y="19"/>
                    <a:pt x="188" y="18"/>
                    <a:pt x="189" y="17"/>
                  </a:cubicBezTo>
                  <a:cubicBezTo>
                    <a:pt x="189" y="16"/>
                    <a:pt x="190" y="15"/>
                    <a:pt x="190" y="15"/>
                  </a:cubicBezTo>
                  <a:cubicBezTo>
                    <a:pt x="191" y="14"/>
                    <a:pt x="192" y="13"/>
                    <a:pt x="192" y="13"/>
                  </a:cubicBezTo>
                  <a:cubicBezTo>
                    <a:pt x="193" y="10"/>
                    <a:pt x="190" y="9"/>
                    <a:pt x="188" y="8"/>
                  </a:cubicBezTo>
                  <a:cubicBezTo>
                    <a:pt x="188" y="8"/>
                    <a:pt x="187" y="7"/>
                    <a:pt x="187" y="7"/>
                  </a:cubicBezTo>
                  <a:cubicBezTo>
                    <a:pt x="187" y="6"/>
                    <a:pt x="187" y="6"/>
                    <a:pt x="187" y="5"/>
                  </a:cubicBezTo>
                  <a:cubicBezTo>
                    <a:pt x="187" y="4"/>
                    <a:pt x="187" y="4"/>
                    <a:pt x="187" y="3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2" y="3"/>
                    <a:pt x="4" y="5"/>
                    <a:pt x="4" y="5"/>
                  </a:cubicBezTo>
                  <a:cubicBezTo>
                    <a:pt x="4" y="6"/>
                    <a:pt x="4" y="9"/>
                    <a:pt x="4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6" y="14"/>
                    <a:pt x="6" y="14"/>
                  </a:cubicBezTo>
                  <a:cubicBezTo>
                    <a:pt x="6" y="14"/>
                    <a:pt x="7" y="18"/>
                    <a:pt x="7" y="19"/>
                  </a:cubicBezTo>
                  <a:cubicBezTo>
                    <a:pt x="7" y="19"/>
                    <a:pt x="7" y="20"/>
                    <a:pt x="7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5" y="22"/>
                    <a:pt x="4" y="22"/>
                    <a:pt x="4" y="23"/>
                  </a:cubicBezTo>
                  <a:cubicBezTo>
                    <a:pt x="4" y="23"/>
                    <a:pt x="5" y="26"/>
                    <a:pt x="5" y="27"/>
                  </a:cubicBezTo>
                  <a:cubicBezTo>
                    <a:pt x="5" y="27"/>
                    <a:pt x="3" y="28"/>
                    <a:pt x="3" y="28"/>
                  </a:cubicBezTo>
                  <a:cubicBezTo>
                    <a:pt x="3" y="29"/>
                    <a:pt x="3" y="32"/>
                    <a:pt x="3" y="32"/>
                  </a:cubicBezTo>
                  <a:cubicBezTo>
                    <a:pt x="3" y="32"/>
                    <a:pt x="0" y="35"/>
                    <a:pt x="0" y="35"/>
                  </a:cubicBezTo>
                  <a:cubicBezTo>
                    <a:pt x="0" y="35"/>
                    <a:pt x="0" y="37"/>
                    <a:pt x="0" y="37"/>
                  </a:cubicBezTo>
                  <a:cubicBezTo>
                    <a:pt x="0" y="38"/>
                    <a:pt x="4" y="41"/>
                    <a:pt x="4" y="41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6" y="46"/>
                    <a:pt x="6" y="46"/>
                  </a:cubicBezTo>
                  <a:cubicBezTo>
                    <a:pt x="6" y="46"/>
                    <a:pt x="5" y="48"/>
                    <a:pt x="5" y="48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52"/>
                    <a:pt x="8" y="52"/>
                  </a:cubicBezTo>
                  <a:cubicBezTo>
                    <a:pt x="8" y="53"/>
                    <a:pt x="8" y="54"/>
                    <a:pt x="8" y="55"/>
                  </a:cubicBezTo>
                  <a:cubicBezTo>
                    <a:pt x="8" y="55"/>
                    <a:pt x="9" y="57"/>
                    <a:pt x="9" y="57"/>
                  </a:cubicBezTo>
                  <a:cubicBezTo>
                    <a:pt x="10" y="58"/>
                    <a:pt x="11" y="59"/>
                    <a:pt x="11" y="59"/>
                  </a:cubicBezTo>
                  <a:cubicBezTo>
                    <a:pt x="11" y="59"/>
                    <a:pt x="10" y="61"/>
                    <a:pt x="10" y="61"/>
                  </a:cubicBezTo>
                  <a:cubicBezTo>
                    <a:pt x="10" y="62"/>
                    <a:pt x="10" y="63"/>
                    <a:pt x="10" y="63"/>
                  </a:cubicBezTo>
                  <a:cubicBezTo>
                    <a:pt x="10" y="63"/>
                    <a:pt x="12" y="65"/>
                    <a:pt x="12" y="65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4" y="69"/>
                    <a:pt x="14" y="69"/>
                  </a:cubicBezTo>
                  <a:cubicBezTo>
                    <a:pt x="14" y="69"/>
                    <a:pt x="14" y="71"/>
                    <a:pt x="14" y="71"/>
                  </a:cubicBezTo>
                  <a:cubicBezTo>
                    <a:pt x="14" y="72"/>
                    <a:pt x="15" y="71"/>
                    <a:pt x="15" y="71"/>
                  </a:cubicBezTo>
                  <a:cubicBezTo>
                    <a:pt x="16" y="71"/>
                    <a:pt x="16" y="72"/>
                    <a:pt x="16" y="72"/>
                  </a:cubicBezTo>
                  <a:cubicBezTo>
                    <a:pt x="16" y="72"/>
                    <a:pt x="17" y="72"/>
                    <a:pt x="17" y="73"/>
                  </a:cubicBezTo>
                  <a:cubicBezTo>
                    <a:pt x="18" y="73"/>
                    <a:pt x="16" y="76"/>
                    <a:pt x="16" y="76"/>
                  </a:cubicBezTo>
                  <a:cubicBezTo>
                    <a:pt x="16" y="76"/>
                    <a:pt x="19" y="79"/>
                    <a:pt x="20" y="80"/>
                  </a:cubicBezTo>
                  <a:cubicBezTo>
                    <a:pt x="20" y="80"/>
                    <a:pt x="19" y="82"/>
                    <a:pt x="19" y="82"/>
                  </a:cubicBezTo>
                  <a:cubicBezTo>
                    <a:pt x="19" y="82"/>
                    <a:pt x="19" y="84"/>
                    <a:pt x="19" y="85"/>
                  </a:cubicBezTo>
                  <a:cubicBezTo>
                    <a:pt x="19" y="85"/>
                    <a:pt x="18" y="85"/>
                    <a:pt x="18" y="85"/>
                  </a:cubicBezTo>
                  <a:cubicBezTo>
                    <a:pt x="18" y="85"/>
                    <a:pt x="18" y="87"/>
                    <a:pt x="18" y="87"/>
                  </a:cubicBezTo>
                  <a:cubicBezTo>
                    <a:pt x="18" y="87"/>
                    <a:pt x="18" y="89"/>
                    <a:pt x="18" y="89"/>
                  </a:cubicBezTo>
                  <a:cubicBezTo>
                    <a:pt x="18" y="89"/>
                    <a:pt x="19" y="91"/>
                    <a:pt x="19" y="92"/>
                  </a:cubicBezTo>
                  <a:cubicBezTo>
                    <a:pt x="19" y="92"/>
                    <a:pt x="20" y="94"/>
                    <a:pt x="20" y="94"/>
                  </a:cubicBezTo>
                  <a:cubicBezTo>
                    <a:pt x="20" y="94"/>
                    <a:pt x="21" y="92"/>
                    <a:pt x="22" y="92"/>
                  </a:cubicBezTo>
                  <a:cubicBezTo>
                    <a:pt x="22" y="92"/>
                    <a:pt x="21" y="95"/>
                    <a:pt x="21" y="95"/>
                  </a:cubicBezTo>
                  <a:cubicBezTo>
                    <a:pt x="21" y="95"/>
                    <a:pt x="24" y="96"/>
                    <a:pt x="24" y="96"/>
                  </a:cubicBezTo>
                  <a:cubicBezTo>
                    <a:pt x="25" y="97"/>
                    <a:pt x="25" y="98"/>
                    <a:pt x="25" y="99"/>
                  </a:cubicBezTo>
                  <a:cubicBezTo>
                    <a:pt x="25" y="99"/>
                    <a:pt x="26" y="102"/>
                    <a:pt x="26" y="103"/>
                  </a:cubicBezTo>
                  <a:cubicBezTo>
                    <a:pt x="26" y="104"/>
                    <a:pt x="25" y="104"/>
                    <a:pt x="25" y="105"/>
                  </a:cubicBezTo>
                  <a:cubicBezTo>
                    <a:pt x="24" y="105"/>
                    <a:pt x="24" y="106"/>
                    <a:pt x="24" y="107"/>
                  </a:cubicBezTo>
                  <a:cubicBezTo>
                    <a:pt x="24" y="108"/>
                    <a:pt x="25" y="109"/>
                    <a:pt x="26" y="109"/>
                  </a:cubicBezTo>
                  <a:cubicBezTo>
                    <a:pt x="26" y="110"/>
                    <a:pt x="26" y="112"/>
                    <a:pt x="26" y="113"/>
                  </a:cubicBezTo>
                  <a:cubicBezTo>
                    <a:pt x="26" y="114"/>
                    <a:pt x="27" y="116"/>
                    <a:pt x="27" y="117"/>
                  </a:cubicBezTo>
                  <a:cubicBezTo>
                    <a:pt x="28" y="118"/>
                    <a:pt x="28" y="121"/>
                    <a:pt x="28" y="122"/>
                  </a:cubicBezTo>
                  <a:cubicBezTo>
                    <a:pt x="28" y="123"/>
                    <a:pt x="28" y="126"/>
                    <a:pt x="28" y="127"/>
                  </a:cubicBezTo>
                  <a:cubicBezTo>
                    <a:pt x="27" y="129"/>
                    <a:pt x="27" y="129"/>
                    <a:pt x="26" y="129"/>
                  </a:cubicBezTo>
                  <a:cubicBezTo>
                    <a:pt x="25" y="130"/>
                    <a:pt x="26" y="131"/>
                    <a:pt x="27" y="131"/>
                  </a:cubicBezTo>
                  <a:cubicBezTo>
                    <a:pt x="27" y="132"/>
                    <a:pt x="29" y="132"/>
                    <a:pt x="29" y="133"/>
                  </a:cubicBezTo>
                  <a:cubicBezTo>
                    <a:pt x="30" y="133"/>
                    <a:pt x="30" y="136"/>
                    <a:pt x="30" y="136"/>
                  </a:cubicBezTo>
                  <a:cubicBezTo>
                    <a:pt x="70" y="136"/>
                    <a:pt x="70" y="136"/>
                    <a:pt x="70" y="136"/>
                  </a:cubicBezTo>
                  <a:lnTo>
                    <a:pt x="169" y="13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5BFB2D03-DDB8-4954-B6EF-BCB2CFDEC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8009" y="2673942"/>
              <a:ext cx="451052" cy="713753"/>
            </a:xfrm>
            <a:custGeom>
              <a:avLst/>
              <a:gdLst>
                <a:gd name="T0" fmla="*/ 5 w 114"/>
                <a:gd name="T1" fmla="*/ 175 h 180"/>
                <a:gd name="T2" fmla="*/ 9 w 114"/>
                <a:gd name="T3" fmla="*/ 175 h 180"/>
                <a:gd name="T4" fmla="*/ 14 w 114"/>
                <a:gd name="T5" fmla="*/ 176 h 180"/>
                <a:gd name="T6" fmla="*/ 16 w 114"/>
                <a:gd name="T7" fmla="*/ 173 h 180"/>
                <a:gd name="T8" fmla="*/ 20 w 114"/>
                <a:gd name="T9" fmla="*/ 173 h 180"/>
                <a:gd name="T10" fmla="*/ 30 w 114"/>
                <a:gd name="T11" fmla="*/ 176 h 180"/>
                <a:gd name="T12" fmla="*/ 33 w 114"/>
                <a:gd name="T13" fmla="*/ 179 h 180"/>
                <a:gd name="T14" fmla="*/ 36 w 114"/>
                <a:gd name="T15" fmla="*/ 174 h 180"/>
                <a:gd name="T16" fmla="*/ 44 w 114"/>
                <a:gd name="T17" fmla="*/ 170 h 180"/>
                <a:gd name="T18" fmla="*/ 49 w 114"/>
                <a:gd name="T19" fmla="*/ 174 h 180"/>
                <a:gd name="T20" fmla="*/ 52 w 114"/>
                <a:gd name="T21" fmla="*/ 176 h 180"/>
                <a:gd name="T22" fmla="*/ 54 w 114"/>
                <a:gd name="T23" fmla="*/ 170 h 180"/>
                <a:gd name="T24" fmla="*/ 56 w 114"/>
                <a:gd name="T25" fmla="*/ 165 h 180"/>
                <a:gd name="T26" fmla="*/ 60 w 114"/>
                <a:gd name="T27" fmla="*/ 162 h 180"/>
                <a:gd name="T28" fmla="*/ 63 w 114"/>
                <a:gd name="T29" fmla="*/ 164 h 180"/>
                <a:gd name="T30" fmla="*/ 69 w 114"/>
                <a:gd name="T31" fmla="*/ 170 h 180"/>
                <a:gd name="T32" fmla="*/ 75 w 114"/>
                <a:gd name="T33" fmla="*/ 168 h 180"/>
                <a:gd name="T34" fmla="*/ 78 w 114"/>
                <a:gd name="T35" fmla="*/ 158 h 180"/>
                <a:gd name="T36" fmla="*/ 85 w 114"/>
                <a:gd name="T37" fmla="*/ 154 h 180"/>
                <a:gd name="T38" fmla="*/ 92 w 114"/>
                <a:gd name="T39" fmla="*/ 145 h 180"/>
                <a:gd name="T40" fmla="*/ 95 w 114"/>
                <a:gd name="T41" fmla="*/ 137 h 180"/>
                <a:gd name="T42" fmla="*/ 103 w 114"/>
                <a:gd name="T43" fmla="*/ 138 h 180"/>
                <a:gd name="T44" fmla="*/ 113 w 114"/>
                <a:gd name="T45" fmla="*/ 135 h 180"/>
                <a:gd name="T46" fmla="*/ 113 w 114"/>
                <a:gd name="T47" fmla="*/ 130 h 180"/>
                <a:gd name="T48" fmla="*/ 112 w 114"/>
                <a:gd name="T49" fmla="*/ 126 h 180"/>
                <a:gd name="T50" fmla="*/ 113 w 114"/>
                <a:gd name="T51" fmla="*/ 120 h 180"/>
                <a:gd name="T52" fmla="*/ 45 w 114"/>
                <a:gd name="T53" fmla="*/ 0 h 180"/>
                <a:gd name="T54" fmla="*/ 41 w 114"/>
                <a:gd name="T55" fmla="*/ 2 h 180"/>
                <a:gd name="T56" fmla="*/ 33 w 114"/>
                <a:gd name="T57" fmla="*/ 6 h 180"/>
                <a:gd name="T58" fmla="*/ 30 w 114"/>
                <a:gd name="T59" fmla="*/ 7 h 180"/>
                <a:gd name="T60" fmla="*/ 27 w 114"/>
                <a:gd name="T61" fmla="*/ 7 h 180"/>
                <a:gd name="T62" fmla="*/ 22 w 114"/>
                <a:gd name="T63" fmla="*/ 4 h 180"/>
                <a:gd name="T64" fmla="*/ 19 w 114"/>
                <a:gd name="T65" fmla="*/ 0 h 180"/>
                <a:gd name="T66" fmla="*/ 17 w 114"/>
                <a:gd name="T67" fmla="*/ 113 h 180"/>
                <a:gd name="T68" fmla="*/ 16 w 114"/>
                <a:gd name="T69" fmla="*/ 119 h 180"/>
                <a:gd name="T70" fmla="*/ 18 w 114"/>
                <a:gd name="T71" fmla="*/ 123 h 180"/>
                <a:gd name="T72" fmla="*/ 20 w 114"/>
                <a:gd name="T73" fmla="*/ 128 h 180"/>
                <a:gd name="T74" fmla="*/ 19 w 114"/>
                <a:gd name="T75" fmla="*/ 133 h 180"/>
                <a:gd name="T76" fmla="*/ 17 w 114"/>
                <a:gd name="T77" fmla="*/ 141 h 180"/>
                <a:gd name="T78" fmla="*/ 15 w 114"/>
                <a:gd name="T79" fmla="*/ 145 h 180"/>
                <a:gd name="T80" fmla="*/ 14 w 114"/>
                <a:gd name="T81" fmla="*/ 148 h 180"/>
                <a:gd name="T82" fmla="*/ 9 w 114"/>
                <a:gd name="T83" fmla="*/ 154 h 180"/>
                <a:gd name="T84" fmla="*/ 6 w 114"/>
                <a:gd name="T85" fmla="*/ 157 h 180"/>
                <a:gd name="T86" fmla="*/ 4 w 114"/>
                <a:gd name="T87" fmla="*/ 158 h 180"/>
                <a:gd name="T88" fmla="*/ 6 w 114"/>
                <a:gd name="T89" fmla="*/ 162 h 180"/>
                <a:gd name="T90" fmla="*/ 5 w 114"/>
                <a:gd name="T91" fmla="*/ 166 h 180"/>
                <a:gd name="T92" fmla="*/ 3 w 114"/>
                <a:gd name="T93" fmla="*/ 168 h 180"/>
                <a:gd name="T94" fmla="*/ 1 w 114"/>
                <a:gd name="T95" fmla="*/ 173 h 180"/>
                <a:gd name="T96" fmla="*/ 2 w 114"/>
                <a:gd name="T97" fmla="*/ 177 h 180"/>
                <a:gd name="T98" fmla="*/ 5 w 114"/>
                <a:gd name="T99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4" h="180">
                  <a:moveTo>
                    <a:pt x="7" y="178"/>
                  </a:moveTo>
                  <a:cubicBezTo>
                    <a:pt x="7" y="178"/>
                    <a:pt x="6" y="177"/>
                    <a:pt x="6" y="177"/>
                  </a:cubicBezTo>
                  <a:cubicBezTo>
                    <a:pt x="6" y="177"/>
                    <a:pt x="5" y="176"/>
                    <a:pt x="5" y="175"/>
                  </a:cubicBezTo>
                  <a:cubicBezTo>
                    <a:pt x="6" y="175"/>
                    <a:pt x="6" y="173"/>
                    <a:pt x="6" y="173"/>
                  </a:cubicBezTo>
                  <a:cubicBezTo>
                    <a:pt x="6" y="173"/>
                    <a:pt x="7" y="173"/>
                    <a:pt x="8" y="173"/>
                  </a:cubicBezTo>
                  <a:cubicBezTo>
                    <a:pt x="8" y="174"/>
                    <a:pt x="9" y="175"/>
                    <a:pt x="9" y="175"/>
                  </a:cubicBezTo>
                  <a:cubicBezTo>
                    <a:pt x="9" y="175"/>
                    <a:pt x="11" y="175"/>
                    <a:pt x="12" y="175"/>
                  </a:cubicBezTo>
                  <a:cubicBezTo>
                    <a:pt x="12" y="174"/>
                    <a:pt x="13" y="174"/>
                    <a:pt x="13" y="174"/>
                  </a:cubicBezTo>
                  <a:cubicBezTo>
                    <a:pt x="14" y="174"/>
                    <a:pt x="14" y="175"/>
                    <a:pt x="14" y="176"/>
                  </a:cubicBezTo>
                  <a:cubicBezTo>
                    <a:pt x="14" y="176"/>
                    <a:pt x="14" y="177"/>
                    <a:pt x="15" y="177"/>
                  </a:cubicBezTo>
                  <a:cubicBezTo>
                    <a:pt x="17" y="177"/>
                    <a:pt x="17" y="177"/>
                    <a:pt x="17" y="176"/>
                  </a:cubicBezTo>
                  <a:cubicBezTo>
                    <a:pt x="17" y="176"/>
                    <a:pt x="17" y="174"/>
                    <a:pt x="16" y="173"/>
                  </a:cubicBezTo>
                  <a:cubicBezTo>
                    <a:pt x="16" y="173"/>
                    <a:pt x="16" y="172"/>
                    <a:pt x="17" y="171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19" y="172"/>
                    <a:pt x="20" y="173"/>
                    <a:pt x="20" y="173"/>
                  </a:cubicBezTo>
                  <a:cubicBezTo>
                    <a:pt x="21" y="173"/>
                    <a:pt x="21" y="173"/>
                    <a:pt x="22" y="172"/>
                  </a:cubicBezTo>
                  <a:cubicBezTo>
                    <a:pt x="23" y="172"/>
                    <a:pt x="24" y="172"/>
                    <a:pt x="24" y="172"/>
                  </a:cubicBezTo>
                  <a:cubicBezTo>
                    <a:pt x="24" y="172"/>
                    <a:pt x="30" y="176"/>
                    <a:pt x="30" y="176"/>
                  </a:cubicBezTo>
                  <a:cubicBezTo>
                    <a:pt x="31" y="176"/>
                    <a:pt x="32" y="176"/>
                    <a:pt x="32" y="176"/>
                  </a:cubicBezTo>
                  <a:cubicBezTo>
                    <a:pt x="32" y="176"/>
                    <a:pt x="32" y="177"/>
                    <a:pt x="33" y="177"/>
                  </a:cubicBezTo>
                  <a:cubicBezTo>
                    <a:pt x="33" y="178"/>
                    <a:pt x="33" y="179"/>
                    <a:pt x="33" y="179"/>
                  </a:cubicBezTo>
                  <a:cubicBezTo>
                    <a:pt x="33" y="179"/>
                    <a:pt x="34" y="179"/>
                    <a:pt x="34" y="179"/>
                  </a:cubicBezTo>
                  <a:cubicBezTo>
                    <a:pt x="35" y="178"/>
                    <a:pt x="35" y="177"/>
                    <a:pt x="35" y="177"/>
                  </a:cubicBezTo>
                  <a:cubicBezTo>
                    <a:pt x="36" y="176"/>
                    <a:pt x="36" y="175"/>
                    <a:pt x="36" y="174"/>
                  </a:cubicBezTo>
                  <a:cubicBezTo>
                    <a:pt x="36" y="174"/>
                    <a:pt x="37" y="174"/>
                    <a:pt x="38" y="173"/>
                  </a:cubicBezTo>
                  <a:cubicBezTo>
                    <a:pt x="39" y="173"/>
                    <a:pt x="41" y="172"/>
                    <a:pt x="42" y="172"/>
                  </a:cubicBezTo>
                  <a:cubicBezTo>
                    <a:pt x="42" y="171"/>
                    <a:pt x="44" y="170"/>
                    <a:pt x="44" y="170"/>
                  </a:cubicBezTo>
                  <a:cubicBezTo>
                    <a:pt x="44" y="170"/>
                    <a:pt x="45" y="171"/>
                    <a:pt x="45" y="171"/>
                  </a:cubicBezTo>
                  <a:cubicBezTo>
                    <a:pt x="45" y="172"/>
                    <a:pt x="46" y="173"/>
                    <a:pt x="47" y="173"/>
                  </a:cubicBezTo>
                  <a:cubicBezTo>
                    <a:pt x="47" y="174"/>
                    <a:pt x="48" y="174"/>
                    <a:pt x="49" y="174"/>
                  </a:cubicBezTo>
                  <a:cubicBezTo>
                    <a:pt x="49" y="174"/>
                    <a:pt x="50" y="173"/>
                    <a:pt x="50" y="174"/>
                  </a:cubicBezTo>
                  <a:cubicBezTo>
                    <a:pt x="50" y="174"/>
                    <a:pt x="50" y="176"/>
                    <a:pt x="50" y="176"/>
                  </a:cubicBezTo>
                  <a:cubicBezTo>
                    <a:pt x="50" y="176"/>
                    <a:pt x="51" y="177"/>
                    <a:pt x="52" y="176"/>
                  </a:cubicBezTo>
                  <a:cubicBezTo>
                    <a:pt x="52" y="175"/>
                    <a:pt x="52" y="173"/>
                    <a:pt x="52" y="173"/>
                  </a:cubicBezTo>
                  <a:cubicBezTo>
                    <a:pt x="53" y="173"/>
                    <a:pt x="54" y="173"/>
                    <a:pt x="55" y="173"/>
                  </a:cubicBezTo>
                  <a:cubicBezTo>
                    <a:pt x="55" y="173"/>
                    <a:pt x="55" y="171"/>
                    <a:pt x="54" y="170"/>
                  </a:cubicBezTo>
                  <a:cubicBezTo>
                    <a:pt x="54" y="169"/>
                    <a:pt x="54" y="168"/>
                    <a:pt x="55" y="168"/>
                  </a:cubicBezTo>
                  <a:cubicBezTo>
                    <a:pt x="55" y="167"/>
                    <a:pt x="57" y="167"/>
                    <a:pt x="57" y="167"/>
                  </a:cubicBezTo>
                  <a:cubicBezTo>
                    <a:pt x="57" y="166"/>
                    <a:pt x="56" y="165"/>
                    <a:pt x="56" y="165"/>
                  </a:cubicBezTo>
                  <a:cubicBezTo>
                    <a:pt x="56" y="164"/>
                    <a:pt x="58" y="165"/>
                    <a:pt x="59" y="165"/>
                  </a:cubicBezTo>
                  <a:cubicBezTo>
                    <a:pt x="59" y="165"/>
                    <a:pt x="61" y="164"/>
                    <a:pt x="61" y="164"/>
                  </a:cubicBezTo>
                  <a:cubicBezTo>
                    <a:pt x="61" y="163"/>
                    <a:pt x="59" y="163"/>
                    <a:pt x="60" y="162"/>
                  </a:cubicBezTo>
                  <a:cubicBezTo>
                    <a:pt x="60" y="161"/>
                    <a:pt x="60" y="161"/>
                    <a:pt x="60" y="161"/>
                  </a:cubicBezTo>
                  <a:cubicBezTo>
                    <a:pt x="60" y="161"/>
                    <a:pt x="62" y="162"/>
                    <a:pt x="62" y="162"/>
                  </a:cubicBezTo>
                  <a:cubicBezTo>
                    <a:pt x="62" y="163"/>
                    <a:pt x="62" y="163"/>
                    <a:pt x="63" y="164"/>
                  </a:cubicBezTo>
                  <a:cubicBezTo>
                    <a:pt x="63" y="165"/>
                    <a:pt x="63" y="167"/>
                    <a:pt x="64" y="167"/>
                  </a:cubicBezTo>
                  <a:cubicBezTo>
                    <a:pt x="65" y="168"/>
                    <a:pt x="66" y="168"/>
                    <a:pt x="67" y="168"/>
                  </a:cubicBezTo>
                  <a:cubicBezTo>
                    <a:pt x="68" y="169"/>
                    <a:pt x="69" y="169"/>
                    <a:pt x="69" y="170"/>
                  </a:cubicBezTo>
                  <a:cubicBezTo>
                    <a:pt x="70" y="170"/>
                    <a:pt x="71" y="171"/>
                    <a:pt x="71" y="171"/>
                  </a:cubicBezTo>
                  <a:cubicBezTo>
                    <a:pt x="71" y="171"/>
                    <a:pt x="72" y="169"/>
                    <a:pt x="73" y="169"/>
                  </a:cubicBezTo>
                  <a:cubicBezTo>
                    <a:pt x="73" y="169"/>
                    <a:pt x="75" y="169"/>
                    <a:pt x="75" y="168"/>
                  </a:cubicBezTo>
                  <a:cubicBezTo>
                    <a:pt x="75" y="168"/>
                    <a:pt x="75" y="167"/>
                    <a:pt x="75" y="166"/>
                  </a:cubicBezTo>
                  <a:cubicBezTo>
                    <a:pt x="75" y="165"/>
                    <a:pt x="76" y="162"/>
                    <a:pt x="76" y="161"/>
                  </a:cubicBezTo>
                  <a:cubicBezTo>
                    <a:pt x="77" y="160"/>
                    <a:pt x="77" y="159"/>
                    <a:pt x="78" y="158"/>
                  </a:cubicBezTo>
                  <a:cubicBezTo>
                    <a:pt x="79" y="158"/>
                    <a:pt x="80" y="157"/>
                    <a:pt x="81" y="157"/>
                  </a:cubicBezTo>
                  <a:cubicBezTo>
                    <a:pt x="82" y="157"/>
                    <a:pt x="82" y="157"/>
                    <a:pt x="83" y="156"/>
                  </a:cubicBezTo>
                  <a:cubicBezTo>
                    <a:pt x="84" y="155"/>
                    <a:pt x="85" y="155"/>
                    <a:pt x="85" y="154"/>
                  </a:cubicBezTo>
                  <a:cubicBezTo>
                    <a:pt x="85" y="153"/>
                    <a:pt x="85" y="152"/>
                    <a:pt x="86" y="151"/>
                  </a:cubicBezTo>
                  <a:cubicBezTo>
                    <a:pt x="86" y="150"/>
                    <a:pt x="91" y="148"/>
                    <a:pt x="91" y="148"/>
                  </a:cubicBezTo>
                  <a:cubicBezTo>
                    <a:pt x="91" y="148"/>
                    <a:pt x="92" y="146"/>
                    <a:pt x="92" y="145"/>
                  </a:cubicBezTo>
                  <a:cubicBezTo>
                    <a:pt x="92" y="144"/>
                    <a:pt x="91" y="143"/>
                    <a:pt x="91" y="142"/>
                  </a:cubicBezTo>
                  <a:cubicBezTo>
                    <a:pt x="91" y="141"/>
                    <a:pt x="91" y="138"/>
                    <a:pt x="92" y="138"/>
                  </a:cubicBezTo>
                  <a:cubicBezTo>
                    <a:pt x="93" y="137"/>
                    <a:pt x="94" y="137"/>
                    <a:pt x="95" y="137"/>
                  </a:cubicBezTo>
                  <a:cubicBezTo>
                    <a:pt x="96" y="137"/>
                    <a:pt x="97" y="137"/>
                    <a:pt x="97" y="137"/>
                  </a:cubicBezTo>
                  <a:cubicBezTo>
                    <a:pt x="98" y="137"/>
                    <a:pt x="99" y="139"/>
                    <a:pt x="100" y="139"/>
                  </a:cubicBezTo>
                  <a:cubicBezTo>
                    <a:pt x="101" y="139"/>
                    <a:pt x="101" y="139"/>
                    <a:pt x="103" y="138"/>
                  </a:cubicBezTo>
                  <a:cubicBezTo>
                    <a:pt x="104" y="138"/>
                    <a:pt x="105" y="136"/>
                    <a:pt x="106" y="136"/>
                  </a:cubicBezTo>
                  <a:cubicBezTo>
                    <a:pt x="107" y="135"/>
                    <a:pt x="107" y="135"/>
                    <a:pt x="109" y="135"/>
                  </a:cubicBezTo>
                  <a:cubicBezTo>
                    <a:pt x="111" y="135"/>
                    <a:pt x="112" y="136"/>
                    <a:pt x="113" y="135"/>
                  </a:cubicBezTo>
                  <a:cubicBezTo>
                    <a:pt x="114" y="135"/>
                    <a:pt x="113" y="133"/>
                    <a:pt x="113" y="133"/>
                  </a:cubicBezTo>
                  <a:cubicBezTo>
                    <a:pt x="113" y="133"/>
                    <a:pt x="114" y="132"/>
                    <a:pt x="114" y="132"/>
                  </a:cubicBezTo>
                  <a:cubicBezTo>
                    <a:pt x="114" y="131"/>
                    <a:pt x="114" y="130"/>
                    <a:pt x="113" y="130"/>
                  </a:cubicBezTo>
                  <a:cubicBezTo>
                    <a:pt x="112" y="130"/>
                    <a:pt x="112" y="130"/>
                    <a:pt x="112" y="130"/>
                  </a:cubicBezTo>
                  <a:cubicBezTo>
                    <a:pt x="112" y="129"/>
                    <a:pt x="112" y="129"/>
                    <a:pt x="112" y="128"/>
                  </a:cubicBezTo>
                  <a:cubicBezTo>
                    <a:pt x="113" y="127"/>
                    <a:pt x="112" y="126"/>
                    <a:pt x="112" y="126"/>
                  </a:cubicBezTo>
                  <a:cubicBezTo>
                    <a:pt x="112" y="125"/>
                    <a:pt x="111" y="125"/>
                    <a:pt x="111" y="124"/>
                  </a:cubicBezTo>
                  <a:cubicBezTo>
                    <a:pt x="111" y="123"/>
                    <a:pt x="112" y="122"/>
                    <a:pt x="112" y="122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1"/>
                    <a:pt x="43" y="1"/>
                    <a:pt x="42" y="1"/>
                  </a:cubicBezTo>
                  <a:cubicBezTo>
                    <a:pt x="42" y="1"/>
                    <a:pt x="41" y="2"/>
                    <a:pt x="41" y="2"/>
                  </a:cubicBezTo>
                  <a:cubicBezTo>
                    <a:pt x="41" y="2"/>
                    <a:pt x="41" y="2"/>
                    <a:pt x="40" y="2"/>
                  </a:cubicBezTo>
                  <a:cubicBezTo>
                    <a:pt x="39" y="3"/>
                    <a:pt x="38" y="3"/>
                    <a:pt x="37" y="4"/>
                  </a:cubicBezTo>
                  <a:cubicBezTo>
                    <a:pt x="36" y="5"/>
                    <a:pt x="35" y="5"/>
                    <a:pt x="33" y="6"/>
                  </a:cubicBezTo>
                  <a:cubicBezTo>
                    <a:pt x="33" y="6"/>
                    <a:pt x="33" y="6"/>
                    <a:pt x="32" y="6"/>
                  </a:cubicBezTo>
                  <a:cubicBezTo>
                    <a:pt x="32" y="6"/>
                    <a:pt x="32" y="6"/>
                    <a:pt x="31" y="6"/>
                  </a:cubicBezTo>
                  <a:cubicBezTo>
                    <a:pt x="31" y="7"/>
                    <a:pt x="30" y="7"/>
                    <a:pt x="30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7" y="7"/>
                  </a:cubicBezTo>
                  <a:cubicBezTo>
                    <a:pt x="27" y="6"/>
                    <a:pt x="26" y="6"/>
                    <a:pt x="25" y="6"/>
                  </a:cubicBezTo>
                  <a:cubicBezTo>
                    <a:pt x="24" y="6"/>
                    <a:pt x="24" y="6"/>
                    <a:pt x="23" y="5"/>
                  </a:cubicBezTo>
                  <a:cubicBezTo>
                    <a:pt x="23" y="5"/>
                    <a:pt x="22" y="4"/>
                    <a:pt x="22" y="4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0" y="2"/>
                    <a:pt x="20" y="1"/>
                    <a:pt x="20" y="1"/>
                  </a:cubicBezTo>
                  <a:cubicBezTo>
                    <a:pt x="20" y="1"/>
                    <a:pt x="19" y="1"/>
                    <a:pt x="19" y="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7" y="113"/>
                    <a:pt x="17" y="113"/>
                  </a:cubicBezTo>
                  <a:cubicBezTo>
                    <a:pt x="17" y="114"/>
                    <a:pt x="18" y="114"/>
                    <a:pt x="18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6" y="118"/>
                    <a:pt x="16" y="119"/>
                  </a:cubicBezTo>
                  <a:cubicBezTo>
                    <a:pt x="16" y="119"/>
                    <a:pt x="16" y="120"/>
                    <a:pt x="16" y="120"/>
                  </a:cubicBezTo>
                  <a:cubicBezTo>
                    <a:pt x="16" y="120"/>
                    <a:pt x="16" y="121"/>
                    <a:pt x="16" y="121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20" y="127"/>
                    <a:pt x="20" y="127"/>
                    <a:pt x="20" y="127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0" y="128"/>
                    <a:pt x="19" y="130"/>
                    <a:pt x="19" y="130"/>
                  </a:cubicBezTo>
                  <a:cubicBezTo>
                    <a:pt x="19" y="130"/>
                    <a:pt x="18" y="132"/>
                    <a:pt x="18" y="132"/>
                  </a:cubicBezTo>
                  <a:cubicBezTo>
                    <a:pt x="18" y="132"/>
                    <a:pt x="19" y="133"/>
                    <a:pt x="19" y="133"/>
                  </a:cubicBezTo>
                  <a:cubicBezTo>
                    <a:pt x="21" y="137"/>
                    <a:pt x="21" y="137"/>
                    <a:pt x="21" y="137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5" y="145"/>
                    <a:pt x="15" y="145"/>
                    <a:pt x="15" y="145"/>
                  </a:cubicBezTo>
                  <a:cubicBezTo>
                    <a:pt x="15" y="145"/>
                    <a:pt x="15" y="146"/>
                    <a:pt x="15" y="146"/>
                  </a:cubicBezTo>
                  <a:cubicBezTo>
                    <a:pt x="15" y="146"/>
                    <a:pt x="15" y="147"/>
                    <a:pt x="15" y="147"/>
                  </a:cubicBezTo>
                  <a:cubicBezTo>
                    <a:pt x="14" y="148"/>
                    <a:pt x="14" y="148"/>
                    <a:pt x="14" y="148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9" y="154"/>
                    <a:pt x="9" y="154"/>
                    <a:pt x="9" y="154"/>
                  </a:cubicBezTo>
                  <a:cubicBezTo>
                    <a:pt x="9" y="157"/>
                    <a:pt x="9" y="157"/>
                    <a:pt x="9" y="157"/>
                  </a:cubicBezTo>
                  <a:cubicBezTo>
                    <a:pt x="8" y="156"/>
                    <a:pt x="8" y="156"/>
                    <a:pt x="8" y="156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5" y="156"/>
                    <a:pt x="5" y="156"/>
                    <a:pt x="5" y="156"/>
                  </a:cubicBezTo>
                  <a:cubicBezTo>
                    <a:pt x="5" y="159"/>
                    <a:pt x="5" y="159"/>
                    <a:pt x="5" y="159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4" y="158"/>
                    <a:pt x="4" y="159"/>
                    <a:pt x="4" y="159"/>
                  </a:cubicBezTo>
                  <a:cubicBezTo>
                    <a:pt x="4" y="160"/>
                    <a:pt x="4" y="161"/>
                    <a:pt x="4" y="161"/>
                  </a:cubicBezTo>
                  <a:cubicBezTo>
                    <a:pt x="6" y="162"/>
                    <a:pt x="6" y="162"/>
                    <a:pt x="6" y="162"/>
                  </a:cubicBezTo>
                  <a:cubicBezTo>
                    <a:pt x="6" y="162"/>
                    <a:pt x="5" y="164"/>
                    <a:pt x="5" y="164"/>
                  </a:cubicBezTo>
                  <a:cubicBezTo>
                    <a:pt x="5" y="164"/>
                    <a:pt x="3" y="165"/>
                    <a:pt x="3" y="165"/>
                  </a:cubicBezTo>
                  <a:cubicBezTo>
                    <a:pt x="3" y="165"/>
                    <a:pt x="5" y="166"/>
                    <a:pt x="5" y="166"/>
                  </a:cubicBezTo>
                  <a:cubicBezTo>
                    <a:pt x="5" y="166"/>
                    <a:pt x="4" y="167"/>
                    <a:pt x="4" y="167"/>
                  </a:cubicBezTo>
                  <a:cubicBezTo>
                    <a:pt x="2" y="167"/>
                    <a:pt x="2" y="167"/>
                    <a:pt x="2" y="167"/>
                  </a:cubicBezTo>
                  <a:cubicBezTo>
                    <a:pt x="3" y="168"/>
                    <a:pt x="3" y="168"/>
                    <a:pt x="3" y="168"/>
                  </a:cubicBezTo>
                  <a:cubicBezTo>
                    <a:pt x="3" y="171"/>
                    <a:pt x="3" y="171"/>
                    <a:pt x="3" y="171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1" y="173"/>
                    <a:pt x="1" y="173"/>
                  </a:cubicBezTo>
                  <a:cubicBezTo>
                    <a:pt x="1" y="172"/>
                    <a:pt x="0" y="174"/>
                    <a:pt x="0" y="174"/>
                  </a:cubicBezTo>
                  <a:cubicBezTo>
                    <a:pt x="0" y="174"/>
                    <a:pt x="1" y="175"/>
                    <a:pt x="2" y="176"/>
                  </a:cubicBezTo>
                  <a:cubicBezTo>
                    <a:pt x="2" y="176"/>
                    <a:pt x="2" y="177"/>
                    <a:pt x="2" y="177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3" y="179"/>
                    <a:pt x="3" y="179"/>
                    <a:pt x="3" y="179"/>
                  </a:cubicBezTo>
                  <a:cubicBezTo>
                    <a:pt x="3" y="179"/>
                    <a:pt x="4" y="179"/>
                    <a:pt x="5" y="179"/>
                  </a:cubicBezTo>
                  <a:cubicBezTo>
                    <a:pt x="5" y="180"/>
                    <a:pt x="7" y="178"/>
                    <a:pt x="7" y="178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45">
              <a:extLst>
                <a:ext uri="{FF2B5EF4-FFF2-40B4-BE49-F238E27FC236}">
                  <a16:creationId xmlns:a16="http://schemas.microsoft.com/office/drawing/2014/main" id="{8D25BF9B-F4F6-4193-8EEB-92E7BBBD0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0435" y="2535157"/>
              <a:ext cx="550184" cy="988019"/>
            </a:xfrm>
            <a:custGeom>
              <a:avLst/>
              <a:gdLst>
                <a:gd name="T0" fmla="*/ 138 w 139"/>
                <a:gd name="T1" fmla="*/ 163 h 249"/>
                <a:gd name="T2" fmla="*/ 134 w 139"/>
                <a:gd name="T3" fmla="*/ 156 h 249"/>
                <a:gd name="T4" fmla="*/ 136 w 139"/>
                <a:gd name="T5" fmla="*/ 149 h 249"/>
                <a:gd name="T6" fmla="*/ 137 w 139"/>
                <a:gd name="T7" fmla="*/ 35 h 249"/>
                <a:gd name="T8" fmla="*/ 134 w 139"/>
                <a:gd name="T9" fmla="*/ 27 h 249"/>
                <a:gd name="T10" fmla="*/ 133 w 139"/>
                <a:gd name="T11" fmla="*/ 22 h 249"/>
                <a:gd name="T12" fmla="*/ 129 w 139"/>
                <a:gd name="T13" fmla="*/ 16 h 249"/>
                <a:gd name="T14" fmla="*/ 128 w 139"/>
                <a:gd name="T15" fmla="*/ 5 h 249"/>
                <a:gd name="T16" fmla="*/ 30 w 139"/>
                <a:gd name="T17" fmla="*/ 0 h 249"/>
                <a:gd name="T18" fmla="*/ 37 w 139"/>
                <a:gd name="T19" fmla="*/ 10 h 249"/>
                <a:gd name="T20" fmla="*/ 46 w 139"/>
                <a:gd name="T21" fmla="*/ 31 h 249"/>
                <a:gd name="T22" fmla="*/ 38 w 139"/>
                <a:gd name="T23" fmla="*/ 44 h 249"/>
                <a:gd name="T24" fmla="*/ 24 w 139"/>
                <a:gd name="T25" fmla="*/ 49 h 249"/>
                <a:gd name="T26" fmla="*/ 16 w 139"/>
                <a:gd name="T27" fmla="*/ 51 h 249"/>
                <a:gd name="T28" fmla="*/ 18 w 139"/>
                <a:gd name="T29" fmla="*/ 64 h 249"/>
                <a:gd name="T30" fmla="*/ 14 w 139"/>
                <a:gd name="T31" fmla="*/ 81 h 249"/>
                <a:gd name="T32" fmla="*/ 7 w 139"/>
                <a:gd name="T33" fmla="*/ 87 h 249"/>
                <a:gd name="T34" fmla="*/ 5 w 139"/>
                <a:gd name="T35" fmla="*/ 95 h 249"/>
                <a:gd name="T36" fmla="*/ 0 w 139"/>
                <a:gd name="T37" fmla="*/ 104 h 249"/>
                <a:gd name="T38" fmla="*/ 2 w 139"/>
                <a:gd name="T39" fmla="*/ 116 h 249"/>
                <a:gd name="T40" fmla="*/ 5 w 139"/>
                <a:gd name="T41" fmla="*/ 125 h 249"/>
                <a:gd name="T42" fmla="*/ 12 w 139"/>
                <a:gd name="T43" fmla="*/ 136 h 249"/>
                <a:gd name="T44" fmla="*/ 27 w 139"/>
                <a:gd name="T45" fmla="*/ 149 h 249"/>
                <a:gd name="T46" fmla="*/ 29 w 139"/>
                <a:gd name="T47" fmla="*/ 161 h 249"/>
                <a:gd name="T48" fmla="*/ 37 w 139"/>
                <a:gd name="T49" fmla="*/ 162 h 249"/>
                <a:gd name="T50" fmla="*/ 45 w 139"/>
                <a:gd name="T51" fmla="*/ 173 h 249"/>
                <a:gd name="T52" fmla="*/ 42 w 139"/>
                <a:gd name="T53" fmla="*/ 185 h 249"/>
                <a:gd name="T54" fmla="*/ 51 w 139"/>
                <a:gd name="T55" fmla="*/ 205 h 249"/>
                <a:gd name="T56" fmla="*/ 55 w 139"/>
                <a:gd name="T57" fmla="*/ 210 h 249"/>
                <a:gd name="T58" fmla="*/ 63 w 139"/>
                <a:gd name="T59" fmla="*/ 216 h 249"/>
                <a:gd name="T60" fmla="*/ 70 w 139"/>
                <a:gd name="T61" fmla="*/ 223 h 249"/>
                <a:gd name="T62" fmla="*/ 71 w 139"/>
                <a:gd name="T63" fmla="*/ 229 h 249"/>
                <a:gd name="T64" fmla="*/ 69 w 139"/>
                <a:gd name="T65" fmla="*/ 235 h 249"/>
                <a:gd name="T66" fmla="*/ 73 w 139"/>
                <a:gd name="T67" fmla="*/ 243 h 249"/>
                <a:gd name="T68" fmla="*/ 77 w 139"/>
                <a:gd name="T69" fmla="*/ 248 h 249"/>
                <a:gd name="T70" fmla="*/ 78 w 139"/>
                <a:gd name="T71" fmla="*/ 245 h 249"/>
                <a:gd name="T72" fmla="*/ 82 w 139"/>
                <a:gd name="T73" fmla="*/ 249 h 249"/>
                <a:gd name="T74" fmla="*/ 87 w 139"/>
                <a:gd name="T75" fmla="*/ 238 h 249"/>
                <a:gd name="T76" fmla="*/ 106 w 139"/>
                <a:gd name="T77" fmla="*/ 245 h 249"/>
                <a:gd name="T78" fmla="*/ 106 w 139"/>
                <a:gd name="T79" fmla="*/ 230 h 249"/>
                <a:gd name="T80" fmla="*/ 118 w 139"/>
                <a:gd name="T81" fmla="*/ 228 h 249"/>
                <a:gd name="T82" fmla="*/ 116 w 139"/>
                <a:gd name="T83" fmla="*/ 220 h 249"/>
                <a:gd name="T84" fmla="*/ 120 w 139"/>
                <a:gd name="T85" fmla="*/ 212 h 249"/>
                <a:gd name="T86" fmla="*/ 120 w 139"/>
                <a:gd name="T87" fmla="*/ 209 h 249"/>
                <a:gd name="T88" fmla="*/ 122 w 139"/>
                <a:gd name="T89" fmla="*/ 202 h 249"/>
                <a:gd name="T90" fmla="*/ 124 w 139"/>
                <a:gd name="T91" fmla="*/ 197 h 249"/>
                <a:gd name="T92" fmla="*/ 123 w 139"/>
                <a:gd name="T93" fmla="*/ 194 h 249"/>
                <a:gd name="T94" fmla="*/ 127 w 139"/>
                <a:gd name="T95" fmla="*/ 192 h 249"/>
                <a:gd name="T96" fmla="*/ 132 w 139"/>
                <a:gd name="T97" fmla="*/ 183 h 249"/>
                <a:gd name="T98" fmla="*/ 135 w 139"/>
                <a:gd name="T99" fmla="*/ 179 h 249"/>
                <a:gd name="T100" fmla="*/ 139 w 139"/>
                <a:gd name="T101" fmla="*/ 17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9" h="249">
                  <a:moveTo>
                    <a:pt x="137" y="168"/>
                  </a:moveTo>
                  <a:cubicBezTo>
                    <a:pt x="137" y="168"/>
                    <a:pt x="136" y="167"/>
                    <a:pt x="136" y="167"/>
                  </a:cubicBezTo>
                  <a:cubicBezTo>
                    <a:pt x="136" y="167"/>
                    <a:pt x="137" y="165"/>
                    <a:pt x="137" y="165"/>
                  </a:cubicBezTo>
                  <a:cubicBezTo>
                    <a:pt x="137" y="165"/>
                    <a:pt x="138" y="163"/>
                    <a:pt x="138" y="163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34" y="156"/>
                    <a:pt x="134" y="155"/>
                    <a:pt x="134" y="155"/>
                  </a:cubicBezTo>
                  <a:cubicBezTo>
                    <a:pt x="134" y="155"/>
                    <a:pt x="134" y="154"/>
                    <a:pt x="134" y="154"/>
                  </a:cubicBezTo>
                  <a:cubicBezTo>
                    <a:pt x="134" y="153"/>
                    <a:pt x="135" y="152"/>
                    <a:pt x="135" y="152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6" y="149"/>
                    <a:pt x="135" y="149"/>
                    <a:pt x="135" y="148"/>
                  </a:cubicBezTo>
                  <a:cubicBezTo>
                    <a:pt x="135" y="148"/>
                    <a:pt x="134" y="146"/>
                    <a:pt x="134" y="146"/>
                  </a:cubicBezTo>
                  <a:cubicBezTo>
                    <a:pt x="138" y="145"/>
                    <a:pt x="138" y="145"/>
                    <a:pt x="138" y="14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35"/>
                    <a:pt x="137" y="35"/>
                    <a:pt x="137" y="34"/>
                  </a:cubicBezTo>
                  <a:cubicBezTo>
                    <a:pt x="136" y="33"/>
                    <a:pt x="136" y="32"/>
                    <a:pt x="135" y="31"/>
                  </a:cubicBezTo>
                  <a:cubicBezTo>
                    <a:pt x="135" y="30"/>
                    <a:pt x="135" y="29"/>
                    <a:pt x="134" y="28"/>
                  </a:cubicBezTo>
                  <a:cubicBezTo>
                    <a:pt x="134" y="28"/>
                    <a:pt x="134" y="27"/>
                    <a:pt x="134" y="27"/>
                  </a:cubicBezTo>
                  <a:cubicBezTo>
                    <a:pt x="134" y="26"/>
                    <a:pt x="134" y="26"/>
                    <a:pt x="134" y="25"/>
                  </a:cubicBezTo>
                  <a:cubicBezTo>
                    <a:pt x="134" y="25"/>
                    <a:pt x="134" y="25"/>
                    <a:pt x="134" y="24"/>
                  </a:cubicBezTo>
                  <a:cubicBezTo>
                    <a:pt x="133" y="24"/>
                    <a:pt x="134" y="23"/>
                    <a:pt x="133" y="23"/>
                  </a:cubicBezTo>
                  <a:cubicBezTo>
                    <a:pt x="133" y="23"/>
                    <a:pt x="133" y="22"/>
                    <a:pt x="133" y="22"/>
                  </a:cubicBezTo>
                  <a:cubicBezTo>
                    <a:pt x="133" y="21"/>
                    <a:pt x="133" y="21"/>
                    <a:pt x="132" y="21"/>
                  </a:cubicBezTo>
                  <a:cubicBezTo>
                    <a:pt x="132" y="21"/>
                    <a:pt x="132" y="20"/>
                    <a:pt x="132" y="20"/>
                  </a:cubicBezTo>
                  <a:cubicBezTo>
                    <a:pt x="131" y="20"/>
                    <a:pt x="131" y="19"/>
                    <a:pt x="131" y="19"/>
                  </a:cubicBezTo>
                  <a:cubicBezTo>
                    <a:pt x="130" y="18"/>
                    <a:pt x="130" y="17"/>
                    <a:pt x="129" y="16"/>
                  </a:cubicBezTo>
                  <a:cubicBezTo>
                    <a:pt x="129" y="16"/>
                    <a:pt x="128" y="15"/>
                    <a:pt x="128" y="14"/>
                  </a:cubicBezTo>
                  <a:cubicBezTo>
                    <a:pt x="128" y="13"/>
                    <a:pt x="127" y="12"/>
                    <a:pt x="128" y="10"/>
                  </a:cubicBezTo>
                  <a:cubicBezTo>
                    <a:pt x="128" y="9"/>
                    <a:pt x="128" y="8"/>
                    <a:pt x="128" y="7"/>
                  </a:cubicBezTo>
                  <a:cubicBezTo>
                    <a:pt x="128" y="6"/>
                    <a:pt x="128" y="6"/>
                    <a:pt x="128" y="5"/>
                  </a:cubicBezTo>
                  <a:cubicBezTo>
                    <a:pt x="128" y="5"/>
                    <a:pt x="128" y="4"/>
                    <a:pt x="128" y="4"/>
                  </a:cubicBezTo>
                  <a:cubicBezTo>
                    <a:pt x="128" y="3"/>
                    <a:pt x="129" y="2"/>
                    <a:pt x="128" y="1"/>
                  </a:cubicBezTo>
                  <a:cubicBezTo>
                    <a:pt x="128" y="1"/>
                    <a:pt x="128" y="1"/>
                    <a:pt x="12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2"/>
                    <a:pt x="30" y="2"/>
                  </a:cubicBezTo>
                  <a:cubicBezTo>
                    <a:pt x="30" y="3"/>
                    <a:pt x="31" y="3"/>
                    <a:pt x="33" y="4"/>
                  </a:cubicBezTo>
                  <a:cubicBezTo>
                    <a:pt x="34" y="5"/>
                    <a:pt x="35" y="6"/>
                    <a:pt x="36" y="7"/>
                  </a:cubicBezTo>
                  <a:cubicBezTo>
                    <a:pt x="37" y="8"/>
                    <a:pt x="37" y="9"/>
                    <a:pt x="37" y="10"/>
                  </a:cubicBezTo>
                  <a:cubicBezTo>
                    <a:pt x="37" y="12"/>
                    <a:pt x="38" y="13"/>
                    <a:pt x="39" y="14"/>
                  </a:cubicBezTo>
                  <a:cubicBezTo>
                    <a:pt x="41" y="15"/>
                    <a:pt x="45" y="18"/>
                    <a:pt x="46" y="19"/>
                  </a:cubicBezTo>
                  <a:cubicBezTo>
                    <a:pt x="47" y="20"/>
                    <a:pt x="47" y="23"/>
                    <a:pt x="47" y="24"/>
                  </a:cubicBezTo>
                  <a:cubicBezTo>
                    <a:pt x="47" y="26"/>
                    <a:pt x="47" y="29"/>
                    <a:pt x="46" y="31"/>
                  </a:cubicBezTo>
                  <a:cubicBezTo>
                    <a:pt x="46" y="32"/>
                    <a:pt x="45" y="33"/>
                    <a:pt x="44" y="34"/>
                  </a:cubicBezTo>
                  <a:cubicBezTo>
                    <a:pt x="42" y="35"/>
                    <a:pt x="41" y="36"/>
                    <a:pt x="41" y="38"/>
                  </a:cubicBezTo>
                  <a:cubicBezTo>
                    <a:pt x="41" y="39"/>
                    <a:pt x="41" y="41"/>
                    <a:pt x="40" y="42"/>
                  </a:cubicBezTo>
                  <a:cubicBezTo>
                    <a:pt x="39" y="44"/>
                    <a:pt x="39" y="44"/>
                    <a:pt x="38" y="44"/>
                  </a:cubicBezTo>
                  <a:cubicBezTo>
                    <a:pt x="37" y="45"/>
                    <a:pt x="36" y="46"/>
                    <a:pt x="35" y="46"/>
                  </a:cubicBezTo>
                  <a:cubicBezTo>
                    <a:pt x="34" y="47"/>
                    <a:pt x="33" y="46"/>
                    <a:pt x="31" y="46"/>
                  </a:cubicBezTo>
                  <a:cubicBezTo>
                    <a:pt x="30" y="47"/>
                    <a:pt x="30" y="47"/>
                    <a:pt x="29" y="48"/>
                  </a:cubicBezTo>
                  <a:cubicBezTo>
                    <a:pt x="29" y="49"/>
                    <a:pt x="25" y="49"/>
                    <a:pt x="24" y="49"/>
                  </a:cubicBezTo>
                  <a:cubicBezTo>
                    <a:pt x="24" y="49"/>
                    <a:pt x="23" y="49"/>
                    <a:pt x="22" y="49"/>
                  </a:cubicBezTo>
                  <a:cubicBezTo>
                    <a:pt x="21" y="50"/>
                    <a:pt x="21" y="50"/>
                    <a:pt x="20" y="51"/>
                  </a:cubicBezTo>
                  <a:cubicBezTo>
                    <a:pt x="19" y="51"/>
                    <a:pt x="19" y="50"/>
                    <a:pt x="18" y="50"/>
                  </a:cubicBezTo>
                  <a:cubicBezTo>
                    <a:pt x="17" y="50"/>
                    <a:pt x="17" y="51"/>
                    <a:pt x="16" y="51"/>
                  </a:cubicBezTo>
                  <a:cubicBezTo>
                    <a:pt x="16" y="51"/>
                    <a:pt x="15" y="53"/>
                    <a:pt x="15" y="53"/>
                  </a:cubicBezTo>
                  <a:cubicBezTo>
                    <a:pt x="15" y="54"/>
                    <a:pt x="14" y="56"/>
                    <a:pt x="14" y="57"/>
                  </a:cubicBezTo>
                  <a:cubicBezTo>
                    <a:pt x="14" y="58"/>
                    <a:pt x="14" y="59"/>
                    <a:pt x="14" y="60"/>
                  </a:cubicBezTo>
                  <a:cubicBezTo>
                    <a:pt x="15" y="60"/>
                    <a:pt x="17" y="62"/>
                    <a:pt x="18" y="64"/>
                  </a:cubicBezTo>
                  <a:cubicBezTo>
                    <a:pt x="19" y="65"/>
                    <a:pt x="19" y="69"/>
                    <a:pt x="19" y="70"/>
                  </a:cubicBezTo>
                  <a:cubicBezTo>
                    <a:pt x="19" y="71"/>
                    <a:pt x="19" y="74"/>
                    <a:pt x="18" y="75"/>
                  </a:cubicBezTo>
                  <a:cubicBezTo>
                    <a:pt x="17" y="76"/>
                    <a:pt x="15" y="77"/>
                    <a:pt x="15" y="78"/>
                  </a:cubicBezTo>
                  <a:cubicBezTo>
                    <a:pt x="14" y="79"/>
                    <a:pt x="14" y="80"/>
                    <a:pt x="14" y="81"/>
                  </a:cubicBezTo>
                  <a:cubicBezTo>
                    <a:pt x="14" y="81"/>
                    <a:pt x="14" y="83"/>
                    <a:pt x="14" y="84"/>
                  </a:cubicBezTo>
                  <a:cubicBezTo>
                    <a:pt x="13" y="85"/>
                    <a:pt x="13" y="85"/>
                    <a:pt x="12" y="86"/>
                  </a:cubicBezTo>
                  <a:cubicBezTo>
                    <a:pt x="12" y="87"/>
                    <a:pt x="11" y="87"/>
                    <a:pt x="10" y="87"/>
                  </a:cubicBezTo>
                  <a:cubicBezTo>
                    <a:pt x="9" y="87"/>
                    <a:pt x="8" y="87"/>
                    <a:pt x="7" y="87"/>
                  </a:cubicBezTo>
                  <a:cubicBezTo>
                    <a:pt x="6" y="87"/>
                    <a:pt x="6" y="88"/>
                    <a:pt x="5" y="88"/>
                  </a:cubicBezTo>
                  <a:cubicBezTo>
                    <a:pt x="5" y="89"/>
                    <a:pt x="4" y="89"/>
                    <a:pt x="4" y="90"/>
                  </a:cubicBezTo>
                  <a:cubicBezTo>
                    <a:pt x="4" y="91"/>
                    <a:pt x="4" y="92"/>
                    <a:pt x="4" y="92"/>
                  </a:cubicBezTo>
                  <a:cubicBezTo>
                    <a:pt x="4" y="93"/>
                    <a:pt x="5" y="94"/>
                    <a:pt x="5" y="95"/>
                  </a:cubicBezTo>
                  <a:cubicBezTo>
                    <a:pt x="5" y="95"/>
                    <a:pt x="5" y="97"/>
                    <a:pt x="4" y="98"/>
                  </a:cubicBezTo>
                  <a:cubicBezTo>
                    <a:pt x="4" y="98"/>
                    <a:pt x="3" y="99"/>
                    <a:pt x="3" y="99"/>
                  </a:cubicBezTo>
                  <a:cubicBezTo>
                    <a:pt x="3" y="99"/>
                    <a:pt x="1" y="102"/>
                    <a:pt x="1" y="102"/>
                  </a:cubicBezTo>
                  <a:cubicBezTo>
                    <a:pt x="1" y="102"/>
                    <a:pt x="0" y="104"/>
                    <a:pt x="0" y="104"/>
                  </a:cubicBezTo>
                  <a:cubicBezTo>
                    <a:pt x="0" y="104"/>
                    <a:pt x="0" y="108"/>
                    <a:pt x="0" y="108"/>
                  </a:cubicBezTo>
                  <a:cubicBezTo>
                    <a:pt x="0" y="108"/>
                    <a:pt x="1" y="113"/>
                    <a:pt x="1" y="113"/>
                  </a:cubicBezTo>
                  <a:cubicBezTo>
                    <a:pt x="1" y="113"/>
                    <a:pt x="1" y="114"/>
                    <a:pt x="1" y="114"/>
                  </a:cubicBezTo>
                  <a:cubicBezTo>
                    <a:pt x="1" y="114"/>
                    <a:pt x="2" y="116"/>
                    <a:pt x="2" y="116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3" y="119"/>
                    <a:pt x="3" y="121"/>
                    <a:pt x="3" y="121"/>
                  </a:cubicBezTo>
                  <a:cubicBezTo>
                    <a:pt x="3" y="121"/>
                    <a:pt x="3" y="123"/>
                    <a:pt x="3" y="123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7" y="130"/>
                    <a:pt x="7" y="130"/>
                    <a:pt x="7" y="130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6"/>
                    <a:pt x="12" y="136"/>
                  </a:cubicBezTo>
                  <a:cubicBezTo>
                    <a:pt x="12" y="136"/>
                    <a:pt x="14" y="136"/>
                    <a:pt x="14" y="136"/>
                  </a:cubicBezTo>
                  <a:cubicBezTo>
                    <a:pt x="14" y="136"/>
                    <a:pt x="17" y="141"/>
                    <a:pt x="17" y="141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28" y="159"/>
                    <a:pt x="28" y="159"/>
                  </a:cubicBezTo>
                  <a:cubicBezTo>
                    <a:pt x="28" y="160"/>
                    <a:pt x="29" y="161"/>
                    <a:pt x="29" y="161"/>
                  </a:cubicBezTo>
                  <a:cubicBezTo>
                    <a:pt x="29" y="161"/>
                    <a:pt x="30" y="166"/>
                    <a:pt x="30" y="166"/>
                  </a:cubicBezTo>
                  <a:cubicBezTo>
                    <a:pt x="30" y="166"/>
                    <a:pt x="32" y="166"/>
                    <a:pt x="32" y="166"/>
                  </a:cubicBezTo>
                  <a:cubicBezTo>
                    <a:pt x="32" y="166"/>
                    <a:pt x="34" y="166"/>
                    <a:pt x="34" y="166"/>
                  </a:cubicBezTo>
                  <a:cubicBezTo>
                    <a:pt x="34" y="165"/>
                    <a:pt x="37" y="162"/>
                    <a:pt x="37" y="162"/>
                  </a:cubicBezTo>
                  <a:cubicBezTo>
                    <a:pt x="43" y="163"/>
                    <a:pt x="43" y="163"/>
                    <a:pt x="43" y="163"/>
                  </a:cubicBezTo>
                  <a:cubicBezTo>
                    <a:pt x="48" y="167"/>
                    <a:pt x="48" y="167"/>
                    <a:pt x="48" y="167"/>
                  </a:cubicBezTo>
                  <a:cubicBezTo>
                    <a:pt x="48" y="167"/>
                    <a:pt x="47" y="170"/>
                    <a:pt x="47" y="171"/>
                  </a:cubicBezTo>
                  <a:cubicBezTo>
                    <a:pt x="47" y="171"/>
                    <a:pt x="45" y="173"/>
                    <a:pt x="45" y="173"/>
                  </a:cubicBezTo>
                  <a:cubicBezTo>
                    <a:pt x="45" y="174"/>
                    <a:pt x="45" y="177"/>
                    <a:pt x="45" y="177"/>
                  </a:cubicBezTo>
                  <a:cubicBezTo>
                    <a:pt x="45" y="177"/>
                    <a:pt x="44" y="181"/>
                    <a:pt x="44" y="181"/>
                  </a:cubicBezTo>
                  <a:cubicBezTo>
                    <a:pt x="44" y="181"/>
                    <a:pt x="43" y="183"/>
                    <a:pt x="43" y="183"/>
                  </a:cubicBezTo>
                  <a:cubicBezTo>
                    <a:pt x="43" y="183"/>
                    <a:pt x="42" y="185"/>
                    <a:pt x="42" y="185"/>
                  </a:cubicBezTo>
                  <a:cubicBezTo>
                    <a:pt x="42" y="185"/>
                    <a:pt x="40" y="188"/>
                    <a:pt x="40" y="189"/>
                  </a:cubicBezTo>
                  <a:cubicBezTo>
                    <a:pt x="40" y="189"/>
                    <a:pt x="40" y="191"/>
                    <a:pt x="40" y="191"/>
                  </a:cubicBezTo>
                  <a:cubicBezTo>
                    <a:pt x="40" y="191"/>
                    <a:pt x="40" y="196"/>
                    <a:pt x="40" y="196"/>
                  </a:cubicBezTo>
                  <a:cubicBezTo>
                    <a:pt x="51" y="205"/>
                    <a:pt x="51" y="205"/>
                    <a:pt x="51" y="205"/>
                  </a:cubicBezTo>
                  <a:cubicBezTo>
                    <a:pt x="55" y="207"/>
                    <a:pt x="55" y="207"/>
                    <a:pt x="55" y="207"/>
                  </a:cubicBezTo>
                  <a:cubicBezTo>
                    <a:pt x="53" y="207"/>
                    <a:pt x="53" y="207"/>
                    <a:pt x="53" y="207"/>
                  </a:cubicBezTo>
                  <a:cubicBezTo>
                    <a:pt x="53" y="207"/>
                    <a:pt x="53" y="209"/>
                    <a:pt x="53" y="209"/>
                  </a:cubicBezTo>
                  <a:cubicBezTo>
                    <a:pt x="53" y="210"/>
                    <a:pt x="55" y="210"/>
                    <a:pt x="55" y="210"/>
                  </a:cubicBezTo>
                  <a:cubicBezTo>
                    <a:pt x="55" y="210"/>
                    <a:pt x="57" y="210"/>
                    <a:pt x="57" y="209"/>
                  </a:cubicBezTo>
                  <a:cubicBezTo>
                    <a:pt x="57" y="209"/>
                    <a:pt x="58" y="209"/>
                    <a:pt x="58" y="209"/>
                  </a:cubicBezTo>
                  <a:cubicBezTo>
                    <a:pt x="64" y="213"/>
                    <a:pt x="64" y="213"/>
                    <a:pt x="64" y="213"/>
                  </a:cubicBezTo>
                  <a:cubicBezTo>
                    <a:pt x="64" y="213"/>
                    <a:pt x="63" y="215"/>
                    <a:pt x="63" y="216"/>
                  </a:cubicBezTo>
                  <a:cubicBezTo>
                    <a:pt x="63" y="216"/>
                    <a:pt x="65" y="216"/>
                    <a:pt x="66" y="216"/>
                  </a:cubicBezTo>
                  <a:cubicBezTo>
                    <a:pt x="66" y="216"/>
                    <a:pt x="69" y="218"/>
                    <a:pt x="69" y="219"/>
                  </a:cubicBezTo>
                  <a:cubicBezTo>
                    <a:pt x="69" y="219"/>
                    <a:pt x="70" y="220"/>
                    <a:pt x="70" y="221"/>
                  </a:cubicBezTo>
                  <a:cubicBezTo>
                    <a:pt x="70" y="221"/>
                    <a:pt x="70" y="223"/>
                    <a:pt x="70" y="223"/>
                  </a:cubicBezTo>
                  <a:cubicBezTo>
                    <a:pt x="69" y="223"/>
                    <a:pt x="69" y="223"/>
                    <a:pt x="69" y="223"/>
                  </a:cubicBezTo>
                  <a:cubicBezTo>
                    <a:pt x="69" y="223"/>
                    <a:pt x="69" y="224"/>
                    <a:pt x="69" y="224"/>
                  </a:cubicBezTo>
                  <a:cubicBezTo>
                    <a:pt x="69" y="224"/>
                    <a:pt x="69" y="226"/>
                    <a:pt x="69" y="226"/>
                  </a:cubicBezTo>
                  <a:cubicBezTo>
                    <a:pt x="70" y="226"/>
                    <a:pt x="71" y="229"/>
                    <a:pt x="71" y="229"/>
                  </a:cubicBezTo>
                  <a:cubicBezTo>
                    <a:pt x="71" y="229"/>
                    <a:pt x="72" y="231"/>
                    <a:pt x="72" y="231"/>
                  </a:cubicBezTo>
                  <a:cubicBezTo>
                    <a:pt x="72" y="232"/>
                    <a:pt x="71" y="233"/>
                    <a:pt x="71" y="233"/>
                  </a:cubicBezTo>
                  <a:cubicBezTo>
                    <a:pt x="71" y="233"/>
                    <a:pt x="70" y="234"/>
                    <a:pt x="70" y="234"/>
                  </a:cubicBezTo>
                  <a:cubicBezTo>
                    <a:pt x="69" y="235"/>
                    <a:pt x="69" y="235"/>
                    <a:pt x="69" y="235"/>
                  </a:cubicBezTo>
                  <a:cubicBezTo>
                    <a:pt x="69" y="235"/>
                    <a:pt x="69" y="236"/>
                    <a:pt x="69" y="236"/>
                  </a:cubicBezTo>
                  <a:cubicBezTo>
                    <a:pt x="69" y="237"/>
                    <a:pt x="71" y="237"/>
                    <a:pt x="71" y="237"/>
                  </a:cubicBezTo>
                  <a:cubicBezTo>
                    <a:pt x="71" y="237"/>
                    <a:pt x="71" y="239"/>
                    <a:pt x="71" y="239"/>
                  </a:cubicBezTo>
                  <a:cubicBezTo>
                    <a:pt x="73" y="243"/>
                    <a:pt x="73" y="243"/>
                    <a:pt x="73" y="243"/>
                  </a:cubicBezTo>
                  <a:cubicBezTo>
                    <a:pt x="73" y="243"/>
                    <a:pt x="73" y="244"/>
                    <a:pt x="73" y="245"/>
                  </a:cubicBezTo>
                  <a:cubicBezTo>
                    <a:pt x="73" y="245"/>
                    <a:pt x="74" y="247"/>
                    <a:pt x="74" y="247"/>
                  </a:cubicBezTo>
                  <a:cubicBezTo>
                    <a:pt x="74" y="247"/>
                    <a:pt x="76" y="248"/>
                    <a:pt x="76" y="248"/>
                  </a:cubicBezTo>
                  <a:cubicBezTo>
                    <a:pt x="76" y="248"/>
                    <a:pt x="77" y="248"/>
                    <a:pt x="77" y="248"/>
                  </a:cubicBezTo>
                  <a:cubicBezTo>
                    <a:pt x="77" y="248"/>
                    <a:pt x="78" y="247"/>
                    <a:pt x="78" y="247"/>
                  </a:cubicBezTo>
                  <a:cubicBezTo>
                    <a:pt x="78" y="247"/>
                    <a:pt x="77" y="246"/>
                    <a:pt x="77" y="246"/>
                  </a:cubicBezTo>
                  <a:cubicBezTo>
                    <a:pt x="77" y="246"/>
                    <a:pt x="76" y="245"/>
                    <a:pt x="76" y="245"/>
                  </a:cubicBezTo>
                  <a:cubicBezTo>
                    <a:pt x="78" y="245"/>
                    <a:pt x="78" y="245"/>
                    <a:pt x="78" y="245"/>
                  </a:cubicBezTo>
                  <a:cubicBezTo>
                    <a:pt x="78" y="245"/>
                    <a:pt x="79" y="247"/>
                    <a:pt x="79" y="248"/>
                  </a:cubicBezTo>
                  <a:cubicBezTo>
                    <a:pt x="79" y="248"/>
                    <a:pt x="80" y="249"/>
                    <a:pt x="80" y="249"/>
                  </a:cubicBezTo>
                  <a:cubicBezTo>
                    <a:pt x="82" y="249"/>
                    <a:pt x="82" y="249"/>
                    <a:pt x="82" y="249"/>
                  </a:cubicBezTo>
                  <a:cubicBezTo>
                    <a:pt x="82" y="249"/>
                    <a:pt x="82" y="249"/>
                    <a:pt x="82" y="249"/>
                  </a:cubicBezTo>
                  <a:cubicBezTo>
                    <a:pt x="82" y="249"/>
                    <a:pt x="81" y="247"/>
                    <a:pt x="81" y="247"/>
                  </a:cubicBezTo>
                  <a:cubicBezTo>
                    <a:pt x="81" y="247"/>
                    <a:pt x="82" y="244"/>
                    <a:pt x="82" y="244"/>
                  </a:cubicBezTo>
                  <a:cubicBezTo>
                    <a:pt x="82" y="244"/>
                    <a:pt x="85" y="240"/>
                    <a:pt x="85" y="240"/>
                  </a:cubicBezTo>
                  <a:cubicBezTo>
                    <a:pt x="87" y="238"/>
                    <a:pt x="87" y="238"/>
                    <a:pt x="87" y="238"/>
                  </a:cubicBezTo>
                  <a:cubicBezTo>
                    <a:pt x="87" y="238"/>
                    <a:pt x="92" y="239"/>
                    <a:pt x="92" y="239"/>
                  </a:cubicBezTo>
                  <a:cubicBezTo>
                    <a:pt x="92" y="239"/>
                    <a:pt x="99" y="243"/>
                    <a:pt x="99" y="243"/>
                  </a:cubicBezTo>
                  <a:cubicBezTo>
                    <a:pt x="99" y="243"/>
                    <a:pt x="103" y="246"/>
                    <a:pt x="103" y="246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6" y="241"/>
                    <a:pt x="106" y="241"/>
                    <a:pt x="106" y="241"/>
                  </a:cubicBezTo>
                  <a:cubicBezTo>
                    <a:pt x="106" y="241"/>
                    <a:pt x="104" y="236"/>
                    <a:pt x="104" y="236"/>
                  </a:cubicBezTo>
                  <a:cubicBezTo>
                    <a:pt x="104" y="236"/>
                    <a:pt x="104" y="232"/>
                    <a:pt x="105" y="231"/>
                  </a:cubicBezTo>
                  <a:cubicBezTo>
                    <a:pt x="105" y="231"/>
                    <a:pt x="106" y="230"/>
                    <a:pt x="106" y="230"/>
                  </a:cubicBezTo>
                  <a:cubicBezTo>
                    <a:pt x="106" y="230"/>
                    <a:pt x="109" y="231"/>
                    <a:pt x="109" y="230"/>
                  </a:cubicBezTo>
                  <a:cubicBezTo>
                    <a:pt x="109" y="230"/>
                    <a:pt x="110" y="230"/>
                    <a:pt x="111" y="229"/>
                  </a:cubicBezTo>
                  <a:cubicBezTo>
                    <a:pt x="111" y="229"/>
                    <a:pt x="113" y="228"/>
                    <a:pt x="113" y="228"/>
                  </a:cubicBezTo>
                  <a:cubicBezTo>
                    <a:pt x="114" y="228"/>
                    <a:pt x="117" y="228"/>
                    <a:pt x="118" y="228"/>
                  </a:cubicBezTo>
                  <a:cubicBezTo>
                    <a:pt x="118" y="228"/>
                    <a:pt x="119" y="227"/>
                    <a:pt x="119" y="227"/>
                  </a:cubicBezTo>
                  <a:cubicBezTo>
                    <a:pt x="119" y="225"/>
                    <a:pt x="119" y="225"/>
                    <a:pt x="119" y="225"/>
                  </a:cubicBezTo>
                  <a:cubicBezTo>
                    <a:pt x="119" y="225"/>
                    <a:pt x="117" y="223"/>
                    <a:pt x="117" y="223"/>
                  </a:cubicBezTo>
                  <a:cubicBezTo>
                    <a:pt x="117" y="223"/>
                    <a:pt x="116" y="220"/>
                    <a:pt x="116" y="220"/>
                  </a:cubicBezTo>
                  <a:cubicBezTo>
                    <a:pt x="116" y="220"/>
                    <a:pt x="117" y="219"/>
                    <a:pt x="117" y="218"/>
                  </a:cubicBezTo>
                  <a:cubicBezTo>
                    <a:pt x="117" y="218"/>
                    <a:pt x="121" y="214"/>
                    <a:pt x="121" y="214"/>
                  </a:cubicBezTo>
                  <a:cubicBezTo>
                    <a:pt x="118" y="213"/>
                    <a:pt x="118" y="213"/>
                    <a:pt x="118" y="213"/>
                  </a:cubicBezTo>
                  <a:cubicBezTo>
                    <a:pt x="120" y="212"/>
                    <a:pt x="120" y="212"/>
                    <a:pt x="120" y="212"/>
                  </a:cubicBezTo>
                  <a:cubicBezTo>
                    <a:pt x="120" y="212"/>
                    <a:pt x="120" y="211"/>
                    <a:pt x="120" y="211"/>
                  </a:cubicBezTo>
                  <a:cubicBezTo>
                    <a:pt x="119" y="210"/>
                    <a:pt x="118" y="209"/>
                    <a:pt x="118" y="209"/>
                  </a:cubicBezTo>
                  <a:cubicBezTo>
                    <a:pt x="118" y="209"/>
                    <a:pt x="119" y="207"/>
                    <a:pt x="119" y="208"/>
                  </a:cubicBezTo>
                  <a:cubicBezTo>
                    <a:pt x="119" y="208"/>
                    <a:pt x="120" y="209"/>
                    <a:pt x="120" y="209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3"/>
                    <a:pt x="121" y="203"/>
                    <a:pt x="121" y="203"/>
                  </a:cubicBezTo>
                  <a:cubicBezTo>
                    <a:pt x="120" y="202"/>
                    <a:pt x="120" y="202"/>
                    <a:pt x="120" y="202"/>
                  </a:cubicBezTo>
                  <a:cubicBezTo>
                    <a:pt x="122" y="202"/>
                    <a:pt x="122" y="202"/>
                    <a:pt x="122" y="202"/>
                  </a:cubicBezTo>
                  <a:cubicBezTo>
                    <a:pt x="122" y="202"/>
                    <a:pt x="123" y="201"/>
                    <a:pt x="123" y="201"/>
                  </a:cubicBezTo>
                  <a:cubicBezTo>
                    <a:pt x="123" y="201"/>
                    <a:pt x="121" y="200"/>
                    <a:pt x="121" y="200"/>
                  </a:cubicBezTo>
                  <a:cubicBezTo>
                    <a:pt x="121" y="200"/>
                    <a:pt x="123" y="199"/>
                    <a:pt x="123" y="199"/>
                  </a:cubicBezTo>
                  <a:cubicBezTo>
                    <a:pt x="123" y="199"/>
                    <a:pt x="124" y="197"/>
                    <a:pt x="124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2" y="195"/>
                    <a:pt x="122" y="194"/>
                  </a:cubicBezTo>
                  <a:cubicBezTo>
                    <a:pt x="122" y="194"/>
                    <a:pt x="122" y="193"/>
                    <a:pt x="122" y="193"/>
                  </a:cubicBezTo>
                  <a:cubicBezTo>
                    <a:pt x="123" y="194"/>
                    <a:pt x="123" y="194"/>
                    <a:pt x="123" y="194"/>
                  </a:cubicBezTo>
                  <a:cubicBezTo>
                    <a:pt x="123" y="191"/>
                    <a:pt x="123" y="191"/>
                    <a:pt x="123" y="191"/>
                  </a:cubicBezTo>
                  <a:cubicBezTo>
                    <a:pt x="124" y="192"/>
                    <a:pt x="124" y="192"/>
                    <a:pt x="124" y="192"/>
                  </a:cubicBezTo>
                  <a:cubicBezTo>
                    <a:pt x="126" y="191"/>
                    <a:pt x="126" y="191"/>
                    <a:pt x="126" y="191"/>
                  </a:cubicBezTo>
                  <a:cubicBezTo>
                    <a:pt x="127" y="192"/>
                    <a:pt x="127" y="192"/>
                    <a:pt x="127" y="192"/>
                  </a:cubicBezTo>
                  <a:cubicBezTo>
                    <a:pt x="127" y="189"/>
                    <a:pt x="127" y="189"/>
                    <a:pt x="127" y="189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184"/>
                    <a:pt x="130" y="184"/>
                    <a:pt x="130" y="184"/>
                  </a:cubicBezTo>
                  <a:cubicBezTo>
                    <a:pt x="132" y="183"/>
                    <a:pt x="132" y="183"/>
                    <a:pt x="132" y="183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2"/>
                    <a:pt x="133" y="181"/>
                    <a:pt x="133" y="181"/>
                  </a:cubicBezTo>
                  <a:cubicBezTo>
                    <a:pt x="133" y="181"/>
                    <a:pt x="133" y="180"/>
                    <a:pt x="133" y="180"/>
                  </a:cubicBezTo>
                  <a:cubicBezTo>
                    <a:pt x="135" y="179"/>
                    <a:pt x="135" y="179"/>
                    <a:pt x="135" y="179"/>
                  </a:cubicBezTo>
                  <a:cubicBezTo>
                    <a:pt x="135" y="177"/>
                    <a:pt x="135" y="177"/>
                    <a:pt x="135" y="177"/>
                  </a:cubicBezTo>
                  <a:cubicBezTo>
                    <a:pt x="135" y="176"/>
                    <a:pt x="135" y="176"/>
                    <a:pt x="135" y="176"/>
                  </a:cubicBezTo>
                  <a:cubicBezTo>
                    <a:pt x="137" y="175"/>
                    <a:pt x="137" y="175"/>
                    <a:pt x="137" y="175"/>
                  </a:cubicBezTo>
                  <a:cubicBezTo>
                    <a:pt x="139" y="172"/>
                    <a:pt x="139" y="172"/>
                    <a:pt x="139" y="172"/>
                  </a:cubicBezTo>
                  <a:lnTo>
                    <a:pt x="137" y="168"/>
                  </a:ln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8EBD296F-C63B-4E43-BE86-FE0A5508B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9590" y="1258003"/>
              <a:ext cx="847581" cy="1372982"/>
            </a:xfrm>
            <a:custGeom>
              <a:avLst/>
              <a:gdLst>
                <a:gd name="T0" fmla="*/ 200 w 214"/>
                <a:gd name="T1" fmla="*/ 217 h 346"/>
                <a:gd name="T2" fmla="*/ 199 w 214"/>
                <a:gd name="T3" fmla="*/ 224 h 346"/>
                <a:gd name="T4" fmla="*/ 193 w 214"/>
                <a:gd name="T5" fmla="*/ 225 h 346"/>
                <a:gd name="T6" fmla="*/ 186 w 214"/>
                <a:gd name="T7" fmla="*/ 225 h 346"/>
                <a:gd name="T8" fmla="*/ 171 w 214"/>
                <a:gd name="T9" fmla="*/ 224 h 346"/>
                <a:gd name="T10" fmla="*/ 168 w 214"/>
                <a:gd name="T11" fmla="*/ 230 h 346"/>
                <a:gd name="T12" fmla="*/ 156 w 214"/>
                <a:gd name="T13" fmla="*/ 228 h 346"/>
                <a:gd name="T14" fmla="*/ 151 w 214"/>
                <a:gd name="T15" fmla="*/ 233 h 346"/>
                <a:gd name="T16" fmla="*/ 147 w 214"/>
                <a:gd name="T17" fmla="*/ 227 h 346"/>
                <a:gd name="T18" fmla="*/ 145 w 214"/>
                <a:gd name="T19" fmla="*/ 222 h 346"/>
                <a:gd name="T20" fmla="*/ 142 w 214"/>
                <a:gd name="T21" fmla="*/ 214 h 346"/>
                <a:gd name="T22" fmla="*/ 135 w 214"/>
                <a:gd name="T23" fmla="*/ 213 h 346"/>
                <a:gd name="T24" fmla="*/ 130 w 214"/>
                <a:gd name="T25" fmla="*/ 208 h 346"/>
                <a:gd name="T26" fmla="*/ 132 w 214"/>
                <a:gd name="T27" fmla="*/ 201 h 346"/>
                <a:gd name="T28" fmla="*/ 129 w 214"/>
                <a:gd name="T29" fmla="*/ 197 h 346"/>
                <a:gd name="T30" fmla="*/ 124 w 214"/>
                <a:gd name="T31" fmla="*/ 191 h 346"/>
                <a:gd name="T32" fmla="*/ 122 w 214"/>
                <a:gd name="T33" fmla="*/ 184 h 346"/>
                <a:gd name="T34" fmla="*/ 120 w 214"/>
                <a:gd name="T35" fmla="*/ 178 h 346"/>
                <a:gd name="T36" fmla="*/ 118 w 214"/>
                <a:gd name="T37" fmla="*/ 174 h 346"/>
                <a:gd name="T38" fmla="*/ 112 w 214"/>
                <a:gd name="T39" fmla="*/ 169 h 346"/>
                <a:gd name="T40" fmla="*/ 106 w 214"/>
                <a:gd name="T41" fmla="*/ 176 h 346"/>
                <a:gd name="T42" fmla="*/ 101 w 214"/>
                <a:gd name="T43" fmla="*/ 180 h 346"/>
                <a:gd name="T44" fmla="*/ 94 w 214"/>
                <a:gd name="T45" fmla="*/ 176 h 346"/>
                <a:gd name="T46" fmla="*/ 95 w 214"/>
                <a:gd name="T47" fmla="*/ 169 h 346"/>
                <a:gd name="T48" fmla="*/ 96 w 214"/>
                <a:gd name="T49" fmla="*/ 161 h 346"/>
                <a:gd name="T50" fmla="*/ 99 w 214"/>
                <a:gd name="T51" fmla="*/ 158 h 346"/>
                <a:gd name="T52" fmla="*/ 96 w 214"/>
                <a:gd name="T53" fmla="*/ 151 h 346"/>
                <a:gd name="T54" fmla="*/ 96 w 214"/>
                <a:gd name="T55" fmla="*/ 146 h 346"/>
                <a:gd name="T56" fmla="*/ 97 w 214"/>
                <a:gd name="T57" fmla="*/ 140 h 346"/>
                <a:gd name="T58" fmla="*/ 99 w 214"/>
                <a:gd name="T59" fmla="*/ 130 h 346"/>
                <a:gd name="T60" fmla="*/ 101 w 214"/>
                <a:gd name="T61" fmla="*/ 125 h 346"/>
                <a:gd name="T62" fmla="*/ 97 w 214"/>
                <a:gd name="T63" fmla="*/ 122 h 346"/>
                <a:gd name="T64" fmla="*/ 92 w 214"/>
                <a:gd name="T65" fmla="*/ 122 h 346"/>
                <a:gd name="T66" fmla="*/ 88 w 214"/>
                <a:gd name="T67" fmla="*/ 117 h 346"/>
                <a:gd name="T68" fmla="*/ 85 w 214"/>
                <a:gd name="T69" fmla="*/ 115 h 346"/>
                <a:gd name="T70" fmla="*/ 80 w 214"/>
                <a:gd name="T71" fmla="*/ 112 h 346"/>
                <a:gd name="T72" fmla="*/ 76 w 214"/>
                <a:gd name="T73" fmla="*/ 105 h 346"/>
                <a:gd name="T74" fmla="*/ 68 w 214"/>
                <a:gd name="T75" fmla="*/ 94 h 346"/>
                <a:gd name="T76" fmla="*/ 62 w 214"/>
                <a:gd name="T77" fmla="*/ 90 h 346"/>
                <a:gd name="T78" fmla="*/ 55 w 214"/>
                <a:gd name="T79" fmla="*/ 84 h 346"/>
                <a:gd name="T80" fmla="*/ 54 w 214"/>
                <a:gd name="T81" fmla="*/ 81 h 346"/>
                <a:gd name="T82" fmla="*/ 55 w 214"/>
                <a:gd name="T83" fmla="*/ 78 h 346"/>
                <a:gd name="T84" fmla="*/ 54 w 214"/>
                <a:gd name="T85" fmla="*/ 74 h 346"/>
                <a:gd name="T86" fmla="*/ 42 w 214"/>
                <a:gd name="T87" fmla="*/ 54 h 346"/>
                <a:gd name="T88" fmla="*/ 8 w 214"/>
                <a:gd name="T89" fmla="*/ 133 h 346"/>
                <a:gd name="T90" fmla="*/ 9 w 214"/>
                <a:gd name="T91" fmla="*/ 139 h 346"/>
                <a:gd name="T92" fmla="*/ 11 w 214"/>
                <a:gd name="T93" fmla="*/ 145 h 346"/>
                <a:gd name="T94" fmla="*/ 12 w 214"/>
                <a:gd name="T95" fmla="*/ 154 h 346"/>
                <a:gd name="T96" fmla="*/ 25 w 214"/>
                <a:gd name="T97" fmla="*/ 166 h 346"/>
                <a:gd name="T98" fmla="*/ 27 w 214"/>
                <a:gd name="T99" fmla="*/ 174 h 346"/>
                <a:gd name="T100" fmla="*/ 20 w 214"/>
                <a:gd name="T101" fmla="*/ 189 h 346"/>
                <a:gd name="T102" fmla="*/ 14 w 214"/>
                <a:gd name="T103" fmla="*/ 203 h 346"/>
                <a:gd name="T104" fmla="*/ 14 w 214"/>
                <a:gd name="T105" fmla="*/ 207 h 346"/>
                <a:gd name="T106" fmla="*/ 10 w 214"/>
                <a:gd name="T107" fmla="*/ 215 h 346"/>
                <a:gd name="T108" fmla="*/ 5 w 214"/>
                <a:gd name="T109" fmla="*/ 221 h 346"/>
                <a:gd name="T110" fmla="*/ 1 w 214"/>
                <a:gd name="T111" fmla="*/ 232 h 346"/>
                <a:gd name="T112" fmla="*/ 2 w 214"/>
                <a:gd name="T113" fmla="*/ 236 h 346"/>
                <a:gd name="T114" fmla="*/ 7 w 214"/>
                <a:gd name="T115" fmla="*/ 240 h 346"/>
                <a:gd name="T116" fmla="*/ 10 w 214"/>
                <a:gd name="T117" fmla="*/ 242 h 346"/>
                <a:gd name="T118" fmla="*/ 11 w 214"/>
                <a:gd name="T119" fmla="*/ 252 h 346"/>
                <a:gd name="T120" fmla="*/ 8 w 214"/>
                <a:gd name="T121" fmla="*/ 346 h 346"/>
                <a:gd name="T122" fmla="*/ 212 w 214"/>
                <a:gd name="T123" fmla="*/ 22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4" h="346">
                  <a:moveTo>
                    <a:pt x="203" y="215"/>
                  </a:moveTo>
                  <a:cubicBezTo>
                    <a:pt x="203" y="214"/>
                    <a:pt x="202" y="216"/>
                    <a:pt x="202" y="217"/>
                  </a:cubicBezTo>
                  <a:cubicBezTo>
                    <a:pt x="201" y="217"/>
                    <a:pt x="201" y="217"/>
                    <a:pt x="200" y="217"/>
                  </a:cubicBezTo>
                  <a:cubicBezTo>
                    <a:pt x="199" y="218"/>
                    <a:pt x="199" y="218"/>
                    <a:pt x="199" y="219"/>
                  </a:cubicBezTo>
                  <a:cubicBezTo>
                    <a:pt x="199" y="220"/>
                    <a:pt x="199" y="221"/>
                    <a:pt x="198" y="222"/>
                  </a:cubicBezTo>
                  <a:cubicBezTo>
                    <a:pt x="198" y="222"/>
                    <a:pt x="199" y="223"/>
                    <a:pt x="199" y="224"/>
                  </a:cubicBezTo>
                  <a:cubicBezTo>
                    <a:pt x="199" y="225"/>
                    <a:pt x="200" y="225"/>
                    <a:pt x="199" y="225"/>
                  </a:cubicBezTo>
                  <a:cubicBezTo>
                    <a:pt x="199" y="225"/>
                    <a:pt x="197" y="225"/>
                    <a:pt x="197" y="225"/>
                  </a:cubicBezTo>
                  <a:cubicBezTo>
                    <a:pt x="196" y="225"/>
                    <a:pt x="194" y="224"/>
                    <a:pt x="193" y="225"/>
                  </a:cubicBezTo>
                  <a:cubicBezTo>
                    <a:pt x="191" y="225"/>
                    <a:pt x="190" y="226"/>
                    <a:pt x="189" y="226"/>
                  </a:cubicBezTo>
                  <a:cubicBezTo>
                    <a:pt x="188" y="227"/>
                    <a:pt x="187" y="227"/>
                    <a:pt x="187" y="227"/>
                  </a:cubicBezTo>
                  <a:cubicBezTo>
                    <a:pt x="187" y="227"/>
                    <a:pt x="186" y="225"/>
                    <a:pt x="186" y="225"/>
                  </a:cubicBezTo>
                  <a:cubicBezTo>
                    <a:pt x="186" y="225"/>
                    <a:pt x="184" y="225"/>
                    <a:pt x="183" y="225"/>
                  </a:cubicBezTo>
                  <a:cubicBezTo>
                    <a:pt x="183" y="225"/>
                    <a:pt x="179" y="226"/>
                    <a:pt x="179" y="226"/>
                  </a:cubicBezTo>
                  <a:cubicBezTo>
                    <a:pt x="178" y="226"/>
                    <a:pt x="172" y="224"/>
                    <a:pt x="171" y="224"/>
                  </a:cubicBezTo>
                  <a:cubicBezTo>
                    <a:pt x="171" y="224"/>
                    <a:pt x="170" y="224"/>
                    <a:pt x="170" y="224"/>
                  </a:cubicBezTo>
                  <a:cubicBezTo>
                    <a:pt x="169" y="224"/>
                    <a:pt x="169" y="227"/>
                    <a:pt x="169" y="228"/>
                  </a:cubicBezTo>
                  <a:cubicBezTo>
                    <a:pt x="168" y="229"/>
                    <a:pt x="168" y="230"/>
                    <a:pt x="168" y="230"/>
                  </a:cubicBezTo>
                  <a:cubicBezTo>
                    <a:pt x="168" y="230"/>
                    <a:pt x="166" y="230"/>
                    <a:pt x="165" y="229"/>
                  </a:cubicBezTo>
                  <a:cubicBezTo>
                    <a:pt x="163" y="229"/>
                    <a:pt x="161" y="229"/>
                    <a:pt x="159" y="228"/>
                  </a:cubicBezTo>
                  <a:cubicBezTo>
                    <a:pt x="157" y="227"/>
                    <a:pt x="157" y="228"/>
                    <a:pt x="156" y="228"/>
                  </a:cubicBezTo>
                  <a:cubicBezTo>
                    <a:pt x="155" y="229"/>
                    <a:pt x="154" y="229"/>
                    <a:pt x="153" y="230"/>
                  </a:cubicBezTo>
                  <a:cubicBezTo>
                    <a:pt x="153" y="231"/>
                    <a:pt x="153" y="233"/>
                    <a:pt x="153" y="234"/>
                  </a:cubicBezTo>
                  <a:cubicBezTo>
                    <a:pt x="153" y="234"/>
                    <a:pt x="152" y="234"/>
                    <a:pt x="151" y="233"/>
                  </a:cubicBezTo>
                  <a:cubicBezTo>
                    <a:pt x="150" y="232"/>
                    <a:pt x="149" y="232"/>
                    <a:pt x="148" y="231"/>
                  </a:cubicBezTo>
                  <a:cubicBezTo>
                    <a:pt x="148" y="230"/>
                    <a:pt x="147" y="230"/>
                    <a:pt x="147" y="229"/>
                  </a:cubicBezTo>
                  <a:cubicBezTo>
                    <a:pt x="146" y="228"/>
                    <a:pt x="147" y="228"/>
                    <a:pt x="147" y="227"/>
                  </a:cubicBezTo>
                  <a:cubicBezTo>
                    <a:pt x="147" y="226"/>
                    <a:pt x="146" y="226"/>
                    <a:pt x="146" y="225"/>
                  </a:cubicBezTo>
                  <a:cubicBezTo>
                    <a:pt x="146" y="224"/>
                    <a:pt x="144" y="223"/>
                    <a:pt x="144" y="223"/>
                  </a:cubicBezTo>
                  <a:cubicBezTo>
                    <a:pt x="144" y="223"/>
                    <a:pt x="145" y="222"/>
                    <a:pt x="145" y="222"/>
                  </a:cubicBezTo>
                  <a:cubicBezTo>
                    <a:pt x="145" y="221"/>
                    <a:pt x="145" y="221"/>
                    <a:pt x="145" y="220"/>
                  </a:cubicBezTo>
                  <a:cubicBezTo>
                    <a:pt x="144" y="219"/>
                    <a:pt x="144" y="218"/>
                    <a:pt x="144" y="217"/>
                  </a:cubicBezTo>
                  <a:cubicBezTo>
                    <a:pt x="143" y="216"/>
                    <a:pt x="142" y="215"/>
                    <a:pt x="142" y="214"/>
                  </a:cubicBezTo>
                  <a:cubicBezTo>
                    <a:pt x="141" y="214"/>
                    <a:pt x="140" y="213"/>
                    <a:pt x="139" y="212"/>
                  </a:cubicBezTo>
                  <a:cubicBezTo>
                    <a:pt x="138" y="212"/>
                    <a:pt x="138" y="212"/>
                    <a:pt x="137" y="212"/>
                  </a:cubicBezTo>
                  <a:cubicBezTo>
                    <a:pt x="136" y="213"/>
                    <a:pt x="135" y="213"/>
                    <a:pt x="135" y="213"/>
                  </a:cubicBezTo>
                  <a:cubicBezTo>
                    <a:pt x="135" y="213"/>
                    <a:pt x="134" y="212"/>
                    <a:pt x="134" y="212"/>
                  </a:cubicBezTo>
                  <a:cubicBezTo>
                    <a:pt x="134" y="211"/>
                    <a:pt x="133" y="211"/>
                    <a:pt x="133" y="210"/>
                  </a:cubicBezTo>
                  <a:cubicBezTo>
                    <a:pt x="132" y="210"/>
                    <a:pt x="131" y="208"/>
                    <a:pt x="130" y="208"/>
                  </a:cubicBezTo>
                  <a:cubicBezTo>
                    <a:pt x="130" y="207"/>
                    <a:pt x="130" y="206"/>
                    <a:pt x="130" y="206"/>
                  </a:cubicBezTo>
                  <a:cubicBezTo>
                    <a:pt x="130" y="205"/>
                    <a:pt x="132" y="205"/>
                    <a:pt x="132" y="205"/>
                  </a:cubicBezTo>
                  <a:cubicBezTo>
                    <a:pt x="132" y="205"/>
                    <a:pt x="132" y="202"/>
                    <a:pt x="132" y="201"/>
                  </a:cubicBezTo>
                  <a:cubicBezTo>
                    <a:pt x="132" y="200"/>
                    <a:pt x="131" y="200"/>
                    <a:pt x="131" y="200"/>
                  </a:cubicBezTo>
                  <a:cubicBezTo>
                    <a:pt x="131" y="199"/>
                    <a:pt x="130" y="199"/>
                    <a:pt x="130" y="199"/>
                  </a:cubicBezTo>
                  <a:cubicBezTo>
                    <a:pt x="130" y="199"/>
                    <a:pt x="129" y="198"/>
                    <a:pt x="129" y="197"/>
                  </a:cubicBezTo>
                  <a:cubicBezTo>
                    <a:pt x="129" y="197"/>
                    <a:pt x="128" y="197"/>
                    <a:pt x="127" y="196"/>
                  </a:cubicBezTo>
                  <a:cubicBezTo>
                    <a:pt x="127" y="196"/>
                    <a:pt x="126" y="195"/>
                    <a:pt x="126" y="194"/>
                  </a:cubicBezTo>
                  <a:cubicBezTo>
                    <a:pt x="125" y="194"/>
                    <a:pt x="125" y="192"/>
                    <a:pt x="124" y="191"/>
                  </a:cubicBezTo>
                  <a:cubicBezTo>
                    <a:pt x="123" y="190"/>
                    <a:pt x="123" y="189"/>
                    <a:pt x="123" y="188"/>
                  </a:cubicBezTo>
                  <a:cubicBezTo>
                    <a:pt x="122" y="187"/>
                    <a:pt x="122" y="186"/>
                    <a:pt x="122" y="185"/>
                  </a:cubicBezTo>
                  <a:cubicBezTo>
                    <a:pt x="122" y="184"/>
                    <a:pt x="122" y="184"/>
                    <a:pt x="122" y="184"/>
                  </a:cubicBezTo>
                  <a:cubicBezTo>
                    <a:pt x="121" y="184"/>
                    <a:pt x="121" y="183"/>
                    <a:pt x="120" y="182"/>
                  </a:cubicBezTo>
                  <a:cubicBezTo>
                    <a:pt x="120" y="182"/>
                    <a:pt x="120" y="181"/>
                    <a:pt x="120" y="180"/>
                  </a:cubicBezTo>
                  <a:cubicBezTo>
                    <a:pt x="121" y="180"/>
                    <a:pt x="120" y="179"/>
                    <a:pt x="120" y="178"/>
                  </a:cubicBezTo>
                  <a:cubicBezTo>
                    <a:pt x="120" y="178"/>
                    <a:pt x="120" y="178"/>
                    <a:pt x="119" y="177"/>
                  </a:cubicBezTo>
                  <a:cubicBezTo>
                    <a:pt x="118" y="177"/>
                    <a:pt x="118" y="176"/>
                    <a:pt x="118" y="176"/>
                  </a:cubicBezTo>
                  <a:cubicBezTo>
                    <a:pt x="119" y="176"/>
                    <a:pt x="119" y="174"/>
                    <a:pt x="118" y="174"/>
                  </a:cubicBezTo>
                  <a:cubicBezTo>
                    <a:pt x="118" y="173"/>
                    <a:pt x="118" y="173"/>
                    <a:pt x="117" y="173"/>
                  </a:cubicBezTo>
                  <a:cubicBezTo>
                    <a:pt x="116" y="173"/>
                    <a:pt x="115" y="172"/>
                    <a:pt x="115" y="171"/>
                  </a:cubicBezTo>
                  <a:cubicBezTo>
                    <a:pt x="115" y="171"/>
                    <a:pt x="114" y="169"/>
                    <a:pt x="112" y="169"/>
                  </a:cubicBezTo>
                  <a:cubicBezTo>
                    <a:pt x="111" y="169"/>
                    <a:pt x="112" y="170"/>
                    <a:pt x="112" y="171"/>
                  </a:cubicBezTo>
                  <a:cubicBezTo>
                    <a:pt x="112" y="172"/>
                    <a:pt x="111" y="173"/>
                    <a:pt x="110" y="173"/>
                  </a:cubicBezTo>
                  <a:cubicBezTo>
                    <a:pt x="110" y="174"/>
                    <a:pt x="107" y="176"/>
                    <a:pt x="106" y="176"/>
                  </a:cubicBezTo>
                  <a:cubicBezTo>
                    <a:pt x="105" y="176"/>
                    <a:pt x="104" y="176"/>
                    <a:pt x="104" y="177"/>
                  </a:cubicBezTo>
                  <a:cubicBezTo>
                    <a:pt x="104" y="177"/>
                    <a:pt x="104" y="179"/>
                    <a:pt x="103" y="179"/>
                  </a:cubicBezTo>
                  <a:cubicBezTo>
                    <a:pt x="102" y="179"/>
                    <a:pt x="101" y="180"/>
                    <a:pt x="101" y="180"/>
                  </a:cubicBezTo>
                  <a:cubicBezTo>
                    <a:pt x="100" y="180"/>
                    <a:pt x="99" y="179"/>
                    <a:pt x="98" y="179"/>
                  </a:cubicBezTo>
                  <a:cubicBezTo>
                    <a:pt x="97" y="178"/>
                    <a:pt x="97" y="177"/>
                    <a:pt x="97" y="176"/>
                  </a:cubicBezTo>
                  <a:cubicBezTo>
                    <a:pt x="96" y="176"/>
                    <a:pt x="95" y="176"/>
                    <a:pt x="94" y="176"/>
                  </a:cubicBezTo>
                  <a:cubicBezTo>
                    <a:pt x="93" y="176"/>
                    <a:pt x="93" y="175"/>
                    <a:pt x="93" y="174"/>
                  </a:cubicBezTo>
                  <a:cubicBezTo>
                    <a:pt x="93" y="173"/>
                    <a:pt x="94" y="172"/>
                    <a:pt x="94" y="172"/>
                  </a:cubicBezTo>
                  <a:cubicBezTo>
                    <a:pt x="95" y="171"/>
                    <a:pt x="95" y="169"/>
                    <a:pt x="95" y="169"/>
                  </a:cubicBezTo>
                  <a:cubicBezTo>
                    <a:pt x="95" y="168"/>
                    <a:pt x="93" y="166"/>
                    <a:pt x="93" y="165"/>
                  </a:cubicBezTo>
                  <a:cubicBezTo>
                    <a:pt x="93" y="164"/>
                    <a:pt x="94" y="164"/>
                    <a:pt x="94" y="163"/>
                  </a:cubicBezTo>
                  <a:cubicBezTo>
                    <a:pt x="95" y="162"/>
                    <a:pt x="95" y="162"/>
                    <a:pt x="96" y="161"/>
                  </a:cubicBezTo>
                  <a:cubicBezTo>
                    <a:pt x="96" y="161"/>
                    <a:pt x="97" y="161"/>
                    <a:pt x="98" y="161"/>
                  </a:cubicBezTo>
                  <a:cubicBezTo>
                    <a:pt x="99" y="161"/>
                    <a:pt x="99" y="161"/>
                    <a:pt x="99" y="160"/>
                  </a:cubicBezTo>
                  <a:cubicBezTo>
                    <a:pt x="99" y="159"/>
                    <a:pt x="99" y="159"/>
                    <a:pt x="99" y="158"/>
                  </a:cubicBezTo>
                  <a:cubicBezTo>
                    <a:pt x="98" y="156"/>
                    <a:pt x="98" y="155"/>
                    <a:pt x="98" y="155"/>
                  </a:cubicBezTo>
                  <a:cubicBezTo>
                    <a:pt x="97" y="154"/>
                    <a:pt x="96" y="154"/>
                    <a:pt x="96" y="153"/>
                  </a:cubicBezTo>
                  <a:cubicBezTo>
                    <a:pt x="96" y="153"/>
                    <a:pt x="96" y="151"/>
                    <a:pt x="96" y="151"/>
                  </a:cubicBezTo>
                  <a:cubicBezTo>
                    <a:pt x="96" y="151"/>
                    <a:pt x="96" y="150"/>
                    <a:pt x="96" y="149"/>
                  </a:cubicBezTo>
                  <a:cubicBezTo>
                    <a:pt x="96" y="149"/>
                    <a:pt x="95" y="148"/>
                    <a:pt x="95" y="147"/>
                  </a:cubicBezTo>
                  <a:cubicBezTo>
                    <a:pt x="95" y="147"/>
                    <a:pt x="95" y="146"/>
                    <a:pt x="96" y="146"/>
                  </a:cubicBezTo>
                  <a:cubicBezTo>
                    <a:pt x="97" y="146"/>
                    <a:pt x="97" y="145"/>
                    <a:pt x="97" y="145"/>
                  </a:cubicBezTo>
                  <a:cubicBezTo>
                    <a:pt x="97" y="144"/>
                    <a:pt x="97" y="143"/>
                    <a:pt x="96" y="143"/>
                  </a:cubicBezTo>
                  <a:cubicBezTo>
                    <a:pt x="96" y="142"/>
                    <a:pt x="96" y="141"/>
                    <a:pt x="97" y="140"/>
                  </a:cubicBezTo>
                  <a:cubicBezTo>
                    <a:pt x="97" y="140"/>
                    <a:pt x="98" y="138"/>
                    <a:pt x="98" y="138"/>
                  </a:cubicBezTo>
                  <a:cubicBezTo>
                    <a:pt x="98" y="137"/>
                    <a:pt x="99" y="135"/>
                    <a:pt x="99" y="134"/>
                  </a:cubicBezTo>
                  <a:cubicBezTo>
                    <a:pt x="99" y="133"/>
                    <a:pt x="99" y="131"/>
                    <a:pt x="99" y="130"/>
                  </a:cubicBezTo>
                  <a:cubicBezTo>
                    <a:pt x="99" y="130"/>
                    <a:pt x="99" y="129"/>
                    <a:pt x="99" y="129"/>
                  </a:cubicBezTo>
                  <a:cubicBezTo>
                    <a:pt x="99" y="129"/>
                    <a:pt x="100" y="128"/>
                    <a:pt x="100" y="128"/>
                  </a:cubicBezTo>
                  <a:cubicBezTo>
                    <a:pt x="101" y="128"/>
                    <a:pt x="101" y="125"/>
                    <a:pt x="101" y="125"/>
                  </a:cubicBezTo>
                  <a:cubicBezTo>
                    <a:pt x="101" y="125"/>
                    <a:pt x="101" y="122"/>
                    <a:pt x="101" y="122"/>
                  </a:cubicBezTo>
                  <a:cubicBezTo>
                    <a:pt x="101" y="121"/>
                    <a:pt x="100" y="121"/>
                    <a:pt x="100" y="121"/>
                  </a:cubicBezTo>
                  <a:cubicBezTo>
                    <a:pt x="100" y="121"/>
                    <a:pt x="98" y="122"/>
                    <a:pt x="97" y="122"/>
                  </a:cubicBezTo>
                  <a:cubicBezTo>
                    <a:pt x="97" y="123"/>
                    <a:pt x="96" y="122"/>
                    <a:pt x="96" y="122"/>
                  </a:cubicBezTo>
                  <a:cubicBezTo>
                    <a:pt x="95" y="122"/>
                    <a:pt x="94" y="122"/>
                    <a:pt x="94" y="122"/>
                  </a:cubicBezTo>
                  <a:cubicBezTo>
                    <a:pt x="94" y="122"/>
                    <a:pt x="92" y="122"/>
                    <a:pt x="92" y="122"/>
                  </a:cubicBezTo>
                  <a:cubicBezTo>
                    <a:pt x="92" y="122"/>
                    <a:pt x="91" y="121"/>
                    <a:pt x="91" y="120"/>
                  </a:cubicBezTo>
                  <a:cubicBezTo>
                    <a:pt x="90" y="119"/>
                    <a:pt x="90" y="118"/>
                    <a:pt x="90" y="118"/>
                  </a:cubicBezTo>
                  <a:cubicBezTo>
                    <a:pt x="90" y="117"/>
                    <a:pt x="89" y="117"/>
                    <a:pt x="88" y="117"/>
                  </a:cubicBezTo>
                  <a:cubicBezTo>
                    <a:pt x="88" y="117"/>
                    <a:pt x="87" y="119"/>
                    <a:pt x="86" y="119"/>
                  </a:cubicBezTo>
                  <a:cubicBezTo>
                    <a:pt x="86" y="119"/>
                    <a:pt x="86" y="118"/>
                    <a:pt x="86" y="117"/>
                  </a:cubicBezTo>
                  <a:cubicBezTo>
                    <a:pt x="86" y="116"/>
                    <a:pt x="86" y="116"/>
                    <a:pt x="85" y="115"/>
                  </a:cubicBezTo>
                  <a:cubicBezTo>
                    <a:pt x="85" y="115"/>
                    <a:pt x="84" y="114"/>
                    <a:pt x="83" y="113"/>
                  </a:cubicBezTo>
                  <a:cubicBezTo>
                    <a:pt x="83" y="113"/>
                    <a:pt x="82" y="114"/>
                    <a:pt x="82" y="114"/>
                  </a:cubicBezTo>
                  <a:cubicBezTo>
                    <a:pt x="81" y="114"/>
                    <a:pt x="80" y="112"/>
                    <a:pt x="80" y="112"/>
                  </a:cubicBezTo>
                  <a:cubicBezTo>
                    <a:pt x="80" y="111"/>
                    <a:pt x="80" y="109"/>
                    <a:pt x="80" y="108"/>
                  </a:cubicBezTo>
                  <a:cubicBezTo>
                    <a:pt x="80" y="107"/>
                    <a:pt x="79" y="106"/>
                    <a:pt x="78" y="106"/>
                  </a:cubicBezTo>
                  <a:cubicBezTo>
                    <a:pt x="77" y="105"/>
                    <a:pt x="76" y="105"/>
                    <a:pt x="76" y="105"/>
                  </a:cubicBezTo>
                  <a:cubicBezTo>
                    <a:pt x="75" y="104"/>
                    <a:pt x="74" y="101"/>
                    <a:pt x="74" y="101"/>
                  </a:cubicBezTo>
                  <a:cubicBezTo>
                    <a:pt x="74" y="100"/>
                    <a:pt x="73" y="99"/>
                    <a:pt x="72" y="98"/>
                  </a:cubicBezTo>
                  <a:cubicBezTo>
                    <a:pt x="72" y="98"/>
                    <a:pt x="68" y="95"/>
                    <a:pt x="68" y="94"/>
                  </a:cubicBezTo>
                  <a:cubicBezTo>
                    <a:pt x="67" y="94"/>
                    <a:pt x="67" y="92"/>
                    <a:pt x="67" y="91"/>
                  </a:cubicBezTo>
                  <a:cubicBezTo>
                    <a:pt x="67" y="91"/>
                    <a:pt x="66" y="91"/>
                    <a:pt x="65" y="90"/>
                  </a:cubicBezTo>
                  <a:cubicBezTo>
                    <a:pt x="65" y="90"/>
                    <a:pt x="63" y="90"/>
                    <a:pt x="62" y="90"/>
                  </a:cubicBezTo>
                  <a:cubicBezTo>
                    <a:pt x="61" y="89"/>
                    <a:pt x="61" y="89"/>
                    <a:pt x="60" y="89"/>
                  </a:cubicBezTo>
                  <a:cubicBezTo>
                    <a:pt x="59" y="88"/>
                    <a:pt x="58" y="86"/>
                    <a:pt x="57" y="85"/>
                  </a:cubicBezTo>
                  <a:cubicBezTo>
                    <a:pt x="57" y="84"/>
                    <a:pt x="56" y="84"/>
                    <a:pt x="55" y="84"/>
                  </a:cubicBezTo>
                  <a:cubicBezTo>
                    <a:pt x="55" y="83"/>
                    <a:pt x="53" y="83"/>
                    <a:pt x="53" y="83"/>
                  </a:cubicBezTo>
                  <a:cubicBezTo>
                    <a:pt x="52" y="82"/>
                    <a:pt x="52" y="82"/>
                    <a:pt x="52" y="82"/>
                  </a:cubicBezTo>
                  <a:cubicBezTo>
                    <a:pt x="52" y="82"/>
                    <a:pt x="54" y="81"/>
                    <a:pt x="54" y="81"/>
                  </a:cubicBezTo>
                  <a:cubicBezTo>
                    <a:pt x="55" y="81"/>
                    <a:pt x="56" y="80"/>
                    <a:pt x="56" y="80"/>
                  </a:cubicBezTo>
                  <a:cubicBezTo>
                    <a:pt x="56" y="80"/>
                    <a:pt x="56" y="80"/>
                    <a:pt x="56" y="79"/>
                  </a:cubicBezTo>
                  <a:cubicBezTo>
                    <a:pt x="56" y="79"/>
                    <a:pt x="55" y="79"/>
                    <a:pt x="55" y="78"/>
                  </a:cubicBezTo>
                  <a:cubicBezTo>
                    <a:pt x="54" y="78"/>
                    <a:pt x="52" y="76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54" y="71"/>
                    <a:pt x="54" y="71"/>
                  </a:cubicBezTo>
                  <a:cubicBezTo>
                    <a:pt x="54" y="70"/>
                    <a:pt x="52" y="67"/>
                    <a:pt x="52" y="67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8" y="133"/>
                    <a:pt x="7" y="135"/>
                    <a:pt x="7" y="135"/>
                  </a:cubicBezTo>
                  <a:cubicBezTo>
                    <a:pt x="7" y="136"/>
                    <a:pt x="7" y="136"/>
                    <a:pt x="7" y="137"/>
                  </a:cubicBezTo>
                  <a:cubicBezTo>
                    <a:pt x="7" y="137"/>
                    <a:pt x="8" y="138"/>
                    <a:pt x="9" y="139"/>
                  </a:cubicBezTo>
                  <a:cubicBezTo>
                    <a:pt x="10" y="139"/>
                    <a:pt x="10" y="140"/>
                    <a:pt x="10" y="141"/>
                  </a:cubicBezTo>
                  <a:cubicBezTo>
                    <a:pt x="10" y="141"/>
                    <a:pt x="10" y="143"/>
                    <a:pt x="10" y="144"/>
                  </a:cubicBezTo>
                  <a:cubicBezTo>
                    <a:pt x="10" y="145"/>
                    <a:pt x="11" y="145"/>
                    <a:pt x="11" y="145"/>
                  </a:cubicBezTo>
                  <a:cubicBezTo>
                    <a:pt x="12" y="145"/>
                    <a:pt x="11" y="146"/>
                    <a:pt x="11" y="147"/>
                  </a:cubicBezTo>
                  <a:cubicBezTo>
                    <a:pt x="11" y="147"/>
                    <a:pt x="9" y="150"/>
                    <a:pt x="9" y="150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7" y="162"/>
                    <a:pt x="20" y="164"/>
                    <a:pt x="21" y="164"/>
                  </a:cubicBezTo>
                  <a:cubicBezTo>
                    <a:pt x="21" y="164"/>
                    <a:pt x="25" y="166"/>
                    <a:pt x="25" y="166"/>
                  </a:cubicBezTo>
                  <a:cubicBezTo>
                    <a:pt x="25" y="166"/>
                    <a:pt x="25" y="168"/>
                    <a:pt x="25" y="169"/>
                  </a:cubicBezTo>
                  <a:cubicBezTo>
                    <a:pt x="25" y="169"/>
                    <a:pt x="26" y="171"/>
                    <a:pt x="26" y="171"/>
                  </a:cubicBezTo>
                  <a:cubicBezTo>
                    <a:pt x="27" y="174"/>
                    <a:pt x="27" y="174"/>
                    <a:pt x="27" y="174"/>
                  </a:cubicBezTo>
                  <a:cubicBezTo>
                    <a:pt x="27" y="174"/>
                    <a:pt x="26" y="177"/>
                    <a:pt x="25" y="177"/>
                  </a:cubicBezTo>
                  <a:cubicBezTo>
                    <a:pt x="25" y="178"/>
                    <a:pt x="25" y="179"/>
                    <a:pt x="25" y="179"/>
                  </a:cubicBezTo>
                  <a:cubicBezTo>
                    <a:pt x="25" y="179"/>
                    <a:pt x="20" y="189"/>
                    <a:pt x="20" y="189"/>
                  </a:cubicBezTo>
                  <a:cubicBezTo>
                    <a:pt x="20" y="189"/>
                    <a:pt x="18" y="196"/>
                    <a:pt x="18" y="196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5" y="204"/>
                    <a:pt x="15" y="204"/>
                    <a:pt x="15" y="204"/>
                  </a:cubicBezTo>
                  <a:cubicBezTo>
                    <a:pt x="15" y="205"/>
                    <a:pt x="15" y="205"/>
                    <a:pt x="15" y="205"/>
                  </a:cubicBezTo>
                  <a:cubicBezTo>
                    <a:pt x="14" y="206"/>
                    <a:pt x="14" y="206"/>
                    <a:pt x="14" y="207"/>
                  </a:cubicBezTo>
                  <a:cubicBezTo>
                    <a:pt x="14" y="208"/>
                    <a:pt x="14" y="209"/>
                    <a:pt x="13" y="210"/>
                  </a:cubicBezTo>
                  <a:cubicBezTo>
                    <a:pt x="12" y="211"/>
                    <a:pt x="12" y="212"/>
                    <a:pt x="11" y="213"/>
                  </a:cubicBezTo>
                  <a:cubicBezTo>
                    <a:pt x="11" y="214"/>
                    <a:pt x="11" y="214"/>
                    <a:pt x="10" y="215"/>
                  </a:cubicBezTo>
                  <a:cubicBezTo>
                    <a:pt x="9" y="215"/>
                    <a:pt x="8" y="215"/>
                    <a:pt x="8" y="216"/>
                  </a:cubicBezTo>
                  <a:cubicBezTo>
                    <a:pt x="7" y="216"/>
                    <a:pt x="7" y="216"/>
                    <a:pt x="7" y="217"/>
                  </a:cubicBezTo>
                  <a:cubicBezTo>
                    <a:pt x="6" y="218"/>
                    <a:pt x="6" y="220"/>
                    <a:pt x="5" y="221"/>
                  </a:cubicBezTo>
                  <a:cubicBezTo>
                    <a:pt x="5" y="222"/>
                    <a:pt x="5" y="224"/>
                    <a:pt x="4" y="225"/>
                  </a:cubicBezTo>
                  <a:cubicBezTo>
                    <a:pt x="3" y="227"/>
                    <a:pt x="2" y="227"/>
                    <a:pt x="1" y="229"/>
                  </a:cubicBezTo>
                  <a:cubicBezTo>
                    <a:pt x="1" y="230"/>
                    <a:pt x="2" y="231"/>
                    <a:pt x="1" y="232"/>
                  </a:cubicBezTo>
                  <a:cubicBezTo>
                    <a:pt x="1" y="232"/>
                    <a:pt x="0" y="232"/>
                    <a:pt x="0" y="233"/>
                  </a:cubicBezTo>
                  <a:cubicBezTo>
                    <a:pt x="0" y="233"/>
                    <a:pt x="1" y="233"/>
                    <a:pt x="1" y="234"/>
                  </a:cubicBezTo>
                  <a:cubicBezTo>
                    <a:pt x="2" y="234"/>
                    <a:pt x="2" y="235"/>
                    <a:pt x="2" y="236"/>
                  </a:cubicBezTo>
                  <a:cubicBezTo>
                    <a:pt x="2" y="236"/>
                    <a:pt x="2" y="237"/>
                    <a:pt x="2" y="237"/>
                  </a:cubicBezTo>
                  <a:cubicBezTo>
                    <a:pt x="2" y="238"/>
                    <a:pt x="4" y="239"/>
                    <a:pt x="4" y="238"/>
                  </a:cubicBezTo>
                  <a:cubicBezTo>
                    <a:pt x="5" y="238"/>
                    <a:pt x="6" y="239"/>
                    <a:pt x="7" y="240"/>
                  </a:cubicBezTo>
                  <a:cubicBezTo>
                    <a:pt x="8" y="240"/>
                    <a:pt x="8" y="240"/>
                    <a:pt x="8" y="240"/>
                  </a:cubicBezTo>
                  <a:cubicBezTo>
                    <a:pt x="9" y="240"/>
                    <a:pt x="9" y="239"/>
                    <a:pt x="10" y="240"/>
                  </a:cubicBezTo>
                  <a:cubicBezTo>
                    <a:pt x="10" y="240"/>
                    <a:pt x="10" y="242"/>
                    <a:pt x="10" y="242"/>
                  </a:cubicBezTo>
                  <a:cubicBezTo>
                    <a:pt x="10" y="243"/>
                    <a:pt x="11" y="243"/>
                    <a:pt x="12" y="243"/>
                  </a:cubicBezTo>
                  <a:cubicBezTo>
                    <a:pt x="13" y="244"/>
                    <a:pt x="11" y="247"/>
                    <a:pt x="10" y="247"/>
                  </a:cubicBezTo>
                  <a:cubicBezTo>
                    <a:pt x="9" y="249"/>
                    <a:pt x="11" y="250"/>
                    <a:pt x="11" y="252"/>
                  </a:cubicBezTo>
                  <a:cubicBezTo>
                    <a:pt x="11" y="253"/>
                    <a:pt x="10" y="254"/>
                    <a:pt x="10" y="256"/>
                  </a:cubicBezTo>
                  <a:cubicBezTo>
                    <a:pt x="9" y="257"/>
                    <a:pt x="9" y="259"/>
                    <a:pt x="8" y="259"/>
                  </a:cubicBezTo>
                  <a:cubicBezTo>
                    <a:pt x="8" y="346"/>
                    <a:pt x="8" y="346"/>
                    <a:pt x="8" y="346"/>
                  </a:cubicBezTo>
                  <a:cubicBezTo>
                    <a:pt x="214" y="346"/>
                    <a:pt x="214" y="346"/>
                    <a:pt x="214" y="346"/>
                  </a:cubicBezTo>
                  <a:cubicBezTo>
                    <a:pt x="214" y="229"/>
                    <a:pt x="214" y="229"/>
                    <a:pt x="214" y="229"/>
                  </a:cubicBezTo>
                  <a:cubicBezTo>
                    <a:pt x="212" y="228"/>
                    <a:pt x="212" y="228"/>
                    <a:pt x="212" y="228"/>
                  </a:cubicBezTo>
                  <a:cubicBezTo>
                    <a:pt x="212" y="228"/>
                    <a:pt x="204" y="215"/>
                    <a:pt x="203" y="215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BE6983CA-372C-4282-9E3A-245929C2A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363" y="3858574"/>
              <a:ext cx="652621" cy="758362"/>
            </a:xfrm>
            <a:custGeom>
              <a:avLst/>
              <a:gdLst>
                <a:gd name="T0" fmla="*/ 155 w 165"/>
                <a:gd name="T1" fmla="*/ 115 h 191"/>
                <a:gd name="T2" fmla="*/ 152 w 165"/>
                <a:gd name="T3" fmla="*/ 106 h 191"/>
                <a:gd name="T4" fmla="*/ 145 w 165"/>
                <a:gd name="T5" fmla="*/ 95 h 191"/>
                <a:gd name="T6" fmla="*/ 139 w 165"/>
                <a:gd name="T7" fmla="*/ 79 h 191"/>
                <a:gd name="T8" fmla="*/ 130 w 165"/>
                <a:gd name="T9" fmla="*/ 73 h 191"/>
                <a:gd name="T10" fmla="*/ 127 w 165"/>
                <a:gd name="T11" fmla="*/ 69 h 191"/>
                <a:gd name="T12" fmla="*/ 123 w 165"/>
                <a:gd name="T13" fmla="*/ 60 h 191"/>
                <a:gd name="T14" fmla="*/ 105 w 165"/>
                <a:gd name="T15" fmla="*/ 44 h 191"/>
                <a:gd name="T16" fmla="*/ 99 w 165"/>
                <a:gd name="T17" fmla="*/ 30 h 191"/>
                <a:gd name="T18" fmla="*/ 88 w 165"/>
                <a:gd name="T19" fmla="*/ 20 h 191"/>
                <a:gd name="T20" fmla="*/ 79 w 165"/>
                <a:gd name="T21" fmla="*/ 13 h 191"/>
                <a:gd name="T22" fmla="*/ 86 w 165"/>
                <a:gd name="T23" fmla="*/ 2 h 191"/>
                <a:gd name="T24" fmla="*/ 15 w 165"/>
                <a:gd name="T25" fmla="*/ 89 h 191"/>
                <a:gd name="T26" fmla="*/ 18 w 165"/>
                <a:gd name="T27" fmla="*/ 99 h 191"/>
                <a:gd name="T28" fmla="*/ 23 w 165"/>
                <a:gd name="T29" fmla="*/ 112 h 191"/>
                <a:gd name="T30" fmla="*/ 19 w 165"/>
                <a:gd name="T31" fmla="*/ 122 h 191"/>
                <a:gd name="T32" fmla="*/ 18 w 165"/>
                <a:gd name="T33" fmla="*/ 137 h 191"/>
                <a:gd name="T34" fmla="*/ 17 w 165"/>
                <a:gd name="T35" fmla="*/ 156 h 191"/>
                <a:gd name="T36" fmla="*/ 23 w 165"/>
                <a:gd name="T37" fmla="*/ 169 h 191"/>
                <a:gd name="T38" fmla="*/ 116 w 165"/>
                <a:gd name="T39" fmla="*/ 181 h 191"/>
                <a:gd name="T40" fmla="*/ 120 w 165"/>
                <a:gd name="T41" fmla="*/ 190 h 191"/>
                <a:gd name="T42" fmla="*/ 124 w 165"/>
                <a:gd name="T43" fmla="*/ 181 h 191"/>
                <a:gd name="T44" fmla="*/ 125 w 165"/>
                <a:gd name="T45" fmla="*/ 173 h 191"/>
                <a:gd name="T46" fmla="*/ 132 w 165"/>
                <a:gd name="T47" fmla="*/ 174 h 191"/>
                <a:gd name="T48" fmla="*/ 142 w 165"/>
                <a:gd name="T49" fmla="*/ 175 h 191"/>
                <a:gd name="T50" fmla="*/ 141 w 165"/>
                <a:gd name="T51" fmla="*/ 170 h 191"/>
                <a:gd name="T52" fmla="*/ 143 w 165"/>
                <a:gd name="T53" fmla="*/ 169 h 191"/>
                <a:gd name="T54" fmla="*/ 144 w 165"/>
                <a:gd name="T55" fmla="*/ 171 h 191"/>
                <a:gd name="T56" fmla="*/ 145 w 165"/>
                <a:gd name="T57" fmla="*/ 167 h 191"/>
                <a:gd name="T58" fmla="*/ 144 w 165"/>
                <a:gd name="T59" fmla="*/ 166 h 191"/>
                <a:gd name="T60" fmla="*/ 142 w 165"/>
                <a:gd name="T61" fmla="*/ 166 h 191"/>
                <a:gd name="T62" fmla="*/ 141 w 165"/>
                <a:gd name="T63" fmla="*/ 162 h 191"/>
                <a:gd name="T64" fmla="*/ 142 w 165"/>
                <a:gd name="T65" fmla="*/ 160 h 191"/>
                <a:gd name="T66" fmla="*/ 144 w 165"/>
                <a:gd name="T67" fmla="*/ 158 h 191"/>
                <a:gd name="T68" fmla="*/ 146 w 165"/>
                <a:gd name="T69" fmla="*/ 153 h 191"/>
                <a:gd name="T70" fmla="*/ 145 w 165"/>
                <a:gd name="T71" fmla="*/ 156 h 191"/>
                <a:gd name="T72" fmla="*/ 146 w 165"/>
                <a:gd name="T73" fmla="*/ 158 h 191"/>
                <a:gd name="T74" fmla="*/ 148 w 165"/>
                <a:gd name="T75" fmla="*/ 155 h 191"/>
                <a:gd name="T76" fmla="*/ 148 w 165"/>
                <a:gd name="T77" fmla="*/ 152 h 191"/>
                <a:gd name="T78" fmla="*/ 148 w 165"/>
                <a:gd name="T79" fmla="*/ 151 h 191"/>
                <a:gd name="T80" fmla="*/ 150 w 165"/>
                <a:gd name="T81" fmla="*/ 149 h 191"/>
                <a:gd name="T82" fmla="*/ 151 w 165"/>
                <a:gd name="T83" fmla="*/ 146 h 191"/>
                <a:gd name="T84" fmla="*/ 151 w 165"/>
                <a:gd name="T85" fmla="*/ 144 h 191"/>
                <a:gd name="T86" fmla="*/ 148 w 165"/>
                <a:gd name="T87" fmla="*/ 143 h 191"/>
                <a:gd name="T88" fmla="*/ 150 w 165"/>
                <a:gd name="T89" fmla="*/ 142 h 191"/>
                <a:gd name="T90" fmla="*/ 151 w 165"/>
                <a:gd name="T91" fmla="*/ 139 h 191"/>
                <a:gd name="T92" fmla="*/ 148 w 165"/>
                <a:gd name="T93" fmla="*/ 138 h 191"/>
                <a:gd name="T94" fmla="*/ 152 w 165"/>
                <a:gd name="T95" fmla="*/ 136 h 191"/>
                <a:gd name="T96" fmla="*/ 153 w 165"/>
                <a:gd name="T97" fmla="*/ 134 h 191"/>
                <a:gd name="T98" fmla="*/ 157 w 165"/>
                <a:gd name="T99" fmla="*/ 133 h 191"/>
                <a:gd name="T100" fmla="*/ 155 w 165"/>
                <a:gd name="T101" fmla="*/ 130 h 191"/>
                <a:gd name="T102" fmla="*/ 156 w 165"/>
                <a:gd name="T103" fmla="*/ 128 h 191"/>
                <a:gd name="T104" fmla="*/ 161 w 165"/>
                <a:gd name="T105" fmla="*/ 128 h 191"/>
                <a:gd name="T106" fmla="*/ 160 w 165"/>
                <a:gd name="T107" fmla="*/ 125 h 191"/>
                <a:gd name="T108" fmla="*/ 164 w 165"/>
                <a:gd name="T109" fmla="*/ 125 h 191"/>
                <a:gd name="T110" fmla="*/ 161 w 165"/>
                <a:gd name="T111" fmla="*/ 122 h 191"/>
                <a:gd name="T112" fmla="*/ 160 w 165"/>
                <a:gd name="T113" fmla="*/ 12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5" h="191">
                  <a:moveTo>
                    <a:pt x="159" y="120"/>
                  </a:moveTo>
                  <a:cubicBezTo>
                    <a:pt x="159" y="120"/>
                    <a:pt x="157" y="120"/>
                    <a:pt x="157" y="120"/>
                  </a:cubicBezTo>
                  <a:cubicBezTo>
                    <a:pt x="156" y="120"/>
                    <a:pt x="155" y="120"/>
                    <a:pt x="155" y="119"/>
                  </a:cubicBezTo>
                  <a:cubicBezTo>
                    <a:pt x="155" y="119"/>
                    <a:pt x="155" y="116"/>
                    <a:pt x="155" y="115"/>
                  </a:cubicBezTo>
                  <a:cubicBezTo>
                    <a:pt x="155" y="115"/>
                    <a:pt x="155" y="113"/>
                    <a:pt x="155" y="112"/>
                  </a:cubicBezTo>
                  <a:cubicBezTo>
                    <a:pt x="155" y="111"/>
                    <a:pt x="155" y="111"/>
                    <a:pt x="154" y="110"/>
                  </a:cubicBezTo>
                  <a:cubicBezTo>
                    <a:pt x="153" y="109"/>
                    <a:pt x="153" y="108"/>
                    <a:pt x="153" y="108"/>
                  </a:cubicBezTo>
                  <a:cubicBezTo>
                    <a:pt x="152" y="108"/>
                    <a:pt x="152" y="107"/>
                    <a:pt x="152" y="106"/>
                  </a:cubicBezTo>
                  <a:cubicBezTo>
                    <a:pt x="152" y="106"/>
                    <a:pt x="152" y="105"/>
                    <a:pt x="152" y="105"/>
                  </a:cubicBezTo>
                  <a:cubicBezTo>
                    <a:pt x="152" y="105"/>
                    <a:pt x="145" y="99"/>
                    <a:pt x="145" y="99"/>
                  </a:cubicBezTo>
                  <a:cubicBezTo>
                    <a:pt x="145" y="98"/>
                    <a:pt x="145" y="97"/>
                    <a:pt x="145" y="97"/>
                  </a:cubicBezTo>
                  <a:cubicBezTo>
                    <a:pt x="145" y="96"/>
                    <a:pt x="145" y="95"/>
                    <a:pt x="145" y="95"/>
                  </a:cubicBezTo>
                  <a:cubicBezTo>
                    <a:pt x="144" y="95"/>
                    <a:pt x="145" y="91"/>
                    <a:pt x="144" y="90"/>
                  </a:cubicBezTo>
                  <a:cubicBezTo>
                    <a:pt x="144" y="90"/>
                    <a:pt x="143" y="88"/>
                    <a:pt x="142" y="88"/>
                  </a:cubicBezTo>
                  <a:cubicBezTo>
                    <a:pt x="142" y="87"/>
                    <a:pt x="142" y="83"/>
                    <a:pt x="142" y="83"/>
                  </a:cubicBezTo>
                  <a:cubicBezTo>
                    <a:pt x="141" y="82"/>
                    <a:pt x="139" y="80"/>
                    <a:pt x="139" y="79"/>
                  </a:cubicBezTo>
                  <a:cubicBezTo>
                    <a:pt x="138" y="79"/>
                    <a:pt x="134" y="77"/>
                    <a:pt x="134" y="77"/>
                  </a:cubicBezTo>
                  <a:cubicBezTo>
                    <a:pt x="133" y="77"/>
                    <a:pt x="133" y="77"/>
                    <a:pt x="133" y="76"/>
                  </a:cubicBezTo>
                  <a:cubicBezTo>
                    <a:pt x="133" y="76"/>
                    <a:pt x="133" y="74"/>
                    <a:pt x="132" y="74"/>
                  </a:cubicBezTo>
                  <a:cubicBezTo>
                    <a:pt x="132" y="74"/>
                    <a:pt x="131" y="73"/>
                    <a:pt x="130" y="73"/>
                  </a:cubicBezTo>
                  <a:cubicBezTo>
                    <a:pt x="130" y="73"/>
                    <a:pt x="130" y="72"/>
                    <a:pt x="130" y="72"/>
                  </a:cubicBezTo>
                  <a:cubicBezTo>
                    <a:pt x="130" y="72"/>
                    <a:pt x="129" y="71"/>
                    <a:pt x="129" y="71"/>
                  </a:cubicBezTo>
                  <a:cubicBezTo>
                    <a:pt x="129" y="70"/>
                    <a:pt x="130" y="70"/>
                    <a:pt x="129" y="70"/>
                  </a:cubicBezTo>
                  <a:cubicBezTo>
                    <a:pt x="128" y="69"/>
                    <a:pt x="127" y="69"/>
                    <a:pt x="127" y="69"/>
                  </a:cubicBezTo>
                  <a:cubicBezTo>
                    <a:pt x="127" y="69"/>
                    <a:pt x="126" y="67"/>
                    <a:pt x="126" y="67"/>
                  </a:cubicBezTo>
                  <a:cubicBezTo>
                    <a:pt x="126" y="66"/>
                    <a:pt x="127" y="65"/>
                    <a:pt x="127" y="65"/>
                  </a:cubicBezTo>
                  <a:cubicBezTo>
                    <a:pt x="127" y="65"/>
                    <a:pt x="127" y="64"/>
                    <a:pt x="126" y="63"/>
                  </a:cubicBezTo>
                  <a:cubicBezTo>
                    <a:pt x="125" y="63"/>
                    <a:pt x="124" y="61"/>
                    <a:pt x="123" y="60"/>
                  </a:cubicBezTo>
                  <a:cubicBezTo>
                    <a:pt x="122" y="60"/>
                    <a:pt x="118" y="58"/>
                    <a:pt x="118" y="57"/>
                  </a:cubicBezTo>
                  <a:cubicBezTo>
                    <a:pt x="117" y="57"/>
                    <a:pt x="117" y="54"/>
                    <a:pt x="117" y="53"/>
                  </a:cubicBezTo>
                  <a:cubicBezTo>
                    <a:pt x="117" y="53"/>
                    <a:pt x="114" y="49"/>
                    <a:pt x="113" y="48"/>
                  </a:cubicBezTo>
                  <a:cubicBezTo>
                    <a:pt x="112" y="48"/>
                    <a:pt x="106" y="44"/>
                    <a:pt x="105" y="44"/>
                  </a:cubicBezTo>
                  <a:cubicBezTo>
                    <a:pt x="105" y="43"/>
                    <a:pt x="104" y="41"/>
                    <a:pt x="104" y="40"/>
                  </a:cubicBezTo>
                  <a:cubicBezTo>
                    <a:pt x="103" y="39"/>
                    <a:pt x="102" y="37"/>
                    <a:pt x="101" y="36"/>
                  </a:cubicBezTo>
                  <a:cubicBezTo>
                    <a:pt x="101" y="36"/>
                    <a:pt x="99" y="36"/>
                    <a:pt x="99" y="34"/>
                  </a:cubicBezTo>
                  <a:cubicBezTo>
                    <a:pt x="99" y="33"/>
                    <a:pt x="99" y="31"/>
                    <a:pt x="99" y="30"/>
                  </a:cubicBezTo>
                  <a:cubicBezTo>
                    <a:pt x="98" y="30"/>
                    <a:pt x="96" y="27"/>
                    <a:pt x="96" y="27"/>
                  </a:cubicBezTo>
                  <a:cubicBezTo>
                    <a:pt x="96" y="26"/>
                    <a:pt x="95" y="24"/>
                    <a:pt x="95" y="23"/>
                  </a:cubicBezTo>
                  <a:cubicBezTo>
                    <a:pt x="95" y="22"/>
                    <a:pt x="95" y="21"/>
                    <a:pt x="93" y="21"/>
                  </a:cubicBezTo>
                  <a:cubicBezTo>
                    <a:pt x="91" y="21"/>
                    <a:pt x="89" y="21"/>
                    <a:pt x="88" y="20"/>
                  </a:cubicBezTo>
                  <a:cubicBezTo>
                    <a:pt x="87" y="19"/>
                    <a:pt x="86" y="18"/>
                    <a:pt x="85" y="18"/>
                  </a:cubicBezTo>
                  <a:cubicBezTo>
                    <a:pt x="85" y="17"/>
                    <a:pt x="86" y="16"/>
                    <a:pt x="84" y="16"/>
                  </a:cubicBezTo>
                  <a:cubicBezTo>
                    <a:pt x="82" y="16"/>
                    <a:pt x="81" y="15"/>
                    <a:pt x="80" y="15"/>
                  </a:cubicBezTo>
                  <a:cubicBezTo>
                    <a:pt x="80" y="14"/>
                    <a:pt x="79" y="14"/>
                    <a:pt x="79" y="13"/>
                  </a:cubicBezTo>
                  <a:cubicBezTo>
                    <a:pt x="78" y="13"/>
                    <a:pt x="77" y="13"/>
                    <a:pt x="78" y="12"/>
                  </a:cubicBezTo>
                  <a:cubicBezTo>
                    <a:pt x="78" y="11"/>
                    <a:pt x="78" y="8"/>
                    <a:pt x="79" y="8"/>
                  </a:cubicBezTo>
                  <a:cubicBezTo>
                    <a:pt x="80" y="7"/>
                    <a:pt x="81" y="6"/>
                    <a:pt x="81" y="5"/>
                  </a:cubicBezTo>
                  <a:cubicBezTo>
                    <a:pt x="82" y="5"/>
                    <a:pt x="86" y="2"/>
                    <a:pt x="86" y="2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5" y="88"/>
                    <a:pt x="15" y="89"/>
                  </a:cubicBezTo>
                  <a:cubicBezTo>
                    <a:pt x="15" y="89"/>
                    <a:pt x="16" y="91"/>
                    <a:pt x="16" y="92"/>
                  </a:cubicBezTo>
                  <a:cubicBezTo>
                    <a:pt x="16" y="92"/>
                    <a:pt x="16" y="93"/>
                    <a:pt x="16" y="93"/>
                  </a:cubicBezTo>
                  <a:cubicBezTo>
                    <a:pt x="17" y="94"/>
                    <a:pt x="17" y="95"/>
                    <a:pt x="17" y="96"/>
                  </a:cubicBezTo>
                  <a:cubicBezTo>
                    <a:pt x="17" y="97"/>
                    <a:pt x="18" y="98"/>
                    <a:pt x="18" y="99"/>
                  </a:cubicBezTo>
                  <a:cubicBezTo>
                    <a:pt x="18" y="100"/>
                    <a:pt x="21" y="105"/>
                    <a:pt x="21" y="105"/>
                  </a:cubicBezTo>
                  <a:cubicBezTo>
                    <a:pt x="22" y="105"/>
                    <a:pt x="22" y="107"/>
                    <a:pt x="21" y="108"/>
                  </a:cubicBezTo>
                  <a:cubicBezTo>
                    <a:pt x="21" y="108"/>
                    <a:pt x="21" y="109"/>
                    <a:pt x="21" y="110"/>
                  </a:cubicBezTo>
                  <a:cubicBezTo>
                    <a:pt x="21" y="111"/>
                    <a:pt x="22" y="111"/>
                    <a:pt x="23" y="112"/>
                  </a:cubicBezTo>
                  <a:cubicBezTo>
                    <a:pt x="23" y="112"/>
                    <a:pt x="24" y="113"/>
                    <a:pt x="24" y="113"/>
                  </a:cubicBezTo>
                  <a:cubicBezTo>
                    <a:pt x="24" y="113"/>
                    <a:pt x="22" y="115"/>
                    <a:pt x="22" y="115"/>
                  </a:cubicBezTo>
                  <a:cubicBezTo>
                    <a:pt x="22" y="116"/>
                    <a:pt x="19" y="118"/>
                    <a:pt x="19" y="119"/>
                  </a:cubicBezTo>
                  <a:cubicBezTo>
                    <a:pt x="19" y="120"/>
                    <a:pt x="19" y="121"/>
                    <a:pt x="19" y="122"/>
                  </a:cubicBezTo>
                  <a:cubicBezTo>
                    <a:pt x="19" y="123"/>
                    <a:pt x="18" y="124"/>
                    <a:pt x="18" y="125"/>
                  </a:cubicBezTo>
                  <a:cubicBezTo>
                    <a:pt x="17" y="126"/>
                    <a:pt x="16" y="128"/>
                    <a:pt x="16" y="129"/>
                  </a:cubicBezTo>
                  <a:cubicBezTo>
                    <a:pt x="16" y="129"/>
                    <a:pt x="16" y="132"/>
                    <a:pt x="16" y="133"/>
                  </a:cubicBezTo>
                  <a:cubicBezTo>
                    <a:pt x="16" y="134"/>
                    <a:pt x="17" y="137"/>
                    <a:pt x="18" y="137"/>
                  </a:cubicBezTo>
                  <a:cubicBezTo>
                    <a:pt x="18" y="138"/>
                    <a:pt x="19" y="143"/>
                    <a:pt x="19" y="144"/>
                  </a:cubicBezTo>
                  <a:cubicBezTo>
                    <a:pt x="19" y="144"/>
                    <a:pt x="19" y="148"/>
                    <a:pt x="18" y="149"/>
                  </a:cubicBezTo>
                  <a:cubicBezTo>
                    <a:pt x="18" y="149"/>
                    <a:pt x="17" y="152"/>
                    <a:pt x="17" y="152"/>
                  </a:cubicBezTo>
                  <a:cubicBezTo>
                    <a:pt x="17" y="152"/>
                    <a:pt x="17" y="155"/>
                    <a:pt x="17" y="156"/>
                  </a:cubicBezTo>
                  <a:cubicBezTo>
                    <a:pt x="17" y="156"/>
                    <a:pt x="18" y="157"/>
                    <a:pt x="18" y="158"/>
                  </a:cubicBezTo>
                  <a:cubicBezTo>
                    <a:pt x="19" y="159"/>
                    <a:pt x="20" y="160"/>
                    <a:pt x="20" y="160"/>
                  </a:cubicBezTo>
                  <a:cubicBezTo>
                    <a:pt x="20" y="161"/>
                    <a:pt x="21" y="164"/>
                    <a:pt x="21" y="164"/>
                  </a:cubicBezTo>
                  <a:cubicBezTo>
                    <a:pt x="23" y="169"/>
                    <a:pt x="23" y="169"/>
                    <a:pt x="23" y="169"/>
                  </a:cubicBezTo>
                  <a:cubicBezTo>
                    <a:pt x="23" y="169"/>
                    <a:pt x="23" y="172"/>
                    <a:pt x="23" y="172"/>
                  </a:cubicBezTo>
                  <a:cubicBezTo>
                    <a:pt x="23" y="173"/>
                    <a:pt x="24" y="174"/>
                    <a:pt x="24" y="174"/>
                  </a:cubicBezTo>
                  <a:cubicBezTo>
                    <a:pt x="24" y="175"/>
                    <a:pt x="27" y="176"/>
                    <a:pt x="27" y="176"/>
                  </a:cubicBezTo>
                  <a:cubicBezTo>
                    <a:pt x="27" y="176"/>
                    <a:pt x="116" y="181"/>
                    <a:pt x="116" y="181"/>
                  </a:cubicBezTo>
                  <a:cubicBezTo>
                    <a:pt x="116" y="181"/>
                    <a:pt x="117" y="183"/>
                    <a:pt x="117" y="183"/>
                  </a:cubicBezTo>
                  <a:cubicBezTo>
                    <a:pt x="117" y="184"/>
                    <a:pt x="117" y="186"/>
                    <a:pt x="117" y="186"/>
                  </a:cubicBezTo>
                  <a:cubicBezTo>
                    <a:pt x="117" y="187"/>
                    <a:pt x="117" y="188"/>
                    <a:pt x="118" y="189"/>
                  </a:cubicBezTo>
                  <a:cubicBezTo>
                    <a:pt x="118" y="189"/>
                    <a:pt x="119" y="190"/>
                    <a:pt x="120" y="190"/>
                  </a:cubicBezTo>
                  <a:cubicBezTo>
                    <a:pt x="121" y="190"/>
                    <a:pt x="122" y="191"/>
                    <a:pt x="122" y="190"/>
                  </a:cubicBezTo>
                  <a:cubicBezTo>
                    <a:pt x="122" y="190"/>
                    <a:pt x="123" y="188"/>
                    <a:pt x="124" y="188"/>
                  </a:cubicBezTo>
                  <a:cubicBezTo>
                    <a:pt x="124" y="187"/>
                    <a:pt x="123" y="185"/>
                    <a:pt x="124" y="184"/>
                  </a:cubicBezTo>
                  <a:cubicBezTo>
                    <a:pt x="124" y="184"/>
                    <a:pt x="124" y="182"/>
                    <a:pt x="124" y="181"/>
                  </a:cubicBezTo>
                  <a:cubicBezTo>
                    <a:pt x="124" y="181"/>
                    <a:pt x="123" y="179"/>
                    <a:pt x="123" y="178"/>
                  </a:cubicBezTo>
                  <a:cubicBezTo>
                    <a:pt x="123" y="178"/>
                    <a:pt x="123" y="177"/>
                    <a:pt x="123" y="176"/>
                  </a:cubicBezTo>
                  <a:cubicBezTo>
                    <a:pt x="123" y="175"/>
                    <a:pt x="123" y="174"/>
                    <a:pt x="123" y="173"/>
                  </a:cubicBezTo>
                  <a:cubicBezTo>
                    <a:pt x="123" y="173"/>
                    <a:pt x="124" y="173"/>
                    <a:pt x="125" y="173"/>
                  </a:cubicBezTo>
                  <a:cubicBezTo>
                    <a:pt x="125" y="173"/>
                    <a:pt x="125" y="173"/>
                    <a:pt x="126" y="172"/>
                  </a:cubicBezTo>
                  <a:cubicBezTo>
                    <a:pt x="126" y="172"/>
                    <a:pt x="127" y="171"/>
                    <a:pt x="127" y="171"/>
                  </a:cubicBezTo>
                  <a:cubicBezTo>
                    <a:pt x="127" y="171"/>
                    <a:pt x="129" y="172"/>
                    <a:pt x="129" y="172"/>
                  </a:cubicBezTo>
                  <a:cubicBezTo>
                    <a:pt x="129" y="172"/>
                    <a:pt x="131" y="173"/>
                    <a:pt x="132" y="174"/>
                  </a:cubicBezTo>
                  <a:cubicBezTo>
                    <a:pt x="132" y="174"/>
                    <a:pt x="134" y="174"/>
                    <a:pt x="134" y="174"/>
                  </a:cubicBezTo>
                  <a:cubicBezTo>
                    <a:pt x="135" y="175"/>
                    <a:pt x="138" y="176"/>
                    <a:pt x="138" y="176"/>
                  </a:cubicBezTo>
                  <a:cubicBezTo>
                    <a:pt x="138" y="176"/>
                    <a:pt x="140" y="176"/>
                    <a:pt x="142" y="176"/>
                  </a:cubicBezTo>
                  <a:cubicBezTo>
                    <a:pt x="142" y="175"/>
                    <a:pt x="142" y="175"/>
                    <a:pt x="142" y="175"/>
                  </a:cubicBezTo>
                  <a:cubicBezTo>
                    <a:pt x="142" y="174"/>
                    <a:pt x="142" y="174"/>
                    <a:pt x="142" y="173"/>
                  </a:cubicBezTo>
                  <a:cubicBezTo>
                    <a:pt x="141" y="173"/>
                    <a:pt x="141" y="173"/>
                    <a:pt x="141" y="172"/>
                  </a:cubicBezTo>
                  <a:cubicBezTo>
                    <a:pt x="141" y="172"/>
                    <a:pt x="141" y="172"/>
                    <a:pt x="141" y="171"/>
                  </a:cubicBezTo>
                  <a:cubicBezTo>
                    <a:pt x="141" y="171"/>
                    <a:pt x="141" y="171"/>
                    <a:pt x="141" y="170"/>
                  </a:cubicBezTo>
                  <a:cubicBezTo>
                    <a:pt x="141" y="170"/>
                    <a:pt x="141" y="170"/>
                    <a:pt x="141" y="169"/>
                  </a:cubicBezTo>
                  <a:cubicBezTo>
                    <a:pt x="141" y="169"/>
                    <a:pt x="142" y="168"/>
                    <a:pt x="142" y="168"/>
                  </a:cubicBezTo>
                  <a:cubicBezTo>
                    <a:pt x="142" y="168"/>
                    <a:pt x="143" y="168"/>
                    <a:pt x="143" y="168"/>
                  </a:cubicBezTo>
                  <a:cubicBezTo>
                    <a:pt x="143" y="169"/>
                    <a:pt x="143" y="169"/>
                    <a:pt x="143" y="169"/>
                  </a:cubicBezTo>
                  <a:cubicBezTo>
                    <a:pt x="143" y="169"/>
                    <a:pt x="143" y="170"/>
                    <a:pt x="143" y="170"/>
                  </a:cubicBezTo>
                  <a:cubicBezTo>
                    <a:pt x="143" y="171"/>
                    <a:pt x="143" y="171"/>
                    <a:pt x="143" y="172"/>
                  </a:cubicBezTo>
                  <a:cubicBezTo>
                    <a:pt x="143" y="172"/>
                    <a:pt x="143" y="171"/>
                    <a:pt x="144" y="171"/>
                  </a:cubicBezTo>
                  <a:cubicBezTo>
                    <a:pt x="144" y="171"/>
                    <a:pt x="144" y="171"/>
                    <a:pt x="144" y="171"/>
                  </a:cubicBezTo>
                  <a:cubicBezTo>
                    <a:pt x="144" y="170"/>
                    <a:pt x="144" y="170"/>
                    <a:pt x="145" y="170"/>
                  </a:cubicBezTo>
                  <a:cubicBezTo>
                    <a:pt x="145" y="169"/>
                    <a:pt x="145" y="169"/>
                    <a:pt x="145" y="169"/>
                  </a:cubicBezTo>
                  <a:cubicBezTo>
                    <a:pt x="146" y="169"/>
                    <a:pt x="146" y="168"/>
                    <a:pt x="146" y="168"/>
                  </a:cubicBezTo>
                  <a:cubicBezTo>
                    <a:pt x="146" y="167"/>
                    <a:pt x="146" y="168"/>
                    <a:pt x="145" y="167"/>
                  </a:cubicBezTo>
                  <a:cubicBezTo>
                    <a:pt x="145" y="167"/>
                    <a:pt x="145" y="167"/>
                    <a:pt x="145" y="167"/>
                  </a:cubicBezTo>
                  <a:cubicBezTo>
                    <a:pt x="145" y="167"/>
                    <a:pt x="145" y="166"/>
                    <a:pt x="145" y="166"/>
                  </a:cubicBezTo>
                  <a:cubicBezTo>
                    <a:pt x="145" y="166"/>
                    <a:pt x="144" y="166"/>
                    <a:pt x="144" y="166"/>
                  </a:cubicBezTo>
                  <a:cubicBezTo>
                    <a:pt x="144" y="166"/>
                    <a:pt x="144" y="166"/>
                    <a:pt x="144" y="166"/>
                  </a:cubicBezTo>
                  <a:cubicBezTo>
                    <a:pt x="144" y="167"/>
                    <a:pt x="144" y="167"/>
                    <a:pt x="144" y="167"/>
                  </a:cubicBezTo>
                  <a:cubicBezTo>
                    <a:pt x="144" y="167"/>
                    <a:pt x="144" y="167"/>
                    <a:pt x="143" y="167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2" y="167"/>
                    <a:pt x="142" y="167"/>
                    <a:pt x="142" y="166"/>
                  </a:cubicBezTo>
                  <a:cubicBezTo>
                    <a:pt x="142" y="166"/>
                    <a:pt x="141" y="166"/>
                    <a:pt x="141" y="165"/>
                  </a:cubicBezTo>
                  <a:cubicBezTo>
                    <a:pt x="141" y="165"/>
                    <a:pt x="142" y="164"/>
                    <a:pt x="142" y="164"/>
                  </a:cubicBezTo>
                  <a:cubicBezTo>
                    <a:pt x="142" y="164"/>
                    <a:pt x="142" y="163"/>
                    <a:pt x="142" y="163"/>
                  </a:cubicBezTo>
                  <a:cubicBezTo>
                    <a:pt x="142" y="162"/>
                    <a:pt x="141" y="162"/>
                    <a:pt x="141" y="162"/>
                  </a:cubicBezTo>
                  <a:cubicBezTo>
                    <a:pt x="140" y="162"/>
                    <a:pt x="140" y="161"/>
                    <a:pt x="141" y="161"/>
                  </a:cubicBezTo>
                  <a:cubicBezTo>
                    <a:pt x="141" y="161"/>
                    <a:pt x="141" y="161"/>
                    <a:pt x="142" y="161"/>
                  </a:cubicBezTo>
                  <a:cubicBezTo>
                    <a:pt x="142" y="161"/>
                    <a:pt x="142" y="161"/>
                    <a:pt x="143" y="160"/>
                  </a:cubicBezTo>
                  <a:cubicBezTo>
                    <a:pt x="143" y="160"/>
                    <a:pt x="142" y="160"/>
                    <a:pt x="142" y="160"/>
                  </a:cubicBezTo>
                  <a:cubicBezTo>
                    <a:pt x="142" y="160"/>
                    <a:pt x="141" y="160"/>
                    <a:pt x="141" y="159"/>
                  </a:cubicBezTo>
                  <a:cubicBezTo>
                    <a:pt x="141" y="159"/>
                    <a:pt x="142" y="159"/>
                    <a:pt x="142" y="159"/>
                  </a:cubicBezTo>
                  <a:cubicBezTo>
                    <a:pt x="142" y="159"/>
                    <a:pt x="142" y="159"/>
                    <a:pt x="142" y="158"/>
                  </a:cubicBezTo>
                  <a:cubicBezTo>
                    <a:pt x="143" y="158"/>
                    <a:pt x="143" y="158"/>
                    <a:pt x="144" y="158"/>
                  </a:cubicBezTo>
                  <a:cubicBezTo>
                    <a:pt x="144" y="158"/>
                    <a:pt x="144" y="157"/>
                    <a:pt x="144" y="156"/>
                  </a:cubicBezTo>
                  <a:cubicBezTo>
                    <a:pt x="144" y="156"/>
                    <a:pt x="144" y="155"/>
                    <a:pt x="144" y="155"/>
                  </a:cubicBezTo>
                  <a:cubicBezTo>
                    <a:pt x="144" y="155"/>
                    <a:pt x="145" y="154"/>
                    <a:pt x="145" y="154"/>
                  </a:cubicBezTo>
                  <a:cubicBezTo>
                    <a:pt x="145" y="154"/>
                    <a:pt x="146" y="153"/>
                    <a:pt x="146" y="153"/>
                  </a:cubicBezTo>
                  <a:cubicBezTo>
                    <a:pt x="146" y="153"/>
                    <a:pt x="146" y="154"/>
                    <a:pt x="146" y="154"/>
                  </a:cubicBezTo>
                  <a:cubicBezTo>
                    <a:pt x="146" y="154"/>
                    <a:pt x="146" y="154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6"/>
                    <a:pt x="145" y="156"/>
                    <a:pt x="145" y="156"/>
                  </a:cubicBezTo>
                  <a:cubicBezTo>
                    <a:pt x="145" y="156"/>
                    <a:pt x="145" y="157"/>
                    <a:pt x="145" y="15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9"/>
                    <a:pt x="146" y="159"/>
                    <a:pt x="146" y="159"/>
                  </a:cubicBezTo>
                  <a:cubicBezTo>
                    <a:pt x="146" y="159"/>
                    <a:pt x="146" y="159"/>
                    <a:pt x="146" y="158"/>
                  </a:cubicBezTo>
                  <a:cubicBezTo>
                    <a:pt x="146" y="158"/>
                    <a:pt x="146" y="158"/>
                    <a:pt x="147" y="158"/>
                  </a:cubicBezTo>
                  <a:cubicBezTo>
                    <a:pt x="147" y="158"/>
                    <a:pt x="147" y="157"/>
                    <a:pt x="147" y="157"/>
                  </a:cubicBezTo>
                  <a:cubicBezTo>
                    <a:pt x="147" y="157"/>
                    <a:pt x="147" y="156"/>
                    <a:pt x="147" y="156"/>
                  </a:cubicBezTo>
                  <a:cubicBezTo>
                    <a:pt x="147" y="156"/>
                    <a:pt x="148" y="156"/>
                    <a:pt x="148" y="155"/>
                  </a:cubicBezTo>
                  <a:cubicBezTo>
                    <a:pt x="148" y="155"/>
                    <a:pt x="148" y="155"/>
                    <a:pt x="148" y="154"/>
                  </a:cubicBezTo>
                  <a:cubicBezTo>
                    <a:pt x="148" y="154"/>
                    <a:pt x="148" y="154"/>
                    <a:pt x="149" y="153"/>
                  </a:cubicBezTo>
                  <a:cubicBezTo>
                    <a:pt x="149" y="153"/>
                    <a:pt x="149" y="152"/>
                    <a:pt x="149" y="152"/>
                  </a:cubicBezTo>
                  <a:cubicBezTo>
                    <a:pt x="149" y="152"/>
                    <a:pt x="148" y="152"/>
                    <a:pt x="148" y="152"/>
                  </a:cubicBezTo>
                  <a:cubicBezTo>
                    <a:pt x="147" y="152"/>
                    <a:pt x="147" y="152"/>
                    <a:pt x="146" y="15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6" y="151"/>
                    <a:pt x="147" y="151"/>
                    <a:pt x="147" y="151"/>
                  </a:cubicBezTo>
                  <a:cubicBezTo>
                    <a:pt x="147" y="151"/>
                    <a:pt x="148" y="151"/>
                    <a:pt x="148" y="151"/>
                  </a:cubicBezTo>
                  <a:cubicBezTo>
                    <a:pt x="148" y="151"/>
                    <a:pt x="148" y="151"/>
                    <a:pt x="148" y="151"/>
                  </a:cubicBezTo>
                  <a:cubicBezTo>
                    <a:pt x="148" y="151"/>
                    <a:pt x="149" y="151"/>
                    <a:pt x="149" y="151"/>
                  </a:cubicBezTo>
                  <a:cubicBezTo>
                    <a:pt x="149" y="151"/>
                    <a:pt x="149" y="151"/>
                    <a:pt x="149" y="150"/>
                  </a:cubicBezTo>
                  <a:cubicBezTo>
                    <a:pt x="149" y="150"/>
                    <a:pt x="149" y="149"/>
                    <a:pt x="150" y="149"/>
                  </a:cubicBezTo>
                  <a:cubicBezTo>
                    <a:pt x="150" y="149"/>
                    <a:pt x="150" y="149"/>
                    <a:pt x="150" y="148"/>
                  </a:cubicBezTo>
                  <a:cubicBezTo>
                    <a:pt x="150" y="148"/>
                    <a:pt x="151" y="148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2" y="145"/>
                    <a:pt x="151" y="145"/>
                    <a:pt x="152" y="144"/>
                  </a:cubicBezTo>
                  <a:cubicBezTo>
                    <a:pt x="152" y="144"/>
                    <a:pt x="153" y="143"/>
                    <a:pt x="152" y="143"/>
                  </a:cubicBezTo>
                  <a:cubicBezTo>
                    <a:pt x="152" y="143"/>
                    <a:pt x="152" y="144"/>
                    <a:pt x="152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49" y="144"/>
                    <a:pt x="149" y="144"/>
                    <a:pt x="149" y="144"/>
                  </a:cubicBezTo>
                  <a:cubicBezTo>
                    <a:pt x="149" y="143"/>
                    <a:pt x="149" y="143"/>
                    <a:pt x="148" y="143"/>
                  </a:cubicBezTo>
                  <a:cubicBezTo>
                    <a:pt x="148" y="143"/>
                    <a:pt x="147" y="142"/>
                    <a:pt x="147" y="142"/>
                  </a:cubicBezTo>
                  <a:cubicBezTo>
                    <a:pt x="147" y="142"/>
                    <a:pt x="148" y="142"/>
                    <a:pt x="148" y="142"/>
                  </a:cubicBezTo>
                  <a:cubicBezTo>
                    <a:pt x="149" y="142"/>
                    <a:pt x="149" y="142"/>
                    <a:pt x="149" y="142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1" y="142"/>
                    <a:pt x="151" y="142"/>
                    <a:pt x="151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39"/>
                    <a:pt x="151" y="139"/>
                    <a:pt x="151" y="139"/>
                  </a:cubicBezTo>
                  <a:cubicBezTo>
                    <a:pt x="150" y="139"/>
                    <a:pt x="149" y="139"/>
                    <a:pt x="149" y="139"/>
                  </a:cubicBezTo>
                  <a:cubicBezTo>
                    <a:pt x="148" y="139"/>
                    <a:pt x="148" y="139"/>
                    <a:pt x="148" y="138"/>
                  </a:cubicBezTo>
                  <a:cubicBezTo>
                    <a:pt x="148" y="138"/>
                    <a:pt x="147" y="138"/>
                    <a:pt x="147" y="138"/>
                  </a:cubicBezTo>
                  <a:cubicBezTo>
                    <a:pt x="147" y="138"/>
                    <a:pt x="147" y="138"/>
                    <a:pt x="148" y="138"/>
                  </a:cubicBezTo>
                  <a:cubicBezTo>
                    <a:pt x="148" y="138"/>
                    <a:pt x="149" y="138"/>
                    <a:pt x="149" y="137"/>
                  </a:cubicBezTo>
                  <a:cubicBezTo>
                    <a:pt x="150" y="137"/>
                    <a:pt x="150" y="137"/>
                    <a:pt x="151" y="137"/>
                  </a:cubicBezTo>
                  <a:cubicBezTo>
                    <a:pt x="151" y="137"/>
                    <a:pt x="152" y="137"/>
                    <a:pt x="152" y="137"/>
                  </a:cubicBezTo>
                  <a:cubicBezTo>
                    <a:pt x="152" y="136"/>
                    <a:pt x="152" y="136"/>
                    <a:pt x="152" y="136"/>
                  </a:cubicBezTo>
                  <a:cubicBezTo>
                    <a:pt x="152" y="136"/>
                    <a:pt x="152" y="136"/>
                    <a:pt x="152" y="135"/>
                  </a:cubicBezTo>
                  <a:cubicBezTo>
                    <a:pt x="152" y="135"/>
                    <a:pt x="151" y="135"/>
                    <a:pt x="151" y="135"/>
                  </a:cubicBezTo>
                  <a:cubicBezTo>
                    <a:pt x="151" y="135"/>
                    <a:pt x="151" y="134"/>
                    <a:pt x="151" y="134"/>
                  </a:cubicBezTo>
                  <a:cubicBezTo>
                    <a:pt x="151" y="134"/>
                    <a:pt x="152" y="134"/>
                    <a:pt x="153" y="134"/>
                  </a:cubicBezTo>
                  <a:cubicBezTo>
                    <a:pt x="153" y="134"/>
                    <a:pt x="154" y="134"/>
                    <a:pt x="154" y="134"/>
                  </a:cubicBezTo>
                  <a:cubicBezTo>
                    <a:pt x="154" y="134"/>
                    <a:pt x="154" y="135"/>
                    <a:pt x="154" y="135"/>
                  </a:cubicBezTo>
                  <a:cubicBezTo>
                    <a:pt x="154" y="136"/>
                    <a:pt x="155" y="135"/>
                    <a:pt x="155" y="135"/>
                  </a:cubicBezTo>
                  <a:cubicBezTo>
                    <a:pt x="156" y="134"/>
                    <a:pt x="156" y="134"/>
                    <a:pt x="157" y="133"/>
                  </a:cubicBezTo>
                  <a:cubicBezTo>
                    <a:pt x="157" y="133"/>
                    <a:pt x="159" y="131"/>
                    <a:pt x="157" y="131"/>
                  </a:cubicBezTo>
                  <a:cubicBezTo>
                    <a:pt x="157" y="131"/>
                    <a:pt x="157" y="131"/>
                    <a:pt x="156" y="131"/>
                  </a:cubicBezTo>
                  <a:cubicBezTo>
                    <a:pt x="156" y="131"/>
                    <a:pt x="156" y="131"/>
                    <a:pt x="156" y="130"/>
                  </a:cubicBezTo>
                  <a:cubicBezTo>
                    <a:pt x="156" y="130"/>
                    <a:pt x="155" y="130"/>
                    <a:pt x="155" y="130"/>
                  </a:cubicBezTo>
                  <a:cubicBezTo>
                    <a:pt x="154" y="130"/>
                    <a:pt x="155" y="130"/>
                    <a:pt x="155" y="129"/>
                  </a:cubicBezTo>
                  <a:cubicBezTo>
                    <a:pt x="155" y="129"/>
                    <a:pt x="155" y="129"/>
                    <a:pt x="155" y="129"/>
                  </a:cubicBezTo>
                  <a:cubicBezTo>
                    <a:pt x="155" y="128"/>
                    <a:pt x="155" y="128"/>
                    <a:pt x="155" y="128"/>
                  </a:cubicBezTo>
                  <a:cubicBezTo>
                    <a:pt x="155" y="127"/>
                    <a:pt x="156" y="127"/>
                    <a:pt x="156" y="128"/>
                  </a:cubicBezTo>
                  <a:cubicBezTo>
                    <a:pt x="156" y="128"/>
                    <a:pt x="157" y="128"/>
                    <a:pt x="157" y="129"/>
                  </a:cubicBezTo>
                  <a:cubicBezTo>
                    <a:pt x="158" y="129"/>
                    <a:pt x="158" y="129"/>
                    <a:pt x="158" y="129"/>
                  </a:cubicBezTo>
                  <a:cubicBezTo>
                    <a:pt x="159" y="129"/>
                    <a:pt x="159" y="129"/>
                    <a:pt x="160" y="129"/>
                  </a:cubicBezTo>
                  <a:cubicBezTo>
                    <a:pt x="160" y="128"/>
                    <a:pt x="160" y="128"/>
                    <a:pt x="161" y="128"/>
                  </a:cubicBezTo>
                  <a:cubicBezTo>
                    <a:pt x="161" y="127"/>
                    <a:pt x="160" y="127"/>
                    <a:pt x="160" y="127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59" y="126"/>
                    <a:pt x="158" y="126"/>
                    <a:pt x="159" y="125"/>
                  </a:cubicBezTo>
                  <a:cubicBezTo>
                    <a:pt x="159" y="125"/>
                    <a:pt x="159" y="125"/>
                    <a:pt x="160" y="125"/>
                  </a:cubicBezTo>
                  <a:cubicBezTo>
                    <a:pt x="160" y="126"/>
                    <a:pt x="160" y="126"/>
                    <a:pt x="160" y="126"/>
                  </a:cubicBezTo>
                  <a:cubicBezTo>
                    <a:pt x="161" y="126"/>
                    <a:pt x="161" y="126"/>
                    <a:pt x="162" y="126"/>
                  </a:cubicBezTo>
                  <a:cubicBezTo>
                    <a:pt x="162" y="126"/>
                    <a:pt x="163" y="126"/>
                    <a:pt x="163" y="126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65" y="124"/>
                    <a:pt x="164" y="124"/>
                    <a:pt x="164" y="123"/>
                  </a:cubicBezTo>
                  <a:cubicBezTo>
                    <a:pt x="164" y="123"/>
                    <a:pt x="164" y="123"/>
                    <a:pt x="163" y="123"/>
                  </a:cubicBezTo>
                  <a:cubicBezTo>
                    <a:pt x="163" y="123"/>
                    <a:pt x="163" y="123"/>
                    <a:pt x="162" y="123"/>
                  </a:cubicBezTo>
                  <a:cubicBezTo>
                    <a:pt x="162" y="123"/>
                    <a:pt x="161" y="122"/>
                    <a:pt x="161" y="122"/>
                  </a:cubicBezTo>
                  <a:cubicBezTo>
                    <a:pt x="161" y="122"/>
                    <a:pt x="160" y="122"/>
                    <a:pt x="160" y="122"/>
                  </a:cubicBezTo>
                  <a:cubicBezTo>
                    <a:pt x="160" y="122"/>
                    <a:pt x="160" y="122"/>
                    <a:pt x="160" y="122"/>
                  </a:cubicBezTo>
                  <a:cubicBezTo>
                    <a:pt x="159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0"/>
                    <a:pt x="159" y="12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5CE0A6D3-D06C-4401-A1D1-322F9DC5C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70793" y="4509543"/>
              <a:ext cx="1042541" cy="915322"/>
            </a:xfrm>
            <a:custGeom>
              <a:avLst/>
              <a:gdLst>
                <a:gd name="T0" fmla="*/ 251 w 263"/>
                <a:gd name="T1" fmla="*/ 230 h 231"/>
                <a:gd name="T2" fmla="*/ 193 w 263"/>
                <a:gd name="T3" fmla="*/ 12 h 231"/>
                <a:gd name="T4" fmla="*/ 187 w 263"/>
                <a:gd name="T5" fmla="*/ 19 h 231"/>
                <a:gd name="T6" fmla="*/ 0 w 263"/>
                <a:gd name="T7" fmla="*/ 6 h 231"/>
                <a:gd name="T8" fmla="*/ 9 w 263"/>
                <a:gd name="T9" fmla="*/ 22 h 231"/>
                <a:gd name="T10" fmla="*/ 11 w 263"/>
                <a:gd name="T11" fmla="*/ 27 h 231"/>
                <a:gd name="T12" fmla="*/ 18 w 263"/>
                <a:gd name="T13" fmla="*/ 22 h 231"/>
                <a:gd name="T14" fmla="*/ 22 w 263"/>
                <a:gd name="T15" fmla="*/ 21 h 231"/>
                <a:gd name="T16" fmla="*/ 35 w 263"/>
                <a:gd name="T17" fmla="*/ 25 h 231"/>
                <a:gd name="T18" fmla="*/ 46 w 263"/>
                <a:gd name="T19" fmla="*/ 22 h 231"/>
                <a:gd name="T20" fmla="*/ 50 w 263"/>
                <a:gd name="T21" fmla="*/ 26 h 231"/>
                <a:gd name="T22" fmla="*/ 65 w 263"/>
                <a:gd name="T23" fmla="*/ 35 h 231"/>
                <a:gd name="T24" fmla="*/ 69 w 263"/>
                <a:gd name="T25" fmla="*/ 37 h 231"/>
                <a:gd name="T26" fmla="*/ 81 w 263"/>
                <a:gd name="T27" fmla="*/ 53 h 231"/>
                <a:gd name="T28" fmla="*/ 94 w 263"/>
                <a:gd name="T29" fmla="*/ 50 h 231"/>
                <a:gd name="T30" fmla="*/ 104 w 263"/>
                <a:gd name="T31" fmla="*/ 46 h 231"/>
                <a:gd name="T32" fmla="*/ 116 w 263"/>
                <a:gd name="T33" fmla="*/ 38 h 231"/>
                <a:gd name="T34" fmla="*/ 133 w 263"/>
                <a:gd name="T35" fmla="*/ 42 h 231"/>
                <a:gd name="T36" fmla="*/ 150 w 263"/>
                <a:gd name="T37" fmla="*/ 62 h 231"/>
                <a:gd name="T38" fmla="*/ 157 w 263"/>
                <a:gd name="T39" fmla="*/ 68 h 231"/>
                <a:gd name="T40" fmla="*/ 168 w 263"/>
                <a:gd name="T41" fmla="*/ 78 h 231"/>
                <a:gd name="T42" fmla="*/ 171 w 263"/>
                <a:gd name="T43" fmla="*/ 88 h 231"/>
                <a:gd name="T44" fmla="*/ 169 w 263"/>
                <a:gd name="T45" fmla="*/ 110 h 231"/>
                <a:gd name="T46" fmla="*/ 169 w 263"/>
                <a:gd name="T47" fmla="*/ 129 h 231"/>
                <a:gd name="T48" fmla="*/ 171 w 263"/>
                <a:gd name="T49" fmla="*/ 122 h 231"/>
                <a:gd name="T50" fmla="*/ 178 w 263"/>
                <a:gd name="T51" fmla="*/ 126 h 231"/>
                <a:gd name="T52" fmla="*/ 181 w 263"/>
                <a:gd name="T53" fmla="*/ 126 h 231"/>
                <a:gd name="T54" fmla="*/ 175 w 263"/>
                <a:gd name="T55" fmla="*/ 137 h 231"/>
                <a:gd name="T56" fmla="*/ 173 w 263"/>
                <a:gd name="T57" fmla="*/ 142 h 231"/>
                <a:gd name="T58" fmla="*/ 182 w 263"/>
                <a:gd name="T59" fmla="*/ 160 h 231"/>
                <a:gd name="T60" fmla="*/ 189 w 263"/>
                <a:gd name="T61" fmla="*/ 164 h 231"/>
                <a:gd name="T62" fmla="*/ 195 w 263"/>
                <a:gd name="T63" fmla="*/ 159 h 231"/>
                <a:gd name="T64" fmla="*/ 192 w 263"/>
                <a:gd name="T65" fmla="*/ 170 h 231"/>
                <a:gd name="T66" fmla="*/ 192 w 263"/>
                <a:gd name="T67" fmla="*/ 178 h 231"/>
                <a:gd name="T68" fmla="*/ 198 w 263"/>
                <a:gd name="T69" fmla="*/ 181 h 231"/>
                <a:gd name="T70" fmla="*/ 202 w 263"/>
                <a:gd name="T71" fmla="*/ 194 h 231"/>
                <a:gd name="T72" fmla="*/ 213 w 263"/>
                <a:gd name="T73" fmla="*/ 204 h 231"/>
                <a:gd name="T74" fmla="*/ 222 w 263"/>
                <a:gd name="T75" fmla="*/ 217 h 231"/>
                <a:gd name="T76" fmla="*/ 224 w 263"/>
                <a:gd name="T77" fmla="*/ 222 h 231"/>
                <a:gd name="T78" fmla="*/ 234 w 263"/>
                <a:gd name="T79" fmla="*/ 229 h 231"/>
                <a:gd name="T80" fmla="*/ 252 w 263"/>
                <a:gd name="T81" fmla="*/ 222 h 231"/>
                <a:gd name="T82" fmla="*/ 255 w 263"/>
                <a:gd name="T83" fmla="*/ 210 h 231"/>
                <a:gd name="T84" fmla="*/ 259 w 263"/>
                <a:gd name="T85" fmla="*/ 200 h 231"/>
                <a:gd name="T86" fmla="*/ 262 w 263"/>
                <a:gd name="T87" fmla="*/ 179 h 231"/>
                <a:gd name="T88" fmla="*/ 261 w 263"/>
                <a:gd name="T89" fmla="*/ 160 h 231"/>
                <a:gd name="T90" fmla="*/ 256 w 263"/>
                <a:gd name="T91" fmla="*/ 151 h 231"/>
                <a:gd name="T92" fmla="*/ 255 w 263"/>
                <a:gd name="T93" fmla="*/ 147 h 231"/>
                <a:gd name="T94" fmla="*/ 252 w 263"/>
                <a:gd name="T95" fmla="*/ 140 h 231"/>
                <a:gd name="T96" fmla="*/ 250 w 263"/>
                <a:gd name="T97" fmla="*/ 131 h 231"/>
                <a:gd name="T98" fmla="*/ 245 w 263"/>
                <a:gd name="T99" fmla="*/ 120 h 231"/>
                <a:gd name="T100" fmla="*/ 239 w 263"/>
                <a:gd name="T101" fmla="*/ 107 h 231"/>
                <a:gd name="T102" fmla="*/ 242 w 263"/>
                <a:gd name="T103" fmla="*/ 100 h 231"/>
                <a:gd name="T104" fmla="*/ 245 w 263"/>
                <a:gd name="T105" fmla="*/ 101 h 231"/>
                <a:gd name="T106" fmla="*/ 236 w 263"/>
                <a:gd name="T107" fmla="*/ 88 h 231"/>
                <a:gd name="T108" fmla="*/ 231 w 263"/>
                <a:gd name="T109" fmla="*/ 76 h 231"/>
                <a:gd name="T110" fmla="*/ 228 w 263"/>
                <a:gd name="T111" fmla="*/ 69 h 231"/>
                <a:gd name="T112" fmla="*/ 225 w 263"/>
                <a:gd name="T113" fmla="*/ 63 h 231"/>
                <a:gd name="T114" fmla="*/ 219 w 263"/>
                <a:gd name="T115" fmla="*/ 46 h 231"/>
                <a:gd name="T116" fmla="*/ 217 w 263"/>
                <a:gd name="T117" fmla="*/ 34 h 231"/>
                <a:gd name="T118" fmla="*/ 216 w 263"/>
                <a:gd name="T119" fmla="*/ 26 h 231"/>
                <a:gd name="T120" fmla="*/ 214 w 263"/>
                <a:gd name="T121" fmla="*/ 22 h 231"/>
                <a:gd name="T122" fmla="*/ 213 w 263"/>
                <a:gd name="T123" fmla="*/ 17 h 231"/>
                <a:gd name="T124" fmla="*/ 212 w 263"/>
                <a:gd name="T125" fmla="*/ 1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3" h="231">
                  <a:moveTo>
                    <a:pt x="249" y="231"/>
                  </a:moveTo>
                  <a:cubicBezTo>
                    <a:pt x="249" y="229"/>
                    <a:pt x="249" y="229"/>
                    <a:pt x="250" y="228"/>
                  </a:cubicBezTo>
                  <a:cubicBezTo>
                    <a:pt x="251" y="227"/>
                    <a:pt x="252" y="226"/>
                    <a:pt x="252" y="225"/>
                  </a:cubicBezTo>
                  <a:cubicBezTo>
                    <a:pt x="252" y="224"/>
                    <a:pt x="253" y="223"/>
                    <a:pt x="254" y="223"/>
                  </a:cubicBezTo>
                  <a:cubicBezTo>
                    <a:pt x="254" y="223"/>
                    <a:pt x="254" y="224"/>
                    <a:pt x="254" y="225"/>
                  </a:cubicBezTo>
                  <a:cubicBezTo>
                    <a:pt x="253" y="225"/>
                    <a:pt x="253" y="226"/>
                    <a:pt x="253" y="227"/>
                  </a:cubicBezTo>
                  <a:cubicBezTo>
                    <a:pt x="252" y="227"/>
                    <a:pt x="252" y="228"/>
                    <a:pt x="252" y="228"/>
                  </a:cubicBezTo>
                  <a:cubicBezTo>
                    <a:pt x="252" y="229"/>
                    <a:pt x="251" y="229"/>
                    <a:pt x="251" y="229"/>
                  </a:cubicBezTo>
                  <a:cubicBezTo>
                    <a:pt x="251" y="230"/>
                    <a:pt x="251" y="230"/>
                    <a:pt x="251" y="230"/>
                  </a:cubicBezTo>
                  <a:cubicBezTo>
                    <a:pt x="250" y="231"/>
                    <a:pt x="250" y="231"/>
                    <a:pt x="249" y="231"/>
                  </a:cubicBezTo>
                  <a:close/>
                  <a:moveTo>
                    <a:pt x="204" y="10"/>
                  </a:moveTo>
                  <a:cubicBezTo>
                    <a:pt x="204" y="10"/>
                    <a:pt x="202" y="10"/>
                    <a:pt x="202" y="10"/>
                  </a:cubicBezTo>
                  <a:cubicBezTo>
                    <a:pt x="201" y="9"/>
                    <a:pt x="199" y="8"/>
                    <a:pt x="199" y="8"/>
                  </a:cubicBezTo>
                  <a:cubicBezTo>
                    <a:pt x="199" y="8"/>
                    <a:pt x="197" y="7"/>
                    <a:pt x="197" y="7"/>
                  </a:cubicBezTo>
                  <a:cubicBezTo>
                    <a:pt x="197" y="7"/>
                    <a:pt x="196" y="8"/>
                    <a:pt x="196" y="8"/>
                  </a:cubicBezTo>
                  <a:cubicBezTo>
                    <a:pt x="195" y="9"/>
                    <a:pt x="195" y="9"/>
                    <a:pt x="195" y="9"/>
                  </a:cubicBezTo>
                  <a:cubicBezTo>
                    <a:pt x="194" y="9"/>
                    <a:pt x="193" y="9"/>
                    <a:pt x="193" y="9"/>
                  </a:cubicBezTo>
                  <a:cubicBezTo>
                    <a:pt x="193" y="10"/>
                    <a:pt x="193" y="11"/>
                    <a:pt x="193" y="12"/>
                  </a:cubicBezTo>
                  <a:cubicBezTo>
                    <a:pt x="193" y="13"/>
                    <a:pt x="193" y="14"/>
                    <a:pt x="193" y="14"/>
                  </a:cubicBezTo>
                  <a:cubicBezTo>
                    <a:pt x="193" y="15"/>
                    <a:pt x="194" y="17"/>
                    <a:pt x="194" y="17"/>
                  </a:cubicBezTo>
                  <a:cubicBezTo>
                    <a:pt x="194" y="18"/>
                    <a:pt x="194" y="20"/>
                    <a:pt x="194" y="20"/>
                  </a:cubicBezTo>
                  <a:cubicBezTo>
                    <a:pt x="193" y="21"/>
                    <a:pt x="194" y="23"/>
                    <a:pt x="194" y="24"/>
                  </a:cubicBezTo>
                  <a:cubicBezTo>
                    <a:pt x="193" y="24"/>
                    <a:pt x="192" y="26"/>
                    <a:pt x="192" y="26"/>
                  </a:cubicBezTo>
                  <a:cubicBezTo>
                    <a:pt x="192" y="27"/>
                    <a:pt x="191" y="26"/>
                    <a:pt x="190" y="26"/>
                  </a:cubicBezTo>
                  <a:cubicBezTo>
                    <a:pt x="189" y="26"/>
                    <a:pt x="188" y="25"/>
                    <a:pt x="188" y="25"/>
                  </a:cubicBezTo>
                  <a:cubicBezTo>
                    <a:pt x="187" y="24"/>
                    <a:pt x="187" y="23"/>
                    <a:pt x="187" y="22"/>
                  </a:cubicBezTo>
                  <a:cubicBezTo>
                    <a:pt x="187" y="22"/>
                    <a:pt x="187" y="20"/>
                    <a:pt x="187" y="19"/>
                  </a:cubicBezTo>
                  <a:cubicBezTo>
                    <a:pt x="187" y="19"/>
                    <a:pt x="186" y="17"/>
                    <a:pt x="186" y="17"/>
                  </a:cubicBezTo>
                  <a:cubicBezTo>
                    <a:pt x="186" y="17"/>
                    <a:pt x="97" y="12"/>
                    <a:pt x="97" y="12"/>
                  </a:cubicBezTo>
                  <a:cubicBezTo>
                    <a:pt x="97" y="12"/>
                    <a:pt x="94" y="11"/>
                    <a:pt x="94" y="10"/>
                  </a:cubicBezTo>
                  <a:cubicBezTo>
                    <a:pt x="94" y="10"/>
                    <a:pt x="93" y="9"/>
                    <a:pt x="93" y="8"/>
                  </a:cubicBezTo>
                  <a:cubicBezTo>
                    <a:pt x="93" y="8"/>
                    <a:pt x="93" y="5"/>
                    <a:pt x="93" y="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2" y="8"/>
                    <a:pt x="2" y="8"/>
                  </a:cubicBezTo>
                  <a:cubicBezTo>
                    <a:pt x="2" y="9"/>
                    <a:pt x="4" y="10"/>
                    <a:pt x="4" y="10"/>
                  </a:cubicBezTo>
                  <a:cubicBezTo>
                    <a:pt x="4" y="11"/>
                    <a:pt x="4" y="12"/>
                    <a:pt x="5" y="12"/>
                  </a:cubicBezTo>
                  <a:cubicBezTo>
                    <a:pt x="5" y="12"/>
                    <a:pt x="8" y="13"/>
                    <a:pt x="8" y="13"/>
                  </a:cubicBezTo>
                  <a:cubicBezTo>
                    <a:pt x="8" y="13"/>
                    <a:pt x="8" y="15"/>
                    <a:pt x="8" y="15"/>
                  </a:cubicBezTo>
                  <a:cubicBezTo>
                    <a:pt x="8" y="15"/>
                    <a:pt x="7" y="17"/>
                    <a:pt x="7" y="17"/>
                  </a:cubicBezTo>
                  <a:cubicBezTo>
                    <a:pt x="7" y="18"/>
                    <a:pt x="7" y="19"/>
                    <a:pt x="7" y="19"/>
                  </a:cubicBezTo>
                  <a:cubicBezTo>
                    <a:pt x="7" y="19"/>
                    <a:pt x="7" y="20"/>
                    <a:pt x="7" y="21"/>
                  </a:cubicBezTo>
                  <a:cubicBezTo>
                    <a:pt x="8" y="21"/>
                    <a:pt x="8" y="22"/>
                    <a:pt x="9" y="22"/>
                  </a:cubicBezTo>
                  <a:cubicBezTo>
                    <a:pt x="9" y="22"/>
                    <a:pt x="10" y="22"/>
                    <a:pt x="10" y="23"/>
                  </a:cubicBezTo>
                  <a:cubicBezTo>
                    <a:pt x="10" y="24"/>
                    <a:pt x="9" y="24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7" y="26"/>
                    <a:pt x="7" y="26"/>
                    <a:pt x="7" y="27"/>
                  </a:cubicBezTo>
                  <a:cubicBezTo>
                    <a:pt x="6" y="27"/>
                    <a:pt x="6" y="28"/>
                    <a:pt x="6" y="29"/>
                  </a:cubicBezTo>
                  <a:cubicBezTo>
                    <a:pt x="6" y="29"/>
                    <a:pt x="6" y="29"/>
                    <a:pt x="7" y="29"/>
                  </a:cubicBezTo>
                  <a:cubicBezTo>
                    <a:pt x="7" y="28"/>
                    <a:pt x="8" y="28"/>
                    <a:pt x="8" y="28"/>
                  </a:cubicBezTo>
                  <a:cubicBezTo>
                    <a:pt x="9" y="28"/>
                    <a:pt x="10" y="28"/>
                    <a:pt x="11" y="2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3" y="26"/>
                    <a:pt x="13" y="26"/>
                    <a:pt x="13" y="25"/>
                  </a:cubicBezTo>
                  <a:cubicBezTo>
                    <a:pt x="13" y="25"/>
                    <a:pt x="14" y="25"/>
                    <a:pt x="14" y="25"/>
                  </a:cubicBezTo>
                  <a:cubicBezTo>
                    <a:pt x="15" y="25"/>
                    <a:pt x="16" y="24"/>
                    <a:pt x="16" y="23"/>
                  </a:cubicBezTo>
                  <a:cubicBezTo>
                    <a:pt x="16" y="22"/>
                    <a:pt x="17" y="21"/>
                    <a:pt x="17" y="20"/>
                  </a:cubicBezTo>
                  <a:cubicBezTo>
                    <a:pt x="17" y="20"/>
                    <a:pt x="17" y="19"/>
                    <a:pt x="17" y="19"/>
                  </a:cubicBezTo>
                  <a:cubicBezTo>
                    <a:pt x="17" y="19"/>
                    <a:pt x="18" y="19"/>
                    <a:pt x="18" y="20"/>
                  </a:cubicBezTo>
                  <a:cubicBezTo>
                    <a:pt x="18" y="20"/>
                    <a:pt x="18" y="20"/>
                    <a:pt x="18" y="21"/>
                  </a:cubicBezTo>
                  <a:cubicBezTo>
                    <a:pt x="18" y="21"/>
                    <a:pt x="18" y="22"/>
                    <a:pt x="18" y="22"/>
                  </a:cubicBezTo>
                  <a:cubicBezTo>
                    <a:pt x="19" y="22"/>
                    <a:pt x="19" y="22"/>
                    <a:pt x="19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19"/>
                    <a:pt x="20" y="19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1" y="19"/>
                    <a:pt x="21" y="19"/>
                  </a:cubicBezTo>
                  <a:cubicBezTo>
                    <a:pt x="21" y="19"/>
                    <a:pt x="21" y="20"/>
                    <a:pt x="21" y="20"/>
                  </a:cubicBezTo>
                  <a:cubicBezTo>
                    <a:pt x="21" y="20"/>
                    <a:pt x="21" y="20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3" y="22"/>
                    <a:pt x="24" y="21"/>
                    <a:pt x="24" y="22"/>
                  </a:cubicBezTo>
                  <a:cubicBezTo>
                    <a:pt x="25" y="23"/>
                    <a:pt x="22" y="23"/>
                    <a:pt x="22" y="24"/>
                  </a:cubicBezTo>
                  <a:cubicBezTo>
                    <a:pt x="21" y="24"/>
                    <a:pt x="21" y="24"/>
                    <a:pt x="20" y="25"/>
                  </a:cubicBezTo>
                  <a:cubicBezTo>
                    <a:pt x="20" y="25"/>
                    <a:pt x="18" y="25"/>
                    <a:pt x="18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1" y="25"/>
                    <a:pt x="22" y="25"/>
                    <a:pt x="23" y="25"/>
                  </a:cubicBezTo>
                  <a:cubicBezTo>
                    <a:pt x="23" y="25"/>
                    <a:pt x="24" y="25"/>
                    <a:pt x="25" y="25"/>
                  </a:cubicBezTo>
                  <a:cubicBezTo>
                    <a:pt x="26" y="25"/>
                    <a:pt x="28" y="25"/>
                    <a:pt x="29" y="25"/>
                  </a:cubicBezTo>
                  <a:cubicBezTo>
                    <a:pt x="31" y="24"/>
                    <a:pt x="33" y="25"/>
                    <a:pt x="35" y="25"/>
                  </a:cubicBezTo>
                  <a:cubicBezTo>
                    <a:pt x="35" y="25"/>
                    <a:pt x="36" y="25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3"/>
                    <a:pt x="36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8" y="22"/>
                    <a:pt x="39" y="22"/>
                    <a:pt x="40" y="21"/>
                  </a:cubicBezTo>
                  <a:cubicBezTo>
                    <a:pt x="40" y="21"/>
                    <a:pt x="41" y="21"/>
                    <a:pt x="42" y="21"/>
                  </a:cubicBezTo>
                  <a:cubicBezTo>
                    <a:pt x="42" y="21"/>
                    <a:pt x="42" y="22"/>
                    <a:pt x="42" y="22"/>
                  </a:cubicBezTo>
                  <a:cubicBezTo>
                    <a:pt x="43" y="22"/>
                    <a:pt x="44" y="22"/>
                    <a:pt x="44" y="22"/>
                  </a:cubicBezTo>
                  <a:cubicBezTo>
                    <a:pt x="45" y="22"/>
                    <a:pt x="45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7" y="22"/>
                    <a:pt x="48" y="22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2"/>
                  </a:cubicBezTo>
                  <a:cubicBezTo>
                    <a:pt x="50" y="22"/>
                    <a:pt x="51" y="23"/>
                    <a:pt x="51" y="23"/>
                  </a:cubicBezTo>
                  <a:cubicBezTo>
                    <a:pt x="52" y="23"/>
                    <a:pt x="52" y="24"/>
                    <a:pt x="52" y="24"/>
                  </a:cubicBezTo>
                  <a:cubicBezTo>
                    <a:pt x="52" y="24"/>
                    <a:pt x="52" y="24"/>
                    <a:pt x="52" y="25"/>
                  </a:cubicBezTo>
                  <a:cubicBezTo>
                    <a:pt x="53" y="25"/>
                    <a:pt x="53" y="25"/>
                    <a:pt x="52" y="25"/>
                  </a:cubicBezTo>
                  <a:cubicBezTo>
                    <a:pt x="51" y="26"/>
                    <a:pt x="51" y="26"/>
                    <a:pt x="50" y="26"/>
                  </a:cubicBezTo>
                  <a:cubicBezTo>
                    <a:pt x="48" y="26"/>
                    <a:pt x="47" y="26"/>
                    <a:pt x="45" y="25"/>
                  </a:cubicBezTo>
                  <a:cubicBezTo>
                    <a:pt x="45" y="25"/>
                    <a:pt x="42" y="25"/>
                    <a:pt x="42" y="25"/>
                  </a:cubicBezTo>
                  <a:cubicBezTo>
                    <a:pt x="43" y="25"/>
                    <a:pt x="45" y="26"/>
                    <a:pt x="46" y="26"/>
                  </a:cubicBezTo>
                  <a:cubicBezTo>
                    <a:pt x="48" y="27"/>
                    <a:pt x="50" y="27"/>
                    <a:pt x="52" y="28"/>
                  </a:cubicBezTo>
                  <a:cubicBezTo>
                    <a:pt x="53" y="29"/>
                    <a:pt x="55" y="29"/>
                    <a:pt x="56" y="30"/>
                  </a:cubicBezTo>
                  <a:cubicBezTo>
                    <a:pt x="58" y="30"/>
                    <a:pt x="59" y="31"/>
                    <a:pt x="60" y="32"/>
                  </a:cubicBezTo>
                  <a:cubicBezTo>
                    <a:pt x="61" y="32"/>
                    <a:pt x="61" y="32"/>
                    <a:pt x="62" y="33"/>
                  </a:cubicBezTo>
                  <a:cubicBezTo>
                    <a:pt x="62" y="33"/>
                    <a:pt x="63" y="33"/>
                    <a:pt x="63" y="33"/>
                  </a:cubicBezTo>
                  <a:cubicBezTo>
                    <a:pt x="63" y="34"/>
                    <a:pt x="64" y="34"/>
                    <a:pt x="65" y="35"/>
                  </a:cubicBezTo>
                  <a:cubicBezTo>
                    <a:pt x="65" y="35"/>
                    <a:pt x="65" y="35"/>
                    <a:pt x="66" y="35"/>
                  </a:cubicBezTo>
                  <a:cubicBezTo>
                    <a:pt x="66" y="35"/>
                    <a:pt x="66" y="35"/>
                    <a:pt x="66" y="34"/>
                  </a:cubicBezTo>
                  <a:cubicBezTo>
                    <a:pt x="67" y="34"/>
                    <a:pt x="67" y="34"/>
                    <a:pt x="68" y="34"/>
                  </a:cubicBezTo>
                  <a:cubicBezTo>
                    <a:pt x="68" y="35"/>
                    <a:pt x="69" y="35"/>
                    <a:pt x="69" y="35"/>
                  </a:cubicBezTo>
                  <a:cubicBezTo>
                    <a:pt x="70" y="35"/>
                    <a:pt x="71" y="35"/>
                    <a:pt x="72" y="35"/>
                  </a:cubicBezTo>
                  <a:cubicBezTo>
                    <a:pt x="72" y="35"/>
                    <a:pt x="72" y="36"/>
                    <a:pt x="72" y="36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1" y="37"/>
                    <a:pt x="71" y="37"/>
                    <a:pt x="70" y="37"/>
                  </a:cubicBezTo>
                  <a:cubicBezTo>
                    <a:pt x="70" y="37"/>
                    <a:pt x="69" y="36"/>
                    <a:pt x="69" y="37"/>
                  </a:cubicBezTo>
                  <a:cubicBezTo>
                    <a:pt x="68" y="37"/>
                    <a:pt x="70" y="38"/>
                    <a:pt x="70" y="38"/>
                  </a:cubicBezTo>
                  <a:cubicBezTo>
                    <a:pt x="71" y="38"/>
                    <a:pt x="71" y="39"/>
                    <a:pt x="72" y="40"/>
                  </a:cubicBezTo>
                  <a:cubicBezTo>
                    <a:pt x="73" y="40"/>
                    <a:pt x="73" y="41"/>
                    <a:pt x="74" y="42"/>
                  </a:cubicBezTo>
                  <a:cubicBezTo>
                    <a:pt x="75" y="43"/>
                    <a:pt x="76" y="43"/>
                    <a:pt x="77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6"/>
                    <a:pt x="79" y="46"/>
                  </a:cubicBezTo>
                  <a:cubicBezTo>
                    <a:pt x="79" y="47"/>
                    <a:pt x="80" y="48"/>
                    <a:pt x="80" y="49"/>
                  </a:cubicBezTo>
                  <a:cubicBezTo>
                    <a:pt x="80" y="50"/>
                    <a:pt x="81" y="50"/>
                    <a:pt x="81" y="51"/>
                  </a:cubicBezTo>
                  <a:cubicBezTo>
                    <a:pt x="81" y="52"/>
                    <a:pt x="80" y="52"/>
                    <a:pt x="81" y="53"/>
                  </a:cubicBezTo>
                  <a:cubicBezTo>
                    <a:pt x="81" y="54"/>
                    <a:pt x="82" y="53"/>
                    <a:pt x="82" y="53"/>
                  </a:cubicBezTo>
                  <a:cubicBezTo>
                    <a:pt x="83" y="53"/>
                    <a:pt x="84" y="53"/>
                    <a:pt x="85" y="53"/>
                  </a:cubicBezTo>
                  <a:cubicBezTo>
                    <a:pt x="85" y="52"/>
                    <a:pt x="85" y="52"/>
                    <a:pt x="86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8" y="52"/>
                    <a:pt x="88" y="52"/>
                    <a:pt x="89" y="52"/>
                  </a:cubicBezTo>
                  <a:cubicBezTo>
                    <a:pt x="90" y="52"/>
                    <a:pt x="91" y="52"/>
                    <a:pt x="91" y="52"/>
                  </a:cubicBezTo>
                  <a:cubicBezTo>
                    <a:pt x="92" y="52"/>
                    <a:pt x="92" y="52"/>
                    <a:pt x="92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1"/>
                    <a:pt x="94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6" y="50"/>
                    <a:pt x="95" y="50"/>
                    <a:pt x="95" y="51"/>
                  </a:cubicBezTo>
                  <a:cubicBezTo>
                    <a:pt x="95" y="51"/>
                    <a:pt x="95" y="51"/>
                    <a:pt x="96" y="51"/>
                  </a:cubicBezTo>
                  <a:cubicBezTo>
                    <a:pt x="96" y="51"/>
                    <a:pt x="97" y="50"/>
                    <a:pt x="97" y="50"/>
                  </a:cubicBezTo>
                  <a:cubicBezTo>
                    <a:pt x="98" y="50"/>
                    <a:pt x="98" y="49"/>
                    <a:pt x="99" y="49"/>
                  </a:cubicBezTo>
                  <a:cubicBezTo>
                    <a:pt x="99" y="49"/>
                    <a:pt x="100" y="49"/>
                    <a:pt x="100" y="48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3" y="47"/>
                    <a:pt x="104" y="47"/>
                    <a:pt x="104" y="46"/>
                  </a:cubicBezTo>
                  <a:cubicBezTo>
                    <a:pt x="104" y="46"/>
                    <a:pt x="105" y="46"/>
                    <a:pt x="105" y="46"/>
                  </a:cubicBezTo>
                  <a:cubicBezTo>
                    <a:pt x="106" y="45"/>
                    <a:pt x="106" y="44"/>
                    <a:pt x="107" y="44"/>
                  </a:cubicBezTo>
                  <a:cubicBezTo>
                    <a:pt x="108" y="44"/>
                    <a:pt x="110" y="44"/>
                    <a:pt x="111" y="44"/>
                  </a:cubicBezTo>
                  <a:cubicBezTo>
                    <a:pt x="112" y="44"/>
                    <a:pt x="114" y="45"/>
                    <a:pt x="114" y="43"/>
                  </a:cubicBezTo>
                  <a:cubicBezTo>
                    <a:pt x="114" y="43"/>
                    <a:pt x="113" y="43"/>
                    <a:pt x="112" y="43"/>
                  </a:cubicBezTo>
                  <a:cubicBezTo>
                    <a:pt x="112" y="42"/>
                    <a:pt x="113" y="42"/>
                    <a:pt x="113" y="41"/>
                  </a:cubicBezTo>
                  <a:cubicBezTo>
                    <a:pt x="113" y="41"/>
                    <a:pt x="113" y="40"/>
                    <a:pt x="113" y="40"/>
                  </a:cubicBezTo>
                  <a:cubicBezTo>
                    <a:pt x="113" y="39"/>
                    <a:pt x="114" y="39"/>
                    <a:pt x="114" y="38"/>
                  </a:cubicBezTo>
                  <a:cubicBezTo>
                    <a:pt x="115" y="38"/>
                    <a:pt x="115" y="38"/>
                    <a:pt x="116" y="38"/>
                  </a:cubicBezTo>
                  <a:cubicBezTo>
                    <a:pt x="116" y="37"/>
                    <a:pt x="116" y="37"/>
                    <a:pt x="117" y="37"/>
                  </a:cubicBezTo>
                  <a:cubicBezTo>
                    <a:pt x="117" y="37"/>
                    <a:pt x="118" y="37"/>
                    <a:pt x="119" y="37"/>
                  </a:cubicBezTo>
                  <a:cubicBezTo>
                    <a:pt x="119" y="38"/>
                    <a:pt x="120" y="38"/>
                    <a:pt x="120" y="38"/>
                  </a:cubicBezTo>
                  <a:cubicBezTo>
                    <a:pt x="121" y="37"/>
                    <a:pt x="121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4" y="37"/>
                    <a:pt x="124" y="37"/>
                    <a:pt x="125" y="37"/>
                  </a:cubicBezTo>
                  <a:cubicBezTo>
                    <a:pt x="125" y="37"/>
                    <a:pt x="126" y="37"/>
                    <a:pt x="126" y="38"/>
                  </a:cubicBezTo>
                  <a:cubicBezTo>
                    <a:pt x="127" y="39"/>
                    <a:pt x="129" y="39"/>
                    <a:pt x="130" y="40"/>
                  </a:cubicBezTo>
                  <a:cubicBezTo>
                    <a:pt x="131" y="41"/>
                    <a:pt x="132" y="41"/>
                    <a:pt x="133" y="42"/>
                  </a:cubicBezTo>
                  <a:cubicBezTo>
                    <a:pt x="134" y="42"/>
                    <a:pt x="135" y="43"/>
                    <a:pt x="136" y="43"/>
                  </a:cubicBezTo>
                  <a:cubicBezTo>
                    <a:pt x="137" y="45"/>
                    <a:pt x="138" y="46"/>
                    <a:pt x="139" y="47"/>
                  </a:cubicBezTo>
                  <a:cubicBezTo>
                    <a:pt x="140" y="49"/>
                    <a:pt x="140" y="50"/>
                    <a:pt x="141" y="51"/>
                  </a:cubicBezTo>
                  <a:cubicBezTo>
                    <a:pt x="142" y="52"/>
                    <a:pt x="142" y="52"/>
                    <a:pt x="143" y="53"/>
                  </a:cubicBezTo>
                  <a:cubicBezTo>
                    <a:pt x="143" y="53"/>
                    <a:pt x="143" y="53"/>
                    <a:pt x="144" y="53"/>
                  </a:cubicBezTo>
                  <a:cubicBezTo>
                    <a:pt x="144" y="53"/>
                    <a:pt x="145" y="53"/>
                    <a:pt x="145" y="54"/>
                  </a:cubicBezTo>
                  <a:cubicBezTo>
                    <a:pt x="145" y="54"/>
                    <a:pt x="146" y="54"/>
                    <a:pt x="147" y="55"/>
                  </a:cubicBezTo>
                  <a:cubicBezTo>
                    <a:pt x="147" y="57"/>
                    <a:pt x="147" y="58"/>
                    <a:pt x="147" y="60"/>
                  </a:cubicBezTo>
                  <a:cubicBezTo>
                    <a:pt x="147" y="61"/>
                    <a:pt x="149" y="62"/>
                    <a:pt x="150" y="62"/>
                  </a:cubicBezTo>
                  <a:cubicBezTo>
                    <a:pt x="151" y="63"/>
                    <a:pt x="153" y="64"/>
                    <a:pt x="153" y="65"/>
                  </a:cubicBezTo>
                  <a:cubicBezTo>
                    <a:pt x="154" y="65"/>
                    <a:pt x="154" y="66"/>
                    <a:pt x="154" y="66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5" y="68"/>
                    <a:pt x="155" y="68"/>
                    <a:pt x="156" y="68"/>
                  </a:cubicBezTo>
                  <a:cubicBezTo>
                    <a:pt x="156" y="67"/>
                    <a:pt x="156" y="67"/>
                    <a:pt x="156" y="67"/>
                  </a:cubicBezTo>
                  <a:cubicBezTo>
                    <a:pt x="157" y="66"/>
                    <a:pt x="157" y="66"/>
                    <a:pt x="157" y="66"/>
                  </a:cubicBezTo>
                  <a:cubicBezTo>
                    <a:pt x="158" y="66"/>
                    <a:pt x="158" y="66"/>
                    <a:pt x="158" y="67"/>
                  </a:cubicBezTo>
                  <a:cubicBezTo>
                    <a:pt x="158" y="67"/>
                    <a:pt x="157" y="67"/>
                    <a:pt x="157" y="68"/>
                  </a:cubicBezTo>
                  <a:cubicBezTo>
                    <a:pt x="157" y="68"/>
                    <a:pt x="157" y="68"/>
                    <a:pt x="157" y="68"/>
                  </a:cubicBezTo>
                  <a:cubicBezTo>
                    <a:pt x="156" y="69"/>
                    <a:pt x="156" y="70"/>
                    <a:pt x="157" y="70"/>
                  </a:cubicBezTo>
                  <a:cubicBezTo>
                    <a:pt x="157" y="71"/>
                    <a:pt x="157" y="71"/>
                    <a:pt x="158" y="72"/>
                  </a:cubicBezTo>
                  <a:cubicBezTo>
                    <a:pt x="158" y="73"/>
                    <a:pt x="158" y="73"/>
                    <a:pt x="159" y="74"/>
                  </a:cubicBezTo>
                  <a:cubicBezTo>
                    <a:pt x="159" y="74"/>
                    <a:pt x="159" y="74"/>
                    <a:pt x="159" y="74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61" y="74"/>
                    <a:pt x="162" y="74"/>
                    <a:pt x="163" y="74"/>
                  </a:cubicBezTo>
                  <a:cubicBezTo>
                    <a:pt x="164" y="74"/>
                    <a:pt x="165" y="74"/>
                    <a:pt x="166" y="74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6"/>
                    <a:pt x="167" y="77"/>
                    <a:pt x="168" y="78"/>
                  </a:cubicBezTo>
                  <a:cubicBezTo>
                    <a:pt x="168" y="79"/>
                    <a:pt x="168" y="79"/>
                    <a:pt x="169" y="80"/>
                  </a:cubicBezTo>
                  <a:cubicBezTo>
                    <a:pt x="169" y="80"/>
                    <a:pt x="169" y="80"/>
                    <a:pt x="169" y="81"/>
                  </a:cubicBezTo>
                  <a:cubicBezTo>
                    <a:pt x="169" y="81"/>
                    <a:pt x="170" y="82"/>
                    <a:pt x="170" y="83"/>
                  </a:cubicBezTo>
                  <a:cubicBezTo>
                    <a:pt x="171" y="83"/>
                    <a:pt x="171" y="84"/>
                    <a:pt x="171" y="84"/>
                  </a:cubicBezTo>
                  <a:cubicBezTo>
                    <a:pt x="172" y="85"/>
                    <a:pt x="172" y="85"/>
                    <a:pt x="171" y="85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0" y="86"/>
                    <a:pt x="170" y="86"/>
                    <a:pt x="170" y="86"/>
                  </a:cubicBezTo>
                  <a:cubicBezTo>
                    <a:pt x="170" y="86"/>
                    <a:pt x="170" y="87"/>
                    <a:pt x="170" y="87"/>
                  </a:cubicBezTo>
                  <a:cubicBezTo>
                    <a:pt x="170" y="87"/>
                    <a:pt x="171" y="87"/>
                    <a:pt x="171" y="88"/>
                  </a:cubicBezTo>
                  <a:cubicBezTo>
                    <a:pt x="171" y="88"/>
                    <a:pt x="171" y="89"/>
                    <a:pt x="171" y="89"/>
                  </a:cubicBezTo>
                  <a:cubicBezTo>
                    <a:pt x="172" y="90"/>
                    <a:pt x="172" y="90"/>
                    <a:pt x="172" y="91"/>
                  </a:cubicBezTo>
                  <a:cubicBezTo>
                    <a:pt x="172" y="91"/>
                    <a:pt x="172" y="92"/>
                    <a:pt x="172" y="92"/>
                  </a:cubicBezTo>
                  <a:cubicBezTo>
                    <a:pt x="172" y="94"/>
                    <a:pt x="172" y="96"/>
                    <a:pt x="172" y="98"/>
                  </a:cubicBezTo>
                  <a:cubicBezTo>
                    <a:pt x="172" y="99"/>
                    <a:pt x="172" y="99"/>
                    <a:pt x="172" y="100"/>
                  </a:cubicBezTo>
                  <a:cubicBezTo>
                    <a:pt x="171" y="101"/>
                    <a:pt x="171" y="101"/>
                    <a:pt x="171" y="102"/>
                  </a:cubicBezTo>
                  <a:cubicBezTo>
                    <a:pt x="171" y="103"/>
                    <a:pt x="171" y="103"/>
                    <a:pt x="171" y="104"/>
                  </a:cubicBezTo>
                  <a:cubicBezTo>
                    <a:pt x="171" y="105"/>
                    <a:pt x="171" y="106"/>
                    <a:pt x="170" y="107"/>
                  </a:cubicBezTo>
                  <a:cubicBezTo>
                    <a:pt x="170" y="108"/>
                    <a:pt x="169" y="109"/>
                    <a:pt x="169" y="110"/>
                  </a:cubicBezTo>
                  <a:cubicBezTo>
                    <a:pt x="169" y="111"/>
                    <a:pt x="168" y="112"/>
                    <a:pt x="168" y="114"/>
                  </a:cubicBezTo>
                  <a:cubicBezTo>
                    <a:pt x="167" y="115"/>
                    <a:pt x="168" y="116"/>
                    <a:pt x="168" y="117"/>
                  </a:cubicBezTo>
                  <a:cubicBezTo>
                    <a:pt x="168" y="118"/>
                    <a:pt x="168" y="119"/>
                    <a:pt x="167" y="120"/>
                  </a:cubicBezTo>
                  <a:cubicBezTo>
                    <a:pt x="167" y="120"/>
                    <a:pt x="167" y="121"/>
                    <a:pt x="166" y="121"/>
                  </a:cubicBezTo>
                  <a:cubicBezTo>
                    <a:pt x="166" y="121"/>
                    <a:pt x="166" y="122"/>
                    <a:pt x="166" y="122"/>
                  </a:cubicBezTo>
                  <a:cubicBezTo>
                    <a:pt x="166" y="123"/>
                    <a:pt x="165" y="123"/>
                    <a:pt x="165" y="123"/>
                  </a:cubicBezTo>
                  <a:cubicBezTo>
                    <a:pt x="165" y="124"/>
                    <a:pt x="165" y="125"/>
                    <a:pt x="166" y="125"/>
                  </a:cubicBezTo>
                  <a:cubicBezTo>
                    <a:pt x="166" y="126"/>
                    <a:pt x="167" y="127"/>
                    <a:pt x="168" y="127"/>
                  </a:cubicBezTo>
                  <a:cubicBezTo>
                    <a:pt x="168" y="128"/>
                    <a:pt x="169" y="128"/>
                    <a:pt x="169" y="129"/>
                  </a:cubicBezTo>
                  <a:cubicBezTo>
                    <a:pt x="169" y="129"/>
                    <a:pt x="169" y="130"/>
                    <a:pt x="170" y="130"/>
                  </a:cubicBezTo>
                  <a:cubicBezTo>
                    <a:pt x="170" y="131"/>
                    <a:pt x="172" y="131"/>
                    <a:pt x="172" y="131"/>
                  </a:cubicBezTo>
                  <a:cubicBezTo>
                    <a:pt x="173" y="131"/>
                    <a:pt x="173" y="129"/>
                    <a:pt x="173" y="129"/>
                  </a:cubicBezTo>
                  <a:cubicBezTo>
                    <a:pt x="173" y="128"/>
                    <a:pt x="174" y="128"/>
                    <a:pt x="174" y="128"/>
                  </a:cubicBezTo>
                  <a:cubicBezTo>
                    <a:pt x="174" y="127"/>
                    <a:pt x="174" y="127"/>
                    <a:pt x="174" y="126"/>
                  </a:cubicBezTo>
                  <a:cubicBezTo>
                    <a:pt x="174" y="126"/>
                    <a:pt x="174" y="125"/>
                    <a:pt x="173" y="124"/>
                  </a:cubicBezTo>
                  <a:cubicBezTo>
                    <a:pt x="173" y="124"/>
                    <a:pt x="172" y="124"/>
                    <a:pt x="172" y="124"/>
                  </a:cubicBezTo>
                  <a:cubicBezTo>
                    <a:pt x="172" y="123"/>
                    <a:pt x="172" y="123"/>
                    <a:pt x="171" y="123"/>
                  </a:cubicBezTo>
                  <a:cubicBezTo>
                    <a:pt x="171" y="123"/>
                    <a:pt x="171" y="123"/>
                    <a:pt x="171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1" y="122"/>
                    <a:pt x="171" y="121"/>
                  </a:cubicBezTo>
                  <a:cubicBezTo>
                    <a:pt x="171" y="121"/>
                    <a:pt x="171" y="120"/>
                    <a:pt x="172" y="120"/>
                  </a:cubicBezTo>
                  <a:cubicBezTo>
                    <a:pt x="173" y="119"/>
                    <a:pt x="173" y="120"/>
                    <a:pt x="174" y="120"/>
                  </a:cubicBezTo>
                  <a:cubicBezTo>
                    <a:pt x="174" y="121"/>
                    <a:pt x="175" y="121"/>
                    <a:pt x="176" y="122"/>
                  </a:cubicBezTo>
                  <a:cubicBezTo>
                    <a:pt x="176" y="122"/>
                    <a:pt x="176" y="122"/>
                    <a:pt x="176" y="123"/>
                  </a:cubicBezTo>
                  <a:cubicBezTo>
                    <a:pt x="176" y="123"/>
                    <a:pt x="176" y="124"/>
                    <a:pt x="176" y="124"/>
                  </a:cubicBezTo>
                  <a:cubicBezTo>
                    <a:pt x="176" y="125"/>
                    <a:pt x="176" y="126"/>
                    <a:pt x="177" y="126"/>
                  </a:cubicBezTo>
                  <a:cubicBezTo>
                    <a:pt x="177" y="126"/>
                    <a:pt x="178" y="126"/>
                    <a:pt x="178" y="126"/>
                  </a:cubicBezTo>
                  <a:cubicBezTo>
                    <a:pt x="178" y="126"/>
                    <a:pt x="178" y="125"/>
                    <a:pt x="178" y="125"/>
                  </a:cubicBezTo>
                  <a:cubicBezTo>
                    <a:pt x="178" y="125"/>
                    <a:pt x="178" y="124"/>
                    <a:pt x="178" y="124"/>
                  </a:cubicBezTo>
                  <a:cubicBezTo>
                    <a:pt x="178" y="124"/>
                    <a:pt x="178" y="124"/>
                    <a:pt x="177" y="123"/>
                  </a:cubicBezTo>
                  <a:cubicBezTo>
                    <a:pt x="177" y="123"/>
                    <a:pt x="178" y="123"/>
                    <a:pt x="178" y="123"/>
                  </a:cubicBezTo>
                  <a:cubicBezTo>
                    <a:pt x="179" y="123"/>
                    <a:pt x="179" y="122"/>
                    <a:pt x="179" y="122"/>
                  </a:cubicBezTo>
                  <a:cubicBezTo>
                    <a:pt x="179" y="122"/>
                    <a:pt x="180" y="122"/>
                    <a:pt x="180" y="122"/>
                  </a:cubicBezTo>
                  <a:cubicBezTo>
                    <a:pt x="181" y="122"/>
                    <a:pt x="181" y="122"/>
                    <a:pt x="181" y="123"/>
                  </a:cubicBezTo>
                  <a:cubicBezTo>
                    <a:pt x="181" y="124"/>
                    <a:pt x="181" y="124"/>
                    <a:pt x="181" y="125"/>
                  </a:cubicBezTo>
                  <a:cubicBezTo>
                    <a:pt x="181" y="125"/>
                    <a:pt x="181" y="126"/>
                    <a:pt x="181" y="126"/>
                  </a:cubicBezTo>
                  <a:cubicBezTo>
                    <a:pt x="181" y="127"/>
                    <a:pt x="181" y="127"/>
                    <a:pt x="181" y="127"/>
                  </a:cubicBezTo>
                  <a:cubicBezTo>
                    <a:pt x="180" y="128"/>
                    <a:pt x="179" y="128"/>
                    <a:pt x="179" y="129"/>
                  </a:cubicBezTo>
                  <a:cubicBezTo>
                    <a:pt x="179" y="129"/>
                    <a:pt x="178" y="130"/>
                    <a:pt x="178" y="130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7" y="131"/>
                    <a:pt x="177" y="132"/>
                    <a:pt x="177" y="132"/>
                  </a:cubicBezTo>
                  <a:cubicBezTo>
                    <a:pt x="177" y="133"/>
                    <a:pt x="177" y="133"/>
                    <a:pt x="176" y="133"/>
                  </a:cubicBezTo>
                  <a:cubicBezTo>
                    <a:pt x="176" y="134"/>
                    <a:pt x="176" y="135"/>
                    <a:pt x="176" y="135"/>
                  </a:cubicBezTo>
                  <a:cubicBezTo>
                    <a:pt x="175" y="135"/>
                    <a:pt x="175" y="135"/>
                    <a:pt x="175" y="136"/>
                  </a:cubicBezTo>
                  <a:cubicBezTo>
                    <a:pt x="175" y="136"/>
                    <a:pt x="175" y="136"/>
                    <a:pt x="175" y="137"/>
                  </a:cubicBezTo>
                  <a:cubicBezTo>
                    <a:pt x="175" y="137"/>
                    <a:pt x="175" y="137"/>
                    <a:pt x="175" y="137"/>
                  </a:cubicBezTo>
                  <a:cubicBezTo>
                    <a:pt x="175" y="138"/>
                    <a:pt x="175" y="138"/>
                    <a:pt x="175" y="138"/>
                  </a:cubicBezTo>
                  <a:cubicBezTo>
                    <a:pt x="175" y="139"/>
                    <a:pt x="176" y="138"/>
                    <a:pt x="176" y="139"/>
                  </a:cubicBezTo>
                  <a:cubicBezTo>
                    <a:pt x="177" y="139"/>
                    <a:pt x="177" y="139"/>
                    <a:pt x="177" y="139"/>
                  </a:cubicBezTo>
                  <a:cubicBezTo>
                    <a:pt x="176" y="139"/>
                    <a:pt x="176" y="139"/>
                    <a:pt x="176" y="139"/>
                  </a:cubicBezTo>
                  <a:cubicBezTo>
                    <a:pt x="175" y="139"/>
                    <a:pt x="175" y="139"/>
                    <a:pt x="174" y="139"/>
                  </a:cubicBezTo>
                  <a:cubicBezTo>
                    <a:pt x="174" y="139"/>
                    <a:pt x="173" y="139"/>
                    <a:pt x="172" y="139"/>
                  </a:cubicBezTo>
                  <a:cubicBezTo>
                    <a:pt x="171" y="140"/>
                    <a:pt x="172" y="141"/>
                    <a:pt x="172" y="141"/>
                  </a:cubicBezTo>
                  <a:cubicBezTo>
                    <a:pt x="173" y="142"/>
                    <a:pt x="173" y="142"/>
                    <a:pt x="173" y="142"/>
                  </a:cubicBezTo>
                  <a:cubicBezTo>
                    <a:pt x="174" y="142"/>
                    <a:pt x="175" y="143"/>
                    <a:pt x="175" y="143"/>
                  </a:cubicBezTo>
                  <a:cubicBezTo>
                    <a:pt x="176" y="144"/>
                    <a:pt x="175" y="145"/>
                    <a:pt x="175" y="146"/>
                  </a:cubicBezTo>
                  <a:cubicBezTo>
                    <a:pt x="175" y="147"/>
                    <a:pt x="176" y="148"/>
                    <a:pt x="176" y="149"/>
                  </a:cubicBezTo>
                  <a:cubicBezTo>
                    <a:pt x="177" y="149"/>
                    <a:pt x="177" y="150"/>
                    <a:pt x="178" y="151"/>
                  </a:cubicBezTo>
                  <a:cubicBezTo>
                    <a:pt x="178" y="152"/>
                    <a:pt x="178" y="153"/>
                    <a:pt x="178" y="154"/>
                  </a:cubicBezTo>
                  <a:cubicBezTo>
                    <a:pt x="179" y="154"/>
                    <a:pt x="179" y="155"/>
                    <a:pt x="179" y="155"/>
                  </a:cubicBezTo>
                  <a:cubicBezTo>
                    <a:pt x="179" y="155"/>
                    <a:pt x="179" y="156"/>
                    <a:pt x="179" y="156"/>
                  </a:cubicBezTo>
                  <a:cubicBezTo>
                    <a:pt x="180" y="157"/>
                    <a:pt x="180" y="157"/>
                    <a:pt x="180" y="158"/>
                  </a:cubicBezTo>
                  <a:cubicBezTo>
                    <a:pt x="181" y="159"/>
                    <a:pt x="181" y="159"/>
                    <a:pt x="182" y="160"/>
                  </a:cubicBezTo>
                  <a:cubicBezTo>
                    <a:pt x="183" y="161"/>
                    <a:pt x="183" y="161"/>
                    <a:pt x="183" y="162"/>
                  </a:cubicBezTo>
                  <a:cubicBezTo>
                    <a:pt x="184" y="163"/>
                    <a:pt x="184" y="163"/>
                    <a:pt x="184" y="163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64"/>
                    <a:pt x="185" y="164"/>
                    <a:pt x="185" y="165"/>
                  </a:cubicBezTo>
                  <a:cubicBezTo>
                    <a:pt x="185" y="165"/>
                    <a:pt x="186" y="166"/>
                    <a:pt x="186" y="166"/>
                  </a:cubicBezTo>
                  <a:cubicBezTo>
                    <a:pt x="187" y="166"/>
                    <a:pt x="187" y="167"/>
                    <a:pt x="188" y="166"/>
                  </a:cubicBezTo>
                  <a:cubicBezTo>
                    <a:pt x="188" y="166"/>
                    <a:pt x="189" y="166"/>
                    <a:pt x="189" y="165"/>
                  </a:cubicBezTo>
                  <a:cubicBezTo>
                    <a:pt x="189" y="165"/>
                    <a:pt x="190" y="165"/>
                    <a:pt x="189" y="165"/>
                  </a:cubicBezTo>
                  <a:cubicBezTo>
                    <a:pt x="189" y="164"/>
                    <a:pt x="189" y="164"/>
                    <a:pt x="189" y="164"/>
                  </a:cubicBezTo>
                  <a:cubicBezTo>
                    <a:pt x="189" y="164"/>
                    <a:pt x="189" y="164"/>
                    <a:pt x="189" y="163"/>
                  </a:cubicBezTo>
                  <a:cubicBezTo>
                    <a:pt x="189" y="163"/>
                    <a:pt x="189" y="162"/>
                    <a:pt x="188" y="162"/>
                  </a:cubicBezTo>
                  <a:cubicBezTo>
                    <a:pt x="188" y="161"/>
                    <a:pt x="187" y="160"/>
                    <a:pt x="187" y="159"/>
                  </a:cubicBezTo>
                  <a:cubicBezTo>
                    <a:pt x="187" y="159"/>
                    <a:pt x="188" y="159"/>
                    <a:pt x="188" y="160"/>
                  </a:cubicBezTo>
                  <a:cubicBezTo>
                    <a:pt x="188" y="160"/>
                    <a:pt x="189" y="161"/>
                    <a:pt x="189" y="161"/>
                  </a:cubicBezTo>
                  <a:cubicBezTo>
                    <a:pt x="190" y="161"/>
                    <a:pt x="191" y="161"/>
                    <a:pt x="192" y="161"/>
                  </a:cubicBezTo>
                  <a:cubicBezTo>
                    <a:pt x="193" y="160"/>
                    <a:pt x="193" y="160"/>
                    <a:pt x="193" y="159"/>
                  </a:cubicBezTo>
                  <a:cubicBezTo>
                    <a:pt x="194" y="159"/>
                    <a:pt x="194" y="159"/>
                    <a:pt x="194" y="159"/>
                  </a:cubicBezTo>
                  <a:cubicBezTo>
                    <a:pt x="194" y="159"/>
                    <a:pt x="195" y="159"/>
                    <a:pt x="195" y="159"/>
                  </a:cubicBezTo>
                  <a:cubicBezTo>
                    <a:pt x="195" y="160"/>
                    <a:pt x="194" y="160"/>
                    <a:pt x="194" y="160"/>
                  </a:cubicBezTo>
                  <a:cubicBezTo>
                    <a:pt x="193" y="160"/>
                    <a:pt x="193" y="161"/>
                    <a:pt x="193" y="161"/>
                  </a:cubicBezTo>
                  <a:cubicBezTo>
                    <a:pt x="193" y="161"/>
                    <a:pt x="193" y="161"/>
                    <a:pt x="193" y="162"/>
                  </a:cubicBezTo>
                  <a:cubicBezTo>
                    <a:pt x="192" y="162"/>
                    <a:pt x="192" y="162"/>
                    <a:pt x="192" y="163"/>
                  </a:cubicBezTo>
                  <a:cubicBezTo>
                    <a:pt x="192" y="163"/>
                    <a:pt x="192" y="164"/>
                    <a:pt x="192" y="164"/>
                  </a:cubicBezTo>
                  <a:cubicBezTo>
                    <a:pt x="192" y="165"/>
                    <a:pt x="192" y="166"/>
                    <a:pt x="192" y="166"/>
                  </a:cubicBezTo>
                  <a:cubicBezTo>
                    <a:pt x="193" y="167"/>
                    <a:pt x="193" y="167"/>
                    <a:pt x="193" y="168"/>
                  </a:cubicBezTo>
                  <a:cubicBezTo>
                    <a:pt x="193" y="168"/>
                    <a:pt x="192" y="168"/>
                    <a:pt x="192" y="169"/>
                  </a:cubicBezTo>
                  <a:cubicBezTo>
                    <a:pt x="192" y="169"/>
                    <a:pt x="192" y="170"/>
                    <a:pt x="192" y="170"/>
                  </a:cubicBezTo>
                  <a:cubicBezTo>
                    <a:pt x="192" y="171"/>
                    <a:pt x="192" y="172"/>
                    <a:pt x="191" y="172"/>
                  </a:cubicBezTo>
                  <a:cubicBezTo>
                    <a:pt x="190" y="172"/>
                    <a:pt x="190" y="171"/>
                    <a:pt x="190" y="170"/>
                  </a:cubicBezTo>
                  <a:cubicBezTo>
                    <a:pt x="190" y="170"/>
                    <a:pt x="188" y="170"/>
                    <a:pt x="189" y="171"/>
                  </a:cubicBezTo>
                  <a:cubicBezTo>
                    <a:pt x="189" y="171"/>
                    <a:pt x="189" y="172"/>
                    <a:pt x="189" y="172"/>
                  </a:cubicBezTo>
                  <a:cubicBezTo>
                    <a:pt x="190" y="172"/>
                    <a:pt x="190" y="173"/>
                    <a:pt x="190" y="173"/>
                  </a:cubicBezTo>
                  <a:cubicBezTo>
                    <a:pt x="190" y="173"/>
                    <a:pt x="191" y="174"/>
                    <a:pt x="191" y="174"/>
                  </a:cubicBezTo>
                  <a:cubicBezTo>
                    <a:pt x="190" y="175"/>
                    <a:pt x="190" y="175"/>
                    <a:pt x="190" y="176"/>
                  </a:cubicBezTo>
                  <a:cubicBezTo>
                    <a:pt x="191" y="176"/>
                    <a:pt x="191" y="176"/>
                    <a:pt x="191" y="176"/>
                  </a:cubicBezTo>
                  <a:cubicBezTo>
                    <a:pt x="191" y="177"/>
                    <a:pt x="191" y="178"/>
                    <a:pt x="192" y="178"/>
                  </a:cubicBezTo>
                  <a:cubicBezTo>
                    <a:pt x="192" y="178"/>
                    <a:pt x="193" y="178"/>
                    <a:pt x="193" y="177"/>
                  </a:cubicBezTo>
                  <a:cubicBezTo>
                    <a:pt x="192" y="177"/>
                    <a:pt x="192" y="177"/>
                    <a:pt x="192" y="177"/>
                  </a:cubicBezTo>
                  <a:cubicBezTo>
                    <a:pt x="192" y="176"/>
                    <a:pt x="192" y="176"/>
                    <a:pt x="193" y="176"/>
                  </a:cubicBezTo>
                  <a:cubicBezTo>
                    <a:pt x="193" y="176"/>
                    <a:pt x="194" y="176"/>
                    <a:pt x="194" y="176"/>
                  </a:cubicBezTo>
                  <a:cubicBezTo>
                    <a:pt x="195" y="177"/>
                    <a:pt x="196" y="176"/>
                    <a:pt x="195" y="177"/>
                  </a:cubicBezTo>
                  <a:cubicBezTo>
                    <a:pt x="195" y="178"/>
                    <a:pt x="194" y="178"/>
                    <a:pt x="195" y="179"/>
                  </a:cubicBezTo>
                  <a:cubicBezTo>
                    <a:pt x="195" y="179"/>
                    <a:pt x="195" y="179"/>
                    <a:pt x="196" y="179"/>
                  </a:cubicBezTo>
                  <a:cubicBezTo>
                    <a:pt x="196" y="179"/>
                    <a:pt x="196" y="180"/>
                    <a:pt x="196" y="180"/>
                  </a:cubicBezTo>
                  <a:cubicBezTo>
                    <a:pt x="197" y="181"/>
                    <a:pt x="198" y="181"/>
                    <a:pt x="198" y="181"/>
                  </a:cubicBezTo>
                  <a:cubicBezTo>
                    <a:pt x="198" y="182"/>
                    <a:pt x="199" y="182"/>
                    <a:pt x="199" y="181"/>
                  </a:cubicBezTo>
                  <a:cubicBezTo>
                    <a:pt x="199" y="181"/>
                    <a:pt x="198" y="181"/>
                    <a:pt x="198" y="181"/>
                  </a:cubicBezTo>
                  <a:cubicBezTo>
                    <a:pt x="198" y="180"/>
                    <a:pt x="198" y="180"/>
                    <a:pt x="199" y="180"/>
                  </a:cubicBezTo>
                  <a:cubicBezTo>
                    <a:pt x="200" y="180"/>
                    <a:pt x="200" y="181"/>
                    <a:pt x="200" y="181"/>
                  </a:cubicBezTo>
                  <a:cubicBezTo>
                    <a:pt x="200" y="182"/>
                    <a:pt x="200" y="182"/>
                    <a:pt x="200" y="183"/>
                  </a:cubicBezTo>
                  <a:cubicBezTo>
                    <a:pt x="200" y="183"/>
                    <a:pt x="200" y="184"/>
                    <a:pt x="200" y="184"/>
                  </a:cubicBezTo>
                  <a:cubicBezTo>
                    <a:pt x="201" y="186"/>
                    <a:pt x="200" y="187"/>
                    <a:pt x="201" y="189"/>
                  </a:cubicBezTo>
                  <a:cubicBezTo>
                    <a:pt x="201" y="190"/>
                    <a:pt x="201" y="191"/>
                    <a:pt x="201" y="193"/>
                  </a:cubicBezTo>
                  <a:cubicBezTo>
                    <a:pt x="201" y="193"/>
                    <a:pt x="202" y="193"/>
                    <a:pt x="202" y="194"/>
                  </a:cubicBezTo>
                  <a:cubicBezTo>
                    <a:pt x="202" y="195"/>
                    <a:pt x="202" y="195"/>
                    <a:pt x="202" y="196"/>
                  </a:cubicBezTo>
                  <a:cubicBezTo>
                    <a:pt x="203" y="196"/>
                    <a:pt x="203" y="196"/>
                    <a:pt x="203" y="197"/>
                  </a:cubicBezTo>
                  <a:cubicBezTo>
                    <a:pt x="204" y="198"/>
                    <a:pt x="204" y="198"/>
                    <a:pt x="204" y="199"/>
                  </a:cubicBezTo>
                  <a:cubicBezTo>
                    <a:pt x="205" y="199"/>
                    <a:pt x="205" y="201"/>
                    <a:pt x="206" y="201"/>
                  </a:cubicBezTo>
                  <a:cubicBezTo>
                    <a:pt x="207" y="201"/>
                    <a:pt x="207" y="199"/>
                    <a:pt x="208" y="200"/>
                  </a:cubicBezTo>
                  <a:cubicBezTo>
                    <a:pt x="208" y="200"/>
                    <a:pt x="208" y="200"/>
                    <a:pt x="209" y="200"/>
                  </a:cubicBezTo>
                  <a:cubicBezTo>
                    <a:pt x="209" y="201"/>
                    <a:pt x="210" y="201"/>
                    <a:pt x="210" y="201"/>
                  </a:cubicBezTo>
                  <a:cubicBezTo>
                    <a:pt x="211" y="202"/>
                    <a:pt x="211" y="203"/>
                    <a:pt x="212" y="204"/>
                  </a:cubicBezTo>
                  <a:cubicBezTo>
                    <a:pt x="212" y="204"/>
                    <a:pt x="213" y="204"/>
                    <a:pt x="213" y="204"/>
                  </a:cubicBezTo>
                  <a:cubicBezTo>
                    <a:pt x="213" y="204"/>
                    <a:pt x="213" y="204"/>
                    <a:pt x="214" y="204"/>
                  </a:cubicBezTo>
                  <a:cubicBezTo>
                    <a:pt x="214" y="203"/>
                    <a:pt x="215" y="202"/>
                    <a:pt x="215" y="202"/>
                  </a:cubicBezTo>
                  <a:cubicBezTo>
                    <a:pt x="216" y="202"/>
                    <a:pt x="216" y="203"/>
                    <a:pt x="217" y="204"/>
                  </a:cubicBezTo>
                  <a:cubicBezTo>
                    <a:pt x="217" y="205"/>
                    <a:pt x="217" y="206"/>
                    <a:pt x="217" y="207"/>
                  </a:cubicBezTo>
                  <a:cubicBezTo>
                    <a:pt x="217" y="207"/>
                    <a:pt x="217" y="208"/>
                    <a:pt x="217" y="208"/>
                  </a:cubicBezTo>
                  <a:cubicBezTo>
                    <a:pt x="217" y="209"/>
                    <a:pt x="218" y="209"/>
                    <a:pt x="219" y="210"/>
                  </a:cubicBezTo>
                  <a:cubicBezTo>
                    <a:pt x="220" y="211"/>
                    <a:pt x="221" y="212"/>
                    <a:pt x="221" y="213"/>
                  </a:cubicBezTo>
                  <a:cubicBezTo>
                    <a:pt x="221" y="214"/>
                    <a:pt x="221" y="214"/>
                    <a:pt x="221" y="215"/>
                  </a:cubicBezTo>
                  <a:cubicBezTo>
                    <a:pt x="221" y="216"/>
                    <a:pt x="222" y="216"/>
                    <a:pt x="222" y="217"/>
                  </a:cubicBezTo>
                  <a:cubicBezTo>
                    <a:pt x="223" y="218"/>
                    <a:pt x="224" y="219"/>
                    <a:pt x="225" y="219"/>
                  </a:cubicBezTo>
                  <a:cubicBezTo>
                    <a:pt x="225" y="219"/>
                    <a:pt x="227" y="219"/>
                    <a:pt x="228" y="219"/>
                  </a:cubicBezTo>
                  <a:cubicBezTo>
                    <a:pt x="228" y="219"/>
                    <a:pt x="228" y="218"/>
                    <a:pt x="229" y="218"/>
                  </a:cubicBezTo>
                  <a:cubicBezTo>
                    <a:pt x="229" y="218"/>
                    <a:pt x="230" y="218"/>
                    <a:pt x="230" y="218"/>
                  </a:cubicBezTo>
                  <a:cubicBezTo>
                    <a:pt x="231" y="218"/>
                    <a:pt x="231" y="219"/>
                    <a:pt x="231" y="219"/>
                  </a:cubicBezTo>
                  <a:cubicBezTo>
                    <a:pt x="230" y="220"/>
                    <a:pt x="229" y="220"/>
                    <a:pt x="229" y="220"/>
                  </a:cubicBezTo>
                  <a:cubicBezTo>
                    <a:pt x="228" y="220"/>
                    <a:pt x="226" y="220"/>
                    <a:pt x="225" y="220"/>
                  </a:cubicBezTo>
                  <a:cubicBezTo>
                    <a:pt x="225" y="220"/>
                    <a:pt x="224" y="220"/>
                    <a:pt x="224" y="220"/>
                  </a:cubicBezTo>
                  <a:cubicBezTo>
                    <a:pt x="224" y="221"/>
                    <a:pt x="224" y="222"/>
                    <a:pt x="224" y="222"/>
                  </a:cubicBezTo>
                  <a:cubicBezTo>
                    <a:pt x="224" y="223"/>
                    <a:pt x="224" y="223"/>
                    <a:pt x="223" y="224"/>
                  </a:cubicBezTo>
                  <a:cubicBezTo>
                    <a:pt x="223" y="224"/>
                    <a:pt x="223" y="225"/>
                    <a:pt x="223" y="225"/>
                  </a:cubicBezTo>
                  <a:cubicBezTo>
                    <a:pt x="223" y="226"/>
                    <a:pt x="223" y="226"/>
                    <a:pt x="223" y="227"/>
                  </a:cubicBezTo>
                  <a:cubicBezTo>
                    <a:pt x="224" y="227"/>
                    <a:pt x="224" y="227"/>
                    <a:pt x="224" y="228"/>
                  </a:cubicBezTo>
                  <a:cubicBezTo>
                    <a:pt x="224" y="228"/>
                    <a:pt x="225" y="229"/>
                    <a:pt x="225" y="230"/>
                  </a:cubicBezTo>
                  <a:cubicBezTo>
                    <a:pt x="226" y="230"/>
                    <a:pt x="227" y="230"/>
                    <a:pt x="228" y="230"/>
                  </a:cubicBezTo>
                  <a:cubicBezTo>
                    <a:pt x="229" y="230"/>
                    <a:pt x="231" y="230"/>
                    <a:pt x="232" y="230"/>
                  </a:cubicBezTo>
                  <a:cubicBezTo>
                    <a:pt x="232" y="230"/>
                    <a:pt x="233" y="230"/>
                    <a:pt x="233" y="229"/>
                  </a:cubicBezTo>
                  <a:cubicBezTo>
                    <a:pt x="233" y="229"/>
                    <a:pt x="233" y="229"/>
                    <a:pt x="234" y="229"/>
                  </a:cubicBezTo>
                  <a:cubicBezTo>
                    <a:pt x="235" y="229"/>
                    <a:pt x="236" y="229"/>
                    <a:pt x="237" y="229"/>
                  </a:cubicBezTo>
                  <a:cubicBezTo>
                    <a:pt x="238" y="229"/>
                    <a:pt x="239" y="229"/>
                    <a:pt x="240" y="229"/>
                  </a:cubicBezTo>
                  <a:cubicBezTo>
                    <a:pt x="240" y="229"/>
                    <a:pt x="241" y="229"/>
                    <a:pt x="242" y="228"/>
                  </a:cubicBezTo>
                  <a:cubicBezTo>
                    <a:pt x="242" y="228"/>
                    <a:pt x="243" y="228"/>
                    <a:pt x="243" y="228"/>
                  </a:cubicBezTo>
                  <a:cubicBezTo>
                    <a:pt x="244" y="227"/>
                    <a:pt x="245" y="226"/>
                    <a:pt x="246" y="227"/>
                  </a:cubicBezTo>
                  <a:cubicBezTo>
                    <a:pt x="247" y="227"/>
                    <a:pt x="247" y="227"/>
                    <a:pt x="247" y="227"/>
                  </a:cubicBezTo>
                  <a:cubicBezTo>
                    <a:pt x="248" y="227"/>
                    <a:pt x="248" y="226"/>
                    <a:pt x="248" y="226"/>
                  </a:cubicBezTo>
                  <a:cubicBezTo>
                    <a:pt x="249" y="225"/>
                    <a:pt x="250" y="224"/>
                    <a:pt x="251" y="224"/>
                  </a:cubicBezTo>
                  <a:cubicBezTo>
                    <a:pt x="251" y="223"/>
                    <a:pt x="252" y="223"/>
                    <a:pt x="252" y="222"/>
                  </a:cubicBezTo>
                  <a:cubicBezTo>
                    <a:pt x="253" y="221"/>
                    <a:pt x="253" y="221"/>
                    <a:pt x="252" y="220"/>
                  </a:cubicBezTo>
                  <a:cubicBezTo>
                    <a:pt x="252" y="219"/>
                    <a:pt x="252" y="219"/>
                    <a:pt x="252" y="218"/>
                  </a:cubicBezTo>
                  <a:cubicBezTo>
                    <a:pt x="252" y="218"/>
                    <a:pt x="252" y="217"/>
                    <a:pt x="253" y="217"/>
                  </a:cubicBezTo>
                  <a:cubicBezTo>
                    <a:pt x="253" y="216"/>
                    <a:pt x="253" y="216"/>
                    <a:pt x="253" y="215"/>
                  </a:cubicBezTo>
                  <a:cubicBezTo>
                    <a:pt x="253" y="215"/>
                    <a:pt x="253" y="214"/>
                    <a:pt x="253" y="214"/>
                  </a:cubicBezTo>
                  <a:cubicBezTo>
                    <a:pt x="253" y="214"/>
                    <a:pt x="253" y="214"/>
                    <a:pt x="253" y="213"/>
                  </a:cubicBezTo>
                  <a:cubicBezTo>
                    <a:pt x="253" y="213"/>
                    <a:pt x="253" y="212"/>
                    <a:pt x="253" y="212"/>
                  </a:cubicBezTo>
                  <a:cubicBezTo>
                    <a:pt x="253" y="212"/>
                    <a:pt x="254" y="211"/>
                    <a:pt x="254" y="211"/>
                  </a:cubicBezTo>
                  <a:cubicBezTo>
                    <a:pt x="254" y="211"/>
                    <a:pt x="255" y="211"/>
                    <a:pt x="255" y="210"/>
                  </a:cubicBezTo>
                  <a:cubicBezTo>
                    <a:pt x="255" y="210"/>
                    <a:pt x="255" y="209"/>
                    <a:pt x="255" y="209"/>
                  </a:cubicBezTo>
                  <a:cubicBezTo>
                    <a:pt x="256" y="209"/>
                    <a:pt x="256" y="208"/>
                    <a:pt x="256" y="208"/>
                  </a:cubicBezTo>
                  <a:cubicBezTo>
                    <a:pt x="257" y="207"/>
                    <a:pt x="257" y="207"/>
                    <a:pt x="257" y="206"/>
                  </a:cubicBezTo>
                  <a:cubicBezTo>
                    <a:pt x="258" y="206"/>
                    <a:pt x="258" y="206"/>
                    <a:pt x="258" y="205"/>
                  </a:cubicBezTo>
                  <a:cubicBezTo>
                    <a:pt x="258" y="205"/>
                    <a:pt x="259" y="205"/>
                    <a:pt x="259" y="204"/>
                  </a:cubicBezTo>
                  <a:cubicBezTo>
                    <a:pt x="259" y="204"/>
                    <a:pt x="260" y="203"/>
                    <a:pt x="259" y="202"/>
                  </a:cubicBezTo>
                  <a:cubicBezTo>
                    <a:pt x="259" y="202"/>
                    <a:pt x="258" y="202"/>
                    <a:pt x="258" y="201"/>
                  </a:cubicBezTo>
                  <a:cubicBezTo>
                    <a:pt x="258" y="201"/>
                    <a:pt x="259" y="201"/>
                    <a:pt x="259" y="201"/>
                  </a:cubicBezTo>
                  <a:cubicBezTo>
                    <a:pt x="259" y="200"/>
                    <a:pt x="259" y="200"/>
                    <a:pt x="259" y="200"/>
                  </a:cubicBezTo>
                  <a:cubicBezTo>
                    <a:pt x="259" y="199"/>
                    <a:pt x="259" y="198"/>
                    <a:pt x="259" y="198"/>
                  </a:cubicBezTo>
                  <a:cubicBezTo>
                    <a:pt x="259" y="197"/>
                    <a:pt x="259" y="195"/>
                    <a:pt x="260" y="195"/>
                  </a:cubicBezTo>
                  <a:cubicBezTo>
                    <a:pt x="260" y="193"/>
                    <a:pt x="260" y="192"/>
                    <a:pt x="260" y="191"/>
                  </a:cubicBezTo>
                  <a:cubicBezTo>
                    <a:pt x="260" y="190"/>
                    <a:pt x="260" y="190"/>
                    <a:pt x="260" y="189"/>
                  </a:cubicBezTo>
                  <a:cubicBezTo>
                    <a:pt x="261" y="188"/>
                    <a:pt x="261" y="188"/>
                    <a:pt x="261" y="188"/>
                  </a:cubicBezTo>
                  <a:cubicBezTo>
                    <a:pt x="261" y="187"/>
                    <a:pt x="261" y="187"/>
                    <a:pt x="261" y="186"/>
                  </a:cubicBezTo>
                  <a:cubicBezTo>
                    <a:pt x="261" y="186"/>
                    <a:pt x="261" y="185"/>
                    <a:pt x="261" y="184"/>
                  </a:cubicBezTo>
                  <a:cubicBezTo>
                    <a:pt x="261" y="183"/>
                    <a:pt x="261" y="182"/>
                    <a:pt x="261" y="182"/>
                  </a:cubicBezTo>
                  <a:cubicBezTo>
                    <a:pt x="262" y="181"/>
                    <a:pt x="262" y="180"/>
                    <a:pt x="262" y="179"/>
                  </a:cubicBezTo>
                  <a:cubicBezTo>
                    <a:pt x="262" y="178"/>
                    <a:pt x="262" y="177"/>
                    <a:pt x="262" y="177"/>
                  </a:cubicBezTo>
                  <a:cubicBezTo>
                    <a:pt x="262" y="176"/>
                    <a:pt x="263" y="176"/>
                    <a:pt x="263" y="175"/>
                  </a:cubicBezTo>
                  <a:cubicBezTo>
                    <a:pt x="263" y="175"/>
                    <a:pt x="263" y="174"/>
                    <a:pt x="263" y="173"/>
                  </a:cubicBezTo>
                  <a:cubicBezTo>
                    <a:pt x="263" y="172"/>
                    <a:pt x="263" y="171"/>
                    <a:pt x="263" y="170"/>
                  </a:cubicBezTo>
                  <a:cubicBezTo>
                    <a:pt x="263" y="169"/>
                    <a:pt x="262" y="168"/>
                    <a:pt x="262" y="168"/>
                  </a:cubicBezTo>
                  <a:cubicBezTo>
                    <a:pt x="262" y="167"/>
                    <a:pt x="262" y="166"/>
                    <a:pt x="262" y="165"/>
                  </a:cubicBezTo>
                  <a:cubicBezTo>
                    <a:pt x="262" y="164"/>
                    <a:pt x="262" y="163"/>
                    <a:pt x="262" y="162"/>
                  </a:cubicBezTo>
                  <a:cubicBezTo>
                    <a:pt x="262" y="162"/>
                    <a:pt x="262" y="162"/>
                    <a:pt x="262" y="161"/>
                  </a:cubicBezTo>
                  <a:cubicBezTo>
                    <a:pt x="262" y="161"/>
                    <a:pt x="261" y="161"/>
                    <a:pt x="261" y="160"/>
                  </a:cubicBezTo>
                  <a:cubicBezTo>
                    <a:pt x="261" y="160"/>
                    <a:pt x="261" y="159"/>
                    <a:pt x="261" y="159"/>
                  </a:cubicBezTo>
                  <a:cubicBezTo>
                    <a:pt x="261" y="158"/>
                    <a:pt x="260" y="158"/>
                    <a:pt x="260" y="158"/>
                  </a:cubicBezTo>
                  <a:cubicBezTo>
                    <a:pt x="260" y="157"/>
                    <a:pt x="260" y="157"/>
                    <a:pt x="260" y="157"/>
                  </a:cubicBezTo>
                  <a:cubicBezTo>
                    <a:pt x="260" y="156"/>
                    <a:pt x="259" y="156"/>
                    <a:pt x="259" y="156"/>
                  </a:cubicBezTo>
                  <a:cubicBezTo>
                    <a:pt x="259" y="155"/>
                    <a:pt x="259" y="155"/>
                    <a:pt x="259" y="155"/>
                  </a:cubicBezTo>
                  <a:cubicBezTo>
                    <a:pt x="259" y="154"/>
                    <a:pt x="258" y="154"/>
                    <a:pt x="258" y="154"/>
                  </a:cubicBezTo>
                  <a:cubicBezTo>
                    <a:pt x="258" y="153"/>
                    <a:pt x="258" y="153"/>
                    <a:pt x="258" y="153"/>
                  </a:cubicBezTo>
                  <a:cubicBezTo>
                    <a:pt x="258" y="152"/>
                    <a:pt x="257" y="152"/>
                    <a:pt x="257" y="151"/>
                  </a:cubicBezTo>
                  <a:cubicBezTo>
                    <a:pt x="256" y="151"/>
                    <a:pt x="256" y="151"/>
                    <a:pt x="256" y="151"/>
                  </a:cubicBezTo>
                  <a:cubicBezTo>
                    <a:pt x="256" y="151"/>
                    <a:pt x="255" y="151"/>
                    <a:pt x="255" y="151"/>
                  </a:cubicBezTo>
                  <a:cubicBezTo>
                    <a:pt x="255" y="152"/>
                    <a:pt x="254" y="151"/>
                    <a:pt x="254" y="150"/>
                  </a:cubicBezTo>
                  <a:cubicBezTo>
                    <a:pt x="254" y="150"/>
                    <a:pt x="254" y="150"/>
                    <a:pt x="253" y="150"/>
                  </a:cubicBezTo>
                  <a:cubicBezTo>
                    <a:pt x="253" y="150"/>
                    <a:pt x="253" y="150"/>
                    <a:pt x="253" y="149"/>
                  </a:cubicBezTo>
                  <a:cubicBezTo>
                    <a:pt x="253" y="149"/>
                    <a:pt x="253" y="149"/>
                    <a:pt x="253" y="149"/>
                  </a:cubicBezTo>
                  <a:cubicBezTo>
                    <a:pt x="254" y="149"/>
                    <a:pt x="254" y="149"/>
                    <a:pt x="254" y="150"/>
                  </a:cubicBezTo>
                  <a:cubicBezTo>
                    <a:pt x="254" y="150"/>
                    <a:pt x="255" y="150"/>
                    <a:pt x="256" y="150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55" y="148"/>
                    <a:pt x="255" y="148"/>
                    <a:pt x="255" y="147"/>
                  </a:cubicBezTo>
                  <a:cubicBezTo>
                    <a:pt x="255" y="147"/>
                    <a:pt x="255" y="147"/>
                    <a:pt x="255" y="147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4" y="145"/>
                    <a:pt x="254" y="145"/>
                    <a:pt x="254" y="144"/>
                  </a:cubicBezTo>
                  <a:cubicBezTo>
                    <a:pt x="254" y="144"/>
                    <a:pt x="254" y="143"/>
                    <a:pt x="254" y="143"/>
                  </a:cubicBezTo>
                  <a:cubicBezTo>
                    <a:pt x="253" y="142"/>
                    <a:pt x="253" y="142"/>
                    <a:pt x="253" y="142"/>
                  </a:cubicBezTo>
                  <a:cubicBezTo>
                    <a:pt x="253" y="141"/>
                    <a:pt x="253" y="141"/>
                    <a:pt x="253" y="140"/>
                  </a:cubicBezTo>
                  <a:cubicBezTo>
                    <a:pt x="253" y="140"/>
                    <a:pt x="254" y="140"/>
                    <a:pt x="254" y="139"/>
                  </a:cubicBezTo>
                  <a:cubicBezTo>
                    <a:pt x="254" y="139"/>
                    <a:pt x="253" y="139"/>
                    <a:pt x="253" y="139"/>
                  </a:cubicBezTo>
                  <a:cubicBezTo>
                    <a:pt x="252" y="139"/>
                    <a:pt x="253" y="139"/>
                    <a:pt x="252" y="140"/>
                  </a:cubicBezTo>
                  <a:cubicBezTo>
                    <a:pt x="252" y="139"/>
                    <a:pt x="252" y="139"/>
                    <a:pt x="252" y="139"/>
                  </a:cubicBezTo>
                  <a:cubicBezTo>
                    <a:pt x="252" y="138"/>
                    <a:pt x="252" y="138"/>
                    <a:pt x="252" y="137"/>
                  </a:cubicBezTo>
                  <a:cubicBezTo>
                    <a:pt x="252" y="137"/>
                    <a:pt x="253" y="137"/>
                    <a:pt x="253" y="137"/>
                  </a:cubicBezTo>
                  <a:cubicBezTo>
                    <a:pt x="252" y="136"/>
                    <a:pt x="252" y="136"/>
                    <a:pt x="252" y="136"/>
                  </a:cubicBezTo>
                  <a:cubicBezTo>
                    <a:pt x="252" y="136"/>
                    <a:pt x="252" y="135"/>
                    <a:pt x="252" y="135"/>
                  </a:cubicBezTo>
                  <a:cubicBezTo>
                    <a:pt x="252" y="134"/>
                    <a:pt x="252" y="134"/>
                    <a:pt x="251" y="133"/>
                  </a:cubicBezTo>
                  <a:cubicBezTo>
                    <a:pt x="251" y="133"/>
                    <a:pt x="251" y="132"/>
                    <a:pt x="251" y="132"/>
                  </a:cubicBezTo>
                  <a:cubicBezTo>
                    <a:pt x="251" y="132"/>
                    <a:pt x="250" y="132"/>
                    <a:pt x="250" y="131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49" y="130"/>
                    <a:pt x="249" y="130"/>
                    <a:pt x="249" y="129"/>
                  </a:cubicBezTo>
                  <a:cubicBezTo>
                    <a:pt x="249" y="129"/>
                    <a:pt x="248" y="128"/>
                    <a:pt x="248" y="127"/>
                  </a:cubicBezTo>
                  <a:cubicBezTo>
                    <a:pt x="248" y="127"/>
                    <a:pt x="247" y="126"/>
                    <a:pt x="247" y="125"/>
                  </a:cubicBezTo>
                  <a:cubicBezTo>
                    <a:pt x="247" y="125"/>
                    <a:pt x="247" y="125"/>
                    <a:pt x="246" y="124"/>
                  </a:cubicBezTo>
                  <a:cubicBezTo>
                    <a:pt x="246" y="124"/>
                    <a:pt x="246" y="124"/>
                    <a:pt x="246" y="123"/>
                  </a:cubicBezTo>
                  <a:cubicBezTo>
                    <a:pt x="246" y="123"/>
                    <a:pt x="246" y="123"/>
                    <a:pt x="246" y="122"/>
                  </a:cubicBezTo>
                  <a:cubicBezTo>
                    <a:pt x="246" y="122"/>
                    <a:pt x="245" y="122"/>
                    <a:pt x="245" y="121"/>
                  </a:cubicBezTo>
                  <a:cubicBezTo>
                    <a:pt x="245" y="121"/>
                    <a:pt x="245" y="121"/>
                    <a:pt x="245" y="121"/>
                  </a:cubicBezTo>
                  <a:cubicBezTo>
                    <a:pt x="245" y="120"/>
                    <a:pt x="245" y="120"/>
                    <a:pt x="245" y="120"/>
                  </a:cubicBezTo>
                  <a:cubicBezTo>
                    <a:pt x="245" y="119"/>
                    <a:pt x="244" y="119"/>
                    <a:pt x="244" y="118"/>
                  </a:cubicBezTo>
                  <a:cubicBezTo>
                    <a:pt x="244" y="118"/>
                    <a:pt x="244" y="118"/>
                    <a:pt x="244" y="117"/>
                  </a:cubicBezTo>
                  <a:cubicBezTo>
                    <a:pt x="243" y="117"/>
                    <a:pt x="243" y="116"/>
                    <a:pt x="243" y="116"/>
                  </a:cubicBezTo>
                  <a:cubicBezTo>
                    <a:pt x="243" y="115"/>
                    <a:pt x="243" y="115"/>
                    <a:pt x="242" y="114"/>
                  </a:cubicBezTo>
                  <a:cubicBezTo>
                    <a:pt x="242" y="114"/>
                    <a:pt x="242" y="114"/>
                    <a:pt x="242" y="113"/>
                  </a:cubicBezTo>
                  <a:cubicBezTo>
                    <a:pt x="242" y="113"/>
                    <a:pt x="242" y="113"/>
                    <a:pt x="242" y="112"/>
                  </a:cubicBezTo>
                  <a:cubicBezTo>
                    <a:pt x="241" y="112"/>
                    <a:pt x="241" y="111"/>
                    <a:pt x="241" y="110"/>
                  </a:cubicBezTo>
                  <a:cubicBezTo>
                    <a:pt x="240" y="110"/>
                    <a:pt x="240" y="109"/>
                    <a:pt x="240" y="109"/>
                  </a:cubicBezTo>
                  <a:cubicBezTo>
                    <a:pt x="240" y="108"/>
                    <a:pt x="240" y="108"/>
                    <a:pt x="239" y="107"/>
                  </a:cubicBezTo>
                  <a:cubicBezTo>
                    <a:pt x="239" y="107"/>
                    <a:pt x="239" y="106"/>
                    <a:pt x="239" y="106"/>
                  </a:cubicBezTo>
                  <a:cubicBezTo>
                    <a:pt x="239" y="106"/>
                    <a:pt x="240" y="106"/>
                    <a:pt x="240" y="106"/>
                  </a:cubicBezTo>
                  <a:cubicBezTo>
                    <a:pt x="240" y="107"/>
                    <a:pt x="240" y="107"/>
                    <a:pt x="240" y="107"/>
                  </a:cubicBezTo>
                  <a:cubicBezTo>
                    <a:pt x="240" y="107"/>
                    <a:pt x="241" y="107"/>
                    <a:pt x="241" y="107"/>
                  </a:cubicBezTo>
                  <a:cubicBezTo>
                    <a:pt x="241" y="106"/>
                    <a:pt x="241" y="106"/>
                    <a:pt x="241" y="105"/>
                  </a:cubicBezTo>
                  <a:cubicBezTo>
                    <a:pt x="241" y="104"/>
                    <a:pt x="241" y="104"/>
                    <a:pt x="241" y="103"/>
                  </a:cubicBezTo>
                  <a:cubicBezTo>
                    <a:pt x="241" y="103"/>
                    <a:pt x="241" y="102"/>
                    <a:pt x="241" y="102"/>
                  </a:cubicBezTo>
                  <a:cubicBezTo>
                    <a:pt x="242" y="101"/>
                    <a:pt x="242" y="101"/>
                    <a:pt x="242" y="101"/>
                  </a:cubicBezTo>
                  <a:cubicBezTo>
                    <a:pt x="242" y="101"/>
                    <a:pt x="242" y="100"/>
                    <a:pt x="242" y="100"/>
                  </a:cubicBezTo>
                  <a:cubicBezTo>
                    <a:pt x="242" y="100"/>
                    <a:pt x="242" y="99"/>
                    <a:pt x="243" y="99"/>
                  </a:cubicBezTo>
                  <a:cubicBezTo>
                    <a:pt x="243" y="100"/>
                    <a:pt x="243" y="100"/>
                    <a:pt x="243" y="101"/>
                  </a:cubicBezTo>
                  <a:cubicBezTo>
                    <a:pt x="243" y="101"/>
                    <a:pt x="243" y="101"/>
                    <a:pt x="243" y="101"/>
                  </a:cubicBezTo>
                  <a:cubicBezTo>
                    <a:pt x="243" y="101"/>
                    <a:pt x="243" y="102"/>
                    <a:pt x="243" y="102"/>
                  </a:cubicBezTo>
                  <a:cubicBezTo>
                    <a:pt x="243" y="102"/>
                    <a:pt x="242" y="102"/>
                    <a:pt x="242" y="103"/>
                  </a:cubicBezTo>
                  <a:cubicBezTo>
                    <a:pt x="242" y="103"/>
                    <a:pt x="242" y="104"/>
                    <a:pt x="243" y="104"/>
                  </a:cubicBezTo>
                  <a:cubicBezTo>
                    <a:pt x="243" y="104"/>
                    <a:pt x="244" y="103"/>
                    <a:pt x="244" y="103"/>
                  </a:cubicBezTo>
                  <a:cubicBezTo>
                    <a:pt x="245" y="103"/>
                    <a:pt x="246" y="102"/>
                    <a:pt x="246" y="102"/>
                  </a:cubicBezTo>
                  <a:cubicBezTo>
                    <a:pt x="246" y="101"/>
                    <a:pt x="245" y="101"/>
                    <a:pt x="245" y="101"/>
                  </a:cubicBezTo>
                  <a:cubicBezTo>
                    <a:pt x="245" y="101"/>
                    <a:pt x="245" y="100"/>
                    <a:pt x="245" y="100"/>
                  </a:cubicBezTo>
                  <a:cubicBezTo>
                    <a:pt x="245" y="99"/>
                    <a:pt x="244" y="99"/>
                    <a:pt x="244" y="98"/>
                  </a:cubicBezTo>
                  <a:cubicBezTo>
                    <a:pt x="244" y="98"/>
                    <a:pt x="244" y="97"/>
                    <a:pt x="244" y="97"/>
                  </a:cubicBezTo>
                  <a:cubicBezTo>
                    <a:pt x="244" y="97"/>
                    <a:pt x="244" y="96"/>
                    <a:pt x="244" y="96"/>
                  </a:cubicBezTo>
                  <a:cubicBezTo>
                    <a:pt x="243" y="96"/>
                    <a:pt x="243" y="96"/>
                    <a:pt x="243" y="95"/>
                  </a:cubicBezTo>
                  <a:cubicBezTo>
                    <a:pt x="243" y="95"/>
                    <a:pt x="242" y="94"/>
                    <a:pt x="241" y="94"/>
                  </a:cubicBezTo>
                  <a:cubicBezTo>
                    <a:pt x="241" y="93"/>
                    <a:pt x="240" y="93"/>
                    <a:pt x="240" y="93"/>
                  </a:cubicBezTo>
                  <a:cubicBezTo>
                    <a:pt x="239" y="92"/>
                    <a:pt x="239" y="92"/>
                    <a:pt x="238" y="91"/>
                  </a:cubicBezTo>
                  <a:cubicBezTo>
                    <a:pt x="237" y="90"/>
                    <a:pt x="236" y="89"/>
                    <a:pt x="236" y="88"/>
                  </a:cubicBezTo>
                  <a:cubicBezTo>
                    <a:pt x="235" y="86"/>
                    <a:pt x="235" y="85"/>
                    <a:pt x="235" y="84"/>
                  </a:cubicBezTo>
                  <a:cubicBezTo>
                    <a:pt x="235" y="83"/>
                    <a:pt x="235" y="83"/>
                    <a:pt x="235" y="82"/>
                  </a:cubicBezTo>
                  <a:cubicBezTo>
                    <a:pt x="234" y="82"/>
                    <a:pt x="234" y="81"/>
                    <a:pt x="234" y="81"/>
                  </a:cubicBezTo>
                  <a:cubicBezTo>
                    <a:pt x="234" y="80"/>
                    <a:pt x="233" y="80"/>
                    <a:pt x="233" y="79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3" y="79"/>
                    <a:pt x="233" y="78"/>
                    <a:pt x="233" y="78"/>
                  </a:cubicBezTo>
                  <a:cubicBezTo>
                    <a:pt x="232" y="78"/>
                    <a:pt x="232" y="78"/>
                    <a:pt x="232" y="78"/>
                  </a:cubicBezTo>
                  <a:cubicBezTo>
                    <a:pt x="232" y="77"/>
                    <a:pt x="232" y="77"/>
                    <a:pt x="232" y="77"/>
                  </a:cubicBezTo>
                  <a:cubicBezTo>
                    <a:pt x="232" y="76"/>
                    <a:pt x="231" y="76"/>
                    <a:pt x="231" y="76"/>
                  </a:cubicBezTo>
                  <a:cubicBezTo>
                    <a:pt x="231" y="75"/>
                    <a:pt x="231" y="75"/>
                    <a:pt x="230" y="75"/>
                  </a:cubicBezTo>
                  <a:cubicBezTo>
                    <a:pt x="230" y="75"/>
                    <a:pt x="230" y="74"/>
                    <a:pt x="230" y="74"/>
                  </a:cubicBezTo>
                  <a:cubicBezTo>
                    <a:pt x="230" y="74"/>
                    <a:pt x="230" y="73"/>
                    <a:pt x="230" y="73"/>
                  </a:cubicBezTo>
                  <a:cubicBezTo>
                    <a:pt x="230" y="72"/>
                    <a:pt x="230" y="72"/>
                    <a:pt x="229" y="72"/>
                  </a:cubicBezTo>
                  <a:cubicBezTo>
                    <a:pt x="229" y="72"/>
                    <a:pt x="229" y="72"/>
                    <a:pt x="229" y="71"/>
                  </a:cubicBezTo>
                  <a:cubicBezTo>
                    <a:pt x="229" y="71"/>
                    <a:pt x="228" y="71"/>
                    <a:pt x="228" y="71"/>
                  </a:cubicBezTo>
                  <a:cubicBezTo>
                    <a:pt x="228" y="71"/>
                    <a:pt x="228" y="71"/>
                    <a:pt x="228" y="71"/>
                  </a:cubicBezTo>
                  <a:cubicBezTo>
                    <a:pt x="227" y="70"/>
                    <a:pt x="228" y="70"/>
                    <a:pt x="229" y="69"/>
                  </a:cubicBezTo>
                  <a:cubicBezTo>
                    <a:pt x="229" y="69"/>
                    <a:pt x="228" y="69"/>
                    <a:pt x="228" y="69"/>
                  </a:cubicBezTo>
                  <a:cubicBezTo>
                    <a:pt x="228" y="69"/>
                    <a:pt x="227" y="68"/>
                    <a:pt x="227" y="68"/>
                  </a:cubicBezTo>
                  <a:cubicBezTo>
                    <a:pt x="227" y="68"/>
                    <a:pt x="228" y="68"/>
                    <a:pt x="228" y="68"/>
                  </a:cubicBezTo>
                  <a:cubicBezTo>
                    <a:pt x="228" y="68"/>
                    <a:pt x="228" y="67"/>
                    <a:pt x="228" y="67"/>
                  </a:cubicBezTo>
                  <a:cubicBezTo>
                    <a:pt x="227" y="67"/>
                    <a:pt x="226" y="67"/>
                    <a:pt x="226" y="67"/>
                  </a:cubicBezTo>
                  <a:cubicBezTo>
                    <a:pt x="227" y="67"/>
                    <a:pt x="227" y="66"/>
                    <a:pt x="227" y="66"/>
                  </a:cubicBezTo>
                  <a:cubicBezTo>
                    <a:pt x="227" y="66"/>
                    <a:pt x="227" y="66"/>
                    <a:pt x="227" y="66"/>
                  </a:cubicBezTo>
                  <a:cubicBezTo>
                    <a:pt x="227" y="66"/>
                    <a:pt x="226" y="66"/>
                    <a:pt x="226" y="66"/>
                  </a:cubicBezTo>
                  <a:cubicBezTo>
                    <a:pt x="226" y="65"/>
                    <a:pt x="226" y="65"/>
                    <a:pt x="226" y="65"/>
                  </a:cubicBezTo>
                  <a:cubicBezTo>
                    <a:pt x="226" y="64"/>
                    <a:pt x="225" y="63"/>
                    <a:pt x="225" y="63"/>
                  </a:cubicBezTo>
                  <a:cubicBezTo>
                    <a:pt x="224" y="61"/>
                    <a:pt x="224" y="60"/>
                    <a:pt x="223" y="59"/>
                  </a:cubicBezTo>
                  <a:cubicBezTo>
                    <a:pt x="223" y="58"/>
                    <a:pt x="223" y="57"/>
                    <a:pt x="223" y="57"/>
                  </a:cubicBezTo>
                  <a:cubicBezTo>
                    <a:pt x="223" y="56"/>
                    <a:pt x="222" y="55"/>
                    <a:pt x="222" y="55"/>
                  </a:cubicBezTo>
                  <a:cubicBezTo>
                    <a:pt x="222" y="54"/>
                    <a:pt x="222" y="54"/>
                    <a:pt x="222" y="53"/>
                  </a:cubicBezTo>
                  <a:cubicBezTo>
                    <a:pt x="222" y="53"/>
                    <a:pt x="222" y="53"/>
                    <a:pt x="221" y="52"/>
                  </a:cubicBezTo>
                  <a:cubicBezTo>
                    <a:pt x="221" y="51"/>
                    <a:pt x="220" y="51"/>
                    <a:pt x="220" y="50"/>
                  </a:cubicBezTo>
                  <a:cubicBezTo>
                    <a:pt x="220" y="49"/>
                    <a:pt x="219" y="49"/>
                    <a:pt x="219" y="48"/>
                  </a:cubicBezTo>
                  <a:cubicBezTo>
                    <a:pt x="219" y="48"/>
                    <a:pt x="219" y="47"/>
                    <a:pt x="219" y="47"/>
                  </a:cubicBezTo>
                  <a:cubicBezTo>
                    <a:pt x="219" y="47"/>
                    <a:pt x="219" y="46"/>
                    <a:pt x="219" y="46"/>
                  </a:cubicBezTo>
                  <a:cubicBezTo>
                    <a:pt x="219" y="46"/>
                    <a:pt x="219" y="45"/>
                    <a:pt x="219" y="45"/>
                  </a:cubicBezTo>
                  <a:cubicBezTo>
                    <a:pt x="219" y="44"/>
                    <a:pt x="219" y="44"/>
                    <a:pt x="219" y="43"/>
                  </a:cubicBezTo>
                  <a:cubicBezTo>
                    <a:pt x="219" y="42"/>
                    <a:pt x="219" y="42"/>
                    <a:pt x="218" y="41"/>
                  </a:cubicBezTo>
                  <a:cubicBezTo>
                    <a:pt x="218" y="41"/>
                    <a:pt x="218" y="40"/>
                    <a:pt x="218" y="39"/>
                  </a:cubicBezTo>
                  <a:cubicBezTo>
                    <a:pt x="218" y="39"/>
                    <a:pt x="218" y="38"/>
                    <a:pt x="218" y="38"/>
                  </a:cubicBezTo>
                  <a:cubicBezTo>
                    <a:pt x="218" y="37"/>
                    <a:pt x="218" y="37"/>
                    <a:pt x="217" y="37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7" y="36"/>
                    <a:pt x="217" y="36"/>
                    <a:pt x="217" y="35"/>
                  </a:cubicBezTo>
                  <a:cubicBezTo>
                    <a:pt x="217" y="35"/>
                    <a:pt x="217" y="35"/>
                    <a:pt x="217" y="34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6" y="33"/>
                    <a:pt x="216" y="32"/>
                  </a:cubicBezTo>
                  <a:cubicBezTo>
                    <a:pt x="216" y="32"/>
                    <a:pt x="216" y="31"/>
                    <a:pt x="216" y="30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29"/>
                    <a:pt x="216" y="29"/>
                    <a:pt x="216" y="29"/>
                  </a:cubicBezTo>
                  <a:cubicBezTo>
                    <a:pt x="216" y="29"/>
                    <a:pt x="216" y="28"/>
                    <a:pt x="216" y="28"/>
                  </a:cubicBezTo>
                  <a:cubicBezTo>
                    <a:pt x="216" y="27"/>
                    <a:pt x="216" y="27"/>
                    <a:pt x="216" y="26"/>
                  </a:cubicBezTo>
                  <a:cubicBezTo>
                    <a:pt x="216" y="26"/>
                    <a:pt x="216" y="25"/>
                    <a:pt x="216" y="25"/>
                  </a:cubicBezTo>
                  <a:cubicBezTo>
                    <a:pt x="216" y="25"/>
                    <a:pt x="215" y="25"/>
                    <a:pt x="215" y="25"/>
                  </a:cubicBezTo>
                  <a:cubicBezTo>
                    <a:pt x="215" y="25"/>
                    <a:pt x="214" y="25"/>
                    <a:pt x="214" y="25"/>
                  </a:cubicBezTo>
                  <a:cubicBezTo>
                    <a:pt x="213" y="25"/>
                    <a:pt x="213" y="25"/>
                    <a:pt x="212" y="24"/>
                  </a:cubicBezTo>
                  <a:cubicBezTo>
                    <a:pt x="212" y="24"/>
                    <a:pt x="212" y="24"/>
                    <a:pt x="212" y="24"/>
                  </a:cubicBezTo>
                  <a:cubicBezTo>
                    <a:pt x="212" y="24"/>
                    <a:pt x="212" y="24"/>
                    <a:pt x="212" y="23"/>
                  </a:cubicBezTo>
                  <a:cubicBezTo>
                    <a:pt x="213" y="23"/>
                    <a:pt x="213" y="23"/>
                    <a:pt x="213" y="23"/>
                  </a:cubicBezTo>
                  <a:cubicBezTo>
                    <a:pt x="213" y="23"/>
                    <a:pt x="214" y="23"/>
                    <a:pt x="214" y="23"/>
                  </a:cubicBezTo>
                  <a:cubicBezTo>
                    <a:pt x="214" y="23"/>
                    <a:pt x="214" y="23"/>
                    <a:pt x="214" y="22"/>
                  </a:cubicBezTo>
                  <a:cubicBezTo>
                    <a:pt x="213" y="22"/>
                    <a:pt x="213" y="22"/>
                    <a:pt x="213" y="21"/>
                  </a:cubicBezTo>
                  <a:cubicBezTo>
                    <a:pt x="213" y="21"/>
                    <a:pt x="213" y="20"/>
                    <a:pt x="213" y="20"/>
                  </a:cubicBezTo>
                  <a:cubicBezTo>
                    <a:pt x="212" y="20"/>
                    <a:pt x="212" y="20"/>
                    <a:pt x="212" y="19"/>
                  </a:cubicBezTo>
                  <a:cubicBezTo>
                    <a:pt x="212" y="19"/>
                    <a:pt x="212" y="19"/>
                    <a:pt x="212" y="19"/>
                  </a:cubicBezTo>
                  <a:cubicBezTo>
                    <a:pt x="212" y="19"/>
                    <a:pt x="212" y="19"/>
                    <a:pt x="212" y="19"/>
                  </a:cubicBezTo>
                  <a:cubicBezTo>
                    <a:pt x="212" y="19"/>
                    <a:pt x="212" y="19"/>
                    <a:pt x="213" y="18"/>
                  </a:cubicBezTo>
                  <a:cubicBezTo>
                    <a:pt x="213" y="18"/>
                    <a:pt x="213" y="18"/>
                    <a:pt x="213" y="17"/>
                  </a:cubicBezTo>
                  <a:cubicBezTo>
                    <a:pt x="212" y="17"/>
                    <a:pt x="213" y="16"/>
                    <a:pt x="213" y="16"/>
                  </a:cubicBezTo>
                  <a:cubicBezTo>
                    <a:pt x="213" y="17"/>
                    <a:pt x="213" y="17"/>
                    <a:pt x="213" y="17"/>
                  </a:cubicBezTo>
                  <a:cubicBezTo>
                    <a:pt x="213" y="18"/>
                    <a:pt x="213" y="19"/>
                    <a:pt x="213" y="19"/>
                  </a:cubicBezTo>
                  <a:cubicBezTo>
                    <a:pt x="214" y="20"/>
                    <a:pt x="214" y="19"/>
                    <a:pt x="214" y="18"/>
                  </a:cubicBezTo>
                  <a:cubicBezTo>
                    <a:pt x="214" y="18"/>
                    <a:pt x="214" y="17"/>
                    <a:pt x="214" y="17"/>
                  </a:cubicBezTo>
                  <a:cubicBezTo>
                    <a:pt x="214" y="17"/>
                    <a:pt x="214" y="16"/>
                    <a:pt x="214" y="16"/>
                  </a:cubicBezTo>
                  <a:cubicBezTo>
                    <a:pt x="214" y="15"/>
                    <a:pt x="214" y="15"/>
                    <a:pt x="214" y="14"/>
                  </a:cubicBezTo>
                  <a:cubicBezTo>
                    <a:pt x="214" y="14"/>
                    <a:pt x="214" y="14"/>
                    <a:pt x="214" y="13"/>
                  </a:cubicBezTo>
                  <a:cubicBezTo>
                    <a:pt x="214" y="13"/>
                    <a:pt x="213" y="13"/>
                    <a:pt x="213" y="13"/>
                  </a:cubicBezTo>
                  <a:cubicBezTo>
                    <a:pt x="213" y="13"/>
                    <a:pt x="213" y="13"/>
                    <a:pt x="213" y="13"/>
                  </a:cubicBezTo>
                  <a:cubicBezTo>
                    <a:pt x="212" y="13"/>
                    <a:pt x="213" y="13"/>
                    <a:pt x="212" y="12"/>
                  </a:cubicBezTo>
                  <a:cubicBezTo>
                    <a:pt x="212" y="12"/>
                    <a:pt x="212" y="12"/>
                    <a:pt x="212" y="12"/>
                  </a:cubicBezTo>
                  <a:cubicBezTo>
                    <a:pt x="210" y="12"/>
                    <a:pt x="208" y="12"/>
                    <a:pt x="208" y="12"/>
                  </a:cubicBezTo>
                  <a:cubicBezTo>
                    <a:pt x="208" y="12"/>
                    <a:pt x="205" y="11"/>
                    <a:pt x="204" y="1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ED219636-5FC8-4031-A2FE-21A05903F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1604" y="3022558"/>
              <a:ext cx="102437" cy="242874"/>
            </a:xfrm>
            <a:custGeom>
              <a:avLst/>
              <a:gdLst>
                <a:gd name="T0" fmla="*/ 3 w 26"/>
                <a:gd name="T1" fmla="*/ 61 h 61"/>
                <a:gd name="T2" fmla="*/ 26 w 26"/>
                <a:gd name="T3" fmla="*/ 61 h 61"/>
                <a:gd name="T4" fmla="*/ 26 w 26"/>
                <a:gd name="T5" fmla="*/ 59 h 61"/>
                <a:gd name="T6" fmla="*/ 25 w 26"/>
                <a:gd name="T7" fmla="*/ 57 h 61"/>
                <a:gd name="T8" fmla="*/ 22 w 26"/>
                <a:gd name="T9" fmla="*/ 57 h 61"/>
                <a:gd name="T10" fmla="*/ 22 w 26"/>
                <a:gd name="T11" fmla="*/ 55 h 61"/>
                <a:gd name="T12" fmla="*/ 23 w 26"/>
                <a:gd name="T13" fmla="*/ 52 h 61"/>
                <a:gd name="T14" fmla="*/ 24 w 26"/>
                <a:gd name="T15" fmla="*/ 51 h 61"/>
                <a:gd name="T16" fmla="*/ 23 w 26"/>
                <a:gd name="T17" fmla="*/ 48 h 61"/>
                <a:gd name="T18" fmla="*/ 22 w 26"/>
                <a:gd name="T19" fmla="*/ 47 h 61"/>
                <a:gd name="T20" fmla="*/ 21 w 26"/>
                <a:gd name="T21" fmla="*/ 46 h 61"/>
                <a:gd name="T22" fmla="*/ 19 w 26"/>
                <a:gd name="T23" fmla="*/ 44 h 61"/>
                <a:gd name="T24" fmla="*/ 18 w 26"/>
                <a:gd name="T25" fmla="*/ 43 h 61"/>
                <a:gd name="T26" fmla="*/ 17 w 26"/>
                <a:gd name="T27" fmla="*/ 40 h 61"/>
                <a:gd name="T28" fmla="*/ 15 w 26"/>
                <a:gd name="T29" fmla="*/ 37 h 61"/>
                <a:gd name="T30" fmla="*/ 14 w 26"/>
                <a:gd name="T31" fmla="*/ 35 h 61"/>
                <a:gd name="T32" fmla="*/ 13 w 26"/>
                <a:gd name="T33" fmla="*/ 30 h 61"/>
                <a:gd name="T34" fmla="*/ 13 w 26"/>
                <a:gd name="T35" fmla="*/ 27 h 61"/>
                <a:gd name="T36" fmla="*/ 12 w 26"/>
                <a:gd name="T37" fmla="*/ 27 h 61"/>
                <a:gd name="T38" fmla="*/ 12 w 26"/>
                <a:gd name="T39" fmla="*/ 28 h 61"/>
                <a:gd name="T40" fmla="*/ 10 w 26"/>
                <a:gd name="T41" fmla="*/ 27 h 61"/>
                <a:gd name="T42" fmla="*/ 9 w 26"/>
                <a:gd name="T43" fmla="*/ 26 h 61"/>
                <a:gd name="T44" fmla="*/ 11 w 26"/>
                <a:gd name="T45" fmla="*/ 26 h 61"/>
                <a:gd name="T46" fmla="*/ 11 w 26"/>
                <a:gd name="T47" fmla="*/ 25 h 61"/>
                <a:gd name="T48" fmla="*/ 10 w 26"/>
                <a:gd name="T49" fmla="*/ 23 h 61"/>
                <a:gd name="T50" fmla="*/ 9 w 26"/>
                <a:gd name="T51" fmla="*/ 19 h 61"/>
                <a:gd name="T52" fmla="*/ 7 w 26"/>
                <a:gd name="T53" fmla="*/ 16 h 61"/>
                <a:gd name="T54" fmla="*/ 7 w 26"/>
                <a:gd name="T55" fmla="*/ 12 h 61"/>
                <a:gd name="T56" fmla="*/ 7 w 26"/>
                <a:gd name="T57" fmla="*/ 9 h 61"/>
                <a:gd name="T58" fmla="*/ 10 w 26"/>
                <a:gd name="T59" fmla="*/ 4 h 61"/>
                <a:gd name="T60" fmla="*/ 13 w 26"/>
                <a:gd name="T61" fmla="*/ 1 h 61"/>
                <a:gd name="T62" fmla="*/ 0 w 26"/>
                <a:gd name="T63" fmla="*/ 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61">
                  <a:moveTo>
                    <a:pt x="0" y="5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0"/>
                    <a:pt x="26" y="60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8"/>
                    <a:pt x="25" y="58"/>
                    <a:pt x="25" y="58"/>
                  </a:cubicBezTo>
                  <a:cubicBezTo>
                    <a:pt x="25" y="58"/>
                    <a:pt x="25" y="57"/>
                    <a:pt x="25" y="57"/>
                  </a:cubicBezTo>
                  <a:cubicBezTo>
                    <a:pt x="25" y="57"/>
                    <a:pt x="24" y="57"/>
                    <a:pt x="23" y="57"/>
                  </a:cubicBezTo>
                  <a:cubicBezTo>
                    <a:pt x="23" y="56"/>
                    <a:pt x="23" y="57"/>
                    <a:pt x="22" y="57"/>
                  </a:cubicBezTo>
                  <a:cubicBezTo>
                    <a:pt x="22" y="57"/>
                    <a:pt x="21" y="57"/>
                    <a:pt x="21" y="56"/>
                  </a:cubicBezTo>
                  <a:cubicBezTo>
                    <a:pt x="21" y="56"/>
                    <a:pt x="22" y="55"/>
                    <a:pt x="22" y="55"/>
                  </a:cubicBezTo>
                  <a:cubicBezTo>
                    <a:pt x="23" y="55"/>
                    <a:pt x="23" y="54"/>
                    <a:pt x="23" y="54"/>
                  </a:cubicBezTo>
                  <a:cubicBezTo>
                    <a:pt x="23" y="53"/>
                    <a:pt x="23" y="52"/>
                    <a:pt x="23" y="52"/>
                  </a:cubicBezTo>
                  <a:cubicBezTo>
                    <a:pt x="23" y="52"/>
                    <a:pt x="23" y="51"/>
                    <a:pt x="23" y="51"/>
                  </a:cubicBezTo>
                  <a:cubicBezTo>
                    <a:pt x="23" y="51"/>
                    <a:pt x="24" y="51"/>
                    <a:pt x="24" y="51"/>
                  </a:cubicBezTo>
                  <a:cubicBezTo>
                    <a:pt x="24" y="51"/>
                    <a:pt x="24" y="50"/>
                    <a:pt x="24" y="50"/>
                  </a:cubicBezTo>
                  <a:cubicBezTo>
                    <a:pt x="24" y="49"/>
                    <a:pt x="24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7"/>
                    <a:pt x="23" y="47"/>
                    <a:pt x="22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1" y="47"/>
                    <a:pt x="21" y="47"/>
                    <a:pt x="21" y="46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0" y="45"/>
                    <a:pt x="20" y="45"/>
                    <a:pt x="19" y="44"/>
                  </a:cubicBezTo>
                  <a:cubicBezTo>
                    <a:pt x="19" y="44"/>
                    <a:pt x="19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1"/>
                    <a:pt x="16" y="41"/>
                    <a:pt x="17" y="40"/>
                  </a:cubicBezTo>
                  <a:cubicBezTo>
                    <a:pt x="17" y="39"/>
                    <a:pt x="17" y="39"/>
                    <a:pt x="16" y="38"/>
                  </a:cubicBezTo>
                  <a:cubicBezTo>
                    <a:pt x="16" y="38"/>
                    <a:pt x="15" y="37"/>
                    <a:pt x="15" y="37"/>
                  </a:cubicBezTo>
                  <a:cubicBezTo>
                    <a:pt x="15" y="37"/>
                    <a:pt x="14" y="36"/>
                    <a:pt x="14" y="36"/>
                  </a:cubicBezTo>
                  <a:cubicBezTo>
                    <a:pt x="14" y="36"/>
                    <a:pt x="14" y="35"/>
                    <a:pt x="14" y="35"/>
                  </a:cubicBezTo>
                  <a:cubicBezTo>
                    <a:pt x="14" y="35"/>
                    <a:pt x="13" y="35"/>
                    <a:pt x="13" y="34"/>
                  </a:cubicBezTo>
                  <a:cubicBezTo>
                    <a:pt x="13" y="33"/>
                    <a:pt x="13" y="31"/>
                    <a:pt x="13" y="30"/>
                  </a:cubicBezTo>
                  <a:cubicBezTo>
                    <a:pt x="13" y="29"/>
                    <a:pt x="13" y="29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6"/>
                    <a:pt x="12" y="26"/>
                    <a:pt x="12" y="27"/>
                  </a:cubicBezTo>
                  <a:cubicBezTo>
                    <a:pt x="12" y="27"/>
                    <a:pt x="13" y="28"/>
                    <a:pt x="13" y="28"/>
                  </a:cubicBezTo>
                  <a:cubicBezTo>
                    <a:pt x="12" y="29"/>
                    <a:pt x="12" y="28"/>
                    <a:pt x="12" y="28"/>
                  </a:cubicBezTo>
                  <a:cubicBezTo>
                    <a:pt x="11" y="28"/>
                    <a:pt x="11" y="28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8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1" y="26"/>
                    <a:pt x="11" y="26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2" y="26"/>
                    <a:pt x="12" y="25"/>
                    <a:pt x="11" y="25"/>
                  </a:cubicBezTo>
                  <a:cubicBezTo>
                    <a:pt x="11" y="25"/>
                    <a:pt x="11" y="24"/>
                    <a:pt x="11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2"/>
                    <a:pt x="10" y="22"/>
                    <a:pt x="9" y="21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8" y="18"/>
                    <a:pt x="7" y="18"/>
                    <a:pt x="7" y="17"/>
                  </a:cubicBezTo>
                  <a:cubicBezTo>
                    <a:pt x="7" y="17"/>
                    <a:pt x="7" y="16"/>
                    <a:pt x="7" y="16"/>
                  </a:cubicBezTo>
                  <a:cubicBezTo>
                    <a:pt x="7" y="15"/>
                    <a:pt x="8" y="14"/>
                    <a:pt x="8" y="13"/>
                  </a:cubicBezTo>
                  <a:cubicBezTo>
                    <a:pt x="8" y="12"/>
                    <a:pt x="7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8" y="8"/>
                    <a:pt x="8" y="7"/>
                    <a:pt x="9" y="7"/>
                  </a:cubicBezTo>
                  <a:cubicBezTo>
                    <a:pt x="9" y="6"/>
                    <a:pt x="9" y="5"/>
                    <a:pt x="10" y="4"/>
                  </a:cubicBezTo>
                  <a:cubicBezTo>
                    <a:pt x="10" y="3"/>
                    <a:pt x="11" y="2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9D0CF75E-E958-4A35-BDA0-FD20D0A9A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2479" y="2622724"/>
              <a:ext cx="261048" cy="193307"/>
            </a:xfrm>
            <a:custGeom>
              <a:avLst/>
              <a:gdLst>
                <a:gd name="T0" fmla="*/ 33 w 66"/>
                <a:gd name="T1" fmla="*/ 0 h 49"/>
                <a:gd name="T2" fmla="*/ 33 w 66"/>
                <a:gd name="T3" fmla="*/ 2 h 49"/>
                <a:gd name="T4" fmla="*/ 31 w 66"/>
                <a:gd name="T5" fmla="*/ 2 h 49"/>
                <a:gd name="T6" fmla="*/ 31 w 66"/>
                <a:gd name="T7" fmla="*/ 0 h 49"/>
                <a:gd name="T8" fmla="*/ 8 w 66"/>
                <a:gd name="T9" fmla="*/ 0 h 49"/>
                <a:gd name="T10" fmla="*/ 7 w 66"/>
                <a:gd name="T11" fmla="*/ 19 h 49"/>
                <a:gd name="T12" fmla="*/ 6 w 66"/>
                <a:gd name="T13" fmla="*/ 34 h 49"/>
                <a:gd name="T14" fmla="*/ 7 w 66"/>
                <a:gd name="T15" fmla="*/ 36 h 49"/>
                <a:gd name="T16" fmla="*/ 8 w 66"/>
                <a:gd name="T17" fmla="*/ 39 h 49"/>
                <a:gd name="T18" fmla="*/ 2 w 66"/>
                <a:gd name="T19" fmla="*/ 42 h 49"/>
                <a:gd name="T20" fmla="*/ 0 w 66"/>
                <a:gd name="T21" fmla="*/ 44 h 49"/>
                <a:gd name="T22" fmla="*/ 0 w 66"/>
                <a:gd name="T23" fmla="*/ 46 h 49"/>
                <a:gd name="T24" fmla="*/ 3 w 66"/>
                <a:gd name="T25" fmla="*/ 49 h 49"/>
                <a:gd name="T26" fmla="*/ 3 w 66"/>
                <a:gd name="T27" fmla="*/ 48 h 49"/>
                <a:gd name="T28" fmla="*/ 5 w 66"/>
                <a:gd name="T29" fmla="*/ 48 h 49"/>
                <a:gd name="T30" fmla="*/ 8 w 66"/>
                <a:gd name="T31" fmla="*/ 47 h 49"/>
                <a:gd name="T32" fmla="*/ 9 w 66"/>
                <a:gd name="T33" fmla="*/ 46 h 49"/>
                <a:gd name="T34" fmla="*/ 10 w 66"/>
                <a:gd name="T35" fmla="*/ 45 h 49"/>
                <a:gd name="T36" fmla="*/ 11 w 66"/>
                <a:gd name="T37" fmla="*/ 44 h 49"/>
                <a:gd name="T38" fmla="*/ 12 w 66"/>
                <a:gd name="T39" fmla="*/ 44 h 49"/>
                <a:gd name="T40" fmla="*/ 14 w 66"/>
                <a:gd name="T41" fmla="*/ 43 h 49"/>
                <a:gd name="T42" fmla="*/ 16 w 66"/>
                <a:gd name="T43" fmla="*/ 42 h 49"/>
                <a:gd name="T44" fmla="*/ 17 w 66"/>
                <a:gd name="T45" fmla="*/ 42 h 49"/>
                <a:gd name="T46" fmla="*/ 19 w 66"/>
                <a:gd name="T47" fmla="*/ 42 h 49"/>
                <a:gd name="T48" fmla="*/ 20 w 66"/>
                <a:gd name="T49" fmla="*/ 41 h 49"/>
                <a:gd name="T50" fmla="*/ 21 w 66"/>
                <a:gd name="T51" fmla="*/ 41 h 49"/>
                <a:gd name="T52" fmla="*/ 22 w 66"/>
                <a:gd name="T53" fmla="*/ 40 h 49"/>
                <a:gd name="T54" fmla="*/ 24 w 66"/>
                <a:gd name="T55" fmla="*/ 39 h 49"/>
                <a:gd name="T56" fmla="*/ 25 w 66"/>
                <a:gd name="T57" fmla="*/ 38 h 49"/>
                <a:gd name="T58" fmla="*/ 26 w 66"/>
                <a:gd name="T59" fmla="*/ 37 h 49"/>
                <a:gd name="T60" fmla="*/ 27 w 66"/>
                <a:gd name="T61" fmla="*/ 37 h 49"/>
                <a:gd name="T62" fmla="*/ 27 w 66"/>
                <a:gd name="T63" fmla="*/ 36 h 49"/>
                <a:gd name="T64" fmla="*/ 28 w 66"/>
                <a:gd name="T65" fmla="*/ 35 h 49"/>
                <a:gd name="T66" fmla="*/ 29 w 66"/>
                <a:gd name="T67" fmla="*/ 36 h 49"/>
                <a:gd name="T68" fmla="*/ 30 w 66"/>
                <a:gd name="T69" fmla="*/ 37 h 49"/>
                <a:gd name="T70" fmla="*/ 30 w 66"/>
                <a:gd name="T71" fmla="*/ 37 h 49"/>
                <a:gd name="T72" fmla="*/ 31 w 66"/>
                <a:gd name="T73" fmla="*/ 37 h 49"/>
                <a:gd name="T74" fmla="*/ 33 w 66"/>
                <a:gd name="T75" fmla="*/ 36 h 49"/>
                <a:gd name="T76" fmla="*/ 37 w 66"/>
                <a:gd name="T77" fmla="*/ 36 h 49"/>
                <a:gd name="T78" fmla="*/ 44 w 66"/>
                <a:gd name="T79" fmla="*/ 36 h 49"/>
                <a:gd name="T80" fmla="*/ 45 w 66"/>
                <a:gd name="T81" fmla="*/ 36 h 49"/>
                <a:gd name="T82" fmla="*/ 46 w 66"/>
                <a:gd name="T83" fmla="*/ 36 h 49"/>
                <a:gd name="T84" fmla="*/ 47 w 66"/>
                <a:gd name="T85" fmla="*/ 35 h 49"/>
                <a:gd name="T86" fmla="*/ 48 w 66"/>
                <a:gd name="T87" fmla="*/ 35 h 49"/>
                <a:gd name="T88" fmla="*/ 49 w 66"/>
                <a:gd name="T89" fmla="*/ 35 h 49"/>
                <a:gd name="T90" fmla="*/ 50 w 66"/>
                <a:gd name="T91" fmla="*/ 35 h 49"/>
                <a:gd name="T92" fmla="*/ 51 w 66"/>
                <a:gd name="T93" fmla="*/ 35 h 49"/>
                <a:gd name="T94" fmla="*/ 53 w 66"/>
                <a:gd name="T95" fmla="*/ 35 h 49"/>
                <a:gd name="T96" fmla="*/ 54 w 66"/>
                <a:gd name="T97" fmla="*/ 35 h 49"/>
                <a:gd name="T98" fmla="*/ 55 w 66"/>
                <a:gd name="T99" fmla="*/ 34 h 49"/>
                <a:gd name="T100" fmla="*/ 57 w 66"/>
                <a:gd name="T101" fmla="*/ 34 h 49"/>
                <a:gd name="T102" fmla="*/ 57 w 66"/>
                <a:gd name="T103" fmla="*/ 33 h 49"/>
                <a:gd name="T104" fmla="*/ 57 w 66"/>
                <a:gd name="T105" fmla="*/ 33 h 49"/>
                <a:gd name="T106" fmla="*/ 58 w 66"/>
                <a:gd name="T107" fmla="*/ 33 h 49"/>
                <a:gd name="T108" fmla="*/ 62 w 66"/>
                <a:gd name="T109" fmla="*/ 33 h 49"/>
                <a:gd name="T110" fmla="*/ 64 w 66"/>
                <a:gd name="T111" fmla="*/ 33 h 49"/>
                <a:gd name="T112" fmla="*/ 65 w 66"/>
                <a:gd name="T113" fmla="*/ 33 h 49"/>
                <a:gd name="T114" fmla="*/ 65 w 66"/>
                <a:gd name="T115" fmla="*/ 33 h 49"/>
                <a:gd name="T116" fmla="*/ 65 w 66"/>
                <a:gd name="T117" fmla="*/ 31 h 49"/>
                <a:gd name="T118" fmla="*/ 66 w 66"/>
                <a:gd name="T119" fmla="*/ 27 h 49"/>
                <a:gd name="T120" fmla="*/ 66 w 66"/>
                <a:gd name="T121" fmla="*/ 1 h 49"/>
                <a:gd name="T122" fmla="*/ 33 w 66"/>
                <a:gd name="T1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" h="49">
                  <a:moveTo>
                    <a:pt x="33" y="0"/>
                  </a:moveTo>
                  <a:cubicBezTo>
                    <a:pt x="33" y="2"/>
                    <a:pt x="33" y="2"/>
                    <a:pt x="33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7" y="36"/>
                    <a:pt x="7" y="36"/>
                  </a:cubicBezTo>
                  <a:cubicBezTo>
                    <a:pt x="7" y="36"/>
                    <a:pt x="8" y="39"/>
                    <a:pt x="8" y="39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0" y="44"/>
                    <a:pt x="0" y="44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8"/>
                    <a:pt x="4" y="48"/>
                    <a:pt x="5" y="48"/>
                  </a:cubicBezTo>
                  <a:cubicBezTo>
                    <a:pt x="6" y="47"/>
                    <a:pt x="7" y="47"/>
                    <a:pt x="8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10" y="45"/>
                    <a:pt x="10" y="45"/>
                  </a:cubicBezTo>
                  <a:cubicBezTo>
                    <a:pt x="11" y="45"/>
                    <a:pt x="11" y="45"/>
                    <a:pt x="11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3" y="43"/>
                    <a:pt x="14" y="44"/>
                    <a:pt x="14" y="43"/>
                  </a:cubicBezTo>
                  <a:cubicBezTo>
                    <a:pt x="15" y="43"/>
                    <a:pt x="16" y="43"/>
                    <a:pt x="16" y="42"/>
                  </a:cubicBezTo>
                  <a:cubicBezTo>
                    <a:pt x="16" y="42"/>
                    <a:pt x="17" y="42"/>
                    <a:pt x="17" y="42"/>
                  </a:cubicBezTo>
                  <a:cubicBezTo>
                    <a:pt x="18" y="41"/>
                    <a:pt x="19" y="42"/>
                    <a:pt x="19" y="42"/>
                  </a:cubicBezTo>
                  <a:cubicBezTo>
                    <a:pt x="20" y="42"/>
                    <a:pt x="20" y="42"/>
                    <a:pt x="20" y="41"/>
                  </a:cubicBezTo>
                  <a:cubicBezTo>
                    <a:pt x="20" y="41"/>
                    <a:pt x="21" y="41"/>
                    <a:pt x="21" y="41"/>
                  </a:cubicBezTo>
                  <a:cubicBezTo>
                    <a:pt x="21" y="41"/>
                    <a:pt x="22" y="41"/>
                    <a:pt x="22" y="40"/>
                  </a:cubicBezTo>
                  <a:cubicBezTo>
                    <a:pt x="23" y="40"/>
                    <a:pt x="23" y="40"/>
                    <a:pt x="24" y="39"/>
                  </a:cubicBezTo>
                  <a:cubicBezTo>
                    <a:pt x="24" y="39"/>
                    <a:pt x="24" y="39"/>
                    <a:pt x="25" y="38"/>
                  </a:cubicBezTo>
                  <a:cubicBezTo>
                    <a:pt x="25" y="38"/>
                    <a:pt x="25" y="38"/>
                    <a:pt x="26" y="37"/>
                  </a:cubicBezTo>
                  <a:cubicBezTo>
                    <a:pt x="26" y="37"/>
                    <a:pt x="27" y="37"/>
                    <a:pt x="27" y="37"/>
                  </a:cubicBezTo>
                  <a:cubicBezTo>
                    <a:pt x="27" y="37"/>
                    <a:pt x="27" y="36"/>
                    <a:pt x="27" y="36"/>
                  </a:cubicBezTo>
                  <a:cubicBezTo>
                    <a:pt x="28" y="36"/>
                    <a:pt x="28" y="35"/>
                    <a:pt x="28" y="35"/>
                  </a:cubicBezTo>
                  <a:cubicBezTo>
                    <a:pt x="29" y="35"/>
                    <a:pt x="29" y="36"/>
                    <a:pt x="29" y="36"/>
                  </a:cubicBezTo>
                  <a:cubicBezTo>
                    <a:pt x="29" y="36"/>
                    <a:pt x="30" y="36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1" y="37"/>
                  </a:cubicBezTo>
                  <a:cubicBezTo>
                    <a:pt x="31" y="36"/>
                    <a:pt x="32" y="36"/>
                    <a:pt x="33" y="36"/>
                  </a:cubicBezTo>
                  <a:cubicBezTo>
                    <a:pt x="34" y="36"/>
                    <a:pt x="35" y="36"/>
                    <a:pt x="37" y="36"/>
                  </a:cubicBezTo>
                  <a:cubicBezTo>
                    <a:pt x="39" y="36"/>
                    <a:pt x="41" y="36"/>
                    <a:pt x="44" y="36"/>
                  </a:cubicBezTo>
                  <a:cubicBezTo>
                    <a:pt x="44" y="36"/>
                    <a:pt x="45" y="36"/>
                    <a:pt x="45" y="36"/>
                  </a:cubicBezTo>
                  <a:cubicBezTo>
                    <a:pt x="45" y="36"/>
                    <a:pt x="45" y="36"/>
                    <a:pt x="46" y="36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1" y="35"/>
                    <a:pt x="51" y="35"/>
                  </a:cubicBezTo>
                  <a:cubicBezTo>
                    <a:pt x="52" y="35"/>
                    <a:pt x="52" y="35"/>
                    <a:pt x="53" y="35"/>
                  </a:cubicBezTo>
                  <a:cubicBezTo>
                    <a:pt x="53" y="35"/>
                    <a:pt x="54" y="35"/>
                    <a:pt x="54" y="35"/>
                  </a:cubicBezTo>
                  <a:cubicBezTo>
                    <a:pt x="55" y="35"/>
                    <a:pt x="55" y="35"/>
                    <a:pt x="55" y="34"/>
                  </a:cubicBezTo>
                  <a:cubicBezTo>
                    <a:pt x="56" y="34"/>
                    <a:pt x="56" y="34"/>
                    <a:pt x="57" y="34"/>
                  </a:cubicBezTo>
                  <a:cubicBezTo>
                    <a:pt x="57" y="34"/>
                    <a:pt x="57" y="34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9" y="33"/>
                    <a:pt x="61" y="33"/>
                    <a:pt x="62" y="33"/>
                  </a:cubicBezTo>
                  <a:cubicBezTo>
                    <a:pt x="62" y="33"/>
                    <a:pt x="63" y="33"/>
                    <a:pt x="64" y="33"/>
                  </a:cubicBezTo>
                  <a:cubicBezTo>
                    <a:pt x="64" y="33"/>
                    <a:pt x="64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1"/>
                    <a:pt x="66" y="1"/>
                    <a:pt x="66" y="1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BE616193-01C7-4996-A7B2-34B7BC171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784" y="2812727"/>
              <a:ext cx="958278" cy="705491"/>
            </a:xfrm>
            <a:custGeom>
              <a:avLst/>
              <a:gdLst>
                <a:gd name="T0" fmla="*/ 580 w 580"/>
                <a:gd name="T1" fmla="*/ 0 h 427"/>
                <a:gd name="T2" fmla="*/ 0 w 580"/>
                <a:gd name="T3" fmla="*/ 0 h 427"/>
                <a:gd name="T4" fmla="*/ 2 w 580"/>
                <a:gd name="T5" fmla="*/ 427 h 427"/>
                <a:gd name="T6" fmla="*/ 580 w 580"/>
                <a:gd name="T7" fmla="*/ 427 h 427"/>
                <a:gd name="T8" fmla="*/ 580 w 580"/>
                <a:gd name="T9" fmla="*/ 108 h 427"/>
                <a:gd name="T10" fmla="*/ 580 w 580"/>
                <a:gd name="T11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0" h="427">
                  <a:moveTo>
                    <a:pt x="580" y="0"/>
                  </a:moveTo>
                  <a:lnTo>
                    <a:pt x="0" y="0"/>
                  </a:lnTo>
                  <a:lnTo>
                    <a:pt x="2" y="427"/>
                  </a:lnTo>
                  <a:lnTo>
                    <a:pt x="580" y="427"/>
                  </a:lnTo>
                  <a:lnTo>
                    <a:pt x="580" y="108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75273034-D5F2-4400-BE5A-6665C3FE6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4789" y="2630985"/>
              <a:ext cx="1397764" cy="1632379"/>
            </a:xfrm>
            <a:custGeom>
              <a:avLst/>
              <a:gdLst>
                <a:gd name="T0" fmla="*/ 207 w 353"/>
                <a:gd name="T1" fmla="*/ 380 h 412"/>
                <a:gd name="T2" fmla="*/ 204 w 353"/>
                <a:gd name="T3" fmla="*/ 377 h 412"/>
                <a:gd name="T4" fmla="*/ 168 w 353"/>
                <a:gd name="T5" fmla="*/ 383 h 412"/>
                <a:gd name="T6" fmla="*/ 145 w 353"/>
                <a:gd name="T7" fmla="*/ 353 h 412"/>
                <a:gd name="T8" fmla="*/ 161 w 353"/>
                <a:gd name="T9" fmla="*/ 353 h 412"/>
                <a:gd name="T10" fmla="*/ 159 w 353"/>
                <a:gd name="T11" fmla="*/ 349 h 412"/>
                <a:gd name="T12" fmla="*/ 161 w 353"/>
                <a:gd name="T13" fmla="*/ 353 h 412"/>
                <a:gd name="T14" fmla="*/ 336 w 353"/>
                <a:gd name="T15" fmla="*/ 383 h 412"/>
                <a:gd name="T16" fmla="*/ 344 w 353"/>
                <a:gd name="T17" fmla="*/ 350 h 412"/>
                <a:gd name="T18" fmla="*/ 337 w 353"/>
                <a:gd name="T19" fmla="*/ 314 h 412"/>
                <a:gd name="T20" fmla="*/ 6 w 353"/>
                <a:gd name="T21" fmla="*/ 5 h 412"/>
                <a:gd name="T22" fmla="*/ 9 w 353"/>
                <a:gd name="T23" fmla="*/ 15 h 412"/>
                <a:gd name="T24" fmla="*/ 11 w 353"/>
                <a:gd name="T25" fmla="*/ 26 h 412"/>
                <a:gd name="T26" fmla="*/ 8 w 353"/>
                <a:gd name="T27" fmla="*/ 39 h 412"/>
                <a:gd name="T28" fmla="*/ 8 w 353"/>
                <a:gd name="T29" fmla="*/ 53 h 412"/>
                <a:gd name="T30" fmla="*/ 7 w 353"/>
                <a:gd name="T31" fmla="*/ 64 h 412"/>
                <a:gd name="T32" fmla="*/ 0 w 353"/>
                <a:gd name="T33" fmla="*/ 73 h 412"/>
                <a:gd name="T34" fmla="*/ 6 w 353"/>
                <a:gd name="T35" fmla="*/ 85 h 412"/>
                <a:gd name="T36" fmla="*/ 19 w 353"/>
                <a:gd name="T37" fmla="*/ 100 h 412"/>
                <a:gd name="T38" fmla="*/ 20 w 353"/>
                <a:gd name="T39" fmla="*/ 120 h 412"/>
                <a:gd name="T40" fmla="*/ 23 w 353"/>
                <a:gd name="T41" fmla="*/ 132 h 412"/>
                <a:gd name="T42" fmla="*/ 34 w 353"/>
                <a:gd name="T43" fmla="*/ 152 h 412"/>
                <a:gd name="T44" fmla="*/ 49 w 353"/>
                <a:gd name="T45" fmla="*/ 169 h 412"/>
                <a:gd name="T46" fmla="*/ 49 w 353"/>
                <a:gd name="T47" fmla="*/ 172 h 412"/>
                <a:gd name="T48" fmla="*/ 53 w 353"/>
                <a:gd name="T49" fmla="*/ 181 h 412"/>
                <a:gd name="T50" fmla="*/ 65 w 353"/>
                <a:gd name="T51" fmla="*/ 188 h 412"/>
                <a:gd name="T52" fmla="*/ 69 w 353"/>
                <a:gd name="T53" fmla="*/ 175 h 412"/>
                <a:gd name="T54" fmla="*/ 83 w 353"/>
                <a:gd name="T55" fmla="*/ 177 h 412"/>
                <a:gd name="T56" fmla="*/ 92 w 353"/>
                <a:gd name="T57" fmla="*/ 178 h 412"/>
                <a:gd name="T58" fmla="*/ 99 w 353"/>
                <a:gd name="T59" fmla="*/ 179 h 412"/>
                <a:gd name="T60" fmla="*/ 87 w 353"/>
                <a:gd name="T61" fmla="*/ 179 h 412"/>
                <a:gd name="T62" fmla="*/ 72 w 353"/>
                <a:gd name="T63" fmla="*/ 180 h 412"/>
                <a:gd name="T64" fmla="*/ 77 w 353"/>
                <a:gd name="T65" fmla="*/ 197 h 412"/>
                <a:gd name="T66" fmla="*/ 70 w 353"/>
                <a:gd name="T67" fmla="*/ 195 h 412"/>
                <a:gd name="T68" fmla="*/ 65 w 353"/>
                <a:gd name="T69" fmla="*/ 200 h 412"/>
                <a:gd name="T70" fmla="*/ 68 w 353"/>
                <a:gd name="T71" fmla="*/ 212 h 412"/>
                <a:gd name="T72" fmla="*/ 72 w 353"/>
                <a:gd name="T73" fmla="*/ 221 h 412"/>
                <a:gd name="T74" fmla="*/ 83 w 353"/>
                <a:gd name="T75" fmla="*/ 226 h 412"/>
                <a:gd name="T76" fmla="*/ 89 w 353"/>
                <a:gd name="T77" fmla="*/ 231 h 412"/>
                <a:gd name="T78" fmla="*/ 84 w 353"/>
                <a:gd name="T79" fmla="*/ 241 h 412"/>
                <a:gd name="T80" fmla="*/ 86 w 353"/>
                <a:gd name="T81" fmla="*/ 253 h 412"/>
                <a:gd name="T82" fmla="*/ 94 w 353"/>
                <a:gd name="T83" fmla="*/ 260 h 412"/>
                <a:gd name="T84" fmla="*/ 99 w 353"/>
                <a:gd name="T85" fmla="*/ 267 h 412"/>
                <a:gd name="T86" fmla="*/ 106 w 353"/>
                <a:gd name="T87" fmla="*/ 278 h 412"/>
                <a:gd name="T88" fmla="*/ 113 w 353"/>
                <a:gd name="T89" fmla="*/ 285 h 412"/>
                <a:gd name="T90" fmla="*/ 121 w 353"/>
                <a:gd name="T91" fmla="*/ 292 h 412"/>
                <a:gd name="T92" fmla="*/ 122 w 353"/>
                <a:gd name="T93" fmla="*/ 300 h 412"/>
                <a:gd name="T94" fmla="*/ 130 w 353"/>
                <a:gd name="T95" fmla="*/ 309 h 412"/>
                <a:gd name="T96" fmla="*/ 130 w 353"/>
                <a:gd name="T97" fmla="*/ 320 h 412"/>
                <a:gd name="T98" fmla="*/ 130 w 353"/>
                <a:gd name="T99" fmla="*/ 326 h 412"/>
                <a:gd name="T100" fmla="*/ 135 w 353"/>
                <a:gd name="T101" fmla="*/ 332 h 412"/>
                <a:gd name="T102" fmla="*/ 142 w 353"/>
                <a:gd name="T103" fmla="*/ 332 h 412"/>
                <a:gd name="T104" fmla="*/ 176 w 353"/>
                <a:gd name="T105" fmla="*/ 341 h 412"/>
                <a:gd name="T106" fmla="*/ 193 w 353"/>
                <a:gd name="T107" fmla="*/ 351 h 412"/>
                <a:gd name="T108" fmla="*/ 204 w 353"/>
                <a:gd name="T109" fmla="*/ 351 h 412"/>
                <a:gd name="T110" fmla="*/ 211 w 353"/>
                <a:gd name="T111" fmla="*/ 363 h 412"/>
                <a:gd name="T112" fmla="*/ 246 w 353"/>
                <a:gd name="T113" fmla="*/ 397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" h="412">
                  <a:moveTo>
                    <a:pt x="205" y="400"/>
                  </a:moveTo>
                  <a:cubicBezTo>
                    <a:pt x="204" y="399"/>
                    <a:pt x="203" y="398"/>
                    <a:pt x="202" y="397"/>
                  </a:cubicBezTo>
                  <a:cubicBezTo>
                    <a:pt x="202" y="396"/>
                    <a:pt x="201" y="395"/>
                    <a:pt x="201" y="394"/>
                  </a:cubicBezTo>
                  <a:cubicBezTo>
                    <a:pt x="201" y="393"/>
                    <a:pt x="201" y="393"/>
                    <a:pt x="202" y="393"/>
                  </a:cubicBezTo>
                  <a:cubicBezTo>
                    <a:pt x="202" y="394"/>
                    <a:pt x="202" y="394"/>
                    <a:pt x="203" y="394"/>
                  </a:cubicBezTo>
                  <a:cubicBezTo>
                    <a:pt x="203" y="395"/>
                    <a:pt x="203" y="395"/>
                    <a:pt x="204" y="395"/>
                  </a:cubicBezTo>
                  <a:cubicBezTo>
                    <a:pt x="205" y="396"/>
                    <a:pt x="206" y="397"/>
                    <a:pt x="207" y="399"/>
                  </a:cubicBezTo>
                  <a:cubicBezTo>
                    <a:pt x="207" y="399"/>
                    <a:pt x="208" y="400"/>
                    <a:pt x="208" y="400"/>
                  </a:cubicBezTo>
                  <a:cubicBezTo>
                    <a:pt x="208" y="401"/>
                    <a:pt x="206" y="400"/>
                    <a:pt x="205" y="400"/>
                  </a:cubicBezTo>
                  <a:close/>
                  <a:moveTo>
                    <a:pt x="207" y="380"/>
                  </a:moveTo>
                  <a:cubicBezTo>
                    <a:pt x="207" y="380"/>
                    <a:pt x="208" y="380"/>
                    <a:pt x="209" y="380"/>
                  </a:cubicBezTo>
                  <a:cubicBezTo>
                    <a:pt x="211" y="380"/>
                    <a:pt x="209" y="378"/>
                    <a:pt x="209" y="378"/>
                  </a:cubicBezTo>
                  <a:cubicBezTo>
                    <a:pt x="208" y="377"/>
                    <a:pt x="208" y="376"/>
                    <a:pt x="208" y="376"/>
                  </a:cubicBezTo>
                  <a:cubicBezTo>
                    <a:pt x="207" y="376"/>
                    <a:pt x="207" y="375"/>
                    <a:pt x="207" y="375"/>
                  </a:cubicBezTo>
                  <a:cubicBezTo>
                    <a:pt x="206" y="375"/>
                    <a:pt x="206" y="375"/>
                    <a:pt x="205" y="375"/>
                  </a:cubicBezTo>
                  <a:cubicBezTo>
                    <a:pt x="205" y="375"/>
                    <a:pt x="204" y="374"/>
                    <a:pt x="204" y="374"/>
                  </a:cubicBezTo>
                  <a:cubicBezTo>
                    <a:pt x="203" y="373"/>
                    <a:pt x="202" y="373"/>
                    <a:pt x="202" y="374"/>
                  </a:cubicBezTo>
                  <a:cubicBezTo>
                    <a:pt x="202" y="374"/>
                    <a:pt x="202" y="375"/>
                    <a:pt x="202" y="375"/>
                  </a:cubicBezTo>
                  <a:cubicBezTo>
                    <a:pt x="202" y="375"/>
                    <a:pt x="202" y="376"/>
                    <a:pt x="202" y="376"/>
                  </a:cubicBezTo>
                  <a:cubicBezTo>
                    <a:pt x="203" y="376"/>
                    <a:pt x="204" y="376"/>
                    <a:pt x="204" y="377"/>
                  </a:cubicBezTo>
                  <a:cubicBezTo>
                    <a:pt x="204" y="377"/>
                    <a:pt x="204" y="377"/>
                    <a:pt x="204" y="377"/>
                  </a:cubicBezTo>
                  <a:cubicBezTo>
                    <a:pt x="204" y="378"/>
                    <a:pt x="204" y="378"/>
                    <a:pt x="204" y="378"/>
                  </a:cubicBezTo>
                  <a:cubicBezTo>
                    <a:pt x="205" y="378"/>
                    <a:pt x="205" y="379"/>
                    <a:pt x="205" y="380"/>
                  </a:cubicBezTo>
                  <a:cubicBezTo>
                    <a:pt x="205" y="380"/>
                    <a:pt x="206" y="380"/>
                    <a:pt x="207" y="380"/>
                  </a:cubicBezTo>
                  <a:close/>
                  <a:moveTo>
                    <a:pt x="170" y="383"/>
                  </a:moveTo>
                  <a:cubicBezTo>
                    <a:pt x="170" y="382"/>
                    <a:pt x="170" y="382"/>
                    <a:pt x="170" y="382"/>
                  </a:cubicBezTo>
                  <a:cubicBezTo>
                    <a:pt x="170" y="382"/>
                    <a:pt x="169" y="382"/>
                    <a:pt x="169" y="382"/>
                  </a:cubicBezTo>
                  <a:cubicBezTo>
                    <a:pt x="169" y="382"/>
                    <a:pt x="169" y="381"/>
                    <a:pt x="168" y="381"/>
                  </a:cubicBezTo>
                  <a:cubicBezTo>
                    <a:pt x="168" y="381"/>
                    <a:pt x="167" y="382"/>
                    <a:pt x="167" y="382"/>
                  </a:cubicBezTo>
                  <a:cubicBezTo>
                    <a:pt x="167" y="383"/>
                    <a:pt x="168" y="383"/>
                    <a:pt x="168" y="383"/>
                  </a:cubicBezTo>
                  <a:cubicBezTo>
                    <a:pt x="169" y="383"/>
                    <a:pt x="171" y="384"/>
                    <a:pt x="170" y="383"/>
                  </a:cubicBezTo>
                  <a:close/>
                  <a:moveTo>
                    <a:pt x="152" y="353"/>
                  </a:moveTo>
                  <a:cubicBezTo>
                    <a:pt x="152" y="352"/>
                    <a:pt x="151" y="352"/>
                    <a:pt x="150" y="352"/>
                  </a:cubicBezTo>
                  <a:cubicBezTo>
                    <a:pt x="150" y="351"/>
                    <a:pt x="149" y="351"/>
                    <a:pt x="149" y="351"/>
                  </a:cubicBezTo>
                  <a:cubicBezTo>
                    <a:pt x="149" y="350"/>
                    <a:pt x="148" y="350"/>
                    <a:pt x="148" y="350"/>
                  </a:cubicBezTo>
                  <a:cubicBezTo>
                    <a:pt x="147" y="350"/>
                    <a:pt x="147" y="350"/>
                    <a:pt x="146" y="351"/>
                  </a:cubicBezTo>
                  <a:cubicBezTo>
                    <a:pt x="146" y="351"/>
                    <a:pt x="146" y="351"/>
                    <a:pt x="146" y="351"/>
                  </a:cubicBezTo>
                  <a:cubicBezTo>
                    <a:pt x="145" y="351"/>
                    <a:pt x="144" y="351"/>
                    <a:pt x="144" y="352"/>
                  </a:cubicBezTo>
                  <a:cubicBezTo>
                    <a:pt x="144" y="352"/>
                    <a:pt x="145" y="353"/>
                    <a:pt x="145" y="353"/>
                  </a:cubicBezTo>
                  <a:cubicBezTo>
                    <a:pt x="145" y="353"/>
                    <a:pt x="145" y="353"/>
                    <a:pt x="145" y="353"/>
                  </a:cubicBezTo>
                  <a:cubicBezTo>
                    <a:pt x="145" y="354"/>
                    <a:pt x="145" y="354"/>
                    <a:pt x="146" y="354"/>
                  </a:cubicBezTo>
                  <a:cubicBezTo>
                    <a:pt x="146" y="354"/>
                    <a:pt x="146" y="355"/>
                    <a:pt x="146" y="355"/>
                  </a:cubicBezTo>
                  <a:cubicBezTo>
                    <a:pt x="146" y="355"/>
                    <a:pt x="147" y="355"/>
                    <a:pt x="147" y="355"/>
                  </a:cubicBezTo>
                  <a:cubicBezTo>
                    <a:pt x="147" y="355"/>
                    <a:pt x="147" y="356"/>
                    <a:pt x="147" y="356"/>
                  </a:cubicBezTo>
                  <a:cubicBezTo>
                    <a:pt x="148" y="356"/>
                    <a:pt x="148" y="356"/>
                    <a:pt x="148" y="356"/>
                  </a:cubicBezTo>
                  <a:cubicBezTo>
                    <a:pt x="149" y="355"/>
                    <a:pt x="149" y="355"/>
                    <a:pt x="149" y="355"/>
                  </a:cubicBezTo>
                  <a:cubicBezTo>
                    <a:pt x="150" y="355"/>
                    <a:pt x="150" y="354"/>
                    <a:pt x="150" y="354"/>
                  </a:cubicBezTo>
                  <a:cubicBezTo>
                    <a:pt x="151" y="354"/>
                    <a:pt x="151" y="354"/>
                    <a:pt x="152" y="354"/>
                  </a:cubicBezTo>
                  <a:cubicBezTo>
                    <a:pt x="152" y="353"/>
                    <a:pt x="152" y="353"/>
                    <a:pt x="152" y="353"/>
                  </a:cubicBezTo>
                  <a:close/>
                  <a:moveTo>
                    <a:pt x="161" y="353"/>
                  </a:moveTo>
                  <a:cubicBezTo>
                    <a:pt x="162" y="353"/>
                    <a:pt x="162" y="353"/>
                    <a:pt x="163" y="353"/>
                  </a:cubicBezTo>
                  <a:cubicBezTo>
                    <a:pt x="164" y="353"/>
                    <a:pt x="165" y="352"/>
                    <a:pt x="166" y="352"/>
                  </a:cubicBezTo>
                  <a:cubicBezTo>
                    <a:pt x="166" y="352"/>
                    <a:pt x="166" y="352"/>
                    <a:pt x="167" y="352"/>
                  </a:cubicBezTo>
                  <a:cubicBezTo>
                    <a:pt x="167" y="352"/>
                    <a:pt x="167" y="351"/>
                    <a:pt x="167" y="351"/>
                  </a:cubicBezTo>
                  <a:cubicBezTo>
                    <a:pt x="167" y="351"/>
                    <a:pt x="168" y="350"/>
                    <a:pt x="167" y="350"/>
                  </a:cubicBezTo>
                  <a:cubicBezTo>
                    <a:pt x="167" y="349"/>
                    <a:pt x="166" y="350"/>
                    <a:pt x="166" y="350"/>
                  </a:cubicBezTo>
                  <a:cubicBezTo>
                    <a:pt x="165" y="350"/>
                    <a:pt x="165" y="350"/>
                    <a:pt x="164" y="350"/>
                  </a:cubicBezTo>
                  <a:cubicBezTo>
                    <a:pt x="163" y="350"/>
                    <a:pt x="162" y="350"/>
                    <a:pt x="162" y="350"/>
                  </a:cubicBezTo>
                  <a:cubicBezTo>
                    <a:pt x="161" y="350"/>
                    <a:pt x="161" y="350"/>
                    <a:pt x="161" y="350"/>
                  </a:cubicBezTo>
                  <a:cubicBezTo>
                    <a:pt x="160" y="349"/>
                    <a:pt x="160" y="349"/>
                    <a:pt x="159" y="349"/>
                  </a:cubicBezTo>
                  <a:cubicBezTo>
                    <a:pt x="159" y="349"/>
                    <a:pt x="158" y="349"/>
                    <a:pt x="158" y="349"/>
                  </a:cubicBezTo>
                  <a:cubicBezTo>
                    <a:pt x="157" y="349"/>
                    <a:pt x="157" y="349"/>
                    <a:pt x="156" y="349"/>
                  </a:cubicBezTo>
                  <a:cubicBezTo>
                    <a:pt x="156" y="349"/>
                    <a:pt x="156" y="348"/>
                    <a:pt x="156" y="348"/>
                  </a:cubicBezTo>
                  <a:cubicBezTo>
                    <a:pt x="155" y="348"/>
                    <a:pt x="155" y="348"/>
                    <a:pt x="154" y="349"/>
                  </a:cubicBezTo>
                  <a:cubicBezTo>
                    <a:pt x="154" y="349"/>
                    <a:pt x="155" y="349"/>
                    <a:pt x="155" y="350"/>
                  </a:cubicBezTo>
                  <a:cubicBezTo>
                    <a:pt x="155" y="350"/>
                    <a:pt x="155" y="350"/>
                    <a:pt x="155" y="351"/>
                  </a:cubicBezTo>
                  <a:cubicBezTo>
                    <a:pt x="156" y="351"/>
                    <a:pt x="155" y="351"/>
                    <a:pt x="156" y="352"/>
                  </a:cubicBezTo>
                  <a:cubicBezTo>
                    <a:pt x="156" y="352"/>
                    <a:pt x="156" y="353"/>
                    <a:pt x="157" y="353"/>
                  </a:cubicBezTo>
                  <a:cubicBezTo>
                    <a:pt x="158" y="353"/>
                    <a:pt x="158" y="353"/>
                    <a:pt x="158" y="353"/>
                  </a:cubicBezTo>
                  <a:cubicBezTo>
                    <a:pt x="159" y="353"/>
                    <a:pt x="160" y="353"/>
                    <a:pt x="161" y="353"/>
                  </a:cubicBezTo>
                  <a:close/>
                  <a:moveTo>
                    <a:pt x="340" y="403"/>
                  </a:moveTo>
                  <a:cubicBezTo>
                    <a:pt x="340" y="400"/>
                    <a:pt x="340" y="400"/>
                    <a:pt x="340" y="400"/>
                  </a:cubicBezTo>
                  <a:cubicBezTo>
                    <a:pt x="340" y="400"/>
                    <a:pt x="342" y="399"/>
                    <a:pt x="342" y="399"/>
                  </a:cubicBezTo>
                  <a:cubicBezTo>
                    <a:pt x="342" y="399"/>
                    <a:pt x="343" y="394"/>
                    <a:pt x="343" y="394"/>
                  </a:cubicBezTo>
                  <a:cubicBezTo>
                    <a:pt x="341" y="393"/>
                    <a:pt x="341" y="393"/>
                    <a:pt x="341" y="393"/>
                  </a:cubicBezTo>
                  <a:cubicBezTo>
                    <a:pt x="341" y="393"/>
                    <a:pt x="341" y="392"/>
                    <a:pt x="341" y="392"/>
                  </a:cubicBezTo>
                  <a:cubicBezTo>
                    <a:pt x="341" y="391"/>
                    <a:pt x="335" y="392"/>
                    <a:pt x="335" y="392"/>
                  </a:cubicBezTo>
                  <a:cubicBezTo>
                    <a:pt x="335" y="392"/>
                    <a:pt x="335" y="390"/>
                    <a:pt x="335" y="390"/>
                  </a:cubicBezTo>
                  <a:cubicBezTo>
                    <a:pt x="334" y="390"/>
                    <a:pt x="334" y="388"/>
                    <a:pt x="334" y="388"/>
                  </a:cubicBezTo>
                  <a:cubicBezTo>
                    <a:pt x="334" y="387"/>
                    <a:pt x="336" y="383"/>
                    <a:pt x="336" y="383"/>
                  </a:cubicBezTo>
                  <a:cubicBezTo>
                    <a:pt x="336" y="383"/>
                    <a:pt x="336" y="382"/>
                    <a:pt x="335" y="382"/>
                  </a:cubicBezTo>
                  <a:cubicBezTo>
                    <a:pt x="335" y="381"/>
                    <a:pt x="333" y="381"/>
                    <a:pt x="333" y="380"/>
                  </a:cubicBezTo>
                  <a:cubicBezTo>
                    <a:pt x="333" y="380"/>
                    <a:pt x="334" y="379"/>
                    <a:pt x="334" y="379"/>
                  </a:cubicBezTo>
                  <a:cubicBezTo>
                    <a:pt x="334" y="376"/>
                    <a:pt x="334" y="376"/>
                    <a:pt x="334" y="376"/>
                  </a:cubicBezTo>
                  <a:cubicBezTo>
                    <a:pt x="337" y="375"/>
                    <a:pt x="337" y="375"/>
                    <a:pt x="337" y="375"/>
                  </a:cubicBezTo>
                  <a:cubicBezTo>
                    <a:pt x="341" y="370"/>
                    <a:pt x="341" y="370"/>
                    <a:pt x="341" y="370"/>
                  </a:cubicBezTo>
                  <a:cubicBezTo>
                    <a:pt x="340" y="366"/>
                    <a:pt x="340" y="366"/>
                    <a:pt x="340" y="366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4" y="350"/>
                    <a:pt x="344" y="350"/>
                    <a:pt x="344" y="350"/>
                  </a:cubicBezTo>
                  <a:cubicBezTo>
                    <a:pt x="344" y="347"/>
                    <a:pt x="344" y="347"/>
                    <a:pt x="344" y="347"/>
                  </a:cubicBezTo>
                  <a:cubicBezTo>
                    <a:pt x="348" y="345"/>
                    <a:pt x="348" y="345"/>
                    <a:pt x="348" y="345"/>
                  </a:cubicBezTo>
                  <a:cubicBezTo>
                    <a:pt x="353" y="341"/>
                    <a:pt x="353" y="341"/>
                    <a:pt x="353" y="341"/>
                  </a:cubicBezTo>
                  <a:cubicBezTo>
                    <a:pt x="353" y="341"/>
                    <a:pt x="353" y="339"/>
                    <a:pt x="353" y="339"/>
                  </a:cubicBezTo>
                  <a:cubicBezTo>
                    <a:pt x="353" y="339"/>
                    <a:pt x="353" y="337"/>
                    <a:pt x="353" y="337"/>
                  </a:cubicBezTo>
                  <a:cubicBezTo>
                    <a:pt x="353" y="336"/>
                    <a:pt x="348" y="332"/>
                    <a:pt x="348" y="332"/>
                  </a:cubicBezTo>
                  <a:cubicBezTo>
                    <a:pt x="347" y="332"/>
                    <a:pt x="346" y="333"/>
                    <a:pt x="345" y="332"/>
                  </a:cubicBezTo>
                  <a:cubicBezTo>
                    <a:pt x="345" y="332"/>
                    <a:pt x="345" y="328"/>
                    <a:pt x="345" y="328"/>
                  </a:cubicBezTo>
                  <a:cubicBezTo>
                    <a:pt x="341" y="320"/>
                    <a:pt x="341" y="320"/>
                    <a:pt x="341" y="320"/>
                  </a:cubicBezTo>
                  <a:cubicBezTo>
                    <a:pt x="341" y="320"/>
                    <a:pt x="337" y="315"/>
                    <a:pt x="337" y="314"/>
                  </a:cubicBezTo>
                  <a:cubicBezTo>
                    <a:pt x="336" y="314"/>
                    <a:pt x="337" y="309"/>
                    <a:pt x="337" y="309"/>
                  </a:cubicBezTo>
                  <a:cubicBezTo>
                    <a:pt x="191" y="171"/>
                    <a:pt x="191" y="171"/>
                    <a:pt x="191" y="171"/>
                  </a:cubicBezTo>
                  <a:cubicBezTo>
                    <a:pt x="151" y="137"/>
                    <a:pt x="151" y="137"/>
                    <a:pt x="151" y="137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6" y="8"/>
                    <a:pt x="6" y="8"/>
                  </a:cubicBezTo>
                  <a:cubicBezTo>
                    <a:pt x="6" y="8"/>
                    <a:pt x="6" y="9"/>
                    <a:pt x="6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7" y="12"/>
                    <a:pt x="7" y="12"/>
                    <a:pt x="8" y="13"/>
                  </a:cubicBezTo>
                  <a:cubicBezTo>
                    <a:pt x="8" y="13"/>
                    <a:pt x="8" y="13"/>
                    <a:pt x="8" y="14"/>
                  </a:cubicBezTo>
                  <a:cubicBezTo>
                    <a:pt x="8" y="14"/>
                    <a:pt x="9" y="14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9" y="16"/>
                    <a:pt x="9" y="17"/>
                    <a:pt x="9" y="17"/>
                  </a:cubicBezTo>
                  <a:cubicBezTo>
                    <a:pt x="9" y="18"/>
                    <a:pt x="9" y="18"/>
                    <a:pt x="9" y="19"/>
                  </a:cubicBezTo>
                  <a:cubicBezTo>
                    <a:pt x="9" y="19"/>
                    <a:pt x="9" y="20"/>
                    <a:pt x="10" y="20"/>
                  </a:cubicBezTo>
                  <a:cubicBezTo>
                    <a:pt x="10" y="20"/>
                    <a:pt x="10" y="20"/>
                    <a:pt x="10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2"/>
                    <a:pt x="12" y="22"/>
                    <a:pt x="12" y="22"/>
                  </a:cubicBezTo>
                  <a:cubicBezTo>
                    <a:pt x="12" y="23"/>
                    <a:pt x="12" y="24"/>
                    <a:pt x="12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6"/>
                    <a:pt x="11" y="27"/>
                    <a:pt x="11" y="27"/>
                  </a:cubicBezTo>
                  <a:cubicBezTo>
                    <a:pt x="11" y="28"/>
                    <a:pt x="11" y="28"/>
                    <a:pt x="11" y="29"/>
                  </a:cubicBezTo>
                  <a:cubicBezTo>
                    <a:pt x="11" y="29"/>
                    <a:pt x="11" y="29"/>
                    <a:pt x="11" y="30"/>
                  </a:cubicBezTo>
                  <a:cubicBezTo>
                    <a:pt x="10" y="31"/>
                    <a:pt x="11" y="32"/>
                    <a:pt x="11" y="32"/>
                  </a:cubicBezTo>
                  <a:cubicBezTo>
                    <a:pt x="11" y="33"/>
                    <a:pt x="11" y="33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5"/>
                    <a:pt x="10" y="36"/>
                    <a:pt x="10" y="36"/>
                  </a:cubicBezTo>
                  <a:cubicBezTo>
                    <a:pt x="10" y="37"/>
                    <a:pt x="10" y="37"/>
                    <a:pt x="9" y="38"/>
                  </a:cubicBezTo>
                  <a:cubicBezTo>
                    <a:pt x="9" y="39"/>
                    <a:pt x="8" y="39"/>
                    <a:pt x="8" y="39"/>
                  </a:cubicBezTo>
                  <a:cubicBezTo>
                    <a:pt x="8" y="40"/>
                    <a:pt x="8" y="40"/>
                    <a:pt x="8" y="41"/>
                  </a:cubicBezTo>
                  <a:cubicBezTo>
                    <a:pt x="8" y="42"/>
                    <a:pt x="9" y="42"/>
                    <a:pt x="9" y="42"/>
                  </a:cubicBezTo>
                  <a:cubicBezTo>
                    <a:pt x="9" y="43"/>
                    <a:pt x="9" y="43"/>
                    <a:pt x="9" y="44"/>
                  </a:cubicBezTo>
                  <a:cubicBezTo>
                    <a:pt x="9" y="44"/>
                    <a:pt x="9" y="45"/>
                    <a:pt x="9" y="45"/>
                  </a:cubicBezTo>
                  <a:cubicBezTo>
                    <a:pt x="10" y="46"/>
                    <a:pt x="10" y="47"/>
                    <a:pt x="9" y="47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50"/>
                    <a:pt x="8" y="51"/>
                    <a:pt x="8" y="52"/>
                  </a:cubicBezTo>
                  <a:cubicBezTo>
                    <a:pt x="8" y="52"/>
                    <a:pt x="8" y="52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7" y="54"/>
                    <a:pt x="7" y="55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7"/>
                    <a:pt x="7" y="58"/>
                  </a:cubicBezTo>
                  <a:cubicBezTo>
                    <a:pt x="6" y="58"/>
                    <a:pt x="6" y="58"/>
                    <a:pt x="6" y="59"/>
                  </a:cubicBezTo>
                  <a:cubicBezTo>
                    <a:pt x="6" y="59"/>
                    <a:pt x="6" y="60"/>
                    <a:pt x="6" y="60"/>
                  </a:cubicBezTo>
                  <a:cubicBezTo>
                    <a:pt x="6" y="61"/>
                    <a:pt x="4" y="61"/>
                    <a:pt x="3" y="62"/>
                  </a:cubicBezTo>
                  <a:cubicBezTo>
                    <a:pt x="3" y="62"/>
                    <a:pt x="3" y="63"/>
                    <a:pt x="3" y="63"/>
                  </a:cubicBezTo>
                  <a:cubicBezTo>
                    <a:pt x="4" y="63"/>
                    <a:pt x="4" y="63"/>
                    <a:pt x="5" y="63"/>
                  </a:cubicBezTo>
                  <a:cubicBezTo>
                    <a:pt x="5" y="64"/>
                    <a:pt x="6" y="64"/>
                    <a:pt x="6" y="64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4"/>
                    <a:pt x="9" y="64"/>
                    <a:pt x="8" y="65"/>
                  </a:cubicBezTo>
                  <a:cubicBezTo>
                    <a:pt x="8" y="65"/>
                    <a:pt x="7" y="65"/>
                    <a:pt x="7" y="65"/>
                  </a:cubicBezTo>
                  <a:cubicBezTo>
                    <a:pt x="7" y="65"/>
                    <a:pt x="6" y="64"/>
                    <a:pt x="6" y="64"/>
                  </a:cubicBezTo>
                  <a:cubicBezTo>
                    <a:pt x="6" y="64"/>
                    <a:pt x="5" y="64"/>
                    <a:pt x="5" y="64"/>
                  </a:cubicBezTo>
                  <a:cubicBezTo>
                    <a:pt x="4" y="64"/>
                    <a:pt x="3" y="64"/>
                    <a:pt x="3" y="64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7"/>
                    <a:pt x="2" y="67"/>
                    <a:pt x="1" y="68"/>
                  </a:cubicBezTo>
                  <a:cubicBezTo>
                    <a:pt x="1" y="69"/>
                    <a:pt x="0" y="69"/>
                    <a:pt x="0" y="70"/>
                  </a:cubicBezTo>
                  <a:cubicBezTo>
                    <a:pt x="0" y="70"/>
                    <a:pt x="0" y="71"/>
                    <a:pt x="0" y="72"/>
                  </a:cubicBezTo>
                  <a:cubicBezTo>
                    <a:pt x="0" y="72"/>
                    <a:pt x="0" y="73"/>
                    <a:pt x="0" y="73"/>
                  </a:cubicBezTo>
                  <a:cubicBezTo>
                    <a:pt x="0" y="73"/>
                    <a:pt x="0" y="74"/>
                    <a:pt x="0" y="74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1" y="77"/>
                    <a:pt x="1" y="77"/>
                  </a:cubicBezTo>
                  <a:cubicBezTo>
                    <a:pt x="1" y="78"/>
                    <a:pt x="1" y="79"/>
                    <a:pt x="1" y="80"/>
                  </a:cubicBezTo>
                  <a:cubicBezTo>
                    <a:pt x="1" y="80"/>
                    <a:pt x="1" y="80"/>
                    <a:pt x="1" y="81"/>
                  </a:cubicBezTo>
                  <a:cubicBezTo>
                    <a:pt x="1" y="81"/>
                    <a:pt x="2" y="81"/>
                    <a:pt x="2" y="82"/>
                  </a:cubicBezTo>
                  <a:cubicBezTo>
                    <a:pt x="2" y="82"/>
                    <a:pt x="3" y="83"/>
                    <a:pt x="3" y="83"/>
                  </a:cubicBezTo>
                  <a:cubicBezTo>
                    <a:pt x="4" y="83"/>
                    <a:pt x="4" y="83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6" y="84"/>
                    <a:pt x="6" y="85"/>
                  </a:cubicBezTo>
                  <a:cubicBezTo>
                    <a:pt x="6" y="85"/>
                    <a:pt x="6" y="85"/>
                    <a:pt x="7" y="86"/>
                  </a:cubicBezTo>
                  <a:cubicBezTo>
                    <a:pt x="7" y="87"/>
                    <a:pt x="8" y="86"/>
                    <a:pt x="9" y="87"/>
                  </a:cubicBezTo>
                  <a:cubicBezTo>
                    <a:pt x="9" y="87"/>
                    <a:pt x="10" y="88"/>
                    <a:pt x="10" y="88"/>
                  </a:cubicBezTo>
                  <a:cubicBezTo>
                    <a:pt x="10" y="89"/>
                    <a:pt x="10" y="90"/>
                    <a:pt x="11" y="91"/>
                  </a:cubicBezTo>
                  <a:cubicBezTo>
                    <a:pt x="12" y="92"/>
                    <a:pt x="14" y="93"/>
                    <a:pt x="14" y="94"/>
                  </a:cubicBezTo>
                  <a:cubicBezTo>
                    <a:pt x="14" y="94"/>
                    <a:pt x="15" y="95"/>
                    <a:pt x="15" y="95"/>
                  </a:cubicBezTo>
                  <a:cubicBezTo>
                    <a:pt x="15" y="95"/>
                    <a:pt x="15" y="96"/>
                    <a:pt x="16" y="96"/>
                  </a:cubicBezTo>
                  <a:cubicBezTo>
                    <a:pt x="16" y="96"/>
                    <a:pt x="16" y="96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7" y="98"/>
                    <a:pt x="18" y="99"/>
                    <a:pt x="19" y="100"/>
                  </a:cubicBezTo>
                  <a:cubicBezTo>
                    <a:pt x="19" y="100"/>
                    <a:pt x="19" y="101"/>
                    <a:pt x="19" y="101"/>
                  </a:cubicBezTo>
                  <a:cubicBezTo>
                    <a:pt x="19" y="101"/>
                    <a:pt x="19" y="101"/>
                    <a:pt x="19" y="102"/>
                  </a:cubicBezTo>
                  <a:cubicBezTo>
                    <a:pt x="20" y="102"/>
                    <a:pt x="19" y="103"/>
                    <a:pt x="19" y="103"/>
                  </a:cubicBezTo>
                  <a:cubicBezTo>
                    <a:pt x="20" y="104"/>
                    <a:pt x="20" y="105"/>
                    <a:pt x="20" y="106"/>
                  </a:cubicBezTo>
                  <a:cubicBezTo>
                    <a:pt x="20" y="106"/>
                    <a:pt x="20" y="107"/>
                    <a:pt x="20" y="107"/>
                  </a:cubicBezTo>
                  <a:cubicBezTo>
                    <a:pt x="20" y="108"/>
                    <a:pt x="21" y="108"/>
                    <a:pt x="21" y="108"/>
                  </a:cubicBezTo>
                  <a:cubicBezTo>
                    <a:pt x="21" y="109"/>
                    <a:pt x="21" y="110"/>
                    <a:pt x="21" y="110"/>
                  </a:cubicBezTo>
                  <a:cubicBezTo>
                    <a:pt x="21" y="111"/>
                    <a:pt x="21" y="112"/>
                    <a:pt x="21" y="113"/>
                  </a:cubicBezTo>
                  <a:cubicBezTo>
                    <a:pt x="21" y="113"/>
                    <a:pt x="20" y="113"/>
                    <a:pt x="20" y="113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20" y="121"/>
                    <a:pt x="20" y="121"/>
                    <a:pt x="20" y="122"/>
                  </a:cubicBezTo>
                  <a:cubicBezTo>
                    <a:pt x="20" y="122"/>
                    <a:pt x="21" y="122"/>
                    <a:pt x="21" y="123"/>
                  </a:cubicBezTo>
                  <a:cubicBezTo>
                    <a:pt x="21" y="123"/>
                    <a:pt x="21" y="123"/>
                    <a:pt x="21" y="123"/>
                  </a:cubicBezTo>
                  <a:cubicBezTo>
                    <a:pt x="21" y="125"/>
                    <a:pt x="21" y="125"/>
                    <a:pt x="21" y="125"/>
                  </a:cubicBezTo>
                  <a:cubicBezTo>
                    <a:pt x="21" y="125"/>
                    <a:pt x="21" y="125"/>
                    <a:pt x="21" y="125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1" y="127"/>
                    <a:pt x="21" y="128"/>
                    <a:pt x="22" y="129"/>
                  </a:cubicBezTo>
                  <a:cubicBezTo>
                    <a:pt x="22" y="129"/>
                    <a:pt x="22" y="129"/>
                    <a:pt x="22" y="130"/>
                  </a:cubicBezTo>
                  <a:cubicBezTo>
                    <a:pt x="22" y="130"/>
                    <a:pt x="22" y="130"/>
                    <a:pt x="23" y="131"/>
                  </a:cubicBezTo>
                  <a:cubicBezTo>
                    <a:pt x="23" y="131"/>
                    <a:pt x="23" y="132"/>
                    <a:pt x="23" y="132"/>
                  </a:cubicBezTo>
                  <a:cubicBezTo>
                    <a:pt x="23" y="133"/>
                    <a:pt x="23" y="133"/>
                    <a:pt x="23" y="133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4" y="135"/>
                    <a:pt x="24" y="136"/>
                    <a:pt x="24" y="137"/>
                  </a:cubicBezTo>
                  <a:cubicBezTo>
                    <a:pt x="24" y="138"/>
                    <a:pt x="23" y="139"/>
                    <a:pt x="23" y="140"/>
                  </a:cubicBezTo>
                  <a:cubicBezTo>
                    <a:pt x="24" y="141"/>
                    <a:pt x="24" y="141"/>
                    <a:pt x="24" y="142"/>
                  </a:cubicBezTo>
                  <a:cubicBezTo>
                    <a:pt x="25" y="143"/>
                    <a:pt x="26" y="144"/>
                    <a:pt x="27" y="145"/>
                  </a:cubicBezTo>
                  <a:cubicBezTo>
                    <a:pt x="28" y="146"/>
                    <a:pt x="29" y="147"/>
                    <a:pt x="30" y="148"/>
                  </a:cubicBezTo>
                  <a:cubicBezTo>
                    <a:pt x="31" y="148"/>
                    <a:pt x="31" y="149"/>
                    <a:pt x="32" y="149"/>
                  </a:cubicBezTo>
                  <a:cubicBezTo>
                    <a:pt x="32" y="150"/>
                    <a:pt x="33" y="150"/>
                    <a:pt x="33" y="151"/>
                  </a:cubicBezTo>
                  <a:cubicBezTo>
                    <a:pt x="34" y="151"/>
                    <a:pt x="34" y="152"/>
                    <a:pt x="34" y="152"/>
                  </a:cubicBezTo>
                  <a:cubicBezTo>
                    <a:pt x="34" y="153"/>
                    <a:pt x="35" y="153"/>
                    <a:pt x="35" y="154"/>
                  </a:cubicBezTo>
                  <a:cubicBezTo>
                    <a:pt x="36" y="154"/>
                    <a:pt x="36" y="155"/>
                    <a:pt x="36" y="155"/>
                  </a:cubicBezTo>
                  <a:cubicBezTo>
                    <a:pt x="36" y="155"/>
                    <a:pt x="37" y="156"/>
                    <a:pt x="37" y="156"/>
                  </a:cubicBezTo>
                  <a:cubicBezTo>
                    <a:pt x="38" y="157"/>
                    <a:pt x="38" y="158"/>
                    <a:pt x="39" y="158"/>
                  </a:cubicBezTo>
                  <a:cubicBezTo>
                    <a:pt x="41" y="159"/>
                    <a:pt x="42" y="160"/>
                    <a:pt x="43" y="161"/>
                  </a:cubicBezTo>
                  <a:cubicBezTo>
                    <a:pt x="44" y="162"/>
                    <a:pt x="44" y="163"/>
                    <a:pt x="44" y="164"/>
                  </a:cubicBezTo>
                  <a:cubicBezTo>
                    <a:pt x="45" y="164"/>
                    <a:pt x="45" y="165"/>
                    <a:pt x="45" y="166"/>
                  </a:cubicBezTo>
                  <a:cubicBezTo>
                    <a:pt x="45" y="166"/>
                    <a:pt x="45" y="167"/>
                    <a:pt x="45" y="167"/>
                  </a:cubicBezTo>
                  <a:cubicBezTo>
                    <a:pt x="46" y="167"/>
                    <a:pt x="47" y="167"/>
                    <a:pt x="47" y="168"/>
                  </a:cubicBezTo>
                  <a:cubicBezTo>
                    <a:pt x="48" y="168"/>
                    <a:pt x="48" y="168"/>
                    <a:pt x="49" y="169"/>
                  </a:cubicBezTo>
                  <a:cubicBezTo>
                    <a:pt x="49" y="169"/>
                    <a:pt x="49" y="170"/>
                    <a:pt x="50" y="170"/>
                  </a:cubicBezTo>
                  <a:cubicBezTo>
                    <a:pt x="50" y="171"/>
                    <a:pt x="51" y="172"/>
                    <a:pt x="52" y="173"/>
                  </a:cubicBezTo>
                  <a:cubicBezTo>
                    <a:pt x="52" y="174"/>
                    <a:pt x="53" y="174"/>
                    <a:pt x="53" y="174"/>
                  </a:cubicBezTo>
                  <a:cubicBezTo>
                    <a:pt x="53" y="175"/>
                    <a:pt x="53" y="175"/>
                    <a:pt x="53" y="175"/>
                  </a:cubicBezTo>
                  <a:cubicBezTo>
                    <a:pt x="53" y="176"/>
                    <a:pt x="53" y="176"/>
                    <a:pt x="53" y="176"/>
                  </a:cubicBezTo>
                  <a:cubicBezTo>
                    <a:pt x="52" y="175"/>
                    <a:pt x="52" y="175"/>
                    <a:pt x="51" y="174"/>
                  </a:cubicBezTo>
                  <a:cubicBezTo>
                    <a:pt x="51" y="174"/>
                    <a:pt x="50" y="173"/>
                    <a:pt x="50" y="172"/>
                  </a:cubicBezTo>
                  <a:cubicBezTo>
                    <a:pt x="50" y="172"/>
                    <a:pt x="49" y="172"/>
                    <a:pt x="49" y="171"/>
                  </a:cubicBezTo>
                  <a:cubicBezTo>
                    <a:pt x="49" y="171"/>
                    <a:pt x="49" y="171"/>
                    <a:pt x="49" y="171"/>
                  </a:cubicBezTo>
                  <a:cubicBezTo>
                    <a:pt x="48" y="171"/>
                    <a:pt x="49" y="172"/>
                    <a:pt x="49" y="172"/>
                  </a:cubicBezTo>
                  <a:cubicBezTo>
                    <a:pt x="49" y="173"/>
                    <a:pt x="50" y="173"/>
                    <a:pt x="50" y="174"/>
                  </a:cubicBezTo>
                  <a:cubicBezTo>
                    <a:pt x="50" y="174"/>
                    <a:pt x="50" y="175"/>
                    <a:pt x="50" y="175"/>
                  </a:cubicBezTo>
                  <a:cubicBezTo>
                    <a:pt x="50" y="175"/>
                    <a:pt x="49" y="175"/>
                    <a:pt x="49" y="175"/>
                  </a:cubicBezTo>
                  <a:cubicBezTo>
                    <a:pt x="49" y="176"/>
                    <a:pt x="49" y="177"/>
                    <a:pt x="49" y="178"/>
                  </a:cubicBezTo>
                  <a:cubicBezTo>
                    <a:pt x="49" y="178"/>
                    <a:pt x="49" y="179"/>
                    <a:pt x="48" y="179"/>
                  </a:cubicBezTo>
                  <a:cubicBezTo>
                    <a:pt x="48" y="179"/>
                    <a:pt x="48" y="180"/>
                    <a:pt x="48" y="180"/>
                  </a:cubicBezTo>
                  <a:cubicBezTo>
                    <a:pt x="48" y="181"/>
                    <a:pt x="49" y="181"/>
                    <a:pt x="50" y="181"/>
                  </a:cubicBezTo>
                  <a:cubicBezTo>
                    <a:pt x="50" y="180"/>
                    <a:pt x="50" y="180"/>
                    <a:pt x="51" y="180"/>
                  </a:cubicBezTo>
                  <a:cubicBezTo>
                    <a:pt x="51" y="180"/>
                    <a:pt x="51" y="180"/>
                    <a:pt x="52" y="180"/>
                  </a:cubicBezTo>
                  <a:cubicBezTo>
                    <a:pt x="52" y="180"/>
                    <a:pt x="53" y="180"/>
                    <a:pt x="53" y="181"/>
                  </a:cubicBezTo>
                  <a:cubicBezTo>
                    <a:pt x="53" y="181"/>
                    <a:pt x="54" y="181"/>
                    <a:pt x="54" y="182"/>
                  </a:cubicBezTo>
                  <a:cubicBezTo>
                    <a:pt x="55" y="182"/>
                    <a:pt x="55" y="183"/>
                    <a:pt x="55" y="183"/>
                  </a:cubicBezTo>
                  <a:cubicBezTo>
                    <a:pt x="56" y="184"/>
                    <a:pt x="57" y="184"/>
                    <a:pt x="57" y="185"/>
                  </a:cubicBezTo>
                  <a:cubicBezTo>
                    <a:pt x="58" y="185"/>
                    <a:pt x="58" y="185"/>
                    <a:pt x="58" y="185"/>
                  </a:cubicBezTo>
                  <a:cubicBezTo>
                    <a:pt x="58" y="185"/>
                    <a:pt x="59" y="185"/>
                    <a:pt x="59" y="185"/>
                  </a:cubicBezTo>
                  <a:cubicBezTo>
                    <a:pt x="60" y="185"/>
                    <a:pt x="60" y="185"/>
                    <a:pt x="61" y="185"/>
                  </a:cubicBezTo>
                  <a:cubicBezTo>
                    <a:pt x="61" y="185"/>
                    <a:pt x="61" y="186"/>
                    <a:pt x="62" y="186"/>
                  </a:cubicBezTo>
                  <a:cubicBezTo>
                    <a:pt x="62" y="186"/>
                    <a:pt x="63" y="187"/>
                    <a:pt x="63" y="187"/>
                  </a:cubicBezTo>
                  <a:cubicBezTo>
                    <a:pt x="64" y="188"/>
                    <a:pt x="64" y="188"/>
                    <a:pt x="64" y="188"/>
                  </a:cubicBezTo>
                  <a:cubicBezTo>
                    <a:pt x="65" y="188"/>
                    <a:pt x="65" y="188"/>
                    <a:pt x="65" y="188"/>
                  </a:cubicBezTo>
                  <a:cubicBezTo>
                    <a:pt x="66" y="187"/>
                    <a:pt x="67" y="187"/>
                    <a:pt x="67" y="186"/>
                  </a:cubicBezTo>
                  <a:cubicBezTo>
                    <a:pt x="67" y="185"/>
                    <a:pt x="66" y="184"/>
                    <a:pt x="66" y="184"/>
                  </a:cubicBezTo>
                  <a:cubicBezTo>
                    <a:pt x="65" y="183"/>
                    <a:pt x="65" y="182"/>
                    <a:pt x="65" y="181"/>
                  </a:cubicBezTo>
                  <a:cubicBezTo>
                    <a:pt x="65" y="181"/>
                    <a:pt x="65" y="180"/>
                    <a:pt x="65" y="180"/>
                  </a:cubicBezTo>
                  <a:cubicBezTo>
                    <a:pt x="66" y="179"/>
                    <a:pt x="66" y="179"/>
                    <a:pt x="66" y="178"/>
                  </a:cubicBezTo>
                  <a:cubicBezTo>
                    <a:pt x="65" y="178"/>
                    <a:pt x="65" y="177"/>
                    <a:pt x="65" y="177"/>
                  </a:cubicBezTo>
                  <a:cubicBezTo>
                    <a:pt x="65" y="177"/>
                    <a:pt x="65" y="177"/>
                    <a:pt x="65" y="177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6" y="175"/>
                    <a:pt x="67" y="175"/>
                    <a:pt x="67" y="176"/>
                  </a:cubicBezTo>
                  <a:cubicBezTo>
                    <a:pt x="68" y="176"/>
                    <a:pt x="68" y="176"/>
                    <a:pt x="69" y="175"/>
                  </a:cubicBezTo>
                  <a:cubicBezTo>
                    <a:pt x="69" y="175"/>
                    <a:pt x="70" y="176"/>
                    <a:pt x="70" y="176"/>
                  </a:cubicBezTo>
                  <a:cubicBezTo>
                    <a:pt x="71" y="176"/>
                    <a:pt x="71" y="177"/>
                    <a:pt x="72" y="177"/>
                  </a:cubicBezTo>
                  <a:cubicBezTo>
                    <a:pt x="72" y="177"/>
                    <a:pt x="73" y="177"/>
                    <a:pt x="73" y="177"/>
                  </a:cubicBezTo>
                  <a:cubicBezTo>
                    <a:pt x="73" y="177"/>
                    <a:pt x="74" y="177"/>
                    <a:pt x="74" y="177"/>
                  </a:cubicBezTo>
                  <a:cubicBezTo>
                    <a:pt x="75" y="177"/>
                    <a:pt x="75" y="177"/>
                    <a:pt x="76" y="177"/>
                  </a:cubicBezTo>
                  <a:cubicBezTo>
                    <a:pt x="77" y="177"/>
                    <a:pt x="78" y="177"/>
                    <a:pt x="79" y="176"/>
                  </a:cubicBezTo>
                  <a:cubicBezTo>
                    <a:pt x="79" y="176"/>
                    <a:pt x="81" y="174"/>
                    <a:pt x="81" y="175"/>
                  </a:cubicBezTo>
                  <a:cubicBezTo>
                    <a:pt x="81" y="176"/>
                    <a:pt x="81" y="176"/>
                    <a:pt x="82" y="176"/>
                  </a:cubicBezTo>
                  <a:cubicBezTo>
                    <a:pt x="82" y="177"/>
                    <a:pt x="82" y="177"/>
                    <a:pt x="83" y="177"/>
                  </a:cubicBezTo>
                  <a:cubicBezTo>
                    <a:pt x="83" y="177"/>
                    <a:pt x="83" y="177"/>
                    <a:pt x="83" y="177"/>
                  </a:cubicBezTo>
                  <a:cubicBezTo>
                    <a:pt x="83" y="177"/>
                    <a:pt x="83" y="177"/>
                    <a:pt x="84" y="177"/>
                  </a:cubicBezTo>
                  <a:cubicBezTo>
                    <a:pt x="84" y="178"/>
                    <a:pt x="84" y="178"/>
                    <a:pt x="85" y="178"/>
                  </a:cubicBezTo>
                  <a:cubicBezTo>
                    <a:pt x="85" y="178"/>
                    <a:pt x="86" y="178"/>
                    <a:pt x="87" y="178"/>
                  </a:cubicBezTo>
                  <a:cubicBezTo>
                    <a:pt x="88" y="178"/>
                    <a:pt x="88" y="178"/>
                    <a:pt x="89" y="177"/>
                  </a:cubicBezTo>
                  <a:cubicBezTo>
                    <a:pt x="89" y="177"/>
                    <a:pt x="90" y="177"/>
                    <a:pt x="91" y="177"/>
                  </a:cubicBezTo>
                  <a:cubicBezTo>
                    <a:pt x="91" y="176"/>
                    <a:pt x="92" y="176"/>
                    <a:pt x="92" y="176"/>
                  </a:cubicBezTo>
                  <a:cubicBezTo>
                    <a:pt x="92" y="177"/>
                    <a:pt x="92" y="177"/>
                    <a:pt x="92" y="177"/>
                  </a:cubicBezTo>
                  <a:cubicBezTo>
                    <a:pt x="92" y="177"/>
                    <a:pt x="92" y="177"/>
                    <a:pt x="92" y="178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1" y="179"/>
                    <a:pt x="92" y="179"/>
                    <a:pt x="92" y="178"/>
                  </a:cubicBezTo>
                  <a:cubicBezTo>
                    <a:pt x="93" y="178"/>
                    <a:pt x="93" y="177"/>
                    <a:pt x="94" y="176"/>
                  </a:cubicBezTo>
                  <a:cubicBezTo>
                    <a:pt x="94" y="176"/>
                    <a:pt x="95" y="176"/>
                    <a:pt x="95" y="176"/>
                  </a:cubicBezTo>
                  <a:cubicBezTo>
                    <a:pt x="96" y="176"/>
                    <a:pt x="97" y="176"/>
                    <a:pt x="97" y="176"/>
                  </a:cubicBezTo>
                  <a:cubicBezTo>
                    <a:pt x="98" y="176"/>
                    <a:pt x="98" y="176"/>
                    <a:pt x="99" y="177"/>
                  </a:cubicBezTo>
                  <a:cubicBezTo>
                    <a:pt x="100" y="178"/>
                    <a:pt x="101" y="178"/>
                    <a:pt x="103" y="179"/>
                  </a:cubicBezTo>
                  <a:cubicBezTo>
                    <a:pt x="103" y="179"/>
                    <a:pt x="105" y="181"/>
                    <a:pt x="103" y="181"/>
                  </a:cubicBezTo>
                  <a:cubicBezTo>
                    <a:pt x="103" y="181"/>
                    <a:pt x="103" y="181"/>
                    <a:pt x="102" y="181"/>
                  </a:cubicBezTo>
                  <a:cubicBezTo>
                    <a:pt x="102" y="181"/>
                    <a:pt x="102" y="181"/>
                    <a:pt x="101" y="181"/>
                  </a:cubicBezTo>
                  <a:cubicBezTo>
                    <a:pt x="101" y="180"/>
                    <a:pt x="101" y="180"/>
                    <a:pt x="100" y="180"/>
                  </a:cubicBezTo>
                  <a:cubicBezTo>
                    <a:pt x="100" y="180"/>
                    <a:pt x="99" y="179"/>
                    <a:pt x="99" y="179"/>
                  </a:cubicBezTo>
                  <a:cubicBezTo>
                    <a:pt x="98" y="179"/>
                    <a:pt x="98" y="178"/>
                    <a:pt x="97" y="178"/>
                  </a:cubicBezTo>
                  <a:cubicBezTo>
                    <a:pt x="97" y="178"/>
                    <a:pt x="96" y="178"/>
                    <a:pt x="96" y="177"/>
                  </a:cubicBezTo>
                  <a:cubicBezTo>
                    <a:pt x="95" y="177"/>
                    <a:pt x="95" y="177"/>
                    <a:pt x="95" y="177"/>
                  </a:cubicBezTo>
                  <a:cubicBezTo>
                    <a:pt x="94" y="176"/>
                    <a:pt x="94" y="178"/>
                    <a:pt x="94" y="178"/>
                  </a:cubicBezTo>
                  <a:cubicBezTo>
                    <a:pt x="94" y="179"/>
                    <a:pt x="94" y="179"/>
                    <a:pt x="94" y="180"/>
                  </a:cubicBezTo>
                  <a:cubicBezTo>
                    <a:pt x="94" y="180"/>
                    <a:pt x="93" y="180"/>
                    <a:pt x="93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91" y="180"/>
                    <a:pt x="91" y="180"/>
                    <a:pt x="91" y="180"/>
                  </a:cubicBezTo>
                  <a:cubicBezTo>
                    <a:pt x="90" y="180"/>
                    <a:pt x="89" y="180"/>
                    <a:pt x="89" y="180"/>
                  </a:cubicBezTo>
                  <a:cubicBezTo>
                    <a:pt x="88" y="180"/>
                    <a:pt x="87" y="179"/>
                    <a:pt x="87" y="179"/>
                  </a:cubicBezTo>
                  <a:cubicBezTo>
                    <a:pt x="86" y="179"/>
                    <a:pt x="86" y="179"/>
                    <a:pt x="85" y="179"/>
                  </a:cubicBezTo>
                  <a:cubicBezTo>
                    <a:pt x="84" y="179"/>
                    <a:pt x="84" y="179"/>
                    <a:pt x="83" y="179"/>
                  </a:cubicBezTo>
                  <a:cubicBezTo>
                    <a:pt x="83" y="178"/>
                    <a:pt x="83" y="178"/>
                    <a:pt x="82" y="178"/>
                  </a:cubicBezTo>
                  <a:cubicBezTo>
                    <a:pt x="82" y="178"/>
                    <a:pt x="82" y="178"/>
                    <a:pt x="81" y="178"/>
                  </a:cubicBezTo>
                  <a:cubicBezTo>
                    <a:pt x="81" y="178"/>
                    <a:pt x="80" y="179"/>
                    <a:pt x="80" y="179"/>
                  </a:cubicBezTo>
                  <a:cubicBezTo>
                    <a:pt x="79" y="179"/>
                    <a:pt x="79" y="179"/>
                    <a:pt x="78" y="179"/>
                  </a:cubicBezTo>
                  <a:cubicBezTo>
                    <a:pt x="78" y="180"/>
                    <a:pt x="77" y="180"/>
                    <a:pt x="77" y="179"/>
                  </a:cubicBezTo>
                  <a:cubicBezTo>
                    <a:pt x="76" y="179"/>
                    <a:pt x="76" y="179"/>
                    <a:pt x="75" y="179"/>
                  </a:cubicBezTo>
                  <a:cubicBezTo>
                    <a:pt x="75" y="179"/>
                    <a:pt x="74" y="179"/>
                    <a:pt x="74" y="179"/>
                  </a:cubicBezTo>
                  <a:cubicBezTo>
                    <a:pt x="73" y="180"/>
                    <a:pt x="73" y="180"/>
                    <a:pt x="72" y="180"/>
                  </a:cubicBezTo>
                  <a:cubicBezTo>
                    <a:pt x="72" y="180"/>
                    <a:pt x="71" y="181"/>
                    <a:pt x="71" y="181"/>
                  </a:cubicBezTo>
                  <a:cubicBezTo>
                    <a:pt x="70" y="181"/>
                    <a:pt x="69" y="181"/>
                    <a:pt x="69" y="182"/>
                  </a:cubicBezTo>
                  <a:cubicBezTo>
                    <a:pt x="68" y="183"/>
                    <a:pt x="69" y="183"/>
                    <a:pt x="70" y="184"/>
                  </a:cubicBezTo>
                  <a:cubicBezTo>
                    <a:pt x="70" y="184"/>
                    <a:pt x="70" y="184"/>
                    <a:pt x="70" y="185"/>
                  </a:cubicBezTo>
                  <a:cubicBezTo>
                    <a:pt x="71" y="186"/>
                    <a:pt x="71" y="187"/>
                    <a:pt x="71" y="188"/>
                  </a:cubicBezTo>
                  <a:cubicBezTo>
                    <a:pt x="71" y="189"/>
                    <a:pt x="72" y="190"/>
                    <a:pt x="73" y="191"/>
                  </a:cubicBezTo>
                  <a:cubicBezTo>
                    <a:pt x="73" y="192"/>
                    <a:pt x="74" y="192"/>
                    <a:pt x="75" y="193"/>
                  </a:cubicBezTo>
                  <a:cubicBezTo>
                    <a:pt x="75" y="193"/>
                    <a:pt x="76" y="194"/>
                    <a:pt x="76" y="194"/>
                  </a:cubicBezTo>
                  <a:cubicBezTo>
                    <a:pt x="77" y="195"/>
                    <a:pt x="76" y="196"/>
                    <a:pt x="77" y="196"/>
                  </a:cubicBezTo>
                  <a:cubicBezTo>
                    <a:pt x="77" y="196"/>
                    <a:pt x="77" y="197"/>
                    <a:pt x="77" y="197"/>
                  </a:cubicBezTo>
                  <a:cubicBezTo>
                    <a:pt x="77" y="197"/>
                    <a:pt x="77" y="198"/>
                    <a:pt x="77" y="198"/>
                  </a:cubicBezTo>
                  <a:cubicBezTo>
                    <a:pt x="77" y="198"/>
                    <a:pt x="78" y="199"/>
                    <a:pt x="78" y="199"/>
                  </a:cubicBezTo>
                  <a:cubicBezTo>
                    <a:pt x="78" y="200"/>
                    <a:pt x="78" y="200"/>
                    <a:pt x="78" y="201"/>
                  </a:cubicBezTo>
                  <a:cubicBezTo>
                    <a:pt x="79" y="201"/>
                    <a:pt x="79" y="202"/>
                    <a:pt x="79" y="202"/>
                  </a:cubicBezTo>
                  <a:cubicBezTo>
                    <a:pt x="79" y="203"/>
                    <a:pt x="79" y="203"/>
                    <a:pt x="78" y="203"/>
                  </a:cubicBezTo>
                  <a:cubicBezTo>
                    <a:pt x="78" y="203"/>
                    <a:pt x="77" y="203"/>
                    <a:pt x="77" y="203"/>
                  </a:cubicBezTo>
                  <a:cubicBezTo>
                    <a:pt x="77" y="203"/>
                    <a:pt x="76" y="202"/>
                    <a:pt x="76" y="202"/>
                  </a:cubicBezTo>
                  <a:cubicBezTo>
                    <a:pt x="76" y="202"/>
                    <a:pt x="75" y="201"/>
                    <a:pt x="75" y="201"/>
                  </a:cubicBezTo>
                  <a:cubicBezTo>
                    <a:pt x="74" y="200"/>
                    <a:pt x="73" y="200"/>
                    <a:pt x="72" y="199"/>
                  </a:cubicBezTo>
                  <a:cubicBezTo>
                    <a:pt x="70" y="199"/>
                    <a:pt x="70" y="196"/>
                    <a:pt x="70" y="195"/>
                  </a:cubicBezTo>
                  <a:cubicBezTo>
                    <a:pt x="70" y="194"/>
                    <a:pt x="70" y="193"/>
                    <a:pt x="70" y="193"/>
                  </a:cubicBezTo>
                  <a:cubicBezTo>
                    <a:pt x="70" y="192"/>
                    <a:pt x="70" y="191"/>
                    <a:pt x="70" y="191"/>
                  </a:cubicBezTo>
                  <a:cubicBezTo>
                    <a:pt x="70" y="190"/>
                    <a:pt x="70" y="190"/>
                    <a:pt x="69" y="190"/>
                  </a:cubicBezTo>
                  <a:cubicBezTo>
                    <a:pt x="69" y="190"/>
                    <a:pt x="69" y="190"/>
                    <a:pt x="68" y="190"/>
                  </a:cubicBezTo>
                  <a:cubicBezTo>
                    <a:pt x="68" y="190"/>
                    <a:pt x="67" y="189"/>
                    <a:pt x="67" y="189"/>
                  </a:cubicBezTo>
                  <a:cubicBezTo>
                    <a:pt x="66" y="189"/>
                    <a:pt x="66" y="190"/>
                    <a:pt x="66" y="191"/>
                  </a:cubicBezTo>
                  <a:cubicBezTo>
                    <a:pt x="66" y="191"/>
                    <a:pt x="66" y="191"/>
                    <a:pt x="66" y="192"/>
                  </a:cubicBezTo>
                  <a:cubicBezTo>
                    <a:pt x="66" y="192"/>
                    <a:pt x="65" y="192"/>
                    <a:pt x="65" y="193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5" y="200"/>
                    <a:pt x="65" y="200"/>
                    <a:pt x="65" y="200"/>
                  </a:cubicBezTo>
                  <a:cubicBezTo>
                    <a:pt x="65" y="201"/>
                    <a:pt x="65" y="201"/>
                    <a:pt x="65" y="201"/>
                  </a:cubicBezTo>
                  <a:cubicBezTo>
                    <a:pt x="65" y="202"/>
                    <a:pt x="66" y="202"/>
                    <a:pt x="66" y="203"/>
                  </a:cubicBezTo>
                  <a:cubicBezTo>
                    <a:pt x="66" y="203"/>
                    <a:pt x="66" y="204"/>
                    <a:pt x="67" y="204"/>
                  </a:cubicBezTo>
                  <a:cubicBezTo>
                    <a:pt x="67" y="204"/>
                    <a:pt x="67" y="205"/>
                    <a:pt x="67" y="205"/>
                  </a:cubicBezTo>
                  <a:cubicBezTo>
                    <a:pt x="67" y="205"/>
                    <a:pt x="67" y="206"/>
                    <a:pt x="68" y="206"/>
                  </a:cubicBezTo>
                  <a:cubicBezTo>
                    <a:pt x="68" y="206"/>
                    <a:pt x="68" y="206"/>
                    <a:pt x="68" y="206"/>
                  </a:cubicBezTo>
                  <a:cubicBezTo>
                    <a:pt x="68" y="207"/>
                    <a:pt x="68" y="207"/>
                    <a:pt x="68" y="208"/>
                  </a:cubicBezTo>
                  <a:cubicBezTo>
                    <a:pt x="68" y="208"/>
                    <a:pt x="68" y="209"/>
                    <a:pt x="69" y="209"/>
                  </a:cubicBezTo>
                  <a:cubicBezTo>
                    <a:pt x="69" y="210"/>
                    <a:pt x="69" y="210"/>
                    <a:pt x="69" y="210"/>
                  </a:cubicBezTo>
                  <a:cubicBezTo>
                    <a:pt x="69" y="211"/>
                    <a:pt x="69" y="211"/>
                    <a:pt x="68" y="212"/>
                  </a:cubicBezTo>
                  <a:cubicBezTo>
                    <a:pt x="68" y="212"/>
                    <a:pt x="68" y="212"/>
                    <a:pt x="68" y="213"/>
                  </a:cubicBezTo>
                  <a:cubicBezTo>
                    <a:pt x="68" y="213"/>
                    <a:pt x="68" y="213"/>
                    <a:pt x="68" y="214"/>
                  </a:cubicBezTo>
                  <a:cubicBezTo>
                    <a:pt x="68" y="214"/>
                    <a:pt x="68" y="214"/>
                    <a:pt x="68" y="215"/>
                  </a:cubicBezTo>
                  <a:cubicBezTo>
                    <a:pt x="69" y="215"/>
                    <a:pt x="69" y="215"/>
                    <a:pt x="69" y="215"/>
                  </a:cubicBezTo>
                  <a:cubicBezTo>
                    <a:pt x="69" y="215"/>
                    <a:pt x="69" y="215"/>
                    <a:pt x="69" y="216"/>
                  </a:cubicBezTo>
                  <a:cubicBezTo>
                    <a:pt x="69" y="216"/>
                    <a:pt x="69" y="216"/>
                    <a:pt x="69" y="217"/>
                  </a:cubicBezTo>
                  <a:cubicBezTo>
                    <a:pt x="70" y="217"/>
                    <a:pt x="69" y="217"/>
                    <a:pt x="70" y="217"/>
                  </a:cubicBezTo>
                  <a:cubicBezTo>
                    <a:pt x="70" y="218"/>
                    <a:pt x="70" y="218"/>
                    <a:pt x="70" y="218"/>
                  </a:cubicBezTo>
                  <a:cubicBezTo>
                    <a:pt x="70" y="219"/>
                    <a:pt x="70" y="219"/>
                    <a:pt x="71" y="219"/>
                  </a:cubicBezTo>
                  <a:cubicBezTo>
                    <a:pt x="71" y="220"/>
                    <a:pt x="72" y="220"/>
                    <a:pt x="72" y="221"/>
                  </a:cubicBezTo>
                  <a:cubicBezTo>
                    <a:pt x="72" y="221"/>
                    <a:pt x="73" y="221"/>
                    <a:pt x="73" y="222"/>
                  </a:cubicBezTo>
                  <a:cubicBezTo>
                    <a:pt x="74" y="222"/>
                    <a:pt x="74" y="222"/>
                    <a:pt x="74" y="223"/>
                  </a:cubicBezTo>
                  <a:cubicBezTo>
                    <a:pt x="74" y="223"/>
                    <a:pt x="75" y="223"/>
                    <a:pt x="75" y="223"/>
                  </a:cubicBezTo>
                  <a:cubicBezTo>
                    <a:pt x="75" y="223"/>
                    <a:pt x="76" y="223"/>
                    <a:pt x="76" y="224"/>
                  </a:cubicBezTo>
                  <a:cubicBezTo>
                    <a:pt x="76" y="224"/>
                    <a:pt x="76" y="224"/>
                    <a:pt x="77" y="225"/>
                  </a:cubicBezTo>
                  <a:cubicBezTo>
                    <a:pt x="77" y="225"/>
                    <a:pt x="78" y="225"/>
                    <a:pt x="78" y="225"/>
                  </a:cubicBezTo>
                  <a:cubicBezTo>
                    <a:pt x="78" y="225"/>
                    <a:pt x="78" y="226"/>
                    <a:pt x="78" y="226"/>
                  </a:cubicBezTo>
                  <a:cubicBezTo>
                    <a:pt x="79" y="226"/>
                    <a:pt x="79" y="226"/>
                    <a:pt x="79" y="226"/>
                  </a:cubicBezTo>
                  <a:cubicBezTo>
                    <a:pt x="80" y="226"/>
                    <a:pt x="81" y="226"/>
                    <a:pt x="82" y="226"/>
                  </a:cubicBezTo>
                  <a:cubicBezTo>
                    <a:pt x="82" y="226"/>
                    <a:pt x="83" y="226"/>
                    <a:pt x="83" y="226"/>
                  </a:cubicBezTo>
                  <a:cubicBezTo>
                    <a:pt x="84" y="226"/>
                    <a:pt x="84" y="226"/>
                    <a:pt x="84" y="226"/>
                  </a:cubicBezTo>
                  <a:cubicBezTo>
                    <a:pt x="85" y="225"/>
                    <a:pt x="85" y="226"/>
                    <a:pt x="86" y="226"/>
                  </a:cubicBezTo>
                  <a:cubicBezTo>
                    <a:pt x="86" y="226"/>
                    <a:pt x="86" y="226"/>
                    <a:pt x="86" y="226"/>
                  </a:cubicBezTo>
                  <a:cubicBezTo>
                    <a:pt x="86" y="227"/>
                    <a:pt x="87" y="227"/>
                    <a:pt x="87" y="227"/>
                  </a:cubicBezTo>
                  <a:cubicBezTo>
                    <a:pt x="87" y="227"/>
                    <a:pt x="88" y="227"/>
                    <a:pt x="88" y="227"/>
                  </a:cubicBezTo>
                  <a:cubicBezTo>
                    <a:pt x="88" y="228"/>
                    <a:pt x="88" y="228"/>
                    <a:pt x="88" y="228"/>
                  </a:cubicBezTo>
                  <a:cubicBezTo>
                    <a:pt x="88" y="228"/>
                    <a:pt x="89" y="229"/>
                    <a:pt x="89" y="229"/>
                  </a:cubicBezTo>
                  <a:cubicBezTo>
                    <a:pt x="89" y="229"/>
                    <a:pt x="89" y="229"/>
                    <a:pt x="89" y="2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31"/>
                    <a:pt x="89" y="231"/>
                    <a:pt x="89" y="231"/>
                  </a:cubicBezTo>
                  <a:cubicBezTo>
                    <a:pt x="89" y="231"/>
                    <a:pt x="90" y="231"/>
                    <a:pt x="90" y="232"/>
                  </a:cubicBezTo>
                  <a:cubicBezTo>
                    <a:pt x="90" y="232"/>
                    <a:pt x="90" y="232"/>
                    <a:pt x="90" y="233"/>
                  </a:cubicBezTo>
                  <a:cubicBezTo>
                    <a:pt x="90" y="233"/>
                    <a:pt x="90" y="233"/>
                    <a:pt x="90" y="234"/>
                  </a:cubicBezTo>
                  <a:cubicBezTo>
                    <a:pt x="90" y="234"/>
                    <a:pt x="90" y="234"/>
                    <a:pt x="89" y="234"/>
                  </a:cubicBezTo>
                  <a:cubicBezTo>
                    <a:pt x="89" y="237"/>
                    <a:pt x="89" y="237"/>
                    <a:pt x="89" y="237"/>
                  </a:cubicBezTo>
                  <a:cubicBezTo>
                    <a:pt x="89" y="237"/>
                    <a:pt x="89" y="237"/>
                    <a:pt x="89" y="238"/>
                  </a:cubicBezTo>
                  <a:cubicBezTo>
                    <a:pt x="89" y="238"/>
                    <a:pt x="89" y="238"/>
                    <a:pt x="89" y="239"/>
                  </a:cubicBezTo>
                  <a:cubicBezTo>
                    <a:pt x="88" y="239"/>
                    <a:pt x="88" y="240"/>
                    <a:pt x="88" y="241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84" y="241"/>
                    <a:pt x="84" y="241"/>
                    <a:pt x="84" y="241"/>
                  </a:cubicBezTo>
                  <a:cubicBezTo>
                    <a:pt x="84" y="242"/>
                    <a:pt x="84" y="242"/>
                    <a:pt x="84" y="242"/>
                  </a:cubicBezTo>
                  <a:cubicBezTo>
                    <a:pt x="84" y="243"/>
                    <a:pt x="84" y="243"/>
                    <a:pt x="84" y="244"/>
                  </a:cubicBezTo>
                  <a:cubicBezTo>
                    <a:pt x="84" y="244"/>
                    <a:pt x="84" y="244"/>
                    <a:pt x="84" y="245"/>
                  </a:cubicBezTo>
                  <a:cubicBezTo>
                    <a:pt x="84" y="245"/>
                    <a:pt x="85" y="245"/>
                    <a:pt x="85" y="245"/>
                  </a:cubicBezTo>
                  <a:cubicBezTo>
                    <a:pt x="85" y="246"/>
                    <a:pt x="85" y="247"/>
                    <a:pt x="85" y="247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9"/>
                    <a:pt x="85" y="249"/>
                    <a:pt x="85" y="249"/>
                  </a:cubicBezTo>
                  <a:cubicBezTo>
                    <a:pt x="85" y="249"/>
                    <a:pt x="85" y="250"/>
                    <a:pt x="86" y="251"/>
                  </a:cubicBezTo>
                  <a:cubicBezTo>
                    <a:pt x="86" y="253"/>
                    <a:pt x="86" y="253"/>
                    <a:pt x="86" y="253"/>
                  </a:cubicBezTo>
                  <a:cubicBezTo>
                    <a:pt x="86" y="253"/>
                    <a:pt x="86" y="253"/>
                    <a:pt x="86" y="253"/>
                  </a:cubicBezTo>
                  <a:cubicBezTo>
                    <a:pt x="86" y="253"/>
                    <a:pt x="86" y="253"/>
                    <a:pt x="86" y="254"/>
                  </a:cubicBezTo>
                  <a:cubicBezTo>
                    <a:pt x="86" y="254"/>
                    <a:pt x="86" y="255"/>
                    <a:pt x="87" y="255"/>
                  </a:cubicBezTo>
                  <a:cubicBezTo>
                    <a:pt x="87" y="255"/>
                    <a:pt x="87" y="255"/>
                    <a:pt x="87" y="255"/>
                  </a:cubicBezTo>
                  <a:cubicBezTo>
                    <a:pt x="88" y="255"/>
                    <a:pt x="88" y="255"/>
                    <a:pt x="88" y="256"/>
                  </a:cubicBezTo>
                  <a:cubicBezTo>
                    <a:pt x="88" y="256"/>
                    <a:pt x="89" y="256"/>
                    <a:pt x="89" y="257"/>
                  </a:cubicBezTo>
                  <a:cubicBezTo>
                    <a:pt x="90" y="257"/>
                    <a:pt x="90" y="258"/>
                    <a:pt x="90" y="258"/>
                  </a:cubicBezTo>
                  <a:cubicBezTo>
                    <a:pt x="91" y="258"/>
                    <a:pt x="91" y="259"/>
                    <a:pt x="91" y="259"/>
                  </a:cubicBezTo>
                  <a:cubicBezTo>
                    <a:pt x="91" y="259"/>
                    <a:pt x="92" y="259"/>
                    <a:pt x="92" y="259"/>
                  </a:cubicBezTo>
                  <a:cubicBezTo>
                    <a:pt x="92" y="260"/>
                    <a:pt x="93" y="260"/>
                    <a:pt x="93" y="260"/>
                  </a:cubicBezTo>
                  <a:cubicBezTo>
                    <a:pt x="93" y="260"/>
                    <a:pt x="93" y="260"/>
                    <a:pt x="94" y="260"/>
                  </a:cubicBezTo>
                  <a:cubicBezTo>
                    <a:pt x="94" y="261"/>
                    <a:pt x="95" y="262"/>
                    <a:pt x="95" y="262"/>
                  </a:cubicBezTo>
                  <a:cubicBezTo>
                    <a:pt x="95" y="263"/>
                    <a:pt x="96" y="263"/>
                    <a:pt x="96" y="263"/>
                  </a:cubicBezTo>
                  <a:cubicBezTo>
                    <a:pt x="96" y="264"/>
                    <a:pt x="96" y="264"/>
                    <a:pt x="96" y="264"/>
                  </a:cubicBezTo>
                  <a:cubicBezTo>
                    <a:pt x="96" y="264"/>
                    <a:pt x="96" y="265"/>
                    <a:pt x="97" y="265"/>
                  </a:cubicBezTo>
                  <a:cubicBezTo>
                    <a:pt x="97" y="265"/>
                    <a:pt x="97" y="265"/>
                    <a:pt x="97" y="266"/>
                  </a:cubicBezTo>
                  <a:cubicBezTo>
                    <a:pt x="97" y="266"/>
                    <a:pt x="97" y="266"/>
                    <a:pt x="97" y="266"/>
                  </a:cubicBezTo>
                  <a:cubicBezTo>
                    <a:pt x="97" y="266"/>
                    <a:pt x="97" y="266"/>
                    <a:pt x="97" y="266"/>
                  </a:cubicBezTo>
                  <a:cubicBezTo>
                    <a:pt x="97" y="266"/>
                    <a:pt x="98" y="266"/>
                    <a:pt x="98" y="267"/>
                  </a:cubicBezTo>
                  <a:cubicBezTo>
                    <a:pt x="98" y="267"/>
                    <a:pt x="98" y="267"/>
                    <a:pt x="99" y="267"/>
                  </a:cubicBezTo>
                  <a:cubicBezTo>
                    <a:pt x="99" y="267"/>
                    <a:pt x="99" y="267"/>
                    <a:pt x="99" y="267"/>
                  </a:cubicBezTo>
                  <a:cubicBezTo>
                    <a:pt x="99" y="267"/>
                    <a:pt x="99" y="267"/>
                    <a:pt x="100" y="267"/>
                  </a:cubicBezTo>
                  <a:cubicBezTo>
                    <a:pt x="100" y="268"/>
                    <a:pt x="100" y="268"/>
                    <a:pt x="100" y="268"/>
                  </a:cubicBezTo>
                  <a:cubicBezTo>
                    <a:pt x="100" y="268"/>
                    <a:pt x="100" y="268"/>
                    <a:pt x="100" y="269"/>
                  </a:cubicBezTo>
                  <a:cubicBezTo>
                    <a:pt x="101" y="269"/>
                    <a:pt x="101" y="270"/>
                    <a:pt x="101" y="270"/>
                  </a:cubicBezTo>
                  <a:cubicBezTo>
                    <a:pt x="101" y="271"/>
                    <a:pt x="101" y="271"/>
                    <a:pt x="101" y="271"/>
                  </a:cubicBezTo>
                  <a:cubicBezTo>
                    <a:pt x="101" y="272"/>
                    <a:pt x="101" y="272"/>
                    <a:pt x="101" y="273"/>
                  </a:cubicBezTo>
                  <a:cubicBezTo>
                    <a:pt x="102" y="273"/>
                    <a:pt x="102" y="273"/>
                    <a:pt x="102" y="274"/>
                  </a:cubicBezTo>
                  <a:cubicBezTo>
                    <a:pt x="103" y="274"/>
                    <a:pt x="103" y="275"/>
                    <a:pt x="103" y="275"/>
                  </a:cubicBezTo>
                  <a:cubicBezTo>
                    <a:pt x="104" y="275"/>
                    <a:pt x="104" y="276"/>
                    <a:pt x="105" y="276"/>
                  </a:cubicBezTo>
                  <a:cubicBezTo>
                    <a:pt x="105" y="276"/>
                    <a:pt x="106" y="277"/>
                    <a:pt x="106" y="278"/>
                  </a:cubicBezTo>
                  <a:cubicBezTo>
                    <a:pt x="106" y="278"/>
                    <a:pt x="106" y="278"/>
                    <a:pt x="106" y="278"/>
                  </a:cubicBezTo>
                  <a:cubicBezTo>
                    <a:pt x="106" y="279"/>
                    <a:pt x="106" y="279"/>
                    <a:pt x="106" y="279"/>
                  </a:cubicBezTo>
                  <a:cubicBezTo>
                    <a:pt x="107" y="279"/>
                    <a:pt x="107" y="280"/>
                    <a:pt x="107" y="280"/>
                  </a:cubicBezTo>
                  <a:cubicBezTo>
                    <a:pt x="107" y="281"/>
                    <a:pt x="107" y="281"/>
                    <a:pt x="107" y="281"/>
                  </a:cubicBezTo>
                  <a:cubicBezTo>
                    <a:pt x="108" y="282"/>
                    <a:pt x="108" y="282"/>
                    <a:pt x="109" y="282"/>
                  </a:cubicBezTo>
                  <a:cubicBezTo>
                    <a:pt x="109" y="283"/>
                    <a:pt x="110" y="282"/>
                    <a:pt x="110" y="283"/>
                  </a:cubicBezTo>
                  <a:cubicBezTo>
                    <a:pt x="111" y="283"/>
                    <a:pt x="111" y="283"/>
                    <a:pt x="111" y="283"/>
                  </a:cubicBezTo>
                  <a:cubicBezTo>
                    <a:pt x="111" y="283"/>
                    <a:pt x="111" y="283"/>
                    <a:pt x="112" y="283"/>
                  </a:cubicBezTo>
                  <a:cubicBezTo>
                    <a:pt x="112" y="284"/>
                    <a:pt x="112" y="284"/>
                    <a:pt x="113" y="284"/>
                  </a:cubicBezTo>
                  <a:cubicBezTo>
                    <a:pt x="113" y="285"/>
                    <a:pt x="113" y="285"/>
                    <a:pt x="113" y="285"/>
                  </a:cubicBezTo>
                  <a:cubicBezTo>
                    <a:pt x="113" y="286"/>
                    <a:pt x="114" y="286"/>
                    <a:pt x="114" y="286"/>
                  </a:cubicBezTo>
                  <a:cubicBezTo>
                    <a:pt x="114" y="287"/>
                    <a:pt x="114" y="287"/>
                    <a:pt x="114" y="287"/>
                  </a:cubicBezTo>
                  <a:cubicBezTo>
                    <a:pt x="115" y="288"/>
                    <a:pt x="115" y="288"/>
                    <a:pt x="115" y="288"/>
                  </a:cubicBezTo>
                  <a:cubicBezTo>
                    <a:pt x="116" y="288"/>
                    <a:pt x="116" y="288"/>
                    <a:pt x="116" y="289"/>
                  </a:cubicBezTo>
                  <a:cubicBezTo>
                    <a:pt x="117" y="289"/>
                    <a:pt x="117" y="289"/>
                    <a:pt x="117" y="289"/>
                  </a:cubicBezTo>
                  <a:cubicBezTo>
                    <a:pt x="117" y="289"/>
                    <a:pt x="117" y="289"/>
                    <a:pt x="117" y="290"/>
                  </a:cubicBezTo>
                  <a:cubicBezTo>
                    <a:pt x="118" y="290"/>
                    <a:pt x="118" y="290"/>
                    <a:pt x="118" y="290"/>
                  </a:cubicBezTo>
                  <a:cubicBezTo>
                    <a:pt x="119" y="290"/>
                    <a:pt x="119" y="290"/>
                    <a:pt x="119" y="290"/>
                  </a:cubicBezTo>
                  <a:cubicBezTo>
                    <a:pt x="119" y="291"/>
                    <a:pt x="120" y="291"/>
                    <a:pt x="120" y="291"/>
                  </a:cubicBezTo>
                  <a:cubicBezTo>
                    <a:pt x="121" y="291"/>
                    <a:pt x="121" y="291"/>
                    <a:pt x="121" y="292"/>
                  </a:cubicBezTo>
                  <a:cubicBezTo>
                    <a:pt x="121" y="292"/>
                    <a:pt x="121" y="292"/>
                    <a:pt x="121" y="292"/>
                  </a:cubicBezTo>
                  <a:cubicBezTo>
                    <a:pt x="121" y="292"/>
                    <a:pt x="121" y="293"/>
                    <a:pt x="121" y="293"/>
                  </a:cubicBezTo>
                  <a:cubicBezTo>
                    <a:pt x="122" y="293"/>
                    <a:pt x="122" y="293"/>
                    <a:pt x="122" y="293"/>
                  </a:cubicBezTo>
                  <a:cubicBezTo>
                    <a:pt x="122" y="295"/>
                    <a:pt x="122" y="295"/>
                    <a:pt x="122" y="295"/>
                  </a:cubicBezTo>
                  <a:cubicBezTo>
                    <a:pt x="122" y="296"/>
                    <a:pt x="121" y="296"/>
                    <a:pt x="121" y="296"/>
                  </a:cubicBezTo>
                  <a:cubicBezTo>
                    <a:pt x="121" y="296"/>
                    <a:pt x="121" y="297"/>
                    <a:pt x="121" y="297"/>
                  </a:cubicBezTo>
                  <a:cubicBezTo>
                    <a:pt x="121" y="298"/>
                    <a:pt x="121" y="298"/>
                    <a:pt x="121" y="299"/>
                  </a:cubicBezTo>
                  <a:cubicBezTo>
                    <a:pt x="121" y="299"/>
                    <a:pt x="121" y="299"/>
                    <a:pt x="121" y="299"/>
                  </a:cubicBezTo>
                  <a:cubicBezTo>
                    <a:pt x="121" y="299"/>
                    <a:pt x="121" y="300"/>
                    <a:pt x="121" y="300"/>
                  </a:cubicBezTo>
                  <a:cubicBezTo>
                    <a:pt x="121" y="300"/>
                    <a:pt x="122" y="300"/>
                    <a:pt x="122" y="300"/>
                  </a:cubicBezTo>
                  <a:cubicBezTo>
                    <a:pt x="122" y="300"/>
                    <a:pt x="122" y="300"/>
                    <a:pt x="122" y="300"/>
                  </a:cubicBezTo>
                  <a:cubicBezTo>
                    <a:pt x="123" y="300"/>
                    <a:pt x="123" y="301"/>
                    <a:pt x="123" y="301"/>
                  </a:cubicBezTo>
                  <a:cubicBezTo>
                    <a:pt x="123" y="301"/>
                    <a:pt x="123" y="301"/>
                    <a:pt x="124" y="301"/>
                  </a:cubicBezTo>
                  <a:cubicBezTo>
                    <a:pt x="124" y="301"/>
                    <a:pt x="124" y="302"/>
                    <a:pt x="124" y="302"/>
                  </a:cubicBezTo>
                  <a:cubicBezTo>
                    <a:pt x="124" y="302"/>
                    <a:pt x="125" y="302"/>
                    <a:pt x="125" y="302"/>
                  </a:cubicBezTo>
                  <a:cubicBezTo>
                    <a:pt x="125" y="302"/>
                    <a:pt x="126" y="303"/>
                    <a:pt x="126" y="303"/>
                  </a:cubicBezTo>
                  <a:cubicBezTo>
                    <a:pt x="127" y="303"/>
                    <a:pt x="127" y="303"/>
                    <a:pt x="128" y="304"/>
                  </a:cubicBezTo>
                  <a:cubicBezTo>
                    <a:pt x="128" y="304"/>
                    <a:pt x="129" y="304"/>
                    <a:pt x="129" y="304"/>
                  </a:cubicBezTo>
                  <a:cubicBezTo>
                    <a:pt x="129" y="309"/>
                    <a:pt x="129" y="309"/>
                    <a:pt x="129" y="309"/>
                  </a:cubicBezTo>
                  <a:cubicBezTo>
                    <a:pt x="129" y="309"/>
                    <a:pt x="129" y="309"/>
                    <a:pt x="130" y="309"/>
                  </a:cubicBezTo>
                  <a:cubicBezTo>
                    <a:pt x="129" y="310"/>
                    <a:pt x="129" y="310"/>
                    <a:pt x="129" y="310"/>
                  </a:cubicBezTo>
                  <a:cubicBezTo>
                    <a:pt x="129" y="312"/>
                    <a:pt x="129" y="312"/>
                    <a:pt x="129" y="312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9" y="314"/>
                    <a:pt x="129" y="314"/>
                  </a:cubicBezTo>
                  <a:cubicBezTo>
                    <a:pt x="129" y="314"/>
                    <a:pt x="130" y="314"/>
                    <a:pt x="130" y="315"/>
                  </a:cubicBezTo>
                  <a:cubicBezTo>
                    <a:pt x="130" y="315"/>
                    <a:pt x="130" y="316"/>
                    <a:pt x="130" y="317"/>
                  </a:cubicBezTo>
                  <a:cubicBezTo>
                    <a:pt x="131" y="317"/>
                    <a:pt x="131" y="318"/>
                    <a:pt x="130" y="318"/>
                  </a:cubicBezTo>
                  <a:cubicBezTo>
                    <a:pt x="130" y="319"/>
                    <a:pt x="129" y="319"/>
                    <a:pt x="130" y="319"/>
                  </a:cubicBezTo>
                  <a:cubicBezTo>
                    <a:pt x="130" y="319"/>
                    <a:pt x="130" y="319"/>
                    <a:pt x="130" y="319"/>
                  </a:cubicBezTo>
                  <a:cubicBezTo>
                    <a:pt x="130" y="320"/>
                    <a:pt x="130" y="320"/>
                    <a:pt x="130" y="320"/>
                  </a:cubicBezTo>
                  <a:cubicBezTo>
                    <a:pt x="130" y="320"/>
                    <a:pt x="130" y="321"/>
                    <a:pt x="130" y="321"/>
                  </a:cubicBezTo>
                  <a:cubicBezTo>
                    <a:pt x="131" y="321"/>
                    <a:pt x="131" y="321"/>
                    <a:pt x="131" y="322"/>
                  </a:cubicBezTo>
                  <a:cubicBezTo>
                    <a:pt x="131" y="322"/>
                    <a:pt x="131" y="322"/>
                    <a:pt x="131" y="322"/>
                  </a:cubicBezTo>
                  <a:cubicBezTo>
                    <a:pt x="131" y="323"/>
                    <a:pt x="130" y="322"/>
                    <a:pt x="130" y="323"/>
                  </a:cubicBezTo>
                  <a:cubicBezTo>
                    <a:pt x="130" y="323"/>
                    <a:pt x="130" y="324"/>
                    <a:pt x="130" y="324"/>
                  </a:cubicBezTo>
                  <a:cubicBezTo>
                    <a:pt x="130" y="324"/>
                    <a:pt x="131" y="325"/>
                    <a:pt x="130" y="325"/>
                  </a:cubicBezTo>
                  <a:cubicBezTo>
                    <a:pt x="130" y="325"/>
                    <a:pt x="130" y="326"/>
                    <a:pt x="130" y="326"/>
                  </a:cubicBezTo>
                  <a:cubicBezTo>
                    <a:pt x="130" y="326"/>
                    <a:pt x="130" y="326"/>
                    <a:pt x="130" y="326"/>
                  </a:cubicBezTo>
                  <a:cubicBezTo>
                    <a:pt x="130" y="326"/>
                    <a:pt x="130" y="326"/>
                    <a:pt x="130" y="326"/>
                  </a:cubicBezTo>
                  <a:cubicBezTo>
                    <a:pt x="130" y="326"/>
                    <a:pt x="130" y="326"/>
                    <a:pt x="130" y="326"/>
                  </a:cubicBezTo>
                  <a:cubicBezTo>
                    <a:pt x="129" y="327"/>
                    <a:pt x="129" y="327"/>
                    <a:pt x="129" y="327"/>
                  </a:cubicBezTo>
                  <a:cubicBezTo>
                    <a:pt x="129" y="328"/>
                    <a:pt x="129" y="328"/>
                    <a:pt x="130" y="328"/>
                  </a:cubicBezTo>
                  <a:cubicBezTo>
                    <a:pt x="130" y="328"/>
                    <a:pt x="131" y="328"/>
                    <a:pt x="131" y="328"/>
                  </a:cubicBezTo>
                  <a:cubicBezTo>
                    <a:pt x="131" y="329"/>
                    <a:pt x="131" y="329"/>
                    <a:pt x="131" y="329"/>
                  </a:cubicBezTo>
                  <a:cubicBezTo>
                    <a:pt x="131" y="329"/>
                    <a:pt x="132" y="329"/>
                    <a:pt x="132" y="329"/>
                  </a:cubicBezTo>
                  <a:cubicBezTo>
                    <a:pt x="132" y="329"/>
                    <a:pt x="132" y="329"/>
                    <a:pt x="132" y="329"/>
                  </a:cubicBezTo>
                  <a:cubicBezTo>
                    <a:pt x="132" y="329"/>
                    <a:pt x="132" y="329"/>
                    <a:pt x="132" y="329"/>
                  </a:cubicBezTo>
                  <a:cubicBezTo>
                    <a:pt x="133" y="329"/>
                    <a:pt x="133" y="329"/>
                    <a:pt x="133" y="329"/>
                  </a:cubicBezTo>
                  <a:cubicBezTo>
                    <a:pt x="134" y="330"/>
                    <a:pt x="134" y="330"/>
                    <a:pt x="134" y="331"/>
                  </a:cubicBezTo>
                  <a:cubicBezTo>
                    <a:pt x="134" y="331"/>
                    <a:pt x="135" y="331"/>
                    <a:pt x="135" y="332"/>
                  </a:cubicBezTo>
                  <a:cubicBezTo>
                    <a:pt x="134" y="332"/>
                    <a:pt x="134" y="332"/>
                    <a:pt x="134" y="332"/>
                  </a:cubicBezTo>
                  <a:cubicBezTo>
                    <a:pt x="135" y="332"/>
                    <a:pt x="135" y="332"/>
                    <a:pt x="135" y="332"/>
                  </a:cubicBezTo>
                  <a:cubicBezTo>
                    <a:pt x="135" y="332"/>
                    <a:pt x="135" y="332"/>
                    <a:pt x="135" y="333"/>
                  </a:cubicBezTo>
                  <a:cubicBezTo>
                    <a:pt x="135" y="333"/>
                    <a:pt x="136" y="333"/>
                    <a:pt x="136" y="333"/>
                  </a:cubicBezTo>
                  <a:cubicBezTo>
                    <a:pt x="136" y="333"/>
                    <a:pt x="136" y="333"/>
                    <a:pt x="136" y="332"/>
                  </a:cubicBezTo>
                  <a:cubicBezTo>
                    <a:pt x="137" y="332"/>
                    <a:pt x="137" y="332"/>
                    <a:pt x="138" y="332"/>
                  </a:cubicBezTo>
                  <a:cubicBezTo>
                    <a:pt x="138" y="332"/>
                    <a:pt x="139" y="332"/>
                    <a:pt x="139" y="332"/>
                  </a:cubicBezTo>
                  <a:cubicBezTo>
                    <a:pt x="140" y="332"/>
                    <a:pt x="140" y="332"/>
                    <a:pt x="140" y="332"/>
                  </a:cubicBezTo>
                  <a:cubicBezTo>
                    <a:pt x="141" y="332"/>
                    <a:pt x="141" y="332"/>
                    <a:pt x="141" y="332"/>
                  </a:cubicBezTo>
                  <a:cubicBezTo>
                    <a:pt x="141" y="332"/>
                    <a:pt x="142" y="332"/>
                    <a:pt x="142" y="332"/>
                  </a:cubicBezTo>
                  <a:cubicBezTo>
                    <a:pt x="151" y="332"/>
                    <a:pt x="151" y="332"/>
                    <a:pt x="151" y="332"/>
                  </a:cubicBezTo>
                  <a:cubicBezTo>
                    <a:pt x="151" y="332"/>
                    <a:pt x="152" y="332"/>
                    <a:pt x="152" y="332"/>
                  </a:cubicBezTo>
                  <a:cubicBezTo>
                    <a:pt x="152" y="333"/>
                    <a:pt x="152" y="333"/>
                    <a:pt x="152" y="333"/>
                  </a:cubicBezTo>
                  <a:cubicBezTo>
                    <a:pt x="153" y="334"/>
                    <a:pt x="154" y="334"/>
                    <a:pt x="155" y="334"/>
                  </a:cubicBezTo>
                  <a:cubicBezTo>
                    <a:pt x="155" y="334"/>
                    <a:pt x="156" y="335"/>
                    <a:pt x="157" y="334"/>
                  </a:cubicBezTo>
                  <a:cubicBezTo>
                    <a:pt x="159" y="334"/>
                    <a:pt x="162" y="334"/>
                    <a:pt x="164" y="334"/>
                  </a:cubicBezTo>
                  <a:cubicBezTo>
                    <a:pt x="165" y="334"/>
                    <a:pt x="167" y="334"/>
                    <a:pt x="169" y="335"/>
                  </a:cubicBezTo>
                  <a:cubicBezTo>
                    <a:pt x="169" y="336"/>
                    <a:pt x="170" y="336"/>
                    <a:pt x="171" y="337"/>
                  </a:cubicBezTo>
                  <a:cubicBezTo>
                    <a:pt x="171" y="337"/>
                    <a:pt x="172" y="337"/>
                    <a:pt x="173" y="338"/>
                  </a:cubicBezTo>
                  <a:cubicBezTo>
                    <a:pt x="174" y="338"/>
                    <a:pt x="175" y="339"/>
                    <a:pt x="176" y="341"/>
                  </a:cubicBezTo>
                  <a:cubicBezTo>
                    <a:pt x="177" y="342"/>
                    <a:pt x="177" y="343"/>
                    <a:pt x="177" y="343"/>
                  </a:cubicBezTo>
                  <a:cubicBezTo>
                    <a:pt x="178" y="344"/>
                    <a:pt x="178" y="345"/>
                    <a:pt x="179" y="345"/>
                  </a:cubicBezTo>
                  <a:cubicBezTo>
                    <a:pt x="180" y="346"/>
                    <a:pt x="181" y="347"/>
                    <a:pt x="182" y="347"/>
                  </a:cubicBezTo>
                  <a:cubicBezTo>
                    <a:pt x="183" y="348"/>
                    <a:pt x="184" y="348"/>
                    <a:pt x="185" y="348"/>
                  </a:cubicBezTo>
                  <a:cubicBezTo>
                    <a:pt x="186" y="349"/>
                    <a:pt x="187" y="349"/>
                    <a:pt x="188" y="350"/>
                  </a:cubicBezTo>
                  <a:cubicBezTo>
                    <a:pt x="188" y="350"/>
                    <a:pt x="188" y="350"/>
                    <a:pt x="188" y="350"/>
                  </a:cubicBezTo>
                  <a:cubicBezTo>
                    <a:pt x="189" y="350"/>
                    <a:pt x="189" y="350"/>
                    <a:pt x="189" y="350"/>
                  </a:cubicBezTo>
                  <a:cubicBezTo>
                    <a:pt x="190" y="351"/>
                    <a:pt x="190" y="351"/>
                    <a:pt x="191" y="351"/>
                  </a:cubicBezTo>
                  <a:cubicBezTo>
                    <a:pt x="191" y="351"/>
                    <a:pt x="192" y="351"/>
                    <a:pt x="192" y="351"/>
                  </a:cubicBezTo>
                  <a:cubicBezTo>
                    <a:pt x="193" y="351"/>
                    <a:pt x="193" y="351"/>
                    <a:pt x="193" y="351"/>
                  </a:cubicBezTo>
                  <a:cubicBezTo>
                    <a:pt x="193" y="351"/>
                    <a:pt x="193" y="351"/>
                    <a:pt x="194" y="351"/>
                  </a:cubicBezTo>
                  <a:cubicBezTo>
                    <a:pt x="194" y="350"/>
                    <a:pt x="195" y="351"/>
                    <a:pt x="195" y="351"/>
                  </a:cubicBezTo>
                  <a:cubicBezTo>
                    <a:pt x="195" y="351"/>
                    <a:pt x="196" y="351"/>
                    <a:pt x="196" y="351"/>
                  </a:cubicBezTo>
                  <a:cubicBezTo>
                    <a:pt x="196" y="351"/>
                    <a:pt x="197" y="351"/>
                    <a:pt x="197" y="351"/>
                  </a:cubicBezTo>
                  <a:cubicBezTo>
                    <a:pt x="197" y="350"/>
                    <a:pt x="198" y="350"/>
                    <a:pt x="198" y="350"/>
                  </a:cubicBezTo>
                  <a:cubicBezTo>
                    <a:pt x="199" y="350"/>
                    <a:pt x="199" y="350"/>
                    <a:pt x="199" y="350"/>
                  </a:cubicBezTo>
                  <a:cubicBezTo>
                    <a:pt x="199" y="349"/>
                    <a:pt x="200" y="350"/>
                    <a:pt x="200" y="350"/>
                  </a:cubicBezTo>
                  <a:cubicBezTo>
                    <a:pt x="201" y="350"/>
                    <a:pt x="201" y="350"/>
                    <a:pt x="202" y="350"/>
                  </a:cubicBezTo>
                  <a:cubicBezTo>
                    <a:pt x="202" y="350"/>
                    <a:pt x="202" y="350"/>
                    <a:pt x="203" y="350"/>
                  </a:cubicBezTo>
                  <a:cubicBezTo>
                    <a:pt x="203" y="351"/>
                    <a:pt x="203" y="351"/>
                    <a:pt x="204" y="351"/>
                  </a:cubicBezTo>
                  <a:cubicBezTo>
                    <a:pt x="204" y="352"/>
                    <a:pt x="204" y="352"/>
                    <a:pt x="205" y="352"/>
                  </a:cubicBezTo>
                  <a:cubicBezTo>
                    <a:pt x="205" y="353"/>
                    <a:pt x="205" y="354"/>
                    <a:pt x="205" y="354"/>
                  </a:cubicBezTo>
                  <a:cubicBezTo>
                    <a:pt x="206" y="355"/>
                    <a:pt x="206" y="355"/>
                    <a:pt x="206" y="355"/>
                  </a:cubicBezTo>
                  <a:cubicBezTo>
                    <a:pt x="206" y="355"/>
                    <a:pt x="206" y="356"/>
                    <a:pt x="206" y="356"/>
                  </a:cubicBezTo>
                  <a:cubicBezTo>
                    <a:pt x="206" y="357"/>
                    <a:pt x="207" y="357"/>
                    <a:pt x="207" y="357"/>
                  </a:cubicBezTo>
                  <a:cubicBezTo>
                    <a:pt x="207" y="359"/>
                    <a:pt x="206" y="360"/>
                    <a:pt x="207" y="361"/>
                  </a:cubicBezTo>
                  <a:cubicBezTo>
                    <a:pt x="207" y="362"/>
                    <a:pt x="207" y="362"/>
                    <a:pt x="207" y="362"/>
                  </a:cubicBezTo>
                  <a:cubicBezTo>
                    <a:pt x="208" y="363"/>
                    <a:pt x="208" y="362"/>
                    <a:pt x="209" y="363"/>
                  </a:cubicBezTo>
                  <a:cubicBezTo>
                    <a:pt x="209" y="363"/>
                    <a:pt x="209" y="363"/>
                    <a:pt x="210" y="363"/>
                  </a:cubicBezTo>
                  <a:cubicBezTo>
                    <a:pt x="210" y="363"/>
                    <a:pt x="211" y="363"/>
                    <a:pt x="211" y="363"/>
                  </a:cubicBezTo>
                  <a:cubicBezTo>
                    <a:pt x="212" y="363"/>
                    <a:pt x="212" y="362"/>
                    <a:pt x="213" y="362"/>
                  </a:cubicBezTo>
                  <a:cubicBezTo>
                    <a:pt x="214" y="362"/>
                    <a:pt x="215" y="362"/>
                    <a:pt x="216" y="362"/>
                  </a:cubicBezTo>
                  <a:cubicBezTo>
                    <a:pt x="216" y="363"/>
                    <a:pt x="217" y="363"/>
                    <a:pt x="217" y="363"/>
                  </a:cubicBezTo>
                  <a:cubicBezTo>
                    <a:pt x="218" y="363"/>
                    <a:pt x="218" y="363"/>
                    <a:pt x="219" y="363"/>
                  </a:cubicBezTo>
                  <a:cubicBezTo>
                    <a:pt x="219" y="363"/>
                    <a:pt x="220" y="365"/>
                    <a:pt x="220" y="366"/>
                  </a:cubicBezTo>
                  <a:cubicBezTo>
                    <a:pt x="221" y="366"/>
                    <a:pt x="225" y="369"/>
                    <a:pt x="226" y="370"/>
                  </a:cubicBezTo>
                  <a:cubicBezTo>
                    <a:pt x="228" y="371"/>
                    <a:pt x="239" y="381"/>
                    <a:pt x="239" y="381"/>
                  </a:cubicBezTo>
                  <a:cubicBezTo>
                    <a:pt x="241" y="383"/>
                    <a:pt x="243" y="387"/>
                    <a:pt x="244" y="388"/>
                  </a:cubicBezTo>
                  <a:cubicBezTo>
                    <a:pt x="244" y="390"/>
                    <a:pt x="245" y="392"/>
                    <a:pt x="245" y="393"/>
                  </a:cubicBezTo>
                  <a:cubicBezTo>
                    <a:pt x="246" y="395"/>
                    <a:pt x="246" y="397"/>
                    <a:pt x="246" y="397"/>
                  </a:cubicBezTo>
                  <a:cubicBezTo>
                    <a:pt x="246" y="398"/>
                    <a:pt x="246" y="401"/>
                    <a:pt x="246" y="402"/>
                  </a:cubicBezTo>
                  <a:cubicBezTo>
                    <a:pt x="246" y="402"/>
                    <a:pt x="246" y="404"/>
                    <a:pt x="246" y="404"/>
                  </a:cubicBezTo>
                  <a:cubicBezTo>
                    <a:pt x="247" y="405"/>
                    <a:pt x="248" y="404"/>
                    <a:pt x="249" y="405"/>
                  </a:cubicBezTo>
                  <a:cubicBezTo>
                    <a:pt x="250" y="405"/>
                    <a:pt x="250" y="406"/>
                    <a:pt x="250" y="406"/>
                  </a:cubicBezTo>
                  <a:cubicBezTo>
                    <a:pt x="251" y="406"/>
                    <a:pt x="251" y="408"/>
                    <a:pt x="251" y="409"/>
                  </a:cubicBezTo>
                  <a:cubicBezTo>
                    <a:pt x="251" y="410"/>
                    <a:pt x="251" y="412"/>
                    <a:pt x="251" y="412"/>
                  </a:cubicBezTo>
                  <a:cubicBezTo>
                    <a:pt x="334" y="404"/>
                    <a:pt x="334" y="404"/>
                    <a:pt x="334" y="404"/>
                  </a:cubicBezTo>
                  <a:cubicBezTo>
                    <a:pt x="339" y="404"/>
                    <a:pt x="339" y="404"/>
                    <a:pt x="339" y="404"/>
                  </a:cubicBezTo>
                  <a:lnTo>
                    <a:pt x="340" y="403"/>
                  </a:ln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53B75DFC-370F-477C-B7EE-35808BA0F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5819" y="3605786"/>
              <a:ext cx="682361" cy="578272"/>
            </a:xfrm>
            <a:custGeom>
              <a:avLst/>
              <a:gdLst>
                <a:gd name="T0" fmla="*/ 118 w 172"/>
                <a:gd name="T1" fmla="*/ 142 h 146"/>
                <a:gd name="T2" fmla="*/ 121 w 172"/>
                <a:gd name="T3" fmla="*/ 139 h 146"/>
                <a:gd name="T4" fmla="*/ 121 w 172"/>
                <a:gd name="T5" fmla="*/ 135 h 146"/>
                <a:gd name="T6" fmla="*/ 120 w 172"/>
                <a:gd name="T7" fmla="*/ 132 h 146"/>
                <a:gd name="T8" fmla="*/ 121 w 172"/>
                <a:gd name="T9" fmla="*/ 130 h 146"/>
                <a:gd name="T10" fmla="*/ 119 w 172"/>
                <a:gd name="T11" fmla="*/ 129 h 146"/>
                <a:gd name="T12" fmla="*/ 118 w 172"/>
                <a:gd name="T13" fmla="*/ 127 h 146"/>
                <a:gd name="T14" fmla="*/ 117 w 172"/>
                <a:gd name="T15" fmla="*/ 123 h 146"/>
                <a:gd name="T16" fmla="*/ 118 w 172"/>
                <a:gd name="T17" fmla="*/ 119 h 146"/>
                <a:gd name="T18" fmla="*/ 122 w 172"/>
                <a:gd name="T19" fmla="*/ 119 h 146"/>
                <a:gd name="T20" fmla="*/ 120 w 172"/>
                <a:gd name="T21" fmla="*/ 117 h 146"/>
                <a:gd name="T22" fmla="*/ 124 w 172"/>
                <a:gd name="T23" fmla="*/ 115 h 146"/>
                <a:gd name="T24" fmla="*/ 123 w 172"/>
                <a:gd name="T25" fmla="*/ 113 h 146"/>
                <a:gd name="T26" fmla="*/ 124 w 172"/>
                <a:gd name="T27" fmla="*/ 109 h 146"/>
                <a:gd name="T28" fmla="*/ 122 w 172"/>
                <a:gd name="T29" fmla="*/ 107 h 146"/>
                <a:gd name="T30" fmla="*/ 125 w 172"/>
                <a:gd name="T31" fmla="*/ 106 h 146"/>
                <a:gd name="T32" fmla="*/ 126 w 172"/>
                <a:gd name="T33" fmla="*/ 105 h 146"/>
                <a:gd name="T34" fmla="*/ 127 w 172"/>
                <a:gd name="T35" fmla="*/ 99 h 146"/>
                <a:gd name="T36" fmla="*/ 129 w 172"/>
                <a:gd name="T37" fmla="*/ 98 h 146"/>
                <a:gd name="T38" fmla="*/ 131 w 172"/>
                <a:gd name="T39" fmla="*/ 95 h 146"/>
                <a:gd name="T40" fmla="*/ 133 w 172"/>
                <a:gd name="T41" fmla="*/ 91 h 146"/>
                <a:gd name="T42" fmla="*/ 137 w 172"/>
                <a:gd name="T43" fmla="*/ 91 h 146"/>
                <a:gd name="T44" fmla="*/ 139 w 172"/>
                <a:gd name="T45" fmla="*/ 84 h 146"/>
                <a:gd name="T46" fmla="*/ 139 w 172"/>
                <a:gd name="T47" fmla="*/ 78 h 146"/>
                <a:gd name="T48" fmla="*/ 142 w 172"/>
                <a:gd name="T49" fmla="*/ 79 h 146"/>
                <a:gd name="T50" fmla="*/ 140 w 172"/>
                <a:gd name="T51" fmla="*/ 73 h 146"/>
                <a:gd name="T52" fmla="*/ 144 w 172"/>
                <a:gd name="T53" fmla="*/ 74 h 146"/>
                <a:gd name="T54" fmla="*/ 144 w 172"/>
                <a:gd name="T55" fmla="*/ 70 h 146"/>
                <a:gd name="T56" fmla="*/ 150 w 172"/>
                <a:gd name="T57" fmla="*/ 67 h 146"/>
                <a:gd name="T58" fmla="*/ 154 w 172"/>
                <a:gd name="T59" fmla="*/ 58 h 146"/>
                <a:gd name="T60" fmla="*/ 156 w 172"/>
                <a:gd name="T61" fmla="*/ 55 h 146"/>
                <a:gd name="T62" fmla="*/ 154 w 172"/>
                <a:gd name="T63" fmla="*/ 51 h 146"/>
                <a:gd name="T64" fmla="*/ 157 w 172"/>
                <a:gd name="T65" fmla="*/ 48 h 146"/>
                <a:gd name="T66" fmla="*/ 153 w 172"/>
                <a:gd name="T67" fmla="*/ 47 h 146"/>
                <a:gd name="T68" fmla="*/ 157 w 172"/>
                <a:gd name="T69" fmla="*/ 45 h 146"/>
                <a:gd name="T70" fmla="*/ 158 w 172"/>
                <a:gd name="T71" fmla="*/ 41 h 146"/>
                <a:gd name="T72" fmla="*/ 162 w 172"/>
                <a:gd name="T73" fmla="*/ 40 h 146"/>
                <a:gd name="T74" fmla="*/ 164 w 172"/>
                <a:gd name="T75" fmla="*/ 35 h 146"/>
                <a:gd name="T76" fmla="*/ 163 w 172"/>
                <a:gd name="T77" fmla="*/ 32 h 146"/>
                <a:gd name="T78" fmla="*/ 168 w 172"/>
                <a:gd name="T79" fmla="*/ 29 h 146"/>
                <a:gd name="T80" fmla="*/ 169 w 172"/>
                <a:gd name="T81" fmla="*/ 25 h 146"/>
                <a:gd name="T82" fmla="*/ 169 w 172"/>
                <a:gd name="T83" fmla="*/ 21 h 146"/>
                <a:gd name="T84" fmla="*/ 153 w 172"/>
                <a:gd name="T85" fmla="*/ 12 h 146"/>
                <a:gd name="T86" fmla="*/ 154 w 172"/>
                <a:gd name="T87" fmla="*/ 0 h 146"/>
                <a:gd name="T88" fmla="*/ 5 w 172"/>
                <a:gd name="T89" fmla="*/ 120 h 146"/>
                <a:gd name="T90" fmla="*/ 8 w 172"/>
                <a:gd name="T91" fmla="*/ 123 h 146"/>
                <a:gd name="T92" fmla="*/ 9 w 172"/>
                <a:gd name="T93" fmla="*/ 124 h 146"/>
                <a:gd name="T94" fmla="*/ 12 w 172"/>
                <a:gd name="T95" fmla="*/ 123 h 146"/>
                <a:gd name="T96" fmla="*/ 16 w 172"/>
                <a:gd name="T97" fmla="*/ 123 h 146"/>
                <a:gd name="T98" fmla="*/ 19 w 172"/>
                <a:gd name="T99" fmla="*/ 124 h 146"/>
                <a:gd name="T100" fmla="*/ 120 w 172"/>
                <a:gd name="T101" fmla="*/ 14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2" h="146">
                  <a:moveTo>
                    <a:pt x="120" y="144"/>
                  </a:moveTo>
                  <a:cubicBezTo>
                    <a:pt x="120" y="144"/>
                    <a:pt x="119" y="144"/>
                    <a:pt x="119" y="144"/>
                  </a:cubicBezTo>
                  <a:cubicBezTo>
                    <a:pt x="119" y="143"/>
                    <a:pt x="119" y="143"/>
                    <a:pt x="118" y="143"/>
                  </a:cubicBezTo>
                  <a:cubicBezTo>
                    <a:pt x="118" y="143"/>
                    <a:pt x="118" y="142"/>
                    <a:pt x="118" y="142"/>
                  </a:cubicBezTo>
                  <a:cubicBezTo>
                    <a:pt x="118" y="142"/>
                    <a:pt x="119" y="141"/>
                    <a:pt x="120" y="141"/>
                  </a:cubicBezTo>
                  <a:cubicBezTo>
                    <a:pt x="120" y="141"/>
                    <a:pt x="121" y="141"/>
                    <a:pt x="122" y="141"/>
                  </a:cubicBezTo>
                  <a:cubicBezTo>
                    <a:pt x="122" y="141"/>
                    <a:pt x="122" y="140"/>
                    <a:pt x="122" y="140"/>
                  </a:cubicBezTo>
                  <a:cubicBezTo>
                    <a:pt x="122" y="140"/>
                    <a:pt x="122" y="139"/>
                    <a:pt x="121" y="139"/>
                  </a:cubicBezTo>
                  <a:cubicBezTo>
                    <a:pt x="121" y="138"/>
                    <a:pt x="121" y="138"/>
                    <a:pt x="122" y="137"/>
                  </a:cubicBezTo>
                  <a:cubicBezTo>
                    <a:pt x="122" y="137"/>
                    <a:pt x="123" y="137"/>
                    <a:pt x="123" y="136"/>
                  </a:cubicBezTo>
                  <a:cubicBezTo>
                    <a:pt x="123" y="136"/>
                    <a:pt x="123" y="136"/>
                    <a:pt x="122" y="135"/>
                  </a:cubicBezTo>
                  <a:cubicBezTo>
                    <a:pt x="122" y="135"/>
                    <a:pt x="122" y="135"/>
                    <a:pt x="121" y="135"/>
                  </a:cubicBezTo>
                  <a:cubicBezTo>
                    <a:pt x="121" y="135"/>
                    <a:pt x="121" y="136"/>
                    <a:pt x="121" y="136"/>
                  </a:cubicBezTo>
                  <a:cubicBezTo>
                    <a:pt x="121" y="136"/>
                    <a:pt x="120" y="136"/>
                    <a:pt x="120" y="136"/>
                  </a:cubicBezTo>
                  <a:cubicBezTo>
                    <a:pt x="120" y="135"/>
                    <a:pt x="120" y="134"/>
                    <a:pt x="120" y="133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1" y="131"/>
                    <a:pt x="122" y="130"/>
                    <a:pt x="122" y="129"/>
                  </a:cubicBezTo>
                  <a:cubicBezTo>
                    <a:pt x="122" y="129"/>
                    <a:pt x="122" y="128"/>
                    <a:pt x="122" y="128"/>
                  </a:cubicBezTo>
                  <a:cubicBezTo>
                    <a:pt x="122" y="128"/>
                    <a:pt x="121" y="128"/>
                    <a:pt x="121" y="129"/>
                  </a:cubicBezTo>
                  <a:cubicBezTo>
                    <a:pt x="121" y="129"/>
                    <a:pt x="121" y="129"/>
                    <a:pt x="121" y="130"/>
                  </a:cubicBezTo>
                  <a:cubicBezTo>
                    <a:pt x="121" y="130"/>
                    <a:pt x="120" y="130"/>
                    <a:pt x="120" y="131"/>
                  </a:cubicBezTo>
                  <a:cubicBezTo>
                    <a:pt x="120" y="131"/>
                    <a:pt x="120" y="131"/>
                    <a:pt x="119" y="131"/>
                  </a:cubicBezTo>
                  <a:cubicBezTo>
                    <a:pt x="119" y="131"/>
                    <a:pt x="118" y="131"/>
                    <a:pt x="118" y="130"/>
                  </a:cubicBezTo>
                  <a:cubicBezTo>
                    <a:pt x="118" y="130"/>
                    <a:pt x="119" y="130"/>
                    <a:pt x="119" y="129"/>
                  </a:cubicBezTo>
                  <a:cubicBezTo>
                    <a:pt x="119" y="129"/>
                    <a:pt x="120" y="129"/>
                    <a:pt x="120" y="128"/>
                  </a:cubicBezTo>
                  <a:cubicBezTo>
                    <a:pt x="120" y="128"/>
                    <a:pt x="119" y="128"/>
                    <a:pt x="119" y="128"/>
                  </a:cubicBezTo>
                  <a:cubicBezTo>
                    <a:pt x="118" y="128"/>
                    <a:pt x="117" y="129"/>
                    <a:pt x="117" y="128"/>
                  </a:cubicBezTo>
                  <a:cubicBezTo>
                    <a:pt x="116" y="128"/>
                    <a:pt x="117" y="127"/>
                    <a:pt x="118" y="127"/>
                  </a:cubicBezTo>
                  <a:cubicBezTo>
                    <a:pt x="118" y="127"/>
                    <a:pt x="119" y="127"/>
                    <a:pt x="118" y="126"/>
                  </a:cubicBezTo>
                  <a:cubicBezTo>
                    <a:pt x="118" y="126"/>
                    <a:pt x="118" y="126"/>
                    <a:pt x="118" y="125"/>
                  </a:cubicBezTo>
                  <a:cubicBezTo>
                    <a:pt x="118" y="125"/>
                    <a:pt x="117" y="125"/>
                    <a:pt x="117" y="125"/>
                  </a:cubicBezTo>
                  <a:cubicBezTo>
                    <a:pt x="117" y="124"/>
                    <a:pt x="117" y="124"/>
                    <a:pt x="117" y="123"/>
                  </a:cubicBezTo>
                  <a:cubicBezTo>
                    <a:pt x="118" y="123"/>
                    <a:pt x="118" y="123"/>
                    <a:pt x="119" y="123"/>
                  </a:cubicBezTo>
                  <a:cubicBezTo>
                    <a:pt x="119" y="122"/>
                    <a:pt x="120" y="122"/>
                    <a:pt x="120" y="122"/>
                  </a:cubicBezTo>
                  <a:cubicBezTo>
                    <a:pt x="120" y="121"/>
                    <a:pt x="119" y="121"/>
                    <a:pt x="119" y="121"/>
                  </a:cubicBezTo>
                  <a:cubicBezTo>
                    <a:pt x="119" y="120"/>
                    <a:pt x="118" y="120"/>
                    <a:pt x="118" y="119"/>
                  </a:cubicBezTo>
                  <a:cubicBezTo>
                    <a:pt x="117" y="119"/>
                    <a:pt x="118" y="117"/>
                    <a:pt x="119" y="117"/>
                  </a:cubicBezTo>
                  <a:cubicBezTo>
                    <a:pt x="120" y="117"/>
                    <a:pt x="120" y="118"/>
                    <a:pt x="120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2" y="119"/>
                    <a:pt x="122" y="119"/>
                    <a:pt x="122" y="119"/>
                  </a:cubicBezTo>
                  <a:cubicBezTo>
                    <a:pt x="123" y="120"/>
                    <a:pt x="124" y="119"/>
                    <a:pt x="124" y="119"/>
                  </a:cubicBezTo>
                  <a:cubicBezTo>
                    <a:pt x="124" y="118"/>
                    <a:pt x="123" y="118"/>
                    <a:pt x="123" y="118"/>
                  </a:cubicBezTo>
                  <a:cubicBezTo>
                    <a:pt x="122" y="117"/>
                    <a:pt x="122" y="117"/>
                    <a:pt x="121" y="117"/>
                  </a:cubicBezTo>
                  <a:cubicBezTo>
                    <a:pt x="121" y="117"/>
                    <a:pt x="121" y="117"/>
                    <a:pt x="120" y="117"/>
                  </a:cubicBezTo>
                  <a:cubicBezTo>
                    <a:pt x="120" y="117"/>
                    <a:pt x="120" y="116"/>
                    <a:pt x="120" y="116"/>
                  </a:cubicBezTo>
                  <a:cubicBezTo>
                    <a:pt x="120" y="116"/>
                    <a:pt x="120" y="115"/>
                    <a:pt x="120" y="115"/>
                  </a:cubicBezTo>
                  <a:cubicBezTo>
                    <a:pt x="121" y="115"/>
                    <a:pt x="122" y="114"/>
                    <a:pt x="123" y="115"/>
                  </a:cubicBezTo>
                  <a:cubicBezTo>
                    <a:pt x="123" y="115"/>
                    <a:pt x="123" y="115"/>
                    <a:pt x="124" y="115"/>
                  </a:cubicBezTo>
                  <a:cubicBezTo>
                    <a:pt x="124" y="115"/>
                    <a:pt x="124" y="115"/>
                    <a:pt x="125" y="115"/>
                  </a:cubicBezTo>
                  <a:cubicBezTo>
                    <a:pt x="125" y="115"/>
                    <a:pt x="125" y="115"/>
                    <a:pt x="125" y="114"/>
                  </a:cubicBezTo>
                  <a:cubicBezTo>
                    <a:pt x="124" y="114"/>
                    <a:pt x="124" y="114"/>
                    <a:pt x="124" y="113"/>
                  </a:cubicBezTo>
                  <a:cubicBezTo>
                    <a:pt x="124" y="113"/>
                    <a:pt x="123" y="113"/>
                    <a:pt x="123" y="113"/>
                  </a:cubicBezTo>
                  <a:cubicBezTo>
                    <a:pt x="123" y="112"/>
                    <a:pt x="123" y="112"/>
                    <a:pt x="123" y="112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0"/>
                    <a:pt x="124" y="110"/>
                    <a:pt x="124" y="110"/>
                  </a:cubicBezTo>
                  <a:cubicBezTo>
                    <a:pt x="124" y="109"/>
                    <a:pt x="124" y="109"/>
                    <a:pt x="124" y="109"/>
                  </a:cubicBezTo>
                  <a:cubicBezTo>
                    <a:pt x="124" y="108"/>
                    <a:pt x="124" y="108"/>
                    <a:pt x="124" y="108"/>
                  </a:cubicBezTo>
                  <a:cubicBezTo>
                    <a:pt x="124" y="108"/>
                    <a:pt x="124" y="108"/>
                    <a:pt x="123" y="10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2" y="107"/>
                    <a:pt x="122" y="107"/>
                    <a:pt x="122" y="107"/>
                  </a:cubicBezTo>
                  <a:cubicBezTo>
                    <a:pt x="122" y="107"/>
                    <a:pt x="122" y="107"/>
                    <a:pt x="122" y="106"/>
                  </a:cubicBezTo>
                  <a:cubicBezTo>
                    <a:pt x="122" y="106"/>
                    <a:pt x="122" y="106"/>
                    <a:pt x="122" y="105"/>
                  </a:cubicBezTo>
                  <a:cubicBezTo>
                    <a:pt x="123" y="105"/>
                    <a:pt x="124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6" y="107"/>
                    <a:pt x="126" y="107"/>
                    <a:pt x="126" y="106"/>
                  </a:cubicBezTo>
                  <a:cubicBezTo>
                    <a:pt x="126" y="106"/>
                    <a:pt x="126" y="106"/>
                    <a:pt x="126" y="105"/>
                  </a:cubicBezTo>
                  <a:cubicBezTo>
                    <a:pt x="125" y="105"/>
                    <a:pt x="126" y="105"/>
                    <a:pt x="126" y="105"/>
                  </a:cubicBezTo>
                  <a:cubicBezTo>
                    <a:pt x="127" y="104"/>
                    <a:pt x="128" y="105"/>
                    <a:pt x="129" y="104"/>
                  </a:cubicBezTo>
                  <a:cubicBezTo>
                    <a:pt x="129" y="104"/>
                    <a:pt x="129" y="102"/>
                    <a:pt x="129" y="102"/>
                  </a:cubicBezTo>
                  <a:cubicBezTo>
                    <a:pt x="128" y="101"/>
                    <a:pt x="127" y="101"/>
                    <a:pt x="127" y="100"/>
                  </a:cubicBezTo>
                  <a:cubicBezTo>
                    <a:pt x="126" y="100"/>
                    <a:pt x="127" y="99"/>
                    <a:pt x="127" y="99"/>
                  </a:cubicBezTo>
                  <a:cubicBezTo>
                    <a:pt x="128" y="99"/>
                    <a:pt x="128" y="99"/>
                    <a:pt x="129" y="99"/>
                  </a:cubicBezTo>
                  <a:cubicBezTo>
                    <a:pt x="129" y="99"/>
                    <a:pt x="130" y="99"/>
                    <a:pt x="130" y="99"/>
                  </a:cubicBezTo>
                  <a:cubicBezTo>
                    <a:pt x="131" y="99"/>
                    <a:pt x="131" y="99"/>
                    <a:pt x="131" y="98"/>
                  </a:cubicBezTo>
                  <a:cubicBezTo>
                    <a:pt x="131" y="98"/>
                    <a:pt x="130" y="98"/>
                    <a:pt x="129" y="98"/>
                  </a:cubicBezTo>
                  <a:cubicBezTo>
                    <a:pt x="129" y="98"/>
                    <a:pt x="127" y="97"/>
                    <a:pt x="127" y="96"/>
                  </a:cubicBezTo>
                  <a:cubicBezTo>
                    <a:pt x="127" y="96"/>
                    <a:pt x="127" y="96"/>
                    <a:pt x="127" y="95"/>
                  </a:cubicBezTo>
                  <a:cubicBezTo>
                    <a:pt x="128" y="95"/>
                    <a:pt x="128" y="96"/>
                    <a:pt x="129" y="96"/>
                  </a:cubicBezTo>
                  <a:cubicBezTo>
                    <a:pt x="130" y="96"/>
                    <a:pt x="131" y="97"/>
                    <a:pt x="131" y="95"/>
                  </a:cubicBezTo>
                  <a:cubicBezTo>
                    <a:pt x="131" y="95"/>
                    <a:pt x="131" y="95"/>
                    <a:pt x="131" y="94"/>
                  </a:cubicBezTo>
                  <a:cubicBezTo>
                    <a:pt x="131" y="94"/>
                    <a:pt x="132" y="93"/>
                    <a:pt x="132" y="93"/>
                  </a:cubicBezTo>
                  <a:cubicBezTo>
                    <a:pt x="132" y="93"/>
                    <a:pt x="133" y="93"/>
                    <a:pt x="133" y="93"/>
                  </a:cubicBezTo>
                  <a:cubicBezTo>
                    <a:pt x="134" y="92"/>
                    <a:pt x="133" y="92"/>
                    <a:pt x="133" y="91"/>
                  </a:cubicBezTo>
                  <a:cubicBezTo>
                    <a:pt x="133" y="90"/>
                    <a:pt x="135" y="90"/>
                    <a:pt x="135" y="90"/>
                  </a:cubicBezTo>
                  <a:cubicBezTo>
                    <a:pt x="136" y="90"/>
                    <a:pt x="135" y="91"/>
                    <a:pt x="136" y="92"/>
                  </a:cubicBezTo>
                  <a:cubicBezTo>
                    <a:pt x="136" y="92"/>
                    <a:pt x="136" y="93"/>
                    <a:pt x="137" y="92"/>
                  </a:cubicBezTo>
                  <a:cubicBezTo>
                    <a:pt x="137" y="92"/>
                    <a:pt x="137" y="91"/>
                    <a:pt x="137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90"/>
                    <a:pt x="138" y="89"/>
                    <a:pt x="138" y="89"/>
                  </a:cubicBezTo>
                  <a:cubicBezTo>
                    <a:pt x="139" y="88"/>
                    <a:pt x="140" y="88"/>
                    <a:pt x="139" y="87"/>
                  </a:cubicBezTo>
                  <a:cubicBezTo>
                    <a:pt x="139" y="86"/>
                    <a:pt x="139" y="85"/>
                    <a:pt x="139" y="84"/>
                  </a:cubicBezTo>
                  <a:cubicBezTo>
                    <a:pt x="140" y="84"/>
                    <a:pt x="140" y="83"/>
                    <a:pt x="140" y="83"/>
                  </a:cubicBezTo>
                  <a:cubicBezTo>
                    <a:pt x="140" y="83"/>
                    <a:pt x="140" y="82"/>
                    <a:pt x="140" y="82"/>
                  </a:cubicBezTo>
                  <a:cubicBezTo>
                    <a:pt x="140" y="81"/>
                    <a:pt x="140" y="81"/>
                    <a:pt x="140" y="80"/>
                  </a:cubicBezTo>
                  <a:cubicBezTo>
                    <a:pt x="139" y="79"/>
                    <a:pt x="139" y="79"/>
                    <a:pt x="139" y="78"/>
                  </a:cubicBezTo>
                  <a:cubicBezTo>
                    <a:pt x="139" y="78"/>
                    <a:pt x="139" y="77"/>
                    <a:pt x="140" y="77"/>
                  </a:cubicBezTo>
                  <a:cubicBezTo>
                    <a:pt x="140" y="77"/>
                    <a:pt x="140" y="78"/>
                    <a:pt x="140" y="78"/>
                  </a:cubicBezTo>
                  <a:cubicBezTo>
                    <a:pt x="140" y="79"/>
                    <a:pt x="141" y="79"/>
                    <a:pt x="141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7"/>
                    <a:pt x="143" y="77"/>
                  </a:cubicBezTo>
                  <a:cubicBezTo>
                    <a:pt x="142" y="76"/>
                    <a:pt x="141" y="76"/>
                    <a:pt x="140" y="75"/>
                  </a:cubicBezTo>
                  <a:cubicBezTo>
                    <a:pt x="140" y="74"/>
                    <a:pt x="140" y="73"/>
                    <a:pt x="140" y="73"/>
                  </a:cubicBezTo>
                  <a:cubicBezTo>
                    <a:pt x="140" y="72"/>
                    <a:pt x="140" y="72"/>
                    <a:pt x="141" y="71"/>
                  </a:cubicBezTo>
                  <a:cubicBezTo>
                    <a:pt x="141" y="72"/>
                    <a:pt x="141" y="73"/>
                    <a:pt x="141" y="73"/>
                  </a:cubicBezTo>
                  <a:cubicBezTo>
                    <a:pt x="141" y="73"/>
                    <a:pt x="141" y="74"/>
                    <a:pt x="142" y="74"/>
                  </a:cubicBezTo>
                  <a:cubicBezTo>
                    <a:pt x="142" y="75"/>
                    <a:pt x="143" y="75"/>
                    <a:pt x="144" y="74"/>
                  </a:cubicBezTo>
                  <a:cubicBezTo>
                    <a:pt x="144" y="72"/>
                    <a:pt x="143" y="71"/>
                    <a:pt x="143" y="70"/>
                  </a:cubicBezTo>
                  <a:cubicBezTo>
                    <a:pt x="143" y="70"/>
                    <a:pt x="143" y="69"/>
                    <a:pt x="143" y="69"/>
                  </a:cubicBezTo>
                  <a:cubicBezTo>
                    <a:pt x="143" y="69"/>
                    <a:pt x="143" y="68"/>
                    <a:pt x="144" y="68"/>
                  </a:cubicBezTo>
                  <a:cubicBezTo>
                    <a:pt x="144" y="69"/>
                    <a:pt x="144" y="69"/>
                    <a:pt x="144" y="70"/>
                  </a:cubicBezTo>
                  <a:cubicBezTo>
                    <a:pt x="145" y="70"/>
                    <a:pt x="145" y="70"/>
                    <a:pt x="146" y="70"/>
                  </a:cubicBezTo>
                  <a:cubicBezTo>
                    <a:pt x="147" y="70"/>
                    <a:pt x="148" y="70"/>
                    <a:pt x="149" y="69"/>
                  </a:cubicBezTo>
                  <a:cubicBezTo>
                    <a:pt x="149" y="69"/>
                    <a:pt x="149" y="69"/>
                    <a:pt x="150" y="69"/>
                  </a:cubicBezTo>
                  <a:cubicBezTo>
                    <a:pt x="150" y="68"/>
                    <a:pt x="150" y="68"/>
                    <a:pt x="150" y="67"/>
                  </a:cubicBezTo>
                  <a:cubicBezTo>
                    <a:pt x="151" y="66"/>
                    <a:pt x="151" y="66"/>
                    <a:pt x="150" y="65"/>
                  </a:cubicBezTo>
                  <a:cubicBezTo>
                    <a:pt x="150" y="64"/>
                    <a:pt x="149" y="63"/>
                    <a:pt x="149" y="62"/>
                  </a:cubicBezTo>
                  <a:cubicBezTo>
                    <a:pt x="150" y="61"/>
                    <a:pt x="152" y="62"/>
                    <a:pt x="153" y="61"/>
                  </a:cubicBezTo>
                  <a:cubicBezTo>
                    <a:pt x="153" y="61"/>
                    <a:pt x="153" y="59"/>
                    <a:pt x="154" y="58"/>
                  </a:cubicBezTo>
                  <a:cubicBezTo>
                    <a:pt x="154" y="58"/>
                    <a:pt x="155" y="58"/>
                    <a:pt x="156" y="58"/>
                  </a:cubicBezTo>
                  <a:cubicBezTo>
                    <a:pt x="156" y="58"/>
                    <a:pt x="156" y="57"/>
                    <a:pt x="156" y="57"/>
                  </a:cubicBezTo>
                  <a:cubicBezTo>
                    <a:pt x="156" y="57"/>
                    <a:pt x="156" y="56"/>
                    <a:pt x="156" y="56"/>
                  </a:cubicBezTo>
                  <a:cubicBezTo>
                    <a:pt x="156" y="56"/>
                    <a:pt x="156" y="56"/>
                    <a:pt x="156" y="55"/>
                  </a:cubicBezTo>
                  <a:cubicBezTo>
                    <a:pt x="156" y="55"/>
                    <a:pt x="156" y="55"/>
                    <a:pt x="156" y="54"/>
                  </a:cubicBezTo>
                  <a:cubicBezTo>
                    <a:pt x="156" y="54"/>
                    <a:pt x="156" y="54"/>
                    <a:pt x="155" y="54"/>
                  </a:cubicBezTo>
                  <a:cubicBezTo>
                    <a:pt x="155" y="53"/>
                    <a:pt x="154" y="53"/>
                    <a:pt x="154" y="52"/>
                  </a:cubicBezTo>
                  <a:cubicBezTo>
                    <a:pt x="154" y="52"/>
                    <a:pt x="154" y="52"/>
                    <a:pt x="154" y="51"/>
                  </a:cubicBezTo>
                  <a:cubicBezTo>
                    <a:pt x="154" y="51"/>
                    <a:pt x="155" y="51"/>
                    <a:pt x="155" y="51"/>
                  </a:cubicBezTo>
                  <a:cubicBezTo>
                    <a:pt x="155" y="51"/>
                    <a:pt x="156" y="50"/>
                    <a:pt x="156" y="50"/>
                  </a:cubicBezTo>
                  <a:cubicBezTo>
                    <a:pt x="156" y="50"/>
                    <a:pt x="156" y="49"/>
                    <a:pt x="156" y="49"/>
                  </a:cubicBezTo>
                  <a:cubicBezTo>
                    <a:pt x="156" y="49"/>
                    <a:pt x="157" y="48"/>
                    <a:pt x="157" y="48"/>
                  </a:cubicBezTo>
                  <a:cubicBezTo>
                    <a:pt x="156" y="47"/>
                    <a:pt x="156" y="47"/>
                    <a:pt x="156" y="47"/>
                  </a:cubicBezTo>
                  <a:cubicBezTo>
                    <a:pt x="156" y="47"/>
                    <a:pt x="156" y="47"/>
                    <a:pt x="156" y="46"/>
                  </a:cubicBezTo>
                  <a:cubicBezTo>
                    <a:pt x="155" y="46"/>
                    <a:pt x="155" y="47"/>
                    <a:pt x="155" y="47"/>
                  </a:cubicBezTo>
                  <a:cubicBezTo>
                    <a:pt x="154" y="47"/>
                    <a:pt x="154" y="47"/>
                    <a:pt x="153" y="47"/>
                  </a:cubicBezTo>
                  <a:cubicBezTo>
                    <a:pt x="153" y="46"/>
                    <a:pt x="154" y="46"/>
                    <a:pt x="155" y="45"/>
                  </a:cubicBezTo>
                  <a:cubicBezTo>
                    <a:pt x="155" y="44"/>
                    <a:pt x="155" y="43"/>
                    <a:pt x="157" y="43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7" y="46"/>
                    <a:pt x="157" y="46"/>
                    <a:pt x="157" y="46"/>
                  </a:cubicBezTo>
                  <a:cubicBezTo>
                    <a:pt x="157" y="46"/>
                    <a:pt x="158" y="45"/>
                    <a:pt x="158" y="45"/>
                  </a:cubicBezTo>
                  <a:cubicBezTo>
                    <a:pt x="159" y="44"/>
                    <a:pt x="159" y="44"/>
                    <a:pt x="158" y="43"/>
                  </a:cubicBezTo>
                  <a:cubicBezTo>
                    <a:pt x="158" y="42"/>
                    <a:pt x="158" y="41"/>
                    <a:pt x="158" y="41"/>
                  </a:cubicBezTo>
                  <a:cubicBezTo>
                    <a:pt x="159" y="40"/>
                    <a:pt x="159" y="40"/>
                    <a:pt x="160" y="40"/>
                  </a:cubicBezTo>
                  <a:cubicBezTo>
                    <a:pt x="160" y="40"/>
                    <a:pt x="161" y="41"/>
                    <a:pt x="161" y="41"/>
                  </a:cubicBezTo>
                  <a:cubicBezTo>
                    <a:pt x="161" y="41"/>
                    <a:pt x="162" y="41"/>
                    <a:pt x="162" y="41"/>
                  </a:cubicBezTo>
                  <a:cubicBezTo>
                    <a:pt x="162" y="41"/>
                    <a:pt x="162" y="40"/>
                    <a:pt x="162" y="40"/>
                  </a:cubicBezTo>
                  <a:cubicBezTo>
                    <a:pt x="162" y="40"/>
                    <a:pt x="161" y="40"/>
                    <a:pt x="161" y="39"/>
                  </a:cubicBezTo>
                  <a:cubicBezTo>
                    <a:pt x="161" y="38"/>
                    <a:pt x="162" y="38"/>
                    <a:pt x="163" y="38"/>
                  </a:cubicBezTo>
                  <a:cubicBezTo>
                    <a:pt x="163" y="37"/>
                    <a:pt x="164" y="37"/>
                    <a:pt x="164" y="37"/>
                  </a:cubicBezTo>
                  <a:cubicBezTo>
                    <a:pt x="164" y="36"/>
                    <a:pt x="164" y="36"/>
                    <a:pt x="164" y="35"/>
                  </a:cubicBezTo>
                  <a:cubicBezTo>
                    <a:pt x="163" y="35"/>
                    <a:pt x="163" y="35"/>
                    <a:pt x="162" y="35"/>
                  </a:cubicBezTo>
                  <a:cubicBezTo>
                    <a:pt x="162" y="35"/>
                    <a:pt x="162" y="35"/>
                    <a:pt x="161" y="34"/>
                  </a:cubicBezTo>
                  <a:cubicBezTo>
                    <a:pt x="161" y="34"/>
                    <a:pt x="161" y="33"/>
                    <a:pt x="161" y="32"/>
                  </a:cubicBezTo>
                  <a:cubicBezTo>
                    <a:pt x="162" y="31"/>
                    <a:pt x="162" y="32"/>
                    <a:pt x="163" y="32"/>
                  </a:cubicBezTo>
                  <a:cubicBezTo>
                    <a:pt x="163" y="32"/>
                    <a:pt x="164" y="32"/>
                    <a:pt x="164" y="32"/>
                  </a:cubicBezTo>
                  <a:cubicBezTo>
                    <a:pt x="165" y="32"/>
                    <a:pt x="165" y="31"/>
                    <a:pt x="165" y="31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7" y="29"/>
                    <a:pt x="167" y="29"/>
                    <a:pt x="168" y="29"/>
                  </a:cubicBezTo>
                  <a:cubicBezTo>
                    <a:pt x="168" y="29"/>
                    <a:pt x="169" y="29"/>
                    <a:pt x="169" y="28"/>
                  </a:cubicBezTo>
                  <a:cubicBezTo>
                    <a:pt x="169" y="28"/>
                    <a:pt x="168" y="28"/>
                    <a:pt x="168" y="28"/>
                  </a:cubicBezTo>
                  <a:cubicBezTo>
                    <a:pt x="167" y="27"/>
                    <a:pt x="167" y="26"/>
                    <a:pt x="167" y="26"/>
                  </a:cubicBezTo>
                  <a:cubicBezTo>
                    <a:pt x="168" y="25"/>
                    <a:pt x="169" y="25"/>
                    <a:pt x="169" y="25"/>
                  </a:cubicBezTo>
                  <a:cubicBezTo>
                    <a:pt x="170" y="25"/>
                    <a:pt x="170" y="25"/>
                    <a:pt x="170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2" y="25"/>
                    <a:pt x="171" y="25"/>
                    <a:pt x="171" y="25"/>
                  </a:cubicBezTo>
                  <a:cubicBezTo>
                    <a:pt x="171" y="24"/>
                    <a:pt x="169" y="21"/>
                    <a:pt x="169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47" y="20"/>
                    <a:pt x="150" y="16"/>
                    <a:pt x="150" y="15"/>
                  </a:cubicBezTo>
                  <a:cubicBezTo>
                    <a:pt x="150" y="15"/>
                    <a:pt x="153" y="12"/>
                    <a:pt x="153" y="12"/>
                  </a:cubicBezTo>
                  <a:cubicBezTo>
                    <a:pt x="153" y="12"/>
                    <a:pt x="157" y="9"/>
                    <a:pt x="157" y="9"/>
                  </a:cubicBezTo>
                  <a:cubicBezTo>
                    <a:pt x="157" y="4"/>
                    <a:pt x="157" y="4"/>
                    <a:pt x="157" y="4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6" y="121"/>
                    <a:pt x="6" y="121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5" y="122"/>
                    <a:pt x="6" y="123"/>
                    <a:pt x="6" y="123"/>
                  </a:cubicBezTo>
                  <a:cubicBezTo>
                    <a:pt x="7" y="123"/>
                    <a:pt x="8" y="122"/>
                    <a:pt x="8" y="123"/>
                  </a:cubicBezTo>
                  <a:cubicBezTo>
                    <a:pt x="8" y="124"/>
                    <a:pt x="7" y="124"/>
                    <a:pt x="8" y="124"/>
                  </a:cubicBezTo>
                  <a:cubicBezTo>
                    <a:pt x="8" y="124"/>
                    <a:pt x="8" y="125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0" y="124"/>
                    <a:pt x="10" y="123"/>
                    <a:pt x="10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4"/>
                    <a:pt x="12" y="124"/>
                    <a:pt x="12" y="124"/>
                  </a:cubicBezTo>
                  <a:cubicBezTo>
                    <a:pt x="12" y="124"/>
                    <a:pt x="12" y="123"/>
                    <a:pt x="12" y="123"/>
                  </a:cubicBezTo>
                  <a:cubicBezTo>
                    <a:pt x="13" y="123"/>
                    <a:pt x="13" y="123"/>
                    <a:pt x="13" y="124"/>
                  </a:cubicBezTo>
                  <a:cubicBezTo>
                    <a:pt x="13" y="124"/>
                    <a:pt x="14" y="124"/>
                    <a:pt x="14" y="124"/>
                  </a:cubicBezTo>
                  <a:cubicBezTo>
                    <a:pt x="14" y="123"/>
                    <a:pt x="14" y="122"/>
                    <a:pt x="15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4"/>
                  </a:cubicBezTo>
                  <a:cubicBezTo>
                    <a:pt x="17" y="124"/>
                    <a:pt x="17" y="124"/>
                    <a:pt x="18" y="123"/>
                  </a:cubicBezTo>
                  <a:cubicBezTo>
                    <a:pt x="18" y="123"/>
                    <a:pt x="19" y="122"/>
                    <a:pt x="19" y="123"/>
                  </a:cubicBezTo>
                  <a:cubicBezTo>
                    <a:pt x="19" y="123"/>
                    <a:pt x="19" y="124"/>
                    <a:pt x="19" y="124"/>
                  </a:cubicBezTo>
                  <a:cubicBezTo>
                    <a:pt x="19" y="125"/>
                    <a:pt x="20" y="125"/>
                    <a:pt x="20" y="126"/>
                  </a:cubicBezTo>
                  <a:cubicBezTo>
                    <a:pt x="20" y="146"/>
                    <a:pt x="20" y="146"/>
                    <a:pt x="20" y="146"/>
                  </a:cubicBezTo>
                  <a:cubicBezTo>
                    <a:pt x="119" y="146"/>
                    <a:pt x="119" y="146"/>
                    <a:pt x="119" y="146"/>
                  </a:cubicBezTo>
                  <a:cubicBezTo>
                    <a:pt x="120" y="146"/>
                    <a:pt x="121" y="145"/>
                    <a:pt x="120" y="144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53A8AAC5-7AB2-4D6A-BB59-1305DCE3A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1682" y="3518220"/>
              <a:ext cx="791406" cy="935148"/>
            </a:xfrm>
            <a:custGeom>
              <a:avLst/>
              <a:gdLst>
                <a:gd name="T0" fmla="*/ 27 w 200"/>
                <a:gd name="T1" fmla="*/ 35 h 236"/>
                <a:gd name="T2" fmla="*/ 24 w 200"/>
                <a:gd name="T3" fmla="*/ 38 h 236"/>
                <a:gd name="T4" fmla="*/ 22 w 200"/>
                <a:gd name="T5" fmla="*/ 42 h 236"/>
                <a:gd name="T6" fmla="*/ 16 w 200"/>
                <a:gd name="T7" fmla="*/ 39 h 236"/>
                <a:gd name="T8" fmla="*/ 12 w 200"/>
                <a:gd name="T9" fmla="*/ 38 h 236"/>
                <a:gd name="T10" fmla="*/ 9 w 200"/>
                <a:gd name="T11" fmla="*/ 37 h 236"/>
                <a:gd name="T12" fmla="*/ 4 w 200"/>
                <a:gd name="T13" fmla="*/ 38 h 236"/>
                <a:gd name="T14" fmla="*/ 4 w 200"/>
                <a:gd name="T15" fmla="*/ 41 h 236"/>
                <a:gd name="T16" fmla="*/ 4 w 200"/>
                <a:gd name="T17" fmla="*/ 47 h 236"/>
                <a:gd name="T18" fmla="*/ 4 w 200"/>
                <a:gd name="T19" fmla="*/ 50 h 236"/>
                <a:gd name="T20" fmla="*/ 4 w 200"/>
                <a:gd name="T21" fmla="*/ 55 h 236"/>
                <a:gd name="T22" fmla="*/ 5 w 200"/>
                <a:gd name="T23" fmla="*/ 62 h 236"/>
                <a:gd name="T24" fmla="*/ 7 w 200"/>
                <a:gd name="T25" fmla="*/ 68 h 236"/>
                <a:gd name="T26" fmla="*/ 8 w 200"/>
                <a:gd name="T27" fmla="*/ 74 h 236"/>
                <a:gd name="T28" fmla="*/ 8 w 200"/>
                <a:gd name="T29" fmla="*/ 80 h 236"/>
                <a:gd name="T30" fmla="*/ 7 w 200"/>
                <a:gd name="T31" fmla="*/ 81 h 236"/>
                <a:gd name="T32" fmla="*/ 7 w 200"/>
                <a:gd name="T33" fmla="*/ 85 h 236"/>
                <a:gd name="T34" fmla="*/ 11 w 200"/>
                <a:gd name="T35" fmla="*/ 96 h 236"/>
                <a:gd name="T36" fmla="*/ 15 w 200"/>
                <a:gd name="T37" fmla="*/ 108 h 236"/>
                <a:gd name="T38" fmla="*/ 23 w 200"/>
                <a:gd name="T39" fmla="*/ 113 h 236"/>
                <a:gd name="T40" fmla="*/ 23 w 200"/>
                <a:gd name="T41" fmla="*/ 117 h 236"/>
                <a:gd name="T42" fmla="*/ 14 w 200"/>
                <a:gd name="T43" fmla="*/ 123 h 236"/>
                <a:gd name="T44" fmla="*/ 10 w 200"/>
                <a:gd name="T45" fmla="*/ 129 h 236"/>
                <a:gd name="T46" fmla="*/ 10 w 200"/>
                <a:gd name="T47" fmla="*/ 142 h 236"/>
                <a:gd name="T48" fmla="*/ 7 w 200"/>
                <a:gd name="T49" fmla="*/ 151 h 236"/>
                <a:gd name="T50" fmla="*/ 4 w 200"/>
                <a:gd name="T51" fmla="*/ 155 h 236"/>
                <a:gd name="T52" fmla="*/ 5 w 200"/>
                <a:gd name="T53" fmla="*/ 158 h 236"/>
                <a:gd name="T54" fmla="*/ 4 w 200"/>
                <a:gd name="T55" fmla="*/ 164 h 236"/>
                <a:gd name="T56" fmla="*/ 5 w 200"/>
                <a:gd name="T57" fmla="*/ 168 h 236"/>
                <a:gd name="T58" fmla="*/ 11 w 200"/>
                <a:gd name="T59" fmla="*/ 169 h 236"/>
                <a:gd name="T60" fmla="*/ 12 w 200"/>
                <a:gd name="T61" fmla="*/ 175 h 236"/>
                <a:gd name="T62" fmla="*/ 10 w 200"/>
                <a:gd name="T63" fmla="*/ 179 h 236"/>
                <a:gd name="T64" fmla="*/ 4 w 200"/>
                <a:gd name="T65" fmla="*/ 180 h 236"/>
                <a:gd name="T66" fmla="*/ 0 w 200"/>
                <a:gd name="T67" fmla="*/ 189 h 236"/>
                <a:gd name="T68" fmla="*/ 199 w 200"/>
                <a:gd name="T69" fmla="*/ 236 h 236"/>
                <a:gd name="T70" fmla="*/ 27 w 200"/>
                <a:gd name="T71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0" h="236">
                  <a:moveTo>
                    <a:pt x="27" y="0"/>
                  </a:moveTo>
                  <a:cubicBezTo>
                    <a:pt x="27" y="35"/>
                    <a:pt x="27" y="35"/>
                    <a:pt x="27" y="35"/>
                  </a:cubicBezTo>
                  <a:cubicBezTo>
                    <a:pt x="27" y="35"/>
                    <a:pt x="26" y="35"/>
                    <a:pt x="25" y="36"/>
                  </a:cubicBezTo>
                  <a:cubicBezTo>
                    <a:pt x="25" y="37"/>
                    <a:pt x="25" y="38"/>
                    <a:pt x="24" y="38"/>
                  </a:cubicBezTo>
                  <a:cubicBezTo>
                    <a:pt x="24" y="39"/>
                    <a:pt x="24" y="40"/>
                    <a:pt x="24" y="41"/>
                  </a:cubicBezTo>
                  <a:cubicBezTo>
                    <a:pt x="23" y="42"/>
                    <a:pt x="23" y="42"/>
                    <a:pt x="22" y="42"/>
                  </a:cubicBezTo>
                  <a:cubicBezTo>
                    <a:pt x="21" y="43"/>
                    <a:pt x="20" y="42"/>
                    <a:pt x="19" y="41"/>
                  </a:cubicBezTo>
                  <a:cubicBezTo>
                    <a:pt x="18" y="41"/>
                    <a:pt x="17" y="39"/>
                    <a:pt x="16" y="39"/>
                  </a:cubicBezTo>
                  <a:cubicBezTo>
                    <a:pt x="16" y="38"/>
                    <a:pt x="14" y="37"/>
                    <a:pt x="14" y="37"/>
                  </a:cubicBezTo>
                  <a:cubicBezTo>
                    <a:pt x="14" y="37"/>
                    <a:pt x="13" y="38"/>
                    <a:pt x="12" y="38"/>
                  </a:cubicBezTo>
                  <a:cubicBezTo>
                    <a:pt x="11" y="38"/>
                    <a:pt x="11" y="37"/>
                    <a:pt x="11" y="37"/>
                  </a:cubicBezTo>
                  <a:cubicBezTo>
                    <a:pt x="10" y="36"/>
                    <a:pt x="9" y="37"/>
                    <a:pt x="9" y="37"/>
                  </a:cubicBezTo>
                  <a:cubicBezTo>
                    <a:pt x="8" y="37"/>
                    <a:pt x="7" y="37"/>
                    <a:pt x="6" y="38"/>
                  </a:cubicBezTo>
                  <a:cubicBezTo>
                    <a:pt x="6" y="38"/>
                    <a:pt x="5" y="38"/>
                    <a:pt x="4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40"/>
                    <a:pt x="4" y="41"/>
                  </a:cubicBezTo>
                  <a:cubicBezTo>
                    <a:pt x="4" y="42"/>
                    <a:pt x="4" y="44"/>
                    <a:pt x="4" y="45"/>
                  </a:cubicBezTo>
                  <a:cubicBezTo>
                    <a:pt x="4" y="46"/>
                    <a:pt x="4" y="46"/>
                    <a:pt x="4" y="47"/>
                  </a:cubicBezTo>
                  <a:cubicBezTo>
                    <a:pt x="4" y="47"/>
                    <a:pt x="6" y="48"/>
                    <a:pt x="6" y="48"/>
                  </a:cubicBezTo>
                  <a:cubicBezTo>
                    <a:pt x="6" y="48"/>
                    <a:pt x="4" y="50"/>
                    <a:pt x="4" y="50"/>
                  </a:cubicBezTo>
                  <a:cubicBezTo>
                    <a:pt x="3" y="51"/>
                    <a:pt x="4" y="52"/>
                    <a:pt x="4" y="53"/>
                  </a:cubicBezTo>
                  <a:cubicBezTo>
                    <a:pt x="4" y="54"/>
                    <a:pt x="4" y="54"/>
                    <a:pt x="4" y="55"/>
                  </a:cubicBezTo>
                  <a:cubicBezTo>
                    <a:pt x="4" y="56"/>
                    <a:pt x="5" y="59"/>
                    <a:pt x="6" y="59"/>
                  </a:cubicBezTo>
                  <a:cubicBezTo>
                    <a:pt x="6" y="60"/>
                    <a:pt x="6" y="61"/>
                    <a:pt x="5" y="62"/>
                  </a:cubicBezTo>
                  <a:cubicBezTo>
                    <a:pt x="5" y="63"/>
                    <a:pt x="5" y="64"/>
                    <a:pt x="5" y="65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7" y="69"/>
                    <a:pt x="8" y="71"/>
                    <a:pt x="8" y="71"/>
                  </a:cubicBezTo>
                  <a:cubicBezTo>
                    <a:pt x="8" y="72"/>
                    <a:pt x="9" y="74"/>
                    <a:pt x="8" y="74"/>
                  </a:cubicBezTo>
                  <a:cubicBezTo>
                    <a:pt x="8" y="75"/>
                    <a:pt x="9" y="77"/>
                    <a:pt x="9" y="78"/>
                  </a:cubicBezTo>
                  <a:cubicBezTo>
                    <a:pt x="10" y="78"/>
                    <a:pt x="8" y="80"/>
                    <a:pt x="8" y="80"/>
                  </a:cubicBezTo>
                  <a:cubicBezTo>
                    <a:pt x="8" y="80"/>
                    <a:pt x="7" y="81"/>
                    <a:pt x="6" y="81"/>
                  </a:cubicBezTo>
                  <a:cubicBezTo>
                    <a:pt x="6" y="81"/>
                    <a:pt x="7" y="81"/>
                    <a:pt x="7" y="81"/>
                  </a:cubicBezTo>
                  <a:cubicBezTo>
                    <a:pt x="8" y="82"/>
                    <a:pt x="7" y="83"/>
                    <a:pt x="7" y="83"/>
                  </a:cubicBezTo>
                  <a:cubicBezTo>
                    <a:pt x="7" y="83"/>
                    <a:pt x="7" y="85"/>
                    <a:pt x="7" y="85"/>
                  </a:cubicBezTo>
                  <a:cubicBezTo>
                    <a:pt x="7" y="85"/>
                    <a:pt x="6" y="90"/>
                    <a:pt x="7" y="90"/>
                  </a:cubicBezTo>
                  <a:cubicBezTo>
                    <a:pt x="7" y="91"/>
                    <a:pt x="11" y="96"/>
                    <a:pt x="11" y="96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8"/>
                    <a:pt x="15" y="108"/>
                  </a:cubicBezTo>
                  <a:cubicBezTo>
                    <a:pt x="16" y="109"/>
                    <a:pt x="17" y="108"/>
                    <a:pt x="18" y="108"/>
                  </a:cubicBezTo>
                  <a:cubicBezTo>
                    <a:pt x="18" y="108"/>
                    <a:pt x="23" y="112"/>
                    <a:pt x="23" y="113"/>
                  </a:cubicBezTo>
                  <a:cubicBezTo>
                    <a:pt x="23" y="113"/>
                    <a:pt x="23" y="115"/>
                    <a:pt x="23" y="115"/>
                  </a:cubicBezTo>
                  <a:cubicBezTo>
                    <a:pt x="23" y="115"/>
                    <a:pt x="23" y="117"/>
                    <a:pt x="23" y="117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7" y="151"/>
                    <a:pt x="7" y="151"/>
                    <a:pt x="7" y="151"/>
                  </a:cubicBezTo>
                  <a:cubicBezTo>
                    <a:pt x="4" y="152"/>
                    <a:pt x="4" y="152"/>
                    <a:pt x="4" y="152"/>
                  </a:cubicBezTo>
                  <a:cubicBezTo>
                    <a:pt x="4" y="155"/>
                    <a:pt x="4" y="155"/>
                    <a:pt x="4" y="155"/>
                  </a:cubicBezTo>
                  <a:cubicBezTo>
                    <a:pt x="4" y="155"/>
                    <a:pt x="3" y="156"/>
                    <a:pt x="3" y="156"/>
                  </a:cubicBezTo>
                  <a:cubicBezTo>
                    <a:pt x="3" y="157"/>
                    <a:pt x="5" y="157"/>
                    <a:pt x="5" y="158"/>
                  </a:cubicBezTo>
                  <a:cubicBezTo>
                    <a:pt x="6" y="158"/>
                    <a:pt x="6" y="159"/>
                    <a:pt x="6" y="159"/>
                  </a:cubicBezTo>
                  <a:cubicBezTo>
                    <a:pt x="6" y="159"/>
                    <a:pt x="4" y="163"/>
                    <a:pt x="4" y="164"/>
                  </a:cubicBezTo>
                  <a:cubicBezTo>
                    <a:pt x="4" y="164"/>
                    <a:pt x="4" y="166"/>
                    <a:pt x="5" y="166"/>
                  </a:cubicBezTo>
                  <a:cubicBezTo>
                    <a:pt x="5" y="166"/>
                    <a:pt x="5" y="168"/>
                    <a:pt x="5" y="168"/>
                  </a:cubicBezTo>
                  <a:cubicBezTo>
                    <a:pt x="5" y="168"/>
                    <a:pt x="11" y="167"/>
                    <a:pt x="11" y="168"/>
                  </a:cubicBezTo>
                  <a:cubicBezTo>
                    <a:pt x="11" y="168"/>
                    <a:pt x="11" y="169"/>
                    <a:pt x="11" y="169"/>
                  </a:cubicBezTo>
                  <a:cubicBezTo>
                    <a:pt x="13" y="170"/>
                    <a:pt x="13" y="170"/>
                    <a:pt x="13" y="170"/>
                  </a:cubicBezTo>
                  <a:cubicBezTo>
                    <a:pt x="13" y="170"/>
                    <a:pt x="12" y="175"/>
                    <a:pt x="12" y="175"/>
                  </a:cubicBezTo>
                  <a:cubicBezTo>
                    <a:pt x="12" y="175"/>
                    <a:pt x="10" y="176"/>
                    <a:pt x="10" y="176"/>
                  </a:cubicBezTo>
                  <a:cubicBezTo>
                    <a:pt x="10" y="179"/>
                    <a:pt x="10" y="179"/>
                    <a:pt x="10" y="179"/>
                  </a:cubicBezTo>
                  <a:cubicBezTo>
                    <a:pt x="9" y="180"/>
                    <a:pt x="9" y="180"/>
                    <a:pt x="9" y="180"/>
                  </a:cubicBezTo>
                  <a:cubicBezTo>
                    <a:pt x="4" y="180"/>
                    <a:pt x="4" y="180"/>
                    <a:pt x="4" y="18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99" y="236"/>
                    <a:pt x="199" y="236"/>
                    <a:pt x="199" y="236"/>
                  </a:cubicBezTo>
                  <a:cubicBezTo>
                    <a:pt x="200" y="0"/>
                    <a:pt x="200" y="0"/>
                    <a:pt x="200" y="0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D4E0C57B-BE74-455A-ABA7-19294A456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6790" y="3858574"/>
              <a:ext cx="485748" cy="773232"/>
            </a:xfrm>
            <a:custGeom>
              <a:avLst/>
              <a:gdLst>
                <a:gd name="T0" fmla="*/ 37 w 123"/>
                <a:gd name="T1" fmla="*/ 179 h 195"/>
                <a:gd name="T2" fmla="*/ 34 w 123"/>
                <a:gd name="T3" fmla="*/ 176 h 195"/>
                <a:gd name="T4" fmla="*/ 31 w 123"/>
                <a:gd name="T5" fmla="*/ 172 h 195"/>
                <a:gd name="T6" fmla="*/ 30 w 123"/>
                <a:gd name="T7" fmla="*/ 167 h 195"/>
                <a:gd name="T8" fmla="*/ 120 w 123"/>
                <a:gd name="T9" fmla="*/ 164 h 195"/>
                <a:gd name="T10" fmla="*/ 117 w 123"/>
                <a:gd name="T11" fmla="*/ 158 h 195"/>
                <a:gd name="T12" fmla="*/ 116 w 123"/>
                <a:gd name="T13" fmla="*/ 152 h 195"/>
                <a:gd name="T14" fmla="*/ 118 w 123"/>
                <a:gd name="T15" fmla="*/ 144 h 195"/>
                <a:gd name="T16" fmla="*/ 115 w 123"/>
                <a:gd name="T17" fmla="*/ 133 h 195"/>
                <a:gd name="T18" fmla="*/ 117 w 123"/>
                <a:gd name="T19" fmla="*/ 125 h 195"/>
                <a:gd name="T20" fmla="*/ 118 w 123"/>
                <a:gd name="T21" fmla="*/ 119 h 195"/>
                <a:gd name="T22" fmla="*/ 123 w 123"/>
                <a:gd name="T23" fmla="*/ 113 h 195"/>
                <a:gd name="T24" fmla="*/ 120 w 123"/>
                <a:gd name="T25" fmla="*/ 110 h 195"/>
                <a:gd name="T26" fmla="*/ 120 w 123"/>
                <a:gd name="T27" fmla="*/ 105 h 195"/>
                <a:gd name="T28" fmla="*/ 116 w 123"/>
                <a:gd name="T29" fmla="*/ 96 h 195"/>
                <a:gd name="T30" fmla="*/ 115 w 123"/>
                <a:gd name="T31" fmla="*/ 92 h 195"/>
                <a:gd name="T32" fmla="*/ 99 w 123"/>
                <a:gd name="T33" fmla="*/ 0 h 195"/>
                <a:gd name="T34" fmla="*/ 11 w 123"/>
                <a:gd name="T35" fmla="*/ 3 h 195"/>
                <a:gd name="T36" fmla="*/ 0 w 123"/>
                <a:gd name="T37" fmla="*/ 126 h 195"/>
                <a:gd name="T38" fmla="*/ 4 w 123"/>
                <a:gd name="T39" fmla="*/ 189 h 195"/>
                <a:gd name="T40" fmla="*/ 11 w 123"/>
                <a:gd name="T41" fmla="*/ 189 h 195"/>
                <a:gd name="T42" fmla="*/ 13 w 123"/>
                <a:gd name="T43" fmla="*/ 187 h 195"/>
                <a:gd name="T44" fmla="*/ 14 w 123"/>
                <a:gd name="T45" fmla="*/ 181 h 195"/>
                <a:gd name="T46" fmla="*/ 15 w 123"/>
                <a:gd name="T47" fmla="*/ 179 h 195"/>
                <a:gd name="T48" fmla="*/ 17 w 123"/>
                <a:gd name="T49" fmla="*/ 177 h 195"/>
                <a:gd name="T50" fmla="*/ 19 w 123"/>
                <a:gd name="T51" fmla="*/ 180 h 195"/>
                <a:gd name="T52" fmla="*/ 20 w 123"/>
                <a:gd name="T53" fmla="*/ 188 h 195"/>
                <a:gd name="T54" fmla="*/ 22 w 123"/>
                <a:gd name="T55" fmla="*/ 190 h 195"/>
                <a:gd name="T56" fmla="*/ 25 w 123"/>
                <a:gd name="T57" fmla="*/ 194 h 195"/>
                <a:gd name="T58" fmla="*/ 20 w 123"/>
                <a:gd name="T59" fmla="*/ 195 h 195"/>
                <a:gd name="T60" fmla="*/ 25 w 123"/>
                <a:gd name="T61" fmla="*/ 195 h 195"/>
                <a:gd name="T62" fmla="*/ 28 w 123"/>
                <a:gd name="T63" fmla="*/ 195 h 195"/>
                <a:gd name="T64" fmla="*/ 31 w 123"/>
                <a:gd name="T65" fmla="*/ 193 h 195"/>
                <a:gd name="T66" fmla="*/ 36 w 123"/>
                <a:gd name="T67" fmla="*/ 189 h 195"/>
                <a:gd name="T68" fmla="*/ 36 w 123"/>
                <a:gd name="T69" fmla="*/ 185 h 195"/>
                <a:gd name="T70" fmla="*/ 36 w 123"/>
                <a:gd name="T71" fmla="*/ 18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3" h="195">
                  <a:moveTo>
                    <a:pt x="36" y="181"/>
                  </a:moveTo>
                  <a:cubicBezTo>
                    <a:pt x="36" y="181"/>
                    <a:pt x="37" y="179"/>
                    <a:pt x="37" y="179"/>
                  </a:cubicBezTo>
                  <a:cubicBezTo>
                    <a:pt x="37" y="179"/>
                    <a:pt x="37" y="177"/>
                    <a:pt x="37" y="177"/>
                  </a:cubicBezTo>
                  <a:cubicBezTo>
                    <a:pt x="37" y="177"/>
                    <a:pt x="34" y="176"/>
                    <a:pt x="34" y="176"/>
                  </a:cubicBezTo>
                  <a:cubicBezTo>
                    <a:pt x="33" y="176"/>
                    <a:pt x="33" y="175"/>
                    <a:pt x="33" y="174"/>
                  </a:cubicBezTo>
                  <a:cubicBezTo>
                    <a:pt x="33" y="174"/>
                    <a:pt x="31" y="173"/>
                    <a:pt x="31" y="172"/>
                  </a:cubicBezTo>
                  <a:cubicBezTo>
                    <a:pt x="31" y="172"/>
                    <a:pt x="29" y="170"/>
                    <a:pt x="29" y="170"/>
                  </a:cubicBezTo>
                  <a:cubicBezTo>
                    <a:pt x="30" y="167"/>
                    <a:pt x="30" y="167"/>
                    <a:pt x="30" y="167"/>
                  </a:cubicBezTo>
                  <a:cubicBezTo>
                    <a:pt x="31" y="164"/>
                    <a:pt x="31" y="164"/>
                    <a:pt x="31" y="164"/>
                  </a:cubicBezTo>
                  <a:cubicBezTo>
                    <a:pt x="120" y="164"/>
                    <a:pt x="120" y="164"/>
                    <a:pt x="120" y="164"/>
                  </a:cubicBezTo>
                  <a:cubicBezTo>
                    <a:pt x="120" y="164"/>
                    <a:pt x="119" y="161"/>
                    <a:pt x="119" y="160"/>
                  </a:cubicBezTo>
                  <a:cubicBezTo>
                    <a:pt x="119" y="160"/>
                    <a:pt x="118" y="159"/>
                    <a:pt x="117" y="158"/>
                  </a:cubicBezTo>
                  <a:cubicBezTo>
                    <a:pt x="117" y="157"/>
                    <a:pt x="116" y="156"/>
                    <a:pt x="116" y="156"/>
                  </a:cubicBezTo>
                  <a:cubicBezTo>
                    <a:pt x="116" y="155"/>
                    <a:pt x="116" y="152"/>
                    <a:pt x="116" y="152"/>
                  </a:cubicBezTo>
                  <a:cubicBezTo>
                    <a:pt x="116" y="152"/>
                    <a:pt x="117" y="149"/>
                    <a:pt x="117" y="149"/>
                  </a:cubicBezTo>
                  <a:cubicBezTo>
                    <a:pt x="118" y="148"/>
                    <a:pt x="118" y="144"/>
                    <a:pt x="118" y="144"/>
                  </a:cubicBezTo>
                  <a:cubicBezTo>
                    <a:pt x="118" y="143"/>
                    <a:pt x="117" y="138"/>
                    <a:pt x="117" y="137"/>
                  </a:cubicBezTo>
                  <a:cubicBezTo>
                    <a:pt x="116" y="137"/>
                    <a:pt x="115" y="134"/>
                    <a:pt x="115" y="133"/>
                  </a:cubicBezTo>
                  <a:cubicBezTo>
                    <a:pt x="115" y="132"/>
                    <a:pt x="115" y="129"/>
                    <a:pt x="115" y="129"/>
                  </a:cubicBezTo>
                  <a:cubicBezTo>
                    <a:pt x="115" y="128"/>
                    <a:pt x="116" y="126"/>
                    <a:pt x="117" y="125"/>
                  </a:cubicBezTo>
                  <a:cubicBezTo>
                    <a:pt x="117" y="124"/>
                    <a:pt x="118" y="123"/>
                    <a:pt x="118" y="122"/>
                  </a:cubicBezTo>
                  <a:cubicBezTo>
                    <a:pt x="118" y="121"/>
                    <a:pt x="118" y="120"/>
                    <a:pt x="118" y="119"/>
                  </a:cubicBezTo>
                  <a:cubicBezTo>
                    <a:pt x="118" y="118"/>
                    <a:pt x="121" y="116"/>
                    <a:pt x="121" y="115"/>
                  </a:cubicBezTo>
                  <a:cubicBezTo>
                    <a:pt x="121" y="115"/>
                    <a:pt x="123" y="113"/>
                    <a:pt x="123" y="113"/>
                  </a:cubicBezTo>
                  <a:cubicBezTo>
                    <a:pt x="123" y="113"/>
                    <a:pt x="122" y="112"/>
                    <a:pt x="122" y="112"/>
                  </a:cubicBezTo>
                  <a:cubicBezTo>
                    <a:pt x="121" y="111"/>
                    <a:pt x="120" y="111"/>
                    <a:pt x="120" y="110"/>
                  </a:cubicBezTo>
                  <a:cubicBezTo>
                    <a:pt x="120" y="109"/>
                    <a:pt x="120" y="108"/>
                    <a:pt x="120" y="108"/>
                  </a:cubicBezTo>
                  <a:cubicBezTo>
                    <a:pt x="121" y="107"/>
                    <a:pt x="121" y="105"/>
                    <a:pt x="120" y="105"/>
                  </a:cubicBezTo>
                  <a:cubicBezTo>
                    <a:pt x="120" y="105"/>
                    <a:pt x="117" y="100"/>
                    <a:pt x="117" y="99"/>
                  </a:cubicBezTo>
                  <a:cubicBezTo>
                    <a:pt x="117" y="98"/>
                    <a:pt x="116" y="97"/>
                    <a:pt x="116" y="96"/>
                  </a:cubicBezTo>
                  <a:cubicBezTo>
                    <a:pt x="116" y="95"/>
                    <a:pt x="116" y="94"/>
                    <a:pt x="115" y="93"/>
                  </a:cubicBezTo>
                  <a:cubicBezTo>
                    <a:pt x="115" y="93"/>
                    <a:pt x="115" y="92"/>
                    <a:pt x="115" y="92"/>
                  </a:cubicBezTo>
                  <a:cubicBezTo>
                    <a:pt x="115" y="91"/>
                    <a:pt x="114" y="89"/>
                    <a:pt x="114" y="89"/>
                  </a:cubicBezTo>
                  <a:cubicBezTo>
                    <a:pt x="114" y="88"/>
                    <a:pt x="99" y="0"/>
                    <a:pt x="9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3" y="189"/>
                    <a:pt x="3" y="189"/>
                    <a:pt x="3" y="189"/>
                  </a:cubicBezTo>
                  <a:cubicBezTo>
                    <a:pt x="3" y="189"/>
                    <a:pt x="3" y="189"/>
                    <a:pt x="4" y="189"/>
                  </a:cubicBezTo>
                  <a:cubicBezTo>
                    <a:pt x="5" y="189"/>
                    <a:pt x="6" y="189"/>
                    <a:pt x="6" y="189"/>
                  </a:cubicBezTo>
                  <a:cubicBezTo>
                    <a:pt x="8" y="189"/>
                    <a:pt x="10" y="189"/>
                    <a:pt x="11" y="189"/>
                  </a:cubicBezTo>
                  <a:cubicBezTo>
                    <a:pt x="12" y="189"/>
                    <a:pt x="13" y="189"/>
                    <a:pt x="13" y="189"/>
                  </a:cubicBezTo>
                  <a:cubicBezTo>
                    <a:pt x="13" y="189"/>
                    <a:pt x="13" y="188"/>
                    <a:pt x="13" y="187"/>
                  </a:cubicBezTo>
                  <a:cubicBezTo>
                    <a:pt x="13" y="186"/>
                    <a:pt x="13" y="185"/>
                    <a:pt x="13" y="184"/>
                  </a:cubicBezTo>
                  <a:cubicBezTo>
                    <a:pt x="14" y="183"/>
                    <a:pt x="14" y="182"/>
                    <a:pt x="14" y="181"/>
                  </a:cubicBezTo>
                  <a:cubicBezTo>
                    <a:pt x="14" y="181"/>
                    <a:pt x="14" y="181"/>
                    <a:pt x="14" y="180"/>
                  </a:cubicBezTo>
                  <a:cubicBezTo>
                    <a:pt x="14" y="180"/>
                    <a:pt x="15" y="179"/>
                    <a:pt x="15" y="179"/>
                  </a:cubicBezTo>
                  <a:cubicBezTo>
                    <a:pt x="15" y="178"/>
                    <a:pt x="15" y="177"/>
                    <a:pt x="16" y="177"/>
                  </a:cubicBezTo>
                  <a:cubicBezTo>
                    <a:pt x="17" y="177"/>
                    <a:pt x="17" y="177"/>
                    <a:pt x="17" y="177"/>
                  </a:cubicBezTo>
                  <a:cubicBezTo>
                    <a:pt x="18" y="177"/>
                    <a:pt x="18" y="177"/>
                    <a:pt x="19" y="178"/>
                  </a:cubicBezTo>
                  <a:cubicBezTo>
                    <a:pt x="19" y="178"/>
                    <a:pt x="19" y="179"/>
                    <a:pt x="19" y="180"/>
                  </a:cubicBezTo>
                  <a:cubicBezTo>
                    <a:pt x="19" y="180"/>
                    <a:pt x="19" y="181"/>
                    <a:pt x="19" y="182"/>
                  </a:cubicBezTo>
                  <a:cubicBezTo>
                    <a:pt x="19" y="184"/>
                    <a:pt x="19" y="186"/>
                    <a:pt x="20" y="188"/>
                  </a:cubicBezTo>
                  <a:cubicBezTo>
                    <a:pt x="20" y="189"/>
                    <a:pt x="20" y="189"/>
                    <a:pt x="21" y="189"/>
                  </a:cubicBezTo>
                  <a:cubicBezTo>
                    <a:pt x="21" y="190"/>
                    <a:pt x="21" y="190"/>
                    <a:pt x="22" y="190"/>
                  </a:cubicBezTo>
                  <a:cubicBezTo>
                    <a:pt x="22" y="191"/>
                    <a:pt x="23" y="191"/>
                    <a:pt x="24" y="192"/>
                  </a:cubicBezTo>
                  <a:cubicBezTo>
                    <a:pt x="24" y="192"/>
                    <a:pt x="25" y="193"/>
                    <a:pt x="25" y="194"/>
                  </a:cubicBezTo>
                  <a:cubicBezTo>
                    <a:pt x="25" y="195"/>
                    <a:pt x="23" y="194"/>
                    <a:pt x="22" y="194"/>
                  </a:cubicBezTo>
                  <a:cubicBezTo>
                    <a:pt x="22" y="194"/>
                    <a:pt x="20" y="194"/>
                    <a:pt x="20" y="195"/>
                  </a:cubicBezTo>
                  <a:cubicBezTo>
                    <a:pt x="21" y="195"/>
                    <a:pt x="22" y="195"/>
                    <a:pt x="23" y="195"/>
                  </a:cubicBezTo>
                  <a:cubicBezTo>
                    <a:pt x="23" y="195"/>
                    <a:pt x="24" y="195"/>
                    <a:pt x="25" y="195"/>
                  </a:cubicBezTo>
                  <a:cubicBezTo>
                    <a:pt x="25" y="195"/>
                    <a:pt x="26" y="195"/>
                    <a:pt x="27" y="195"/>
                  </a:cubicBezTo>
                  <a:cubicBezTo>
                    <a:pt x="27" y="195"/>
                    <a:pt x="28" y="195"/>
                    <a:pt x="28" y="195"/>
                  </a:cubicBezTo>
                  <a:cubicBezTo>
                    <a:pt x="29" y="195"/>
                    <a:pt x="29" y="194"/>
                    <a:pt x="30" y="194"/>
                  </a:cubicBezTo>
                  <a:cubicBezTo>
                    <a:pt x="30" y="194"/>
                    <a:pt x="31" y="194"/>
                    <a:pt x="31" y="193"/>
                  </a:cubicBezTo>
                  <a:cubicBezTo>
                    <a:pt x="32" y="193"/>
                    <a:pt x="32" y="192"/>
                    <a:pt x="32" y="192"/>
                  </a:cubicBezTo>
                  <a:cubicBezTo>
                    <a:pt x="33" y="191"/>
                    <a:pt x="34" y="190"/>
                    <a:pt x="36" y="189"/>
                  </a:cubicBezTo>
                  <a:cubicBezTo>
                    <a:pt x="36" y="189"/>
                    <a:pt x="37" y="188"/>
                    <a:pt x="37" y="187"/>
                  </a:cubicBezTo>
                  <a:cubicBezTo>
                    <a:pt x="37" y="187"/>
                    <a:pt x="35" y="185"/>
                    <a:pt x="36" y="185"/>
                  </a:cubicBezTo>
                  <a:cubicBezTo>
                    <a:pt x="36" y="184"/>
                    <a:pt x="36" y="183"/>
                    <a:pt x="36" y="183"/>
                  </a:cubicBezTo>
                  <a:cubicBezTo>
                    <a:pt x="36" y="183"/>
                    <a:pt x="36" y="182"/>
                    <a:pt x="36" y="181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B7819ACD-0690-32BE-6BB7-9441D643EBB3}"/>
              </a:ext>
            </a:extLst>
          </p:cNvPr>
          <p:cNvSpPr txBox="1"/>
          <p:nvPr/>
        </p:nvSpPr>
        <p:spPr>
          <a:xfrm>
            <a:off x="3048000" y="324679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20D9907-C7BA-E8A5-DEEB-8AEDB532B295}"/>
              </a:ext>
            </a:extLst>
          </p:cNvPr>
          <p:cNvSpPr txBox="1"/>
          <p:nvPr/>
        </p:nvSpPr>
        <p:spPr>
          <a:xfrm flipH="1">
            <a:off x="2306420" y="243708"/>
            <a:ext cx="40398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/>
              <a:t>Original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6286638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A4501ED-A534-C832-DC34-FEF5ADADDB92}"/>
              </a:ext>
            </a:extLst>
          </p:cNvPr>
          <p:cNvSpPr txBox="1"/>
          <p:nvPr/>
        </p:nvSpPr>
        <p:spPr>
          <a:xfrm>
            <a:off x="179809" y="4205403"/>
            <a:ext cx="19306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orth Dako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113248-F598-96C0-A61F-DD1276A4B6E9}"/>
              </a:ext>
            </a:extLst>
          </p:cNvPr>
          <p:cNvSpPr txBox="1"/>
          <p:nvPr/>
        </p:nvSpPr>
        <p:spPr>
          <a:xfrm>
            <a:off x="191344" y="404664"/>
            <a:ext cx="17518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w Jerse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B7509E-5F34-E1D2-DD98-8892287C713C}"/>
              </a:ext>
            </a:extLst>
          </p:cNvPr>
          <p:cNvSpPr txBox="1"/>
          <p:nvPr/>
        </p:nvSpPr>
        <p:spPr>
          <a:xfrm>
            <a:off x="191344" y="1366666"/>
            <a:ext cx="1607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w Mexic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6DE93B-78B0-B5E0-40A9-2EF73A6C8634}"/>
              </a:ext>
            </a:extLst>
          </p:cNvPr>
          <p:cNvSpPr txBox="1"/>
          <p:nvPr/>
        </p:nvSpPr>
        <p:spPr>
          <a:xfrm>
            <a:off x="210708" y="2328668"/>
            <a:ext cx="1607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w Yor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0A90AB-F0ED-BCB8-1910-E4258ED71CC8}"/>
              </a:ext>
            </a:extLst>
          </p:cNvPr>
          <p:cNvSpPr txBox="1"/>
          <p:nvPr/>
        </p:nvSpPr>
        <p:spPr>
          <a:xfrm>
            <a:off x="180344" y="3243401"/>
            <a:ext cx="17219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orth Carolin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91364D-8A7B-E257-D4CF-3A1FB8142F84}"/>
              </a:ext>
            </a:extLst>
          </p:cNvPr>
          <p:cNvSpPr txBox="1"/>
          <p:nvPr/>
        </p:nvSpPr>
        <p:spPr>
          <a:xfrm>
            <a:off x="180480" y="5122002"/>
            <a:ext cx="8877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Ohi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AEA133-D322-335B-A4C6-79C3BEE4B938}"/>
              </a:ext>
            </a:extLst>
          </p:cNvPr>
          <p:cNvSpPr txBox="1"/>
          <p:nvPr/>
        </p:nvSpPr>
        <p:spPr>
          <a:xfrm>
            <a:off x="179809" y="6069042"/>
            <a:ext cx="15358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Oklahom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679DBAF-50AE-F244-0A99-24ACE1F52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074" y="2174481"/>
            <a:ext cx="1428750" cy="9525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3833780-76F0-D5CF-92EA-7B364AFB70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3551" y="4915180"/>
            <a:ext cx="1428750" cy="9525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EE1A987-16A1-7AD1-DFE6-7F3CA4C95D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4318" y="4950720"/>
            <a:ext cx="1428750" cy="9525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A22662F-F267-0E8B-05C9-8DFCD16370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641" y="3033809"/>
            <a:ext cx="1428750" cy="9525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BBDCA7-57AD-7768-5F44-72858F7101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372" y="1203041"/>
            <a:ext cx="1428750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9216AE2-DEDB-6226-6D80-D6C605D629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568" y="1145742"/>
            <a:ext cx="1428750" cy="9525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5D584B6-7B7A-605C-0D32-179D5EAF2F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499" y="3033809"/>
            <a:ext cx="1428750" cy="9525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73E6367-9808-BC2E-03F7-5ADB746788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172" y="3040250"/>
            <a:ext cx="1428750" cy="9525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966A3A9-E762-52FB-71A3-5B1B5FC811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449" y="3967370"/>
            <a:ext cx="1428750" cy="9525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1405EC95-9842-09C8-99C0-C7A5522FCA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2647" y="3986309"/>
            <a:ext cx="1428750" cy="9525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7F6FDDC2-944B-4E82-FB3D-20DFC747B95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641" y="4938809"/>
            <a:ext cx="1428750" cy="9525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FD0C366-0B30-D031-967C-A43F48378AD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801" y="5910248"/>
            <a:ext cx="1428750" cy="9525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DA65385-C42C-F186-5BE1-9A958A4AC7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711" y="5881409"/>
            <a:ext cx="1428750" cy="9525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3EEEEEA-AF93-BCB5-6F3B-5A8F30DEF62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473" y="171958"/>
            <a:ext cx="1428750" cy="9525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3E395D7C-6A2D-1652-03CA-0845B8E1EBA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7658" y="179513"/>
            <a:ext cx="1428750" cy="9525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265ACC5-A226-1F6D-2D43-1AC9CCA4175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150" y="2156255"/>
            <a:ext cx="1428750" cy="95250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A114AF3-1792-224E-0131-3FD64345EBA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1461" y="5881409"/>
            <a:ext cx="1428750" cy="95250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FB3308FF-1FA0-DA1F-A514-252D62CCC16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5402" y="4874607"/>
            <a:ext cx="1428750" cy="9525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CC72A38-4B95-68C5-5477-2728C9E3565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411" y="3064107"/>
            <a:ext cx="1428750" cy="95250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A3834D33-5A0F-CA48-5A75-E9D02A79E69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4852764"/>
            <a:ext cx="14287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994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110028-062B-A0C7-D5B7-455731B4CD74}"/>
              </a:ext>
            </a:extLst>
          </p:cNvPr>
          <p:cNvSpPr txBox="1"/>
          <p:nvPr/>
        </p:nvSpPr>
        <p:spPr>
          <a:xfrm>
            <a:off x="167959" y="5997034"/>
            <a:ext cx="86097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Texa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04B342-C18E-AD93-0524-6759D191D0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292" y="1032800"/>
            <a:ext cx="1428750" cy="952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49354C1-61D6-9386-F6F5-49E0EAE2D5D2}"/>
              </a:ext>
            </a:extLst>
          </p:cNvPr>
          <p:cNvSpPr txBox="1"/>
          <p:nvPr/>
        </p:nvSpPr>
        <p:spPr>
          <a:xfrm>
            <a:off x="167680" y="404664"/>
            <a:ext cx="12478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Oreg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82417-8A48-242E-BE33-1186A02F8C1A}"/>
              </a:ext>
            </a:extLst>
          </p:cNvPr>
          <p:cNvSpPr txBox="1"/>
          <p:nvPr/>
        </p:nvSpPr>
        <p:spPr>
          <a:xfrm>
            <a:off x="167680" y="1340768"/>
            <a:ext cx="1967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Pennsylvani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48D124B-1EE5-C8F4-F3E1-889D65DE3533}"/>
              </a:ext>
            </a:extLst>
          </p:cNvPr>
          <p:cNvSpPr txBox="1"/>
          <p:nvPr/>
        </p:nvSpPr>
        <p:spPr>
          <a:xfrm>
            <a:off x="167680" y="2276872"/>
            <a:ext cx="18238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Rhode Islan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DCC43A-4502-F085-3AA3-AEDEFDE46A9D}"/>
              </a:ext>
            </a:extLst>
          </p:cNvPr>
          <p:cNvSpPr txBox="1"/>
          <p:nvPr/>
        </p:nvSpPr>
        <p:spPr>
          <a:xfrm>
            <a:off x="167680" y="3284984"/>
            <a:ext cx="18238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South Carolin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F7C599-A1A8-8C18-52A3-FC709E61554C}"/>
              </a:ext>
            </a:extLst>
          </p:cNvPr>
          <p:cNvSpPr txBox="1"/>
          <p:nvPr/>
        </p:nvSpPr>
        <p:spPr>
          <a:xfrm>
            <a:off x="181395" y="4149080"/>
            <a:ext cx="16798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South Dako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907DD6F-F2D2-E554-A41A-311725E19B4B}"/>
              </a:ext>
            </a:extLst>
          </p:cNvPr>
          <p:cNvSpPr txBox="1"/>
          <p:nvPr/>
        </p:nvSpPr>
        <p:spPr>
          <a:xfrm>
            <a:off x="155569" y="5033902"/>
            <a:ext cx="18238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Tennesse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AAC8CB9-4CAA-8DD1-255D-C0D982AB3F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1101" y="5863713"/>
            <a:ext cx="1428750" cy="9525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4D484ED-1F83-1432-8609-2B5706E10B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830" y="3008789"/>
            <a:ext cx="1428750" cy="9525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CED619A-C014-2C70-5974-BFE31CBA05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626" y="5863713"/>
            <a:ext cx="1428750" cy="9525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E96EEBA-3368-C87D-A6D6-C7D0BD7D80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5012" y="4872700"/>
            <a:ext cx="1428750" cy="9525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E76B56F-8D52-3AAE-1682-7AE3D2FF23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770" y="5825200"/>
            <a:ext cx="1428750" cy="9525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0353041-6899-C80A-19BF-887338D012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1495" y="20556"/>
            <a:ext cx="1428750" cy="9525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2C44930-9DBF-99DF-FEFC-57667647D6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22" y="-27384"/>
            <a:ext cx="1428750" cy="9525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422608B-15D5-7E2C-338A-9CB54E87EF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651" y="1032800"/>
            <a:ext cx="1428750" cy="9525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BAEBA94-1866-7BEA-370D-1E0215D488F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999" y="908720"/>
            <a:ext cx="1428750" cy="9525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4EF8B257-BCC5-F6C4-BBC9-80144C68883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404" y="2014615"/>
            <a:ext cx="1428750" cy="95250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42721687-79AF-5B32-0A7A-BC4C694D1B7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03" y="1968128"/>
            <a:ext cx="1428750" cy="9525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1142175-0D0F-CE7B-3032-F13740E1317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7525" y="5816092"/>
            <a:ext cx="1428750" cy="95250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10DE1B3-9D2C-0753-C10A-DB8B7B686F5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22" y="2980556"/>
            <a:ext cx="1428750" cy="95250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B1235980-E594-05EB-4222-DCD111D28D4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651" y="3987718"/>
            <a:ext cx="1428750" cy="95250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67C219A3-1AA9-258D-B595-5DC137CAB8E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22" y="3933056"/>
            <a:ext cx="1428750" cy="9525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43B3BF0-BE4C-279C-7DB5-64B9A2C18B3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558" y="5838636"/>
            <a:ext cx="1428750" cy="9525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7A836D39-93F9-334F-F947-E3EBB3F1468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22" y="4869160"/>
            <a:ext cx="1428750" cy="95250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B2703837-DEC4-8244-F03D-4CF01891C60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808" y="5816092"/>
            <a:ext cx="1428750" cy="9525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BF14A6C-7B3C-1740-DCDC-4AEA3738CE8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474" y="5884944"/>
            <a:ext cx="1428750" cy="95250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23724398-6181-E2AE-44CB-3CBCC7D493C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1879" y="5812776"/>
            <a:ext cx="1428750" cy="9525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6B638F0A-DC81-90DD-9A94-A197399624C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6746" y="4869160"/>
            <a:ext cx="14287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4358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110028-062B-A0C7-D5B7-455731B4CD74}"/>
              </a:ext>
            </a:extLst>
          </p:cNvPr>
          <p:cNvSpPr txBox="1"/>
          <p:nvPr/>
        </p:nvSpPr>
        <p:spPr>
          <a:xfrm>
            <a:off x="140583" y="6071102"/>
            <a:ext cx="17219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Wyom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E2469E-C66D-DB13-E325-DCAB823C67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32" y="28228"/>
            <a:ext cx="1428750" cy="952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3DA6046-AEB0-311E-E5ED-AC4B61AA38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736" y="100236"/>
            <a:ext cx="1428750" cy="952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3431D97-F61F-31C7-6238-D6A9433E87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368" y="154109"/>
            <a:ext cx="1428750" cy="9525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633B64-85ED-17EB-8065-4DBACEF53669}"/>
              </a:ext>
            </a:extLst>
          </p:cNvPr>
          <p:cNvSpPr txBox="1"/>
          <p:nvPr/>
        </p:nvSpPr>
        <p:spPr>
          <a:xfrm>
            <a:off x="155132" y="420022"/>
            <a:ext cx="8869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Utah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646FD0-05A9-3223-9EEA-4D42391352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44624"/>
            <a:ext cx="1428750" cy="952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FE758CD-051F-EF4D-6B82-6C2C7822AE4D}"/>
              </a:ext>
            </a:extLst>
          </p:cNvPr>
          <p:cNvSpPr txBox="1"/>
          <p:nvPr/>
        </p:nvSpPr>
        <p:spPr>
          <a:xfrm>
            <a:off x="119336" y="1387686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Vermo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4B8C26-384D-207F-C9A5-8AE6350F48B2}"/>
              </a:ext>
            </a:extLst>
          </p:cNvPr>
          <p:cNvSpPr txBox="1"/>
          <p:nvPr/>
        </p:nvSpPr>
        <p:spPr>
          <a:xfrm>
            <a:off x="140583" y="2353614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Virgini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32AE1B-E437-F907-BA56-4202E5F24ABF}"/>
              </a:ext>
            </a:extLst>
          </p:cNvPr>
          <p:cNvSpPr txBox="1"/>
          <p:nvPr/>
        </p:nvSpPr>
        <p:spPr>
          <a:xfrm>
            <a:off x="119336" y="3244334"/>
            <a:ext cx="17219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Washingt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E4C7FF-6951-B2F7-4D2E-A916A9D4C825}"/>
              </a:ext>
            </a:extLst>
          </p:cNvPr>
          <p:cNvSpPr txBox="1"/>
          <p:nvPr/>
        </p:nvSpPr>
        <p:spPr>
          <a:xfrm>
            <a:off x="73247" y="4214454"/>
            <a:ext cx="19678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West Virgini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4C5290-148B-5A83-B137-E042471DC8E7}"/>
              </a:ext>
            </a:extLst>
          </p:cNvPr>
          <p:cNvSpPr txBox="1"/>
          <p:nvPr/>
        </p:nvSpPr>
        <p:spPr>
          <a:xfrm>
            <a:off x="119336" y="5100982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Wisconsi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615D632-FA3A-E25B-90B2-FDE4A28FE3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267" y="3046428"/>
            <a:ext cx="1428750" cy="9525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AF614BF-296F-EA28-99E1-F8D547596A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5042" y="4994064"/>
            <a:ext cx="1428750" cy="9525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047E01C-CE31-F527-889D-3C77512F48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872" y="1020927"/>
            <a:ext cx="1428750" cy="9525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5CB8D73-5275-ECD3-0A9C-C665AA7814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187" y="2025873"/>
            <a:ext cx="1428750" cy="9525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ACED1BC-E432-F53B-6E47-F5FAEF5F8C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592" y="1988840"/>
            <a:ext cx="1428750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73515D4-F82B-9774-A66A-036DFDCD72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8076" y="2978373"/>
            <a:ext cx="1428750" cy="9525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83C180E-31FA-90AB-7C23-5709B920E7E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6517" y="3015202"/>
            <a:ext cx="1428750" cy="9525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C5F8E19-7FDD-9B21-9304-6D8F72697BE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628" y="3988668"/>
            <a:ext cx="1428750" cy="9525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A60E2A0-7827-D50A-F450-896438C5158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628" y="5013176"/>
            <a:ext cx="1364648" cy="90976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43660A6-315C-F5A0-50DD-51CCE92E24C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5078" y="5902871"/>
            <a:ext cx="14287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182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599BAA-B124-3710-2263-CCC4593DCC5E}"/>
              </a:ext>
            </a:extLst>
          </p:cNvPr>
          <p:cNvSpPr txBox="1"/>
          <p:nvPr/>
        </p:nvSpPr>
        <p:spPr>
          <a:xfrm>
            <a:off x="7129" y="0"/>
            <a:ext cx="1870366" cy="1421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labama</a:t>
            </a:r>
          </a:p>
          <a:p>
            <a:r>
              <a:rPr lang="en-US" dirty="0"/>
              <a:t>Alaska</a:t>
            </a:r>
          </a:p>
          <a:p>
            <a:r>
              <a:rPr lang="en-US" dirty="0"/>
              <a:t>Arizona</a:t>
            </a:r>
          </a:p>
          <a:p>
            <a:r>
              <a:rPr lang="en-US" dirty="0"/>
              <a:t>Arkansas</a:t>
            </a:r>
          </a:p>
          <a:p>
            <a:r>
              <a:rPr lang="en-US" dirty="0"/>
              <a:t>California</a:t>
            </a:r>
          </a:p>
          <a:p>
            <a:r>
              <a:rPr lang="en-US" dirty="0"/>
              <a:t>Colorado</a:t>
            </a:r>
          </a:p>
          <a:p>
            <a:r>
              <a:rPr lang="en-US" dirty="0"/>
              <a:t>Connecticut</a:t>
            </a:r>
          </a:p>
          <a:p>
            <a:r>
              <a:rPr lang="en-US" dirty="0"/>
              <a:t>Delaware</a:t>
            </a:r>
          </a:p>
          <a:p>
            <a:r>
              <a:rPr lang="en-US" dirty="0"/>
              <a:t>Florida</a:t>
            </a:r>
          </a:p>
          <a:p>
            <a:r>
              <a:rPr lang="en-US" dirty="0"/>
              <a:t>Georgia</a:t>
            </a:r>
          </a:p>
          <a:p>
            <a:r>
              <a:rPr lang="en-US" dirty="0"/>
              <a:t>Hawaii</a:t>
            </a:r>
          </a:p>
          <a:p>
            <a:r>
              <a:rPr lang="en-US" dirty="0"/>
              <a:t>Idaho</a:t>
            </a:r>
          </a:p>
          <a:p>
            <a:r>
              <a:rPr lang="en-US" dirty="0"/>
              <a:t>Illinois</a:t>
            </a:r>
          </a:p>
          <a:p>
            <a:r>
              <a:rPr lang="en-US" dirty="0"/>
              <a:t>Indiana</a:t>
            </a:r>
          </a:p>
          <a:p>
            <a:r>
              <a:rPr lang="en-US" dirty="0"/>
              <a:t>Iowa</a:t>
            </a:r>
          </a:p>
          <a:p>
            <a:r>
              <a:rPr lang="en-US" dirty="0"/>
              <a:t>Kansas</a:t>
            </a:r>
          </a:p>
          <a:p>
            <a:r>
              <a:rPr lang="en-US" dirty="0"/>
              <a:t>Kentucky</a:t>
            </a:r>
          </a:p>
          <a:p>
            <a:r>
              <a:rPr lang="en-US" dirty="0"/>
              <a:t>Louisiana</a:t>
            </a:r>
          </a:p>
          <a:p>
            <a:r>
              <a:rPr lang="en-US" dirty="0"/>
              <a:t>Maine</a:t>
            </a:r>
          </a:p>
          <a:p>
            <a:r>
              <a:rPr lang="en-US" dirty="0"/>
              <a:t>Maryland</a:t>
            </a:r>
          </a:p>
          <a:p>
            <a:r>
              <a:rPr lang="en-US" dirty="0"/>
              <a:t>Massachusetts</a:t>
            </a:r>
          </a:p>
          <a:p>
            <a:r>
              <a:rPr lang="en-US" dirty="0"/>
              <a:t>Michigan</a:t>
            </a:r>
          </a:p>
          <a:p>
            <a:r>
              <a:rPr lang="en-US" dirty="0"/>
              <a:t>Minnesota</a:t>
            </a:r>
          </a:p>
          <a:p>
            <a:r>
              <a:rPr lang="en-US" dirty="0"/>
              <a:t>Mississippi</a:t>
            </a:r>
          </a:p>
          <a:p>
            <a:r>
              <a:rPr lang="en-US" dirty="0"/>
              <a:t>Missouri</a:t>
            </a:r>
          </a:p>
          <a:p>
            <a:r>
              <a:rPr lang="en-US" dirty="0"/>
              <a:t>Montana</a:t>
            </a:r>
          </a:p>
          <a:p>
            <a:r>
              <a:rPr lang="en-US" dirty="0"/>
              <a:t>Nebraska</a:t>
            </a:r>
          </a:p>
          <a:p>
            <a:r>
              <a:rPr lang="en-US" dirty="0"/>
              <a:t>Nevada</a:t>
            </a:r>
          </a:p>
          <a:p>
            <a:r>
              <a:rPr lang="en-US" dirty="0"/>
              <a:t>New Hampshire</a:t>
            </a:r>
          </a:p>
          <a:p>
            <a:r>
              <a:rPr lang="en-US" dirty="0"/>
              <a:t>New Jersey</a:t>
            </a:r>
          </a:p>
          <a:p>
            <a:r>
              <a:rPr lang="en-US" dirty="0"/>
              <a:t>New Mexico</a:t>
            </a:r>
          </a:p>
          <a:p>
            <a:r>
              <a:rPr lang="en-US" dirty="0"/>
              <a:t>New York</a:t>
            </a:r>
          </a:p>
          <a:p>
            <a:r>
              <a:rPr lang="en-US" dirty="0"/>
              <a:t>North Carolina</a:t>
            </a:r>
          </a:p>
          <a:p>
            <a:r>
              <a:rPr lang="en-US" dirty="0"/>
              <a:t>North Dakota</a:t>
            </a:r>
          </a:p>
          <a:p>
            <a:r>
              <a:rPr lang="en-US" dirty="0"/>
              <a:t>Ohio</a:t>
            </a:r>
          </a:p>
          <a:p>
            <a:r>
              <a:rPr lang="en-US" dirty="0"/>
              <a:t>Oklahoma</a:t>
            </a:r>
          </a:p>
          <a:p>
            <a:r>
              <a:rPr lang="en-US" dirty="0"/>
              <a:t>Oregon</a:t>
            </a:r>
          </a:p>
          <a:p>
            <a:r>
              <a:rPr lang="en-US" dirty="0"/>
              <a:t>Pennsylvania</a:t>
            </a:r>
          </a:p>
          <a:p>
            <a:r>
              <a:rPr lang="en-US" dirty="0"/>
              <a:t>Rhode Island</a:t>
            </a:r>
          </a:p>
          <a:p>
            <a:r>
              <a:rPr lang="en-US" dirty="0"/>
              <a:t>South Carolina</a:t>
            </a:r>
          </a:p>
          <a:p>
            <a:r>
              <a:rPr lang="en-US" dirty="0"/>
              <a:t>South Dakota</a:t>
            </a:r>
          </a:p>
          <a:p>
            <a:r>
              <a:rPr lang="en-US" dirty="0"/>
              <a:t>Tennessee</a:t>
            </a:r>
          </a:p>
          <a:p>
            <a:r>
              <a:rPr lang="en-US" dirty="0"/>
              <a:t>Texas</a:t>
            </a:r>
          </a:p>
          <a:p>
            <a:r>
              <a:rPr lang="en-US" dirty="0"/>
              <a:t>Utah</a:t>
            </a:r>
          </a:p>
          <a:p>
            <a:r>
              <a:rPr lang="en-US" dirty="0"/>
              <a:t>Vermont</a:t>
            </a:r>
          </a:p>
          <a:p>
            <a:r>
              <a:rPr lang="en-US" dirty="0"/>
              <a:t>Virginia</a:t>
            </a:r>
          </a:p>
          <a:p>
            <a:r>
              <a:rPr lang="en-US" dirty="0"/>
              <a:t>Washington</a:t>
            </a:r>
          </a:p>
          <a:p>
            <a:r>
              <a:rPr lang="en-US" dirty="0"/>
              <a:t>West Virginia</a:t>
            </a:r>
          </a:p>
          <a:p>
            <a:r>
              <a:rPr lang="en-US" dirty="0"/>
              <a:t>Wisconsin</a:t>
            </a:r>
          </a:p>
          <a:p>
            <a:r>
              <a:rPr lang="en-US" dirty="0"/>
              <a:t>Wyom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0E5ADA-3708-D907-2119-D57A2552CF14}"/>
              </a:ext>
            </a:extLst>
          </p:cNvPr>
          <p:cNvSpPr txBox="1"/>
          <p:nvPr/>
        </p:nvSpPr>
        <p:spPr>
          <a:xfrm>
            <a:off x="1559496" y="2132856"/>
            <a:ext cx="11377264" cy="2308324"/>
          </a:xfrm>
          <a:prstGeom prst="rect">
            <a:avLst/>
          </a:prstGeom>
          <a:noFill/>
        </p:spPr>
        <p:txBody>
          <a:bodyPr wrap="square" numCol="7">
            <a:spAutoFit/>
          </a:bodyPr>
          <a:lstStyle/>
          <a:p>
            <a:r>
              <a:rPr lang="en-US" dirty="0"/>
              <a:t>Alabama</a:t>
            </a:r>
          </a:p>
          <a:p>
            <a:r>
              <a:rPr lang="en-US" dirty="0"/>
              <a:t>Alaska</a:t>
            </a:r>
          </a:p>
          <a:p>
            <a:r>
              <a:rPr lang="en-US" dirty="0"/>
              <a:t>Arizona</a:t>
            </a:r>
          </a:p>
          <a:p>
            <a:r>
              <a:rPr lang="en-US" dirty="0"/>
              <a:t>Arkansas</a:t>
            </a:r>
          </a:p>
          <a:p>
            <a:r>
              <a:rPr lang="en-US" dirty="0"/>
              <a:t>California</a:t>
            </a:r>
          </a:p>
          <a:p>
            <a:r>
              <a:rPr lang="en-US" dirty="0"/>
              <a:t>Colorado</a:t>
            </a:r>
          </a:p>
          <a:p>
            <a:r>
              <a:rPr lang="en-US" dirty="0"/>
              <a:t>Connecticut</a:t>
            </a:r>
          </a:p>
          <a:p>
            <a:r>
              <a:rPr lang="en-US" dirty="0"/>
              <a:t>Delaware</a:t>
            </a:r>
          </a:p>
          <a:p>
            <a:r>
              <a:rPr lang="en-US" dirty="0"/>
              <a:t>Florida</a:t>
            </a:r>
          </a:p>
          <a:p>
            <a:r>
              <a:rPr lang="en-US" dirty="0"/>
              <a:t>Georgia</a:t>
            </a:r>
          </a:p>
          <a:p>
            <a:r>
              <a:rPr lang="en-US" dirty="0"/>
              <a:t>Hawaii</a:t>
            </a:r>
          </a:p>
          <a:p>
            <a:r>
              <a:rPr lang="en-US" dirty="0"/>
              <a:t>Idaho</a:t>
            </a:r>
          </a:p>
          <a:p>
            <a:r>
              <a:rPr lang="en-US" dirty="0"/>
              <a:t>Illinois</a:t>
            </a:r>
          </a:p>
          <a:p>
            <a:r>
              <a:rPr lang="en-US" dirty="0"/>
              <a:t>Indiana</a:t>
            </a:r>
          </a:p>
          <a:p>
            <a:r>
              <a:rPr lang="en-US" dirty="0"/>
              <a:t>Iowa</a:t>
            </a:r>
          </a:p>
          <a:p>
            <a:r>
              <a:rPr lang="en-US" dirty="0"/>
              <a:t>Kansas</a:t>
            </a:r>
          </a:p>
          <a:p>
            <a:r>
              <a:rPr lang="en-US" dirty="0"/>
              <a:t>Kentucky</a:t>
            </a:r>
          </a:p>
          <a:p>
            <a:r>
              <a:rPr lang="en-US" dirty="0"/>
              <a:t>Louisiana</a:t>
            </a:r>
          </a:p>
          <a:p>
            <a:r>
              <a:rPr lang="en-US" dirty="0"/>
              <a:t>Maine</a:t>
            </a:r>
          </a:p>
          <a:p>
            <a:r>
              <a:rPr lang="en-US" dirty="0"/>
              <a:t>Maryland</a:t>
            </a:r>
          </a:p>
          <a:p>
            <a:r>
              <a:rPr lang="en-US" dirty="0"/>
              <a:t>Massachusetts</a:t>
            </a:r>
          </a:p>
          <a:p>
            <a:r>
              <a:rPr lang="en-US" dirty="0"/>
              <a:t>Michigan</a:t>
            </a:r>
          </a:p>
          <a:p>
            <a:r>
              <a:rPr lang="en-US" dirty="0"/>
              <a:t>Minnesota</a:t>
            </a:r>
          </a:p>
          <a:p>
            <a:r>
              <a:rPr lang="en-US" dirty="0"/>
              <a:t>Mississippi</a:t>
            </a:r>
          </a:p>
          <a:p>
            <a:r>
              <a:rPr lang="en-US" dirty="0"/>
              <a:t>Missouri</a:t>
            </a:r>
          </a:p>
          <a:p>
            <a:r>
              <a:rPr lang="en-US" dirty="0"/>
              <a:t>Montana</a:t>
            </a:r>
          </a:p>
          <a:p>
            <a:r>
              <a:rPr lang="en-US" dirty="0"/>
              <a:t>Nebraska</a:t>
            </a:r>
          </a:p>
          <a:p>
            <a:r>
              <a:rPr lang="en-US" dirty="0"/>
              <a:t>Nevada</a:t>
            </a:r>
          </a:p>
          <a:p>
            <a:r>
              <a:rPr lang="en-US" dirty="0"/>
              <a:t>New Hampshire</a:t>
            </a:r>
          </a:p>
          <a:p>
            <a:r>
              <a:rPr lang="en-US" dirty="0"/>
              <a:t>New Jersey</a:t>
            </a:r>
          </a:p>
          <a:p>
            <a:r>
              <a:rPr lang="en-US" dirty="0"/>
              <a:t>New Mexico</a:t>
            </a:r>
          </a:p>
          <a:p>
            <a:r>
              <a:rPr lang="en-US" dirty="0"/>
              <a:t>New York</a:t>
            </a:r>
          </a:p>
          <a:p>
            <a:r>
              <a:rPr lang="en-US" dirty="0"/>
              <a:t>North Carolina</a:t>
            </a:r>
          </a:p>
          <a:p>
            <a:r>
              <a:rPr lang="en-US" dirty="0"/>
              <a:t>North Dakota</a:t>
            </a:r>
          </a:p>
          <a:p>
            <a:r>
              <a:rPr lang="en-US" dirty="0"/>
              <a:t>Ohio</a:t>
            </a:r>
          </a:p>
          <a:p>
            <a:r>
              <a:rPr lang="en-US" dirty="0"/>
              <a:t>Oklahoma</a:t>
            </a:r>
          </a:p>
          <a:p>
            <a:r>
              <a:rPr lang="en-US" dirty="0"/>
              <a:t>Oregon</a:t>
            </a:r>
          </a:p>
          <a:p>
            <a:r>
              <a:rPr lang="en-US" dirty="0"/>
              <a:t>Pennsylvania</a:t>
            </a:r>
          </a:p>
          <a:p>
            <a:r>
              <a:rPr lang="en-US" dirty="0"/>
              <a:t>Rhode Island</a:t>
            </a:r>
          </a:p>
          <a:p>
            <a:r>
              <a:rPr lang="en-US" dirty="0"/>
              <a:t>South Carolina</a:t>
            </a:r>
          </a:p>
          <a:p>
            <a:r>
              <a:rPr lang="en-US" dirty="0"/>
              <a:t>South Dakota</a:t>
            </a:r>
          </a:p>
          <a:p>
            <a:r>
              <a:rPr lang="en-US" dirty="0"/>
              <a:t>Tennessee</a:t>
            </a:r>
          </a:p>
          <a:p>
            <a:r>
              <a:rPr lang="en-US" dirty="0"/>
              <a:t>Texas</a:t>
            </a:r>
          </a:p>
          <a:p>
            <a:r>
              <a:rPr lang="en-US" dirty="0"/>
              <a:t>Utah</a:t>
            </a:r>
          </a:p>
          <a:p>
            <a:r>
              <a:rPr lang="en-US" dirty="0"/>
              <a:t>Vermont</a:t>
            </a:r>
          </a:p>
          <a:p>
            <a:r>
              <a:rPr lang="en-US" dirty="0"/>
              <a:t>Virginia</a:t>
            </a:r>
          </a:p>
          <a:p>
            <a:r>
              <a:rPr lang="en-US" dirty="0"/>
              <a:t>Washington</a:t>
            </a:r>
          </a:p>
          <a:p>
            <a:r>
              <a:rPr lang="en-US" dirty="0"/>
              <a:t>West Virginia</a:t>
            </a:r>
          </a:p>
          <a:p>
            <a:r>
              <a:rPr lang="en-US" dirty="0"/>
              <a:t>Wisconsin</a:t>
            </a:r>
          </a:p>
          <a:p>
            <a:r>
              <a:rPr lang="en-US" dirty="0"/>
              <a:t>Wyom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D39B5A-6E86-0B60-0AE9-DCD09078DFA0}"/>
              </a:ext>
            </a:extLst>
          </p:cNvPr>
          <p:cNvSpPr txBox="1"/>
          <p:nvPr/>
        </p:nvSpPr>
        <p:spPr>
          <a:xfrm>
            <a:off x="2351584" y="5157192"/>
            <a:ext cx="181370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/>
              </a:rPr>
              <a:t>Logos</a:t>
            </a:r>
            <a:endParaRPr lang="en-US" dirty="0"/>
          </a:p>
          <a:p>
            <a:r>
              <a:rPr lang="en-US" dirty="0">
                <a:hlinkClick r:id="rId3"/>
              </a:rPr>
              <a:t>Directional arrow</a:t>
            </a:r>
            <a:endParaRPr lang="en-US" dirty="0"/>
          </a:p>
          <a:p>
            <a:r>
              <a:rPr lang="en-US" dirty="0">
                <a:hlinkClick r:id="rId4" action="ppaction://hlinkfile"/>
              </a:rPr>
              <a:t>Wheel of Na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7923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599BAA-B124-3710-2263-CCC4593DCC5E}"/>
              </a:ext>
            </a:extLst>
          </p:cNvPr>
          <p:cNvSpPr txBox="1"/>
          <p:nvPr/>
        </p:nvSpPr>
        <p:spPr>
          <a:xfrm>
            <a:off x="7129" y="0"/>
            <a:ext cx="1870366" cy="1421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labama</a:t>
            </a:r>
          </a:p>
          <a:p>
            <a:r>
              <a:rPr lang="en-US" dirty="0"/>
              <a:t>Alaska</a:t>
            </a:r>
          </a:p>
          <a:p>
            <a:r>
              <a:rPr lang="en-US" dirty="0"/>
              <a:t>Arizona</a:t>
            </a:r>
          </a:p>
          <a:p>
            <a:r>
              <a:rPr lang="en-US" dirty="0"/>
              <a:t>Arkansas</a:t>
            </a:r>
          </a:p>
          <a:p>
            <a:r>
              <a:rPr lang="en-US" dirty="0"/>
              <a:t>California</a:t>
            </a:r>
          </a:p>
          <a:p>
            <a:r>
              <a:rPr lang="en-US" dirty="0"/>
              <a:t>Colorado</a:t>
            </a:r>
          </a:p>
          <a:p>
            <a:r>
              <a:rPr lang="en-US" dirty="0"/>
              <a:t>Connecticut</a:t>
            </a:r>
          </a:p>
          <a:p>
            <a:r>
              <a:rPr lang="en-US" dirty="0"/>
              <a:t>Delaware</a:t>
            </a:r>
          </a:p>
          <a:p>
            <a:r>
              <a:rPr lang="en-US" dirty="0"/>
              <a:t>Florida</a:t>
            </a:r>
          </a:p>
          <a:p>
            <a:r>
              <a:rPr lang="en-US" dirty="0"/>
              <a:t>Georgia</a:t>
            </a:r>
          </a:p>
          <a:p>
            <a:r>
              <a:rPr lang="en-US" dirty="0"/>
              <a:t>Hawaii</a:t>
            </a:r>
          </a:p>
          <a:p>
            <a:r>
              <a:rPr lang="en-US" dirty="0"/>
              <a:t>Idaho</a:t>
            </a:r>
          </a:p>
          <a:p>
            <a:r>
              <a:rPr lang="en-US" dirty="0"/>
              <a:t>Illinois</a:t>
            </a:r>
          </a:p>
          <a:p>
            <a:r>
              <a:rPr lang="en-US" dirty="0"/>
              <a:t>Indiana</a:t>
            </a:r>
          </a:p>
          <a:p>
            <a:r>
              <a:rPr lang="en-US" dirty="0"/>
              <a:t>Iowa</a:t>
            </a:r>
          </a:p>
          <a:p>
            <a:r>
              <a:rPr lang="en-US" dirty="0"/>
              <a:t>Kansas</a:t>
            </a:r>
          </a:p>
          <a:p>
            <a:r>
              <a:rPr lang="en-US" dirty="0"/>
              <a:t>Kentucky</a:t>
            </a:r>
          </a:p>
          <a:p>
            <a:r>
              <a:rPr lang="en-US" dirty="0"/>
              <a:t>Louisiana</a:t>
            </a:r>
          </a:p>
          <a:p>
            <a:r>
              <a:rPr lang="en-US" dirty="0"/>
              <a:t>Maine</a:t>
            </a:r>
          </a:p>
          <a:p>
            <a:r>
              <a:rPr lang="en-US" dirty="0"/>
              <a:t>Maryland</a:t>
            </a:r>
          </a:p>
          <a:p>
            <a:r>
              <a:rPr lang="en-US" dirty="0"/>
              <a:t>Massachusetts</a:t>
            </a:r>
          </a:p>
          <a:p>
            <a:r>
              <a:rPr lang="en-US" dirty="0"/>
              <a:t>Michigan</a:t>
            </a:r>
          </a:p>
          <a:p>
            <a:r>
              <a:rPr lang="en-US" dirty="0"/>
              <a:t>Minnesota</a:t>
            </a:r>
          </a:p>
          <a:p>
            <a:r>
              <a:rPr lang="en-US" dirty="0"/>
              <a:t>Mississippi</a:t>
            </a:r>
          </a:p>
          <a:p>
            <a:r>
              <a:rPr lang="en-US" dirty="0"/>
              <a:t>Missouri</a:t>
            </a:r>
          </a:p>
          <a:p>
            <a:r>
              <a:rPr lang="en-US" dirty="0"/>
              <a:t>Montana</a:t>
            </a:r>
          </a:p>
          <a:p>
            <a:r>
              <a:rPr lang="en-US" dirty="0"/>
              <a:t>Nebraska</a:t>
            </a:r>
          </a:p>
          <a:p>
            <a:r>
              <a:rPr lang="en-US" dirty="0"/>
              <a:t>Nevada</a:t>
            </a:r>
          </a:p>
          <a:p>
            <a:r>
              <a:rPr lang="en-US" dirty="0"/>
              <a:t>New Hampshire</a:t>
            </a:r>
          </a:p>
          <a:p>
            <a:r>
              <a:rPr lang="en-US" dirty="0"/>
              <a:t>New Jersey</a:t>
            </a:r>
          </a:p>
          <a:p>
            <a:r>
              <a:rPr lang="en-US" dirty="0"/>
              <a:t>New Mexico</a:t>
            </a:r>
          </a:p>
          <a:p>
            <a:r>
              <a:rPr lang="en-US" dirty="0"/>
              <a:t>New York</a:t>
            </a:r>
          </a:p>
          <a:p>
            <a:r>
              <a:rPr lang="en-US" dirty="0"/>
              <a:t>North Carolina</a:t>
            </a:r>
          </a:p>
          <a:p>
            <a:r>
              <a:rPr lang="en-US" dirty="0"/>
              <a:t>North Dakota</a:t>
            </a:r>
          </a:p>
          <a:p>
            <a:r>
              <a:rPr lang="en-US" dirty="0"/>
              <a:t>Ohio</a:t>
            </a:r>
          </a:p>
          <a:p>
            <a:r>
              <a:rPr lang="en-US" dirty="0"/>
              <a:t>Oklahoma</a:t>
            </a:r>
          </a:p>
          <a:p>
            <a:r>
              <a:rPr lang="en-US" dirty="0"/>
              <a:t>Oregon</a:t>
            </a:r>
          </a:p>
          <a:p>
            <a:r>
              <a:rPr lang="en-US" dirty="0"/>
              <a:t>Pennsylvania</a:t>
            </a:r>
          </a:p>
          <a:p>
            <a:r>
              <a:rPr lang="en-US" dirty="0"/>
              <a:t>Rhode Island</a:t>
            </a:r>
          </a:p>
          <a:p>
            <a:r>
              <a:rPr lang="en-US" dirty="0"/>
              <a:t>South Carolina</a:t>
            </a:r>
          </a:p>
          <a:p>
            <a:r>
              <a:rPr lang="en-US" dirty="0"/>
              <a:t>South Dakota</a:t>
            </a:r>
          </a:p>
          <a:p>
            <a:r>
              <a:rPr lang="en-US" dirty="0"/>
              <a:t>Tennessee</a:t>
            </a:r>
          </a:p>
          <a:p>
            <a:r>
              <a:rPr lang="en-US" dirty="0"/>
              <a:t>Texas</a:t>
            </a:r>
          </a:p>
          <a:p>
            <a:r>
              <a:rPr lang="en-US" dirty="0"/>
              <a:t>Utah</a:t>
            </a:r>
          </a:p>
          <a:p>
            <a:r>
              <a:rPr lang="en-US" dirty="0"/>
              <a:t>Vermont</a:t>
            </a:r>
          </a:p>
          <a:p>
            <a:r>
              <a:rPr lang="en-US" dirty="0"/>
              <a:t>Virginia</a:t>
            </a:r>
          </a:p>
          <a:p>
            <a:r>
              <a:rPr lang="en-US" dirty="0"/>
              <a:t>Washington</a:t>
            </a:r>
          </a:p>
          <a:p>
            <a:r>
              <a:rPr lang="en-US" dirty="0"/>
              <a:t>West Virginia</a:t>
            </a:r>
          </a:p>
          <a:p>
            <a:r>
              <a:rPr lang="en-US" dirty="0"/>
              <a:t>Wisconsin</a:t>
            </a:r>
          </a:p>
          <a:p>
            <a:r>
              <a:rPr lang="en-US" dirty="0"/>
              <a:t>Wyom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0E5ADA-3708-D907-2119-D57A2552CF14}"/>
              </a:ext>
            </a:extLst>
          </p:cNvPr>
          <p:cNvSpPr txBox="1"/>
          <p:nvPr/>
        </p:nvSpPr>
        <p:spPr>
          <a:xfrm>
            <a:off x="1559496" y="2132856"/>
            <a:ext cx="11377264" cy="2308324"/>
          </a:xfrm>
          <a:prstGeom prst="rect">
            <a:avLst/>
          </a:prstGeom>
          <a:noFill/>
        </p:spPr>
        <p:txBody>
          <a:bodyPr wrap="square" numCol="7">
            <a:spAutoFit/>
          </a:bodyPr>
          <a:lstStyle/>
          <a:p>
            <a:r>
              <a:rPr lang="en-US" dirty="0"/>
              <a:t>Alabama</a:t>
            </a:r>
          </a:p>
          <a:p>
            <a:r>
              <a:rPr lang="en-US" dirty="0"/>
              <a:t>Alaska</a:t>
            </a:r>
          </a:p>
          <a:p>
            <a:r>
              <a:rPr lang="en-US" dirty="0"/>
              <a:t>Arizona</a:t>
            </a:r>
          </a:p>
          <a:p>
            <a:r>
              <a:rPr lang="en-US" dirty="0"/>
              <a:t>Arkansas</a:t>
            </a:r>
          </a:p>
          <a:p>
            <a:r>
              <a:rPr lang="en-US" dirty="0"/>
              <a:t>California</a:t>
            </a:r>
          </a:p>
          <a:p>
            <a:r>
              <a:rPr lang="en-US" dirty="0"/>
              <a:t>Colorado</a:t>
            </a:r>
          </a:p>
          <a:p>
            <a:r>
              <a:rPr lang="en-US" dirty="0"/>
              <a:t>Connecticut</a:t>
            </a:r>
          </a:p>
          <a:p>
            <a:r>
              <a:rPr lang="en-US" dirty="0"/>
              <a:t>Delaware</a:t>
            </a:r>
          </a:p>
          <a:p>
            <a:r>
              <a:rPr lang="en-US" dirty="0"/>
              <a:t>Florida</a:t>
            </a:r>
          </a:p>
          <a:p>
            <a:r>
              <a:rPr lang="en-US" dirty="0"/>
              <a:t>Georgia</a:t>
            </a:r>
          </a:p>
          <a:p>
            <a:r>
              <a:rPr lang="en-US" dirty="0"/>
              <a:t>Hawaii</a:t>
            </a:r>
          </a:p>
          <a:p>
            <a:r>
              <a:rPr lang="en-US" dirty="0"/>
              <a:t>Idaho</a:t>
            </a:r>
          </a:p>
          <a:p>
            <a:r>
              <a:rPr lang="en-US" dirty="0"/>
              <a:t>Illinois</a:t>
            </a:r>
          </a:p>
          <a:p>
            <a:r>
              <a:rPr lang="en-US" dirty="0"/>
              <a:t>Indiana</a:t>
            </a:r>
          </a:p>
          <a:p>
            <a:r>
              <a:rPr lang="en-US" dirty="0"/>
              <a:t>Iowa</a:t>
            </a:r>
          </a:p>
          <a:p>
            <a:r>
              <a:rPr lang="en-US" dirty="0"/>
              <a:t>Kansas</a:t>
            </a:r>
          </a:p>
          <a:p>
            <a:r>
              <a:rPr lang="en-US" dirty="0"/>
              <a:t>Kentucky</a:t>
            </a:r>
          </a:p>
          <a:p>
            <a:r>
              <a:rPr lang="en-US" dirty="0"/>
              <a:t>Louisiana</a:t>
            </a:r>
          </a:p>
          <a:p>
            <a:r>
              <a:rPr lang="en-US" dirty="0"/>
              <a:t>Maine</a:t>
            </a:r>
          </a:p>
          <a:p>
            <a:r>
              <a:rPr lang="en-US" dirty="0"/>
              <a:t>Maryland</a:t>
            </a:r>
          </a:p>
          <a:p>
            <a:r>
              <a:rPr lang="en-US" dirty="0"/>
              <a:t>Massachusetts</a:t>
            </a:r>
          </a:p>
          <a:p>
            <a:r>
              <a:rPr lang="en-US" dirty="0"/>
              <a:t>Michigan</a:t>
            </a:r>
          </a:p>
          <a:p>
            <a:r>
              <a:rPr lang="en-US" dirty="0"/>
              <a:t>Minnesota</a:t>
            </a:r>
          </a:p>
          <a:p>
            <a:r>
              <a:rPr lang="en-US" dirty="0"/>
              <a:t>Mississippi</a:t>
            </a:r>
          </a:p>
          <a:p>
            <a:r>
              <a:rPr lang="en-US" dirty="0"/>
              <a:t>Missouri</a:t>
            </a:r>
          </a:p>
          <a:p>
            <a:r>
              <a:rPr lang="en-US" dirty="0"/>
              <a:t>Montana</a:t>
            </a:r>
          </a:p>
          <a:p>
            <a:r>
              <a:rPr lang="en-US" dirty="0"/>
              <a:t>Nebraska</a:t>
            </a:r>
          </a:p>
          <a:p>
            <a:r>
              <a:rPr lang="en-US" dirty="0"/>
              <a:t>Nevada</a:t>
            </a:r>
          </a:p>
          <a:p>
            <a:r>
              <a:rPr lang="en-US" dirty="0"/>
              <a:t>New Hampshire</a:t>
            </a:r>
          </a:p>
          <a:p>
            <a:r>
              <a:rPr lang="en-US" dirty="0"/>
              <a:t>New Jersey</a:t>
            </a:r>
          </a:p>
          <a:p>
            <a:r>
              <a:rPr lang="en-US" dirty="0"/>
              <a:t>New Mexico</a:t>
            </a:r>
          </a:p>
          <a:p>
            <a:r>
              <a:rPr lang="en-US" dirty="0"/>
              <a:t>New York</a:t>
            </a:r>
          </a:p>
          <a:p>
            <a:r>
              <a:rPr lang="en-US" dirty="0"/>
              <a:t>North Carolina</a:t>
            </a:r>
          </a:p>
          <a:p>
            <a:r>
              <a:rPr lang="en-US" dirty="0"/>
              <a:t>North Dakota</a:t>
            </a:r>
          </a:p>
          <a:p>
            <a:r>
              <a:rPr lang="en-US" dirty="0"/>
              <a:t>Ohio</a:t>
            </a:r>
          </a:p>
          <a:p>
            <a:r>
              <a:rPr lang="en-US" dirty="0"/>
              <a:t>Oklahoma</a:t>
            </a:r>
          </a:p>
          <a:p>
            <a:r>
              <a:rPr lang="en-US" dirty="0"/>
              <a:t>Oregon</a:t>
            </a:r>
          </a:p>
          <a:p>
            <a:r>
              <a:rPr lang="en-US" dirty="0"/>
              <a:t>Pennsylvania</a:t>
            </a:r>
          </a:p>
          <a:p>
            <a:r>
              <a:rPr lang="en-US" dirty="0"/>
              <a:t>Rhode Island</a:t>
            </a:r>
          </a:p>
          <a:p>
            <a:r>
              <a:rPr lang="en-US" dirty="0"/>
              <a:t>South Carolina</a:t>
            </a:r>
          </a:p>
          <a:p>
            <a:r>
              <a:rPr lang="en-US" dirty="0"/>
              <a:t>South Dakota</a:t>
            </a:r>
          </a:p>
          <a:p>
            <a:r>
              <a:rPr lang="en-US" dirty="0"/>
              <a:t>Tennessee</a:t>
            </a:r>
          </a:p>
          <a:p>
            <a:r>
              <a:rPr lang="en-US" dirty="0"/>
              <a:t>Texas</a:t>
            </a:r>
          </a:p>
          <a:p>
            <a:r>
              <a:rPr lang="en-US" dirty="0"/>
              <a:t>Utah</a:t>
            </a:r>
          </a:p>
          <a:p>
            <a:r>
              <a:rPr lang="en-US" dirty="0"/>
              <a:t>Vermont</a:t>
            </a:r>
          </a:p>
          <a:p>
            <a:r>
              <a:rPr lang="en-US" dirty="0"/>
              <a:t>Virginia</a:t>
            </a:r>
          </a:p>
          <a:p>
            <a:r>
              <a:rPr lang="en-US" dirty="0"/>
              <a:t>Washington</a:t>
            </a:r>
          </a:p>
          <a:p>
            <a:r>
              <a:rPr lang="en-US" dirty="0"/>
              <a:t>West Virginia</a:t>
            </a:r>
          </a:p>
          <a:p>
            <a:r>
              <a:rPr lang="en-US" dirty="0"/>
              <a:t>Wisconsin</a:t>
            </a:r>
          </a:p>
          <a:p>
            <a:r>
              <a:rPr lang="en-US" dirty="0"/>
              <a:t>Wyom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D39B5A-6E86-0B60-0AE9-DCD09078DFA0}"/>
              </a:ext>
            </a:extLst>
          </p:cNvPr>
          <p:cNvSpPr txBox="1"/>
          <p:nvPr/>
        </p:nvSpPr>
        <p:spPr>
          <a:xfrm>
            <a:off x="2351584" y="5157192"/>
            <a:ext cx="181370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/>
              </a:rPr>
              <a:t>Logos</a:t>
            </a:r>
            <a:endParaRPr lang="en-US" dirty="0"/>
          </a:p>
          <a:p>
            <a:r>
              <a:rPr lang="en-US" dirty="0">
                <a:hlinkClick r:id="rId3"/>
              </a:rPr>
              <a:t>Directional arrow</a:t>
            </a:r>
            <a:endParaRPr lang="en-US" dirty="0"/>
          </a:p>
          <a:p>
            <a:r>
              <a:rPr lang="en-US" dirty="0">
                <a:hlinkClick r:id="rId4" action="ppaction://hlinkfile"/>
              </a:rPr>
              <a:t>Wheel of Na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904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98AE82-3F92-4767-A59E-F4831887E9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98AE82-3F92-4767-A59E-F4831887E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8023733B-42F2-4213-B459-E3152A90D988}"/>
              </a:ext>
            </a:extLst>
          </p:cNvPr>
          <p:cNvGrpSpPr/>
          <p:nvPr/>
        </p:nvGrpSpPr>
        <p:grpSpPr>
          <a:xfrm>
            <a:off x="300896" y="1178697"/>
            <a:ext cx="11590208" cy="4500607"/>
            <a:chOff x="300896" y="1178697"/>
            <a:chExt cx="11590208" cy="4500607"/>
          </a:xfrm>
        </p:grpSpPr>
        <p:sp>
          <p:nvSpPr>
            <p:cNvPr id="18" name="Hawaii">
              <a:extLst>
                <a:ext uri="{FF2B5EF4-FFF2-40B4-BE49-F238E27FC236}">
                  <a16:creationId xmlns:a16="http://schemas.microsoft.com/office/drawing/2014/main" id="{39B0AFE4-1228-4405-A201-19EFAC1EB0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9108" y="4849897"/>
              <a:ext cx="1650552" cy="829407"/>
            </a:xfrm>
            <a:custGeom>
              <a:avLst/>
              <a:gdLst>
                <a:gd name="T0" fmla="*/ 371 w 417"/>
                <a:gd name="T1" fmla="*/ 181 h 209"/>
                <a:gd name="T2" fmla="*/ 360 w 417"/>
                <a:gd name="T3" fmla="*/ 165 h 209"/>
                <a:gd name="T4" fmla="*/ 367 w 417"/>
                <a:gd name="T5" fmla="*/ 158 h 209"/>
                <a:gd name="T6" fmla="*/ 107 w 417"/>
                <a:gd name="T7" fmla="*/ 12 h 209"/>
                <a:gd name="T8" fmla="*/ 101 w 417"/>
                <a:gd name="T9" fmla="*/ 34 h 209"/>
                <a:gd name="T10" fmla="*/ 97 w 417"/>
                <a:gd name="T11" fmla="*/ 38 h 209"/>
                <a:gd name="T12" fmla="*/ 85 w 417"/>
                <a:gd name="T13" fmla="*/ 42 h 209"/>
                <a:gd name="T14" fmla="*/ 61 w 417"/>
                <a:gd name="T15" fmla="*/ 33 h 209"/>
                <a:gd name="T16" fmla="*/ 57 w 417"/>
                <a:gd name="T17" fmla="*/ 16 h 209"/>
                <a:gd name="T18" fmla="*/ 61 w 417"/>
                <a:gd name="T19" fmla="*/ 10 h 209"/>
                <a:gd name="T20" fmla="*/ 71 w 417"/>
                <a:gd name="T21" fmla="*/ 4 h 209"/>
                <a:gd name="T22" fmla="*/ 84 w 417"/>
                <a:gd name="T23" fmla="*/ 3 h 209"/>
                <a:gd name="T24" fmla="*/ 92 w 417"/>
                <a:gd name="T25" fmla="*/ 2 h 209"/>
                <a:gd name="T26" fmla="*/ 103 w 417"/>
                <a:gd name="T27" fmla="*/ 4 h 209"/>
                <a:gd name="T28" fmla="*/ 397 w 417"/>
                <a:gd name="T29" fmla="*/ 131 h 209"/>
                <a:gd name="T30" fmla="*/ 381 w 417"/>
                <a:gd name="T31" fmla="*/ 142 h 209"/>
                <a:gd name="T32" fmla="*/ 349 w 417"/>
                <a:gd name="T33" fmla="*/ 137 h 209"/>
                <a:gd name="T34" fmla="*/ 335 w 417"/>
                <a:gd name="T35" fmla="*/ 129 h 209"/>
                <a:gd name="T36" fmla="*/ 344 w 417"/>
                <a:gd name="T37" fmla="*/ 124 h 209"/>
                <a:gd name="T38" fmla="*/ 362 w 417"/>
                <a:gd name="T39" fmla="*/ 127 h 209"/>
                <a:gd name="T40" fmla="*/ 371 w 417"/>
                <a:gd name="T41" fmla="*/ 128 h 209"/>
                <a:gd name="T42" fmla="*/ 375 w 417"/>
                <a:gd name="T43" fmla="*/ 129 h 209"/>
                <a:gd name="T44" fmla="*/ 394 w 417"/>
                <a:gd name="T45" fmla="*/ 129 h 209"/>
                <a:gd name="T46" fmla="*/ 11 w 417"/>
                <a:gd name="T47" fmla="*/ 35 h 209"/>
                <a:gd name="T48" fmla="*/ 4 w 417"/>
                <a:gd name="T49" fmla="*/ 55 h 209"/>
                <a:gd name="T50" fmla="*/ 19 w 417"/>
                <a:gd name="T51" fmla="*/ 39 h 209"/>
                <a:gd name="T52" fmla="*/ 416 w 417"/>
                <a:gd name="T53" fmla="*/ 199 h 209"/>
                <a:gd name="T54" fmla="*/ 400 w 417"/>
                <a:gd name="T55" fmla="*/ 208 h 209"/>
                <a:gd name="T56" fmla="*/ 415 w 417"/>
                <a:gd name="T57" fmla="*/ 207 h 209"/>
                <a:gd name="T58" fmla="*/ 291 w 417"/>
                <a:gd name="T59" fmla="*/ 113 h 209"/>
                <a:gd name="T60" fmla="*/ 279 w 417"/>
                <a:gd name="T61" fmla="*/ 116 h 209"/>
                <a:gd name="T62" fmla="*/ 274 w 417"/>
                <a:gd name="T63" fmla="*/ 118 h 209"/>
                <a:gd name="T64" fmla="*/ 271 w 417"/>
                <a:gd name="T65" fmla="*/ 116 h 209"/>
                <a:gd name="T66" fmla="*/ 265 w 417"/>
                <a:gd name="T67" fmla="*/ 111 h 209"/>
                <a:gd name="T68" fmla="*/ 264 w 417"/>
                <a:gd name="T69" fmla="*/ 111 h 209"/>
                <a:gd name="T70" fmla="*/ 259 w 417"/>
                <a:gd name="T71" fmla="*/ 112 h 209"/>
                <a:gd name="T72" fmla="*/ 259 w 417"/>
                <a:gd name="T73" fmla="*/ 104 h 209"/>
                <a:gd name="T74" fmla="*/ 259 w 417"/>
                <a:gd name="T75" fmla="*/ 104 h 209"/>
                <a:gd name="T76" fmla="*/ 255 w 417"/>
                <a:gd name="T77" fmla="*/ 104 h 209"/>
                <a:gd name="T78" fmla="*/ 250 w 417"/>
                <a:gd name="T79" fmla="*/ 104 h 209"/>
                <a:gd name="T80" fmla="*/ 253 w 417"/>
                <a:gd name="T81" fmla="*/ 111 h 209"/>
                <a:gd name="T82" fmla="*/ 239 w 417"/>
                <a:gd name="T83" fmla="*/ 110 h 209"/>
                <a:gd name="T84" fmla="*/ 233 w 417"/>
                <a:gd name="T85" fmla="*/ 100 h 209"/>
                <a:gd name="T86" fmla="*/ 229 w 417"/>
                <a:gd name="T87" fmla="*/ 94 h 209"/>
                <a:gd name="T88" fmla="*/ 221 w 417"/>
                <a:gd name="T89" fmla="*/ 80 h 209"/>
                <a:gd name="T90" fmla="*/ 231 w 417"/>
                <a:gd name="T91" fmla="*/ 79 h 209"/>
                <a:gd name="T92" fmla="*/ 236 w 417"/>
                <a:gd name="T93" fmla="*/ 79 h 209"/>
                <a:gd name="T94" fmla="*/ 251 w 417"/>
                <a:gd name="T95" fmla="*/ 64 h 209"/>
                <a:gd name="T96" fmla="*/ 267 w 417"/>
                <a:gd name="T97" fmla="*/ 82 h 209"/>
                <a:gd name="T98" fmla="*/ 273 w 417"/>
                <a:gd name="T99" fmla="*/ 94 h 209"/>
                <a:gd name="T100" fmla="*/ 279 w 417"/>
                <a:gd name="T101" fmla="*/ 96 h 209"/>
                <a:gd name="T102" fmla="*/ 281 w 417"/>
                <a:gd name="T103" fmla="*/ 99 h 209"/>
                <a:gd name="T104" fmla="*/ 285 w 417"/>
                <a:gd name="T105" fmla="*/ 103 h 209"/>
                <a:gd name="T106" fmla="*/ 18 w 417"/>
                <a:gd name="T107" fmla="*/ 26 h 209"/>
                <a:gd name="T108" fmla="*/ 257 w 417"/>
                <a:gd name="T109" fmla="*/ 10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17" h="209">
                  <a:moveTo>
                    <a:pt x="386" y="170"/>
                  </a:moveTo>
                  <a:cubicBezTo>
                    <a:pt x="386" y="171"/>
                    <a:pt x="386" y="172"/>
                    <a:pt x="386" y="173"/>
                  </a:cubicBezTo>
                  <a:cubicBezTo>
                    <a:pt x="385" y="174"/>
                    <a:pt x="384" y="174"/>
                    <a:pt x="384" y="175"/>
                  </a:cubicBezTo>
                  <a:cubicBezTo>
                    <a:pt x="384" y="176"/>
                    <a:pt x="383" y="177"/>
                    <a:pt x="382" y="178"/>
                  </a:cubicBezTo>
                  <a:cubicBezTo>
                    <a:pt x="380" y="178"/>
                    <a:pt x="379" y="179"/>
                    <a:pt x="377" y="180"/>
                  </a:cubicBezTo>
                  <a:cubicBezTo>
                    <a:pt x="375" y="181"/>
                    <a:pt x="373" y="181"/>
                    <a:pt x="371" y="181"/>
                  </a:cubicBezTo>
                  <a:cubicBezTo>
                    <a:pt x="371" y="181"/>
                    <a:pt x="371" y="180"/>
                    <a:pt x="370" y="181"/>
                  </a:cubicBezTo>
                  <a:cubicBezTo>
                    <a:pt x="369" y="181"/>
                    <a:pt x="368" y="181"/>
                    <a:pt x="368" y="180"/>
                  </a:cubicBezTo>
                  <a:cubicBezTo>
                    <a:pt x="367" y="179"/>
                    <a:pt x="366" y="178"/>
                    <a:pt x="366" y="177"/>
                  </a:cubicBezTo>
                  <a:cubicBezTo>
                    <a:pt x="365" y="175"/>
                    <a:pt x="365" y="173"/>
                    <a:pt x="366" y="172"/>
                  </a:cubicBezTo>
                  <a:cubicBezTo>
                    <a:pt x="366" y="170"/>
                    <a:pt x="364" y="167"/>
                    <a:pt x="362" y="166"/>
                  </a:cubicBezTo>
                  <a:cubicBezTo>
                    <a:pt x="362" y="166"/>
                    <a:pt x="361" y="165"/>
                    <a:pt x="360" y="165"/>
                  </a:cubicBezTo>
                  <a:cubicBezTo>
                    <a:pt x="358" y="164"/>
                    <a:pt x="357" y="162"/>
                    <a:pt x="358" y="160"/>
                  </a:cubicBezTo>
                  <a:cubicBezTo>
                    <a:pt x="358" y="160"/>
                    <a:pt x="358" y="159"/>
                    <a:pt x="358" y="159"/>
                  </a:cubicBezTo>
                  <a:cubicBezTo>
                    <a:pt x="359" y="159"/>
                    <a:pt x="360" y="158"/>
                    <a:pt x="361" y="158"/>
                  </a:cubicBezTo>
                  <a:cubicBezTo>
                    <a:pt x="361" y="158"/>
                    <a:pt x="361" y="158"/>
                    <a:pt x="361" y="158"/>
                  </a:cubicBezTo>
                  <a:cubicBezTo>
                    <a:pt x="363" y="157"/>
                    <a:pt x="364" y="158"/>
                    <a:pt x="365" y="157"/>
                  </a:cubicBezTo>
                  <a:cubicBezTo>
                    <a:pt x="366" y="157"/>
                    <a:pt x="366" y="158"/>
                    <a:pt x="367" y="158"/>
                  </a:cubicBezTo>
                  <a:cubicBezTo>
                    <a:pt x="367" y="158"/>
                    <a:pt x="367" y="158"/>
                    <a:pt x="367" y="158"/>
                  </a:cubicBezTo>
                  <a:cubicBezTo>
                    <a:pt x="368" y="158"/>
                    <a:pt x="370" y="157"/>
                    <a:pt x="372" y="158"/>
                  </a:cubicBezTo>
                  <a:cubicBezTo>
                    <a:pt x="372" y="158"/>
                    <a:pt x="372" y="158"/>
                    <a:pt x="373" y="158"/>
                  </a:cubicBezTo>
                  <a:cubicBezTo>
                    <a:pt x="375" y="159"/>
                    <a:pt x="377" y="160"/>
                    <a:pt x="379" y="162"/>
                  </a:cubicBezTo>
                  <a:cubicBezTo>
                    <a:pt x="381" y="164"/>
                    <a:pt x="384" y="166"/>
                    <a:pt x="386" y="170"/>
                  </a:cubicBezTo>
                  <a:close/>
                  <a:moveTo>
                    <a:pt x="107" y="12"/>
                  </a:moveTo>
                  <a:cubicBezTo>
                    <a:pt x="107" y="13"/>
                    <a:pt x="108" y="16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5" y="18"/>
                    <a:pt x="104" y="20"/>
                    <a:pt x="104" y="21"/>
                  </a:cubicBezTo>
                  <a:cubicBezTo>
                    <a:pt x="104" y="22"/>
                    <a:pt x="103" y="22"/>
                    <a:pt x="102" y="23"/>
                  </a:cubicBezTo>
                  <a:cubicBezTo>
                    <a:pt x="102" y="26"/>
                    <a:pt x="103" y="29"/>
                    <a:pt x="103" y="32"/>
                  </a:cubicBezTo>
                  <a:cubicBezTo>
                    <a:pt x="103" y="33"/>
                    <a:pt x="103" y="34"/>
                    <a:pt x="101" y="34"/>
                  </a:cubicBezTo>
                  <a:cubicBezTo>
                    <a:pt x="101" y="34"/>
                    <a:pt x="100" y="34"/>
                    <a:pt x="100" y="34"/>
                  </a:cubicBezTo>
                  <a:cubicBezTo>
                    <a:pt x="101" y="36"/>
                    <a:pt x="101" y="36"/>
                    <a:pt x="99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8" y="37"/>
                    <a:pt x="98" y="37"/>
                    <a:pt x="98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5" y="41"/>
                    <a:pt x="93" y="43"/>
                    <a:pt x="90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88" y="43"/>
                    <a:pt x="87" y="43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1" y="42"/>
                    <a:pt x="77" y="42"/>
                    <a:pt x="74" y="40"/>
                  </a:cubicBezTo>
                  <a:cubicBezTo>
                    <a:pt x="74" y="40"/>
                    <a:pt x="73" y="40"/>
                    <a:pt x="73" y="40"/>
                  </a:cubicBezTo>
                  <a:cubicBezTo>
                    <a:pt x="71" y="40"/>
                    <a:pt x="69" y="40"/>
                    <a:pt x="68" y="37"/>
                  </a:cubicBezTo>
                  <a:cubicBezTo>
                    <a:pt x="68" y="37"/>
                    <a:pt x="67" y="37"/>
                    <a:pt x="67" y="36"/>
                  </a:cubicBezTo>
                  <a:cubicBezTo>
                    <a:pt x="66" y="34"/>
                    <a:pt x="63" y="34"/>
                    <a:pt x="61" y="33"/>
                  </a:cubicBezTo>
                  <a:cubicBezTo>
                    <a:pt x="59" y="32"/>
                    <a:pt x="57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3" y="28"/>
                    <a:pt x="51" y="25"/>
                    <a:pt x="52" y="22"/>
                  </a:cubicBezTo>
                  <a:cubicBezTo>
                    <a:pt x="52" y="20"/>
                    <a:pt x="53" y="19"/>
                    <a:pt x="54" y="18"/>
                  </a:cubicBezTo>
                  <a:cubicBezTo>
                    <a:pt x="55" y="18"/>
                    <a:pt x="56" y="17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5"/>
                    <a:pt x="57" y="14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11"/>
                    <a:pt x="59" y="10"/>
                    <a:pt x="60" y="10"/>
                  </a:cubicBezTo>
                  <a:cubicBezTo>
                    <a:pt x="60" y="10"/>
                    <a:pt x="60" y="10"/>
                    <a:pt x="61" y="10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4" y="9"/>
                    <a:pt x="67" y="7"/>
                    <a:pt x="69" y="5"/>
                  </a:cubicBezTo>
                  <a:cubicBezTo>
                    <a:pt x="70" y="5"/>
                    <a:pt x="70" y="5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2" y="4"/>
                    <a:pt x="73" y="3"/>
                    <a:pt x="73" y="3"/>
                  </a:cubicBezTo>
                  <a:cubicBezTo>
                    <a:pt x="75" y="1"/>
                    <a:pt x="76" y="1"/>
                    <a:pt x="78" y="1"/>
                  </a:cubicBezTo>
                  <a:cubicBezTo>
                    <a:pt x="78" y="1"/>
                    <a:pt x="79" y="1"/>
                    <a:pt x="79" y="2"/>
                  </a:cubicBezTo>
                  <a:cubicBezTo>
                    <a:pt x="79" y="2"/>
                    <a:pt x="80" y="2"/>
                    <a:pt x="80" y="2"/>
                  </a:cubicBezTo>
                  <a:cubicBezTo>
                    <a:pt x="81" y="2"/>
                    <a:pt x="82" y="2"/>
                    <a:pt x="82" y="3"/>
                  </a:cubicBezTo>
                  <a:cubicBezTo>
                    <a:pt x="83" y="4"/>
                    <a:pt x="83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0"/>
                    <a:pt x="85" y="0"/>
                    <a:pt x="87" y="1"/>
                  </a:cubicBezTo>
                  <a:cubicBezTo>
                    <a:pt x="88" y="1"/>
                    <a:pt x="89" y="1"/>
                    <a:pt x="90" y="1"/>
                  </a:cubicBezTo>
                  <a:cubicBezTo>
                    <a:pt x="91" y="1"/>
                    <a:pt x="91" y="1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1"/>
                    <a:pt x="94" y="1"/>
                    <a:pt x="95" y="1"/>
                  </a:cubicBezTo>
                  <a:cubicBezTo>
                    <a:pt x="97" y="0"/>
                    <a:pt x="97" y="2"/>
                    <a:pt x="98" y="2"/>
                  </a:cubicBezTo>
                  <a:cubicBezTo>
                    <a:pt x="98" y="2"/>
                    <a:pt x="99" y="3"/>
                    <a:pt x="100" y="3"/>
                  </a:cubicBezTo>
                  <a:cubicBezTo>
                    <a:pt x="101" y="2"/>
                    <a:pt x="102" y="3"/>
                    <a:pt x="103" y="4"/>
                  </a:cubicBezTo>
                  <a:cubicBezTo>
                    <a:pt x="103" y="4"/>
                    <a:pt x="103" y="5"/>
                    <a:pt x="103" y="5"/>
                  </a:cubicBezTo>
                  <a:cubicBezTo>
                    <a:pt x="106" y="6"/>
                    <a:pt x="105" y="8"/>
                    <a:pt x="106" y="10"/>
                  </a:cubicBezTo>
                  <a:cubicBezTo>
                    <a:pt x="106" y="10"/>
                    <a:pt x="106" y="10"/>
                    <a:pt x="106" y="11"/>
                  </a:cubicBezTo>
                  <a:cubicBezTo>
                    <a:pt x="106" y="11"/>
                    <a:pt x="107" y="11"/>
                    <a:pt x="107" y="12"/>
                  </a:cubicBezTo>
                  <a:close/>
                  <a:moveTo>
                    <a:pt x="397" y="130"/>
                  </a:moveTo>
                  <a:cubicBezTo>
                    <a:pt x="397" y="130"/>
                    <a:pt x="397" y="131"/>
                    <a:pt x="397" y="131"/>
                  </a:cubicBezTo>
                  <a:cubicBezTo>
                    <a:pt x="395" y="133"/>
                    <a:pt x="395" y="134"/>
                    <a:pt x="393" y="136"/>
                  </a:cubicBezTo>
                  <a:cubicBezTo>
                    <a:pt x="393" y="136"/>
                    <a:pt x="393" y="136"/>
                    <a:pt x="393" y="136"/>
                  </a:cubicBezTo>
                  <a:cubicBezTo>
                    <a:pt x="393" y="136"/>
                    <a:pt x="393" y="136"/>
                    <a:pt x="393" y="136"/>
                  </a:cubicBezTo>
                  <a:cubicBezTo>
                    <a:pt x="391" y="138"/>
                    <a:pt x="389" y="139"/>
                    <a:pt x="387" y="141"/>
                  </a:cubicBezTo>
                  <a:cubicBezTo>
                    <a:pt x="385" y="140"/>
                    <a:pt x="383" y="143"/>
                    <a:pt x="381" y="142"/>
                  </a:cubicBezTo>
                  <a:cubicBezTo>
                    <a:pt x="381" y="142"/>
                    <a:pt x="381" y="142"/>
                    <a:pt x="381" y="142"/>
                  </a:cubicBezTo>
                  <a:cubicBezTo>
                    <a:pt x="378" y="144"/>
                    <a:pt x="375" y="142"/>
                    <a:pt x="373" y="142"/>
                  </a:cubicBezTo>
                  <a:cubicBezTo>
                    <a:pt x="371" y="141"/>
                    <a:pt x="368" y="141"/>
                    <a:pt x="366" y="140"/>
                  </a:cubicBezTo>
                  <a:cubicBezTo>
                    <a:pt x="364" y="139"/>
                    <a:pt x="362" y="139"/>
                    <a:pt x="360" y="137"/>
                  </a:cubicBezTo>
                  <a:cubicBezTo>
                    <a:pt x="360" y="137"/>
                    <a:pt x="360" y="137"/>
                    <a:pt x="360" y="137"/>
                  </a:cubicBezTo>
                  <a:cubicBezTo>
                    <a:pt x="359" y="137"/>
                    <a:pt x="357" y="137"/>
                    <a:pt x="355" y="137"/>
                  </a:cubicBezTo>
                  <a:cubicBezTo>
                    <a:pt x="353" y="136"/>
                    <a:pt x="351" y="137"/>
                    <a:pt x="349" y="137"/>
                  </a:cubicBezTo>
                  <a:cubicBezTo>
                    <a:pt x="347" y="138"/>
                    <a:pt x="345" y="138"/>
                    <a:pt x="343" y="138"/>
                  </a:cubicBezTo>
                  <a:cubicBezTo>
                    <a:pt x="341" y="138"/>
                    <a:pt x="339" y="138"/>
                    <a:pt x="337" y="138"/>
                  </a:cubicBezTo>
                  <a:cubicBezTo>
                    <a:pt x="335" y="138"/>
                    <a:pt x="333" y="138"/>
                    <a:pt x="331" y="137"/>
                  </a:cubicBezTo>
                  <a:cubicBezTo>
                    <a:pt x="330" y="137"/>
                    <a:pt x="329" y="137"/>
                    <a:pt x="330" y="136"/>
                  </a:cubicBezTo>
                  <a:cubicBezTo>
                    <a:pt x="331" y="135"/>
                    <a:pt x="331" y="134"/>
                    <a:pt x="331" y="133"/>
                  </a:cubicBezTo>
                  <a:cubicBezTo>
                    <a:pt x="332" y="131"/>
                    <a:pt x="334" y="130"/>
                    <a:pt x="335" y="129"/>
                  </a:cubicBezTo>
                  <a:cubicBezTo>
                    <a:pt x="336" y="128"/>
                    <a:pt x="337" y="126"/>
                    <a:pt x="336" y="125"/>
                  </a:cubicBezTo>
                  <a:cubicBezTo>
                    <a:pt x="336" y="124"/>
                    <a:pt x="336" y="124"/>
                    <a:pt x="336" y="123"/>
                  </a:cubicBezTo>
                  <a:cubicBezTo>
                    <a:pt x="336" y="123"/>
                    <a:pt x="335" y="123"/>
                    <a:pt x="336" y="122"/>
                  </a:cubicBezTo>
                  <a:cubicBezTo>
                    <a:pt x="336" y="122"/>
                    <a:pt x="336" y="122"/>
                    <a:pt x="337" y="122"/>
                  </a:cubicBezTo>
                  <a:cubicBezTo>
                    <a:pt x="337" y="123"/>
                    <a:pt x="338" y="123"/>
                    <a:pt x="339" y="123"/>
                  </a:cubicBezTo>
                  <a:cubicBezTo>
                    <a:pt x="341" y="123"/>
                    <a:pt x="342" y="124"/>
                    <a:pt x="344" y="124"/>
                  </a:cubicBezTo>
                  <a:cubicBezTo>
                    <a:pt x="346" y="125"/>
                    <a:pt x="349" y="125"/>
                    <a:pt x="352" y="125"/>
                  </a:cubicBezTo>
                  <a:cubicBezTo>
                    <a:pt x="352" y="125"/>
                    <a:pt x="353" y="125"/>
                    <a:pt x="354" y="126"/>
                  </a:cubicBezTo>
                  <a:cubicBezTo>
                    <a:pt x="354" y="126"/>
                    <a:pt x="354" y="126"/>
                    <a:pt x="354" y="126"/>
                  </a:cubicBezTo>
                  <a:cubicBezTo>
                    <a:pt x="356" y="126"/>
                    <a:pt x="359" y="126"/>
                    <a:pt x="362" y="127"/>
                  </a:cubicBezTo>
                  <a:cubicBezTo>
                    <a:pt x="362" y="127"/>
                    <a:pt x="362" y="127"/>
                    <a:pt x="362" y="127"/>
                  </a:cubicBezTo>
                  <a:cubicBezTo>
                    <a:pt x="362" y="127"/>
                    <a:pt x="362" y="127"/>
                    <a:pt x="362" y="127"/>
                  </a:cubicBezTo>
                  <a:cubicBezTo>
                    <a:pt x="363" y="127"/>
                    <a:pt x="364" y="127"/>
                    <a:pt x="364" y="127"/>
                  </a:cubicBezTo>
                  <a:cubicBezTo>
                    <a:pt x="365" y="127"/>
                    <a:pt x="365" y="127"/>
                    <a:pt x="365" y="126"/>
                  </a:cubicBezTo>
                  <a:cubicBezTo>
                    <a:pt x="366" y="126"/>
                    <a:pt x="366" y="125"/>
                    <a:pt x="366" y="125"/>
                  </a:cubicBezTo>
                  <a:cubicBezTo>
                    <a:pt x="366" y="124"/>
                    <a:pt x="366" y="123"/>
                    <a:pt x="367" y="123"/>
                  </a:cubicBezTo>
                  <a:cubicBezTo>
                    <a:pt x="368" y="123"/>
                    <a:pt x="369" y="124"/>
                    <a:pt x="369" y="125"/>
                  </a:cubicBezTo>
                  <a:cubicBezTo>
                    <a:pt x="370" y="126"/>
                    <a:pt x="370" y="127"/>
                    <a:pt x="371" y="128"/>
                  </a:cubicBezTo>
                  <a:cubicBezTo>
                    <a:pt x="371" y="128"/>
                    <a:pt x="371" y="128"/>
                    <a:pt x="371" y="128"/>
                  </a:cubicBezTo>
                  <a:cubicBezTo>
                    <a:pt x="372" y="128"/>
                    <a:pt x="372" y="128"/>
                    <a:pt x="373" y="128"/>
                  </a:cubicBezTo>
                  <a:cubicBezTo>
                    <a:pt x="373" y="129"/>
                    <a:pt x="373" y="129"/>
                    <a:pt x="373" y="129"/>
                  </a:cubicBezTo>
                  <a:cubicBezTo>
                    <a:pt x="373" y="129"/>
                    <a:pt x="373" y="129"/>
                    <a:pt x="373" y="129"/>
                  </a:cubicBezTo>
                  <a:cubicBezTo>
                    <a:pt x="374" y="129"/>
                    <a:pt x="375" y="129"/>
                    <a:pt x="375" y="129"/>
                  </a:cubicBezTo>
                  <a:cubicBezTo>
                    <a:pt x="375" y="129"/>
                    <a:pt x="375" y="129"/>
                    <a:pt x="375" y="129"/>
                  </a:cubicBezTo>
                  <a:cubicBezTo>
                    <a:pt x="376" y="129"/>
                    <a:pt x="377" y="128"/>
                    <a:pt x="378" y="130"/>
                  </a:cubicBezTo>
                  <a:cubicBezTo>
                    <a:pt x="378" y="130"/>
                    <a:pt x="378" y="130"/>
                    <a:pt x="379" y="130"/>
                  </a:cubicBezTo>
                  <a:cubicBezTo>
                    <a:pt x="381" y="129"/>
                    <a:pt x="383" y="129"/>
                    <a:pt x="386" y="128"/>
                  </a:cubicBezTo>
                  <a:cubicBezTo>
                    <a:pt x="387" y="128"/>
                    <a:pt x="388" y="129"/>
                    <a:pt x="389" y="128"/>
                  </a:cubicBezTo>
                  <a:cubicBezTo>
                    <a:pt x="390" y="128"/>
                    <a:pt x="391" y="128"/>
                    <a:pt x="392" y="128"/>
                  </a:cubicBezTo>
                  <a:cubicBezTo>
                    <a:pt x="393" y="128"/>
                    <a:pt x="394" y="128"/>
                    <a:pt x="394" y="129"/>
                  </a:cubicBezTo>
                  <a:cubicBezTo>
                    <a:pt x="394" y="130"/>
                    <a:pt x="395" y="130"/>
                    <a:pt x="396" y="130"/>
                  </a:cubicBezTo>
                  <a:cubicBezTo>
                    <a:pt x="396" y="130"/>
                    <a:pt x="396" y="130"/>
                    <a:pt x="397" y="130"/>
                  </a:cubicBezTo>
                  <a:close/>
                  <a:moveTo>
                    <a:pt x="21" y="29"/>
                  </a:moveTo>
                  <a:cubicBezTo>
                    <a:pt x="20" y="28"/>
                    <a:pt x="19" y="28"/>
                    <a:pt x="18" y="28"/>
                  </a:cubicBezTo>
                  <a:cubicBezTo>
                    <a:pt x="16" y="29"/>
                    <a:pt x="15" y="29"/>
                    <a:pt x="15" y="31"/>
                  </a:cubicBezTo>
                  <a:cubicBezTo>
                    <a:pt x="15" y="33"/>
                    <a:pt x="14" y="35"/>
                    <a:pt x="11" y="35"/>
                  </a:cubicBezTo>
                  <a:cubicBezTo>
                    <a:pt x="10" y="36"/>
                    <a:pt x="8" y="37"/>
                    <a:pt x="7" y="38"/>
                  </a:cubicBezTo>
                  <a:cubicBezTo>
                    <a:pt x="5" y="40"/>
                    <a:pt x="2" y="41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1" y="46"/>
                    <a:pt x="0" y="47"/>
                    <a:pt x="1" y="49"/>
                  </a:cubicBezTo>
                  <a:cubicBezTo>
                    <a:pt x="1" y="50"/>
                    <a:pt x="0" y="50"/>
                    <a:pt x="1" y="51"/>
                  </a:cubicBezTo>
                  <a:cubicBezTo>
                    <a:pt x="2" y="52"/>
                    <a:pt x="3" y="54"/>
                    <a:pt x="4" y="55"/>
                  </a:cubicBezTo>
                  <a:cubicBezTo>
                    <a:pt x="4" y="55"/>
                    <a:pt x="5" y="55"/>
                    <a:pt x="5" y="54"/>
                  </a:cubicBezTo>
                  <a:cubicBezTo>
                    <a:pt x="5" y="53"/>
                    <a:pt x="6" y="52"/>
                    <a:pt x="7" y="51"/>
                  </a:cubicBezTo>
                  <a:cubicBezTo>
                    <a:pt x="7" y="49"/>
                    <a:pt x="9" y="47"/>
                    <a:pt x="10" y="45"/>
                  </a:cubicBezTo>
                  <a:cubicBezTo>
                    <a:pt x="10" y="44"/>
                    <a:pt x="12" y="44"/>
                    <a:pt x="13" y="44"/>
                  </a:cubicBezTo>
                  <a:cubicBezTo>
                    <a:pt x="15" y="43"/>
                    <a:pt x="17" y="42"/>
                    <a:pt x="18" y="41"/>
                  </a:cubicBezTo>
                  <a:cubicBezTo>
                    <a:pt x="19" y="41"/>
                    <a:pt x="20" y="40"/>
                    <a:pt x="19" y="39"/>
                  </a:cubicBezTo>
                  <a:cubicBezTo>
                    <a:pt x="18" y="36"/>
                    <a:pt x="19" y="33"/>
                    <a:pt x="21" y="31"/>
                  </a:cubicBezTo>
                  <a:cubicBezTo>
                    <a:pt x="22" y="30"/>
                    <a:pt x="22" y="29"/>
                    <a:pt x="21" y="29"/>
                  </a:cubicBezTo>
                  <a:close/>
                  <a:moveTo>
                    <a:pt x="415" y="205"/>
                  </a:moveTo>
                  <a:cubicBezTo>
                    <a:pt x="414" y="204"/>
                    <a:pt x="414" y="204"/>
                    <a:pt x="415" y="203"/>
                  </a:cubicBezTo>
                  <a:cubicBezTo>
                    <a:pt x="415" y="202"/>
                    <a:pt x="415" y="201"/>
                    <a:pt x="416" y="200"/>
                  </a:cubicBezTo>
                  <a:cubicBezTo>
                    <a:pt x="416" y="200"/>
                    <a:pt x="416" y="199"/>
                    <a:pt x="416" y="199"/>
                  </a:cubicBezTo>
                  <a:cubicBezTo>
                    <a:pt x="415" y="197"/>
                    <a:pt x="412" y="196"/>
                    <a:pt x="410" y="197"/>
                  </a:cubicBezTo>
                  <a:cubicBezTo>
                    <a:pt x="409" y="197"/>
                    <a:pt x="408" y="198"/>
                    <a:pt x="408" y="198"/>
                  </a:cubicBezTo>
                  <a:cubicBezTo>
                    <a:pt x="406" y="200"/>
                    <a:pt x="404" y="202"/>
                    <a:pt x="401" y="202"/>
                  </a:cubicBezTo>
                  <a:cubicBezTo>
                    <a:pt x="399" y="202"/>
                    <a:pt x="399" y="204"/>
                    <a:pt x="398" y="205"/>
                  </a:cubicBezTo>
                  <a:cubicBezTo>
                    <a:pt x="398" y="206"/>
                    <a:pt x="399" y="206"/>
                    <a:pt x="399" y="207"/>
                  </a:cubicBezTo>
                  <a:cubicBezTo>
                    <a:pt x="400" y="207"/>
                    <a:pt x="400" y="207"/>
                    <a:pt x="400" y="208"/>
                  </a:cubicBezTo>
                  <a:cubicBezTo>
                    <a:pt x="401" y="209"/>
                    <a:pt x="401" y="209"/>
                    <a:pt x="402" y="208"/>
                  </a:cubicBezTo>
                  <a:cubicBezTo>
                    <a:pt x="403" y="208"/>
                    <a:pt x="403" y="207"/>
                    <a:pt x="404" y="207"/>
                  </a:cubicBezTo>
                  <a:cubicBezTo>
                    <a:pt x="406" y="208"/>
                    <a:pt x="407" y="207"/>
                    <a:pt x="408" y="206"/>
                  </a:cubicBezTo>
                  <a:cubicBezTo>
                    <a:pt x="409" y="206"/>
                    <a:pt x="409" y="206"/>
                    <a:pt x="410" y="207"/>
                  </a:cubicBezTo>
                  <a:cubicBezTo>
                    <a:pt x="410" y="208"/>
                    <a:pt x="411" y="208"/>
                    <a:pt x="412" y="207"/>
                  </a:cubicBezTo>
                  <a:cubicBezTo>
                    <a:pt x="413" y="207"/>
                    <a:pt x="414" y="206"/>
                    <a:pt x="415" y="207"/>
                  </a:cubicBezTo>
                  <a:cubicBezTo>
                    <a:pt x="415" y="207"/>
                    <a:pt x="416" y="206"/>
                    <a:pt x="416" y="205"/>
                  </a:cubicBezTo>
                  <a:cubicBezTo>
                    <a:pt x="417" y="205"/>
                    <a:pt x="416" y="205"/>
                    <a:pt x="415" y="205"/>
                  </a:cubicBezTo>
                  <a:close/>
                  <a:moveTo>
                    <a:pt x="259" y="104"/>
                  </a:move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lose/>
                  <a:moveTo>
                    <a:pt x="291" y="113"/>
                  </a:moveTo>
                  <a:cubicBezTo>
                    <a:pt x="290" y="114"/>
                    <a:pt x="288" y="116"/>
                    <a:pt x="286" y="116"/>
                  </a:cubicBezTo>
                  <a:cubicBezTo>
                    <a:pt x="286" y="116"/>
                    <a:pt x="286" y="116"/>
                    <a:pt x="286" y="116"/>
                  </a:cubicBezTo>
                  <a:cubicBezTo>
                    <a:pt x="287" y="117"/>
                    <a:pt x="286" y="117"/>
                    <a:pt x="286" y="117"/>
                  </a:cubicBezTo>
                  <a:cubicBezTo>
                    <a:pt x="284" y="117"/>
                    <a:pt x="285" y="116"/>
                    <a:pt x="285" y="116"/>
                  </a:cubicBezTo>
                  <a:cubicBezTo>
                    <a:pt x="284" y="114"/>
                    <a:pt x="282" y="115"/>
                    <a:pt x="281" y="115"/>
                  </a:cubicBezTo>
                  <a:cubicBezTo>
                    <a:pt x="281" y="115"/>
                    <a:pt x="280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9" y="116"/>
                    <a:pt x="279" y="116"/>
                    <a:pt x="279" y="116"/>
                  </a:cubicBezTo>
                  <a:cubicBezTo>
                    <a:pt x="278" y="116"/>
                    <a:pt x="277" y="116"/>
                    <a:pt x="276" y="118"/>
                  </a:cubicBezTo>
                  <a:cubicBezTo>
                    <a:pt x="276" y="118"/>
                    <a:pt x="275" y="118"/>
                    <a:pt x="274" y="118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4" y="118"/>
                    <a:pt x="274" y="118"/>
                    <a:pt x="274" y="118"/>
                  </a:cubicBezTo>
                  <a:cubicBezTo>
                    <a:pt x="273" y="118"/>
                    <a:pt x="273" y="118"/>
                    <a:pt x="273" y="117"/>
                  </a:cubicBezTo>
                  <a:cubicBezTo>
                    <a:pt x="273" y="117"/>
                    <a:pt x="272" y="117"/>
                    <a:pt x="272" y="116"/>
                  </a:cubicBezTo>
                  <a:cubicBezTo>
                    <a:pt x="272" y="116"/>
                    <a:pt x="272" y="116"/>
                    <a:pt x="272" y="116"/>
                  </a:cubicBezTo>
                  <a:cubicBezTo>
                    <a:pt x="272" y="116"/>
                    <a:pt x="272" y="116"/>
                    <a:pt x="271" y="116"/>
                  </a:cubicBezTo>
                  <a:cubicBezTo>
                    <a:pt x="270" y="115"/>
                    <a:pt x="269" y="114"/>
                    <a:pt x="268" y="114"/>
                  </a:cubicBezTo>
                  <a:cubicBezTo>
                    <a:pt x="267" y="113"/>
                    <a:pt x="267" y="113"/>
                    <a:pt x="267" y="112"/>
                  </a:cubicBezTo>
                  <a:cubicBezTo>
                    <a:pt x="267" y="111"/>
                    <a:pt x="267" y="111"/>
                    <a:pt x="266" y="111"/>
                  </a:cubicBezTo>
                  <a:cubicBezTo>
                    <a:pt x="266" y="111"/>
                    <a:pt x="266" y="111"/>
                    <a:pt x="266" y="111"/>
                  </a:cubicBezTo>
                  <a:cubicBezTo>
                    <a:pt x="266" y="111"/>
                    <a:pt x="266" y="111"/>
                    <a:pt x="266" y="111"/>
                  </a:cubicBezTo>
                  <a:cubicBezTo>
                    <a:pt x="266" y="111"/>
                    <a:pt x="265" y="111"/>
                    <a:pt x="265" y="111"/>
                  </a:cubicBezTo>
                  <a:cubicBezTo>
                    <a:pt x="265" y="111"/>
                    <a:pt x="266" y="111"/>
                    <a:pt x="266" y="112"/>
                  </a:cubicBezTo>
                  <a:cubicBezTo>
                    <a:pt x="266" y="112"/>
                    <a:pt x="266" y="112"/>
                    <a:pt x="266" y="112"/>
                  </a:cubicBezTo>
                  <a:cubicBezTo>
                    <a:pt x="266" y="112"/>
                    <a:pt x="266" y="113"/>
                    <a:pt x="266" y="113"/>
                  </a:cubicBezTo>
                  <a:cubicBezTo>
                    <a:pt x="265" y="113"/>
                    <a:pt x="265" y="112"/>
                    <a:pt x="265" y="112"/>
                  </a:cubicBezTo>
                  <a:cubicBezTo>
                    <a:pt x="265" y="112"/>
                    <a:pt x="264" y="111"/>
                    <a:pt x="26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09"/>
                    <a:pt x="263" y="109"/>
                    <a:pt x="262" y="111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3" y="113"/>
                    <a:pt x="262" y="112"/>
                    <a:pt x="261" y="112"/>
                  </a:cubicBezTo>
                  <a:cubicBezTo>
                    <a:pt x="261" y="112"/>
                    <a:pt x="260" y="112"/>
                    <a:pt x="259" y="112"/>
                  </a:cubicBezTo>
                  <a:cubicBezTo>
                    <a:pt x="258" y="112"/>
                    <a:pt x="258" y="112"/>
                    <a:pt x="258" y="112"/>
                  </a:cubicBezTo>
                  <a:cubicBezTo>
                    <a:pt x="258" y="112"/>
                    <a:pt x="258" y="112"/>
                    <a:pt x="258" y="112"/>
                  </a:cubicBezTo>
                  <a:cubicBezTo>
                    <a:pt x="258" y="111"/>
                    <a:pt x="257" y="110"/>
                    <a:pt x="257" y="110"/>
                  </a:cubicBezTo>
                  <a:cubicBezTo>
                    <a:pt x="256" y="109"/>
                    <a:pt x="256" y="107"/>
                    <a:pt x="257" y="106"/>
                  </a:cubicBezTo>
                  <a:cubicBezTo>
                    <a:pt x="258" y="105"/>
                    <a:pt x="259" y="105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4"/>
                    <a:pt x="259" y="104"/>
                  </a:cubicBezTo>
                  <a:cubicBezTo>
                    <a:pt x="259" y="104"/>
                    <a:pt x="259" y="103"/>
                    <a:pt x="259" y="103"/>
                  </a:cubicBezTo>
                  <a:cubicBezTo>
                    <a:pt x="258" y="102"/>
                    <a:pt x="257" y="102"/>
                    <a:pt x="256" y="102"/>
                  </a:cubicBezTo>
                  <a:cubicBezTo>
                    <a:pt x="256" y="102"/>
                    <a:pt x="256" y="102"/>
                    <a:pt x="256" y="102"/>
                  </a:cubicBezTo>
                  <a:cubicBezTo>
                    <a:pt x="256" y="102"/>
                    <a:pt x="256" y="102"/>
                    <a:pt x="256" y="102"/>
                  </a:cubicBezTo>
                  <a:cubicBezTo>
                    <a:pt x="256" y="103"/>
                    <a:pt x="256" y="103"/>
                    <a:pt x="256" y="103"/>
                  </a:cubicBezTo>
                  <a:cubicBezTo>
                    <a:pt x="256" y="104"/>
                    <a:pt x="256" y="104"/>
                    <a:pt x="255" y="104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5" y="103"/>
                    <a:pt x="254" y="102"/>
                    <a:pt x="254" y="103"/>
                  </a:cubicBezTo>
                  <a:cubicBezTo>
                    <a:pt x="253" y="104"/>
                    <a:pt x="254" y="105"/>
                    <a:pt x="254" y="105"/>
                  </a:cubicBezTo>
                  <a:cubicBezTo>
                    <a:pt x="255" y="105"/>
                    <a:pt x="255" y="106"/>
                    <a:pt x="255" y="107"/>
                  </a:cubicBezTo>
                  <a:cubicBezTo>
                    <a:pt x="254" y="106"/>
                    <a:pt x="252" y="106"/>
                    <a:pt x="252" y="105"/>
                  </a:cubicBezTo>
                  <a:cubicBezTo>
                    <a:pt x="252" y="104"/>
                    <a:pt x="251" y="104"/>
                    <a:pt x="250" y="104"/>
                  </a:cubicBezTo>
                  <a:cubicBezTo>
                    <a:pt x="250" y="104"/>
                    <a:pt x="250" y="105"/>
                    <a:pt x="250" y="105"/>
                  </a:cubicBezTo>
                  <a:cubicBezTo>
                    <a:pt x="250" y="106"/>
                    <a:pt x="250" y="106"/>
                    <a:pt x="251" y="106"/>
                  </a:cubicBezTo>
                  <a:cubicBezTo>
                    <a:pt x="252" y="106"/>
                    <a:pt x="252" y="106"/>
                    <a:pt x="253" y="107"/>
                  </a:cubicBezTo>
                  <a:cubicBezTo>
                    <a:pt x="255" y="107"/>
                    <a:pt x="255" y="108"/>
                    <a:pt x="255" y="109"/>
                  </a:cubicBezTo>
                  <a:cubicBezTo>
                    <a:pt x="255" y="111"/>
                    <a:pt x="254" y="111"/>
                    <a:pt x="253" y="111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52" y="112"/>
                    <a:pt x="250" y="112"/>
                    <a:pt x="249" y="112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7" y="113"/>
                    <a:pt x="245" y="113"/>
                    <a:pt x="243" y="113"/>
                  </a:cubicBezTo>
                  <a:cubicBezTo>
                    <a:pt x="243" y="113"/>
                    <a:pt x="243" y="113"/>
                    <a:pt x="243" y="113"/>
                  </a:cubicBezTo>
                  <a:cubicBezTo>
                    <a:pt x="242" y="113"/>
                    <a:pt x="241" y="114"/>
                    <a:pt x="240" y="113"/>
                  </a:cubicBezTo>
                  <a:cubicBezTo>
                    <a:pt x="239" y="112"/>
                    <a:pt x="239" y="111"/>
                    <a:pt x="239" y="110"/>
                  </a:cubicBezTo>
                  <a:cubicBezTo>
                    <a:pt x="238" y="107"/>
                    <a:pt x="237" y="105"/>
                    <a:pt x="235" y="103"/>
                  </a:cubicBezTo>
                  <a:cubicBezTo>
                    <a:pt x="235" y="103"/>
                    <a:pt x="235" y="103"/>
                    <a:pt x="235" y="103"/>
                  </a:cubicBezTo>
                  <a:cubicBezTo>
                    <a:pt x="235" y="103"/>
                    <a:pt x="235" y="103"/>
                    <a:pt x="235" y="102"/>
                  </a:cubicBezTo>
                  <a:cubicBezTo>
                    <a:pt x="235" y="102"/>
                    <a:pt x="234" y="102"/>
                    <a:pt x="234" y="101"/>
                  </a:cubicBezTo>
                  <a:cubicBezTo>
                    <a:pt x="234" y="101"/>
                    <a:pt x="234" y="101"/>
                    <a:pt x="233" y="101"/>
                  </a:cubicBezTo>
                  <a:cubicBezTo>
                    <a:pt x="233" y="101"/>
                    <a:pt x="233" y="101"/>
                    <a:pt x="233" y="100"/>
                  </a:cubicBezTo>
                  <a:cubicBezTo>
                    <a:pt x="233" y="100"/>
                    <a:pt x="233" y="100"/>
                    <a:pt x="233" y="100"/>
                  </a:cubicBezTo>
                  <a:cubicBezTo>
                    <a:pt x="233" y="100"/>
                    <a:pt x="233" y="100"/>
                    <a:pt x="233" y="100"/>
                  </a:cubicBezTo>
                  <a:cubicBezTo>
                    <a:pt x="233" y="100"/>
                    <a:pt x="233" y="99"/>
                    <a:pt x="233" y="99"/>
                  </a:cubicBezTo>
                  <a:cubicBezTo>
                    <a:pt x="233" y="99"/>
                    <a:pt x="232" y="99"/>
                    <a:pt x="232" y="99"/>
                  </a:cubicBezTo>
                  <a:cubicBezTo>
                    <a:pt x="232" y="98"/>
                    <a:pt x="232" y="98"/>
                    <a:pt x="232" y="97"/>
                  </a:cubicBezTo>
                  <a:cubicBezTo>
                    <a:pt x="231" y="96"/>
                    <a:pt x="231" y="95"/>
                    <a:pt x="229" y="94"/>
                  </a:cubicBezTo>
                  <a:cubicBezTo>
                    <a:pt x="228" y="93"/>
                    <a:pt x="228" y="92"/>
                    <a:pt x="227" y="91"/>
                  </a:cubicBezTo>
                  <a:cubicBezTo>
                    <a:pt x="226" y="91"/>
                    <a:pt x="226" y="90"/>
                    <a:pt x="226" y="90"/>
                  </a:cubicBezTo>
                  <a:cubicBezTo>
                    <a:pt x="226" y="89"/>
                    <a:pt x="226" y="88"/>
                    <a:pt x="226" y="87"/>
                  </a:cubicBezTo>
                  <a:cubicBezTo>
                    <a:pt x="227" y="85"/>
                    <a:pt x="226" y="83"/>
                    <a:pt x="224" y="82"/>
                  </a:cubicBezTo>
                  <a:cubicBezTo>
                    <a:pt x="223" y="81"/>
                    <a:pt x="223" y="81"/>
                    <a:pt x="222" y="81"/>
                  </a:cubicBezTo>
                  <a:cubicBezTo>
                    <a:pt x="222" y="80"/>
                    <a:pt x="221" y="80"/>
                    <a:pt x="221" y="80"/>
                  </a:cubicBezTo>
                  <a:cubicBezTo>
                    <a:pt x="222" y="79"/>
                    <a:pt x="222" y="80"/>
                    <a:pt x="222" y="79"/>
                  </a:cubicBezTo>
                  <a:cubicBezTo>
                    <a:pt x="222" y="79"/>
                    <a:pt x="223" y="79"/>
                    <a:pt x="223" y="79"/>
                  </a:cubicBezTo>
                  <a:cubicBezTo>
                    <a:pt x="223" y="79"/>
                    <a:pt x="223" y="79"/>
                    <a:pt x="223" y="79"/>
                  </a:cubicBezTo>
                  <a:cubicBezTo>
                    <a:pt x="224" y="79"/>
                    <a:pt x="224" y="79"/>
                    <a:pt x="225" y="79"/>
                  </a:cubicBezTo>
                  <a:cubicBezTo>
                    <a:pt x="225" y="79"/>
                    <a:pt x="225" y="79"/>
                    <a:pt x="225" y="79"/>
                  </a:cubicBezTo>
                  <a:cubicBezTo>
                    <a:pt x="227" y="78"/>
                    <a:pt x="229" y="79"/>
                    <a:pt x="231" y="79"/>
                  </a:cubicBezTo>
                  <a:cubicBezTo>
                    <a:pt x="231" y="79"/>
                    <a:pt x="231" y="79"/>
                    <a:pt x="231" y="79"/>
                  </a:cubicBezTo>
                  <a:cubicBezTo>
                    <a:pt x="231" y="79"/>
                    <a:pt x="231" y="79"/>
                    <a:pt x="231" y="79"/>
                  </a:cubicBezTo>
                  <a:cubicBezTo>
                    <a:pt x="232" y="79"/>
                    <a:pt x="232" y="79"/>
                    <a:pt x="232" y="79"/>
                  </a:cubicBezTo>
                  <a:cubicBezTo>
                    <a:pt x="232" y="79"/>
                    <a:pt x="232" y="79"/>
                    <a:pt x="232" y="79"/>
                  </a:cubicBezTo>
                  <a:cubicBezTo>
                    <a:pt x="233" y="79"/>
                    <a:pt x="234" y="79"/>
                    <a:pt x="235" y="79"/>
                  </a:cubicBezTo>
                  <a:cubicBezTo>
                    <a:pt x="235" y="79"/>
                    <a:pt x="235" y="79"/>
                    <a:pt x="236" y="79"/>
                  </a:cubicBezTo>
                  <a:cubicBezTo>
                    <a:pt x="238" y="79"/>
                    <a:pt x="239" y="79"/>
                    <a:pt x="240" y="77"/>
                  </a:cubicBezTo>
                  <a:cubicBezTo>
                    <a:pt x="240" y="76"/>
                    <a:pt x="241" y="75"/>
                    <a:pt x="241" y="75"/>
                  </a:cubicBezTo>
                  <a:cubicBezTo>
                    <a:pt x="243" y="73"/>
                    <a:pt x="244" y="71"/>
                    <a:pt x="245" y="70"/>
                  </a:cubicBezTo>
                  <a:cubicBezTo>
                    <a:pt x="247" y="67"/>
                    <a:pt x="248" y="65"/>
                    <a:pt x="251" y="64"/>
                  </a:cubicBezTo>
                  <a:cubicBezTo>
                    <a:pt x="251" y="64"/>
                    <a:pt x="251" y="64"/>
                    <a:pt x="251" y="64"/>
                  </a:cubicBezTo>
                  <a:cubicBezTo>
                    <a:pt x="251" y="64"/>
                    <a:pt x="251" y="64"/>
                    <a:pt x="251" y="64"/>
                  </a:cubicBezTo>
                  <a:cubicBezTo>
                    <a:pt x="254" y="63"/>
                    <a:pt x="256" y="63"/>
                    <a:pt x="258" y="66"/>
                  </a:cubicBezTo>
                  <a:cubicBezTo>
                    <a:pt x="259" y="67"/>
                    <a:pt x="260" y="69"/>
                    <a:pt x="261" y="71"/>
                  </a:cubicBezTo>
                  <a:cubicBezTo>
                    <a:pt x="261" y="71"/>
                    <a:pt x="261" y="72"/>
                    <a:pt x="261" y="72"/>
                  </a:cubicBezTo>
                  <a:cubicBezTo>
                    <a:pt x="262" y="74"/>
                    <a:pt x="262" y="75"/>
                    <a:pt x="263" y="76"/>
                  </a:cubicBezTo>
                  <a:cubicBezTo>
                    <a:pt x="264" y="76"/>
                    <a:pt x="264" y="77"/>
                    <a:pt x="264" y="77"/>
                  </a:cubicBezTo>
                  <a:cubicBezTo>
                    <a:pt x="265" y="79"/>
                    <a:pt x="266" y="80"/>
                    <a:pt x="267" y="82"/>
                  </a:cubicBezTo>
                  <a:cubicBezTo>
                    <a:pt x="267" y="81"/>
                    <a:pt x="268" y="81"/>
                    <a:pt x="268" y="82"/>
                  </a:cubicBezTo>
                  <a:cubicBezTo>
                    <a:pt x="270" y="82"/>
                    <a:pt x="271" y="86"/>
                    <a:pt x="271" y="87"/>
                  </a:cubicBezTo>
                  <a:cubicBezTo>
                    <a:pt x="271" y="87"/>
                    <a:pt x="270" y="88"/>
                    <a:pt x="270" y="88"/>
                  </a:cubicBezTo>
                  <a:cubicBezTo>
                    <a:pt x="269" y="88"/>
                    <a:pt x="269" y="88"/>
                    <a:pt x="269" y="89"/>
                  </a:cubicBezTo>
                  <a:cubicBezTo>
                    <a:pt x="269" y="91"/>
                    <a:pt x="271" y="93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4" y="95"/>
                    <a:pt x="274" y="97"/>
                    <a:pt x="274" y="98"/>
                  </a:cubicBezTo>
                  <a:cubicBezTo>
                    <a:pt x="275" y="98"/>
                    <a:pt x="276" y="98"/>
                    <a:pt x="276" y="99"/>
                  </a:cubicBezTo>
                  <a:cubicBezTo>
                    <a:pt x="277" y="99"/>
                    <a:pt x="277" y="99"/>
                    <a:pt x="278" y="99"/>
                  </a:cubicBezTo>
                  <a:cubicBezTo>
                    <a:pt x="278" y="99"/>
                    <a:pt x="278" y="99"/>
                    <a:pt x="278" y="99"/>
                  </a:cubicBezTo>
                  <a:cubicBezTo>
                    <a:pt x="278" y="98"/>
                    <a:pt x="278" y="97"/>
                    <a:pt x="279" y="96"/>
                  </a:cubicBezTo>
                  <a:cubicBezTo>
                    <a:pt x="279" y="96"/>
                    <a:pt x="279" y="96"/>
                    <a:pt x="279" y="96"/>
                  </a:cubicBezTo>
                  <a:cubicBezTo>
                    <a:pt x="279" y="96"/>
                    <a:pt x="279" y="96"/>
                    <a:pt x="279" y="96"/>
                  </a:cubicBezTo>
                  <a:cubicBezTo>
                    <a:pt x="278" y="96"/>
                    <a:pt x="277" y="96"/>
                    <a:pt x="277" y="94"/>
                  </a:cubicBezTo>
                  <a:cubicBezTo>
                    <a:pt x="278" y="94"/>
                    <a:pt x="279" y="93"/>
                    <a:pt x="279" y="94"/>
                  </a:cubicBezTo>
                  <a:cubicBezTo>
                    <a:pt x="281" y="94"/>
                    <a:pt x="282" y="94"/>
                    <a:pt x="283" y="94"/>
                  </a:cubicBezTo>
                  <a:cubicBezTo>
                    <a:pt x="282" y="95"/>
                    <a:pt x="281" y="97"/>
                    <a:pt x="281" y="99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2" y="100"/>
                    <a:pt x="282" y="101"/>
                    <a:pt x="283" y="101"/>
                  </a:cubicBezTo>
                  <a:cubicBezTo>
                    <a:pt x="283" y="101"/>
                    <a:pt x="283" y="101"/>
                    <a:pt x="283" y="101"/>
                  </a:cubicBezTo>
                  <a:cubicBezTo>
                    <a:pt x="283" y="101"/>
                    <a:pt x="283" y="101"/>
                    <a:pt x="283" y="101"/>
                  </a:cubicBezTo>
                  <a:cubicBezTo>
                    <a:pt x="284" y="102"/>
                    <a:pt x="285" y="102"/>
                    <a:pt x="285" y="103"/>
                  </a:cubicBezTo>
                  <a:cubicBezTo>
                    <a:pt x="285" y="103"/>
                    <a:pt x="285" y="103"/>
                    <a:pt x="285" y="103"/>
                  </a:cubicBezTo>
                  <a:cubicBezTo>
                    <a:pt x="285" y="105"/>
                    <a:pt x="285" y="106"/>
                    <a:pt x="286" y="108"/>
                  </a:cubicBezTo>
                  <a:cubicBezTo>
                    <a:pt x="286" y="108"/>
                    <a:pt x="286" y="108"/>
                    <a:pt x="286" y="108"/>
                  </a:cubicBezTo>
                  <a:cubicBezTo>
                    <a:pt x="287" y="109"/>
                    <a:pt x="289" y="110"/>
                    <a:pt x="290" y="111"/>
                  </a:cubicBezTo>
                  <a:cubicBezTo>
                    <a:pt x="291" y="111"/>
                    <a:pt x="291" y="112"/>
                    <a:pt x="291" y="113"/>
                  </a:cubicBezTo>
                  <a:close/>
                  <a:moveTo>
                    <a:pt x="17" y="26"/>
                  </a:moveTo>
                  <a:cubicBezTo>
                    <a:pt x="17" y="26"/>
                    <a:pt x="18" y="26"/>
                    <a:pt x="18" y="26"/>
                  </a:cubicBezTo>
                  <a:cubicBezTo>
                    <a:pt x="18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lose/>
                  <a:moveTo>
                    <a:pt x="257" y="105"/>
                  </a:moveTo>
                  <a:cubicBezTo>
                    <a:pt x="256" y="105"/>
                    <a:pt x="256" y="105"/>
                    <a:pt x="256" y="106"/>
                  </a:cubicBezTo>
                  <a:cubicBezTo>
                    <a:pt x="257" y="106"/>
                    <a:pt x="257" y="105"/>
                    <a:pt x="257" y="105"/>
                  </a:cubicBezTo>
                  <a:close/>
                </a:path>
              </a:pathLst>
            </a:custGeom>
            <a:solidFill>
              <a:schemeClr val="accent3"/>
            </a:solidFill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Alaska">
              <a:extLst>
                <a:ext uri="{FF2B5EF4-FFF2-40B4-BE49-F238E27FC236}">
                  <a16:creationId xmlns:a16="http://schemas.microsoft.com/office/drawing/2014/main" id="{4B37EAC8-F013-4853-B2F5-0940DF48F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896" y="2024626"/>
              <a:ext cx="2931009" cy="2223868"/>
            </a:xfrm>
            <a:custGeom>
              <a:avLst/>
              <a:gdLst>
                <a:gd name="T0" fmla="*/ 425 w 740"/>
                <a:gd name="T1" fmla="*/ 445 h 561"/>
                <a:gd name="T2" fmla="*/ 442 w 740"/>
                <a:gd name="T3" fmla="*/ 430 h 561"/>
                <a:gd name="T4" fmla="*/ 433 w 740"/>
                <a:gd name="T5" fmla="*/ 438 h 561"/>
                <a:gd name="T6" fmla="*/ 425 w 740"/>
                <a:gd name="T7" fmla="*/ 434 h 561"/>
                <a:gd name="T8" fmla="*/ 435 w 740"/>
                <a:gd name="T9" fmla="*/ 413 h 561"/>
                <a:gd name="T10" fmla="*/ 452 w 740"/>
                <a:gd name="T11" fmla="*/ 413 h 561"/>
                <a:gd name="T12" fmla="*/ 448 w 740"/>
                <a:gd name="T13" fmla="*/ 409 h 561"/>
                <a:gd name="T14" fmla="*/ 456 w 740"/>
                <a:gd name="T15" fmla="*/ 403 h 561"/>
                <a:gd name="T16" fmla="*/ 433 w 740"/>
                <a:gd name="T17" fmla="*/ 422 h 561"/>
                <a:gd name="T18" fmla="*/ 309 w 740"/>
                <a:gd name="T19" fmla="*/ 488 h 561"/>
                <a:gd name="T20" fmla="*/ 267 w 740"/>
                <a:gd name="T21" fmla="*/ 513 h 561"/>
                <a:gd name="T22" fmla="*/ 269 w 740"/>
                <a:gd name="T23" fmla="*/ 506 h 561"/>
                <a:gd name="T24" fmla="*/ 168 w 740"/>
                <a:gd name="T25" fmla="*/ 544 h 561"/>
                <a:gd name="T26" fmla="*/ 4 w 740"/>
                <a:gd name="T27" fmla="*/ 527 h 561"/>
                <a:gd name="T28" fmla="*/ 229 w 740"/>
                <a:gd name="T29" fmla="*/ 529 h 561"/>
                <a:gd name="T30" fmla="*/ 273 w 740"/>
                <a:gd name="T31" fmla="*/ 507 h 561"/>
                <a:gd name="T32" fmla="*/ 45 w 740"/>
                <a:gd name="T33" fmla="*/ 538 h 561"/>
                <a:gd name="T34" fmla="*/ 86 w 740"/>
                <a:gd name="T35" fmla="*/ 556 h 561"/>
                <a:gd name="T36" fmla="*/ 346 w 740"/>
                <a:gd name="T37" fmla="*/ 472 h 561"/>
                <a:gd name="T38" fmla="*/ 274 w 740"/>
                <a:gd name="T39" fmla="*/ 364 h 561"/>
                <a:gd name="T40" fmla="*/ 532 w 740"/>
                <a:gd name="T41" fmla="*/ 349 h 561"/>
                <a:gd name="T42" fmla="*/ 702 w 740"/>
                <a:gd name="T43" fmla="*/ 445 h 561"/>
                <a:gd name="T44" fmla="*/ 685 w 740"/>
                <a:gd name="T45" fmla="*/ 442 h 561"/>
                <a:gd name="T46" fmla="*/ 699 w 740"/>
                <a:gd name="T47" fmla="*/ 476 h 561"/>
                <a:gd name="T48" fmla="*/ 679 w 740"/>
                <a:gd name="T49" fmla="*/ 452 h 561"/>
                <a:gd name="T50" fmla="*/ 669 w 740"/>
                <a:gd name="T51" fmla="*/ 426 h 561"/>
                <a:gd name="T52" fmla="*/ 667 w 740"/>
                <a:gd name="T53" fmla="*/ 409 h 561"/>
                <a:gd name="T54" fmla="*/ 666 w 740"/>
                <a:gd name="T55" fmla="*/ 417 h 561"/>
                <a:gd name="T56" fmla="*/ 694 w 740"/>
                <a:gd name="T57" fmla="*/ 471 h 561"/>
                <a:gd name="T58" fmla="*/ 702 w 740"/>
                <a:gd name="T59" fmla="*/ 456 h 561"/>
                <a:gd name="T60" fmla="*/ 707 w 740"/>
                <a:gd name="T61" fmla="*/ 460 h 561"/>
                <a:gd name="T62" fmla="*/ 700 w 740"/>
                <a:gd name="T63" fmla="*/ 469 h 561"/>
                <a:gd name="T64" fmla="*/ 702 w 740"/>
                <a:gd name="T65" fmla="*/ 452 h 561"/>
                <a:gd name="T66" fmla="*/ 685 w 740"/>
                <a:gd name="T67" fmla="*/ 414 h 561"/>
                <a:gd name="T68" fmla="*/ 680 w 740"/>
                <a:gd name="T69" fmla="*/ 406 h 561"/>
                <a:gd name="T70" fmla="*/ 720 w 740"/>
                <a:gd name="T71" fmla="*/ 443 h 561"/>
                <a:gd name="T72" fmla="*/ 564 w 740"/>
                <a:gd name="T73" fmla="*/ 48 h 561"/>
                <a:gd name="T74" fmla="*/ 483 w 740"/>
                <a:gd name="T75" fmla="*/ 34 h 561"/>
                <a:gd name="T76" fmla="*/ 406 w 740"/>
                <a:gd name="T77" fmla="*/ 20 h 561"/>
                <a:gd name="T78" fmla="*/ 331 w 740"/>
                <a:gd name="T79" fmla="*/ 44 h 561"/>
                <a:gd name="T80" fmla="*/ 323 w 740"/>
                <a:gd name="T81" fmla="*/ 153 h 561"/>
                <a:gd name="T82" fmla="*/ 336 w 740"/>
                <a:gd name="T83" fmla="*/ 181 h 561"/>
                <a:gd name="T84" fmla="*/ 269 w 740"/>
                <a:gd name="T85" fmla="*/ 210 h 561"/>
                <a:gd name="T86" fmla="*/ 335 w 740"/>
                <a:gd name="T87" fmla="*/ 236 h 561"/>
                <a:gd name="T88" fmla="*/ 292 w 740"/>
                <a:gd name="T89" fmla="*/ 282 h 561"/>
                <a:gd name="T90" fmla="*/ 294 w 740"/>
                <a:gd name="T91" fmla="*/ 336 h 561"/>
                <a:gd name="T92" fmla="*/ 324 w 740"/>
                <a:gd name="T93" fmla="*/ 345 h 561"/>
                <a:gd name="T94" fmla="*/ 357 w 740"/>
                <a:gd name="T95" fmla="*/ 388 h 561"/>
                <a:gd name="T96" fmla="*/ 371 w 740"/>
                <a:gd name="T97" fmla="*/ 439 h 561"/>
                <a:gd name="T98" fmla="*/ 337 w 740"/>
                <a:gd name="T99" fmla="*/ 466 h 561"/>
                <a:gd name="T100" fmla="*/ 401 w 740"/>
                <a:gd name="T101" fmla="*/ 428 h 561"/>
                <a:gd name="T102" fmla="*/ 429 w 740"/>
                <a:gd name="T103" fmla="*/ 382 h 561"/>
                <a:gd name="T104" fmla="*/ 489 w 740"/>
                <a:gd name="T105" fmla="*/ 321 h 561"/>
                <a:gd name="T106" fmla="*/ 471 w 740"/>
                <a:gd name="T107" fmla="*/ 378 h 561"/>
                <a:gd name="T108" fmla="*/ 509 w 740"/>
                <a:gd name="T109" fmla="*/ 357 h 561"/>
                <a:gd name="T110" fmla="*/ 509 w 740"/>
                <a:gd name="T111" fmla="*/ 336 h 561"/>
                <a:gd name="T112" fmla="*/ 552 w 740"/>
                <a:gd name="T113" fmla="*/ 355 h 561"/>
                <a:gd name="T114" fmla="*/ 627 w 740"/>
                <a:gd name="T115" fmla="*/ 381 h 561"/>
                <a:gd name="T116" fmla="*/ 672 w 740"/>
                <a:gd name="T117" fmla="*/ 386 h 561"/>
                <a:gd name="T118" fmla="*/ 700 w 740"/>
                <a:gd name="T119" fmla="*/ 420 h 561"/>
                <a:gd name="T120" fmla="*/ 711 w 740"/>
                <a:gd name="T121" fmla="*/ 452 h 561"/>
                <a:gd name="T122" fmla="*/ 718 w 740"/>
                <a:gd name="T123" fmla="*/ 468 h 561"/>
                <a:gd name="T124" fmla="*/ 449 w 740"/>
                <a:gd name="T125" fmla="*/ 357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0" h="561">
                  <a:moveTo>
                    <a:pt x="203" y="259"/>
                  </a:moveTo>
                  <a:cubicBezTo>
                    <a:pt x="203" y="259"/>
                    <a:pt x="203" y="258"/>
                    <a:pt x="203" y="258"/>
                  </a:cubicBezTo>
                  <a:cubicBezTo>
                    <a:pt x="203" y="257"/>
                    <a:pt x="204" y="257"/>
                    <a:pt x="204" y="257"/>
                  </a:cubicBezTo>
                  <a:cubicBezTo>
                    <a:pt x="205" y="257"/>
                    <a:pt x="204" y="259"/>
                    <a:pt x="205" y="260"/>
                  </a:cubicBezTo>
                  <a:cubicBezTo>
                    <a:pt x="205" y="260"/>
                    <a:pt x="205" y="260"/>
                    <a:pt x="206" y="260"/>
                  </a:cubicBezTo>
                  <a:cubicBezTo>
                    <a:pt x="208" y="261"/>
                    <a:pt x="210" y="262"/>
                    <a:pt x="212" y="262"/>
                  </a:cubicBezTo>
                  <a:cubicBezTo>
                    <a:pt x="212" y="262"/>
                    <a:pt x="213" y="262"/>
                    <a:pt x="213" y="262"/>
                  </a:cubicBezTo>
                  <a:cubicBezTo>
                    <a:pt x="214" y="262"/>
                    <a:pt x="215" y="262"/>
                    <a:pt x="216" y="261"/>
                  </a:cubicBezTo>
                  <a:cubicBezTo>
                    <a:pt x="217" y="260"/>
                    <a:pt x="218" y="260"/>
                    <a:pt x="219" y="260"/>
                  </a:cubicBezTo>
                  <a:cubicBezTo>
                    <a:pt x="220" y="259"/>
                    <a:pt x="221" y="259"/>
                    <a:pt x="221" y="259"/>
                  </a:cubicBezTo>
                  <a:cubicBezTo>
                    <a:pt x="222" y="260"/>
                    <a:pt x="222" y="260"/>
                    <a:pt x="222" y="260"/>
                  </a:cubicBezTo>
                  <a:cubicBezTo>
                    <a:pt x="224" y="261"/>
                    <a:pt x="225" y="262"/>
                    <a:pt x="225" y="264"/>
                  </a:cubicBezTo>
                  <a:cubicBezTo>
                    <a:pt x="225" y="264"/>
                    <a:pt x="226" y="265"/>
                    <a:pt x="226" y="266"/>
                  </a:cubicBezTo>
                  <a:cubicBezTo>
                    <a:pt x="227" y="267"/>
                    <a:pt x="228" y="266"/>
                    <a:pt x="230" y="267"/>
                  </a:cubicBezTo>
                  <a:cubicBezTo>
                    <a:pt x="230" y="267"/>
                    <a:pt x="231" y="268"/>
                    <a:pt x="232" y="268"/>
                  </a:cubicBezTo>
                  <a:cubicBezTo>
                    <a:pt x="234" y="270"/>
                    <a:pt x="238" y="269"/>
                    <a:pt x="241" y="270"/>
                  </a:cubicBezTo>
                  <a:cubicBezTo>
                    <a:pt x="242" y="270"/>
                    <a:pt x="242" y="270"/>
                    <a:pt x="242" y="271"/>
                  </a:cubicBezTo>
                  <a:cubicBezTo>
                    <a:pt x="242" y="271"/>
                    <a:pt x="242" y="271"/>
                    <a:pt x="242" y="271"/>
                  </a:cubicBezTo>
                  <a:cubicBezTo>
                    <a:pt x="242" y="272"/>
                    <a:pt x="242" y="273"/>
                    <a:pt x="242" y="274"/>
                  </a:cubicBezTo>
                  <a:cubicBezTo>
                    <a:pt x="241" y="275"/>
                    <a:pt x="240" y="275"/>
                    <a:pt x="239" y="275"/>
                  </a:cubicBezTo>
                  <a:cubicBezTo>
                    <a:pt x="239" y="275"/>
                    <a:pt x="239" y="275"/>
                    <a:pt x="238" y="275"/>
                  </a:cubicBezTo>
                  <a:cubicBezTo>
                    <a:pt x="237" y="274"/>
                    <a:pt x="235" y="274"/>
                    <a:pt x="234" y="275"/>
                  </a:cubicBezTo>
                  <a:cubicBezTo>
                    <a:pt x="233" y="275"/>
                    <a:pt x="232" y="277"/>
                    <a:pt x="231" y="278"/>
                  </a:cubicBezTo>
                  <a:cubicBezTo>
                    <a:pt x="231" y="279"/>
                    <a:pt x="231" y="279"/>
                    <a:pt x="231" y="280"/>
                  </a:cubicBezTo>
                  <a:cubicBezTo>
                    <a:pt x="231" y="280"/>
                    <a:pt x="231" y="281"/>
                    <a:pt x="230" y="281"/>
                  </a:cubicBezTo>
                  <a:cubicBezTo>
                    <a:pt x="230" y="281"/>
                    <a:pt x="230" y="281"/>
                    <a:pt x="229" y="280"/>
                  </a:cubicBezTo>
                  <a:cubicBezTo>
                    <a:pt x="229" y="280"/>
                    <a:pt x="228" y="280"/>
                    <a:pt x="228" y="279"/>
                  </a:cubicBezTo>
                  <a:cubicBezTo>
                    <a:pt x="228" y="278"/>
                    <a:pt x="228" y="278"/>
                    <a:pt x="228" y="277"/>
                  </a:cubicBezTo>
                  <a:cubicBezTo>
                    <a:pt x="227" y="276"/>
                    <a:pt x="226" y="276"/>
                    <a:pt x="225" y="275"/>
                  </a:cubicBezTo>
                  <a:cubicBezTo>
                    <a:pt x="224" y="275"/>
                    <a:pt x="223" y="274"/>
                    <a:pt x="222" y="274"/>
                  </a:cubicBezTo>
                  <a:cubicBezTo>
                    <a:pt x="222" y="273"/>
                    <a:pt x="221" y="272"/>
                    <a:pt x="221" y="272"/>
                  </a:cubicBezTo>
                  <a:cubicBezTo>
                    <a:pt x="220" y="271"/>
                    <a:pt x="219" y="270"/>
                    <a:pt x="218" y="269"/>
                  </a:cubicBezTo>
                  <a:cubicBezTo>
                    <a:pt x="217" y="268"/>
                    <a:pt x="216" y="268"/>
                    <a:pt x="214" y="267"/>
                  </a:cubicBezTo>
                  <a:cubicBezTo>
                    <a:pt x="212" y="267"/>
                    <a:pt x="211" y="267"/>
                    <a:pt x="209" y="268"/>
                  </a:cubicBezTo>
                  <a:cubicBezTo>
                    <a:pt x="209" y="269"/>
                    <a:pt x="209" y="269"/>
                    <a:pt x="208" y="270"/>
                  </a:cubicBezTo>
                  <a:cubicBezTo>
                    <a:pt x="208" y="270"/>
                    <a:pt x="207" y="270"/>
                    <a:pt x="207" y="270"/>
                  </a:cubicBezTo>
                  <a:cubicBezTo>
                    <a:pt x="206" y="270"/>
                    <a:pt x="206" y="270"/>
                    <a:pt x="206" y="270"/>
                  </a:cubicBezTo>
                  <a:cubicBezTo>
                    <a:pt x="205" y="269"/>
                    <a:pt x="203" y="268"/>
                    <a:pt x="202" y="267"/>
                  </a:cubicBezTo>
                  <a:cubicBezTo>
                    <a:pt x="202" y="266"/>
                    <a:pt x="202" y="265"/>
                    <a:pt x="202" y="263"/>
                  </a:cubicBezTo>
                  <a:cubicBezTo>
                    <a:pt x="202" y="262"/>
                    <a:pt x="203" y="261"/>
                    <a:pt x="203" y="259"/>
                  </a:cubicBezTo>
                  <a:close/>
                  <a:moveTo>
                    <a:pt x="427" y="436"/>
                  </a:moveTo>
                  <a:cubicBezTo>
                    <a:pt x="427" y="436"/>
                    <a:pt x="427" y="436"/>
                    <a:pt x="427" y="436"/>
                  </a:cubicBezTo>
                  <a:cubicBezTo>
                    <a:pt x="427" y="436"/>
                    <a:pt x="427" y="436"/>
                    <a:pt x="427" y="436"/>
                  </a:cubicBezTo>
                  <a:close/>
                  <a:moveTo>
                    <a:pt x="449" y="397"/>
                  </a:moveTo>
                  <a:cubicBezTo>
                    <a:pt x="449" y="398"/>
                    <a:pt x="449" y="398"/>
                    <a:pt x="450" y="398"/>
                  </a:cubicBezTo>
                  <a:cubicBezTo>
                    <a:pt x="450" y="399"/>
                    <a:pt x="451" y="398"/>
                    <a:pt x="451" y="399"/>
                  </a:cubicBezTo>
                  <a:cubicBezTo>
                    <a:pt x="451" y="399"/>
                    <a:pt x="451" y="399"/>
                    <a:pt x="451" y="399"/>
                  </a:cubicBezTo>
                  <a:cubicBezTo>
                    <a:pt x="451" y="398"/>
                    <a:pt x="452" y="398"/>
                    <a:pt x="452" y="398"/>
                  </a:cubicBezTo>
                  <a:cubicBezTo>
                    <a:pt x="452" y="398"/>
                    <a:pt x="452" y="398"/>
                    <a:pt x="452" y="398"/>
                  </a:cubicBezTo>
                  <a:cubicBezTo>
                    <a:pt x="452" y="398"/>
                    <a:pt x="452" y="397"/>
                    <a:pt x="452" y="397"/>
                  </a:cubicBezTo>
                  <a:cubicBezTo>
                    <a:pt x="452" y="397"/>
                    <a:pt x="452" y="397"/>
                    <a:pt x="452" y="397"/>
                  </a:cubicBezTo>
                  <a:cubicBezTo>
                    <a:pt x="452" y="397"/>
                    <a:pt x="452" y="397"/>
                    <a:pt x="453" y="396"/>
                  </a:cubicBezTo>
                  <a:cubicBezTo>
                    <a:pt x="453" y="396"/>
                    <a:pt x="453" y="396"/>
                    <a:pt x="453" y="395"/>
                  </a:cubicBezTo>
                  <a:cubicBezTo>
                    <a:pt x="453" y="395"/>
                    <a:pt x="453" y="395"/>
                    <a:pt x="453" y="395"/>
                  </a:cubicBezTo>
                  <a:cubicBezTo>
                    <a:pt x="452" y="395"/>
                    <a:pt x="452" y="395"/>
                    <a:pt x="452" y="395"/>
                  </a:cubicBezTo>
                  <a:cubicBezTo>
                    <a:pt x="452" y="395"/>
                    <a:pt x="452" y="395"/>
                    <a:pt x="452" y="395"/>
                  </a:cubicBezTo>
                  <a:cubicBezTo>
                    <a:pt x="452" y="395"/>
                    <a:pt x="451" y="395"/>
                    <a:pt x="451" y="395"/>
                  </a:cubicBezTo>
                  <a:cubicBezTo>
                    <a:pt x="451" y="395"/>
                    <a:pt x="451" y="395"/>
                    <a:pt x="451" y="396"/>
                  </a:cubicBezTo>
                  <a:cubicBezTo>
                    <a:pt x="451" y="396"/>
                    <a:pt x="451" y="396"/>
                    <a:pt x="450" y="396"/>
                  </a:cubicBezTo>
                  <a:cubicBezTo>
                    <a:pt x="450" y="396"/>
                    <a:pt x="450" y="396"/>
                    <a:pt x="450" y="395"/>
                  </a:cubicBezTo>
                  <a:cubicBezTo>
                    <a:pt x="450" y="395"/>
                    <a:pt x="450" y="395"/>
                    <a:pt x="450" y="395"/>
                  </a:cubicBezTo>
                  <a:cubicBezTo>
                    <a:pt x="450" y="396"/>
                    <a:pt x="449" y="396"/>
                    <a:pt x="449" y="396"/>
                  </a:cubicBezTo>
                  <a:cubicBezTo>
                    <a:pt x="449" y="396"/>
                    <a:pt x="449" y="396"/>
                    <a:pt x="449" y="396"/>
                  </a:cubicBezTo>
                  <a:cubicBezTo>
                    <a:pt x="449" y="396"/>
                    <a:pt x="449" y="396"/>
                    <a:pt x="449" y="396"/>
                  </a:cubicBezTo>
                  <a:cubicBezTo>
                    <a:pt x="449" y="396"/>
                    <a:pt x="450" y="396"/>
                    <a:pt x="450" y="396"/>
                  </a:cubicBezTo>
                  <a:cubicBezTo>
                    <a:pt x="450" y="396"/>
                    <a:pt x="450" y="396"/>
                    <a:pt x="450" y="397"/>
                  </a:cubicBezTo>
                  <a:cubicBezTo>
                    <a:pt x="450" y="397"/>
                    <a:pt x="450" y="397"/>
                    <a:pt x="449" y="397"/>
                  </a:cubicBezTo>
                  <a:cubicBezTo>
                    <a:pt x="449" y="396"/>
                    <a:pt x="449" y="397"/>
                    <a:pt x="449" y="397"/>
                  </a:cubicBezTo>
                  <a:cubicBezTo>
                    <a:pt x="449" y="397"/>
                    <a:pt x="449" y="397"/>
                    <a:pt x="449" y="397"/>
                  </a:cubicBezTo>
                  <a:cubicBezTo>
                    <a:pt x="449" y="397"/>
                    <a:pt x="449" y="397"/>
                    <a:pt x="449" y="397"/>
                  </a:cubicBezTo>
                  <a:close/>
                  <a:moveTo>
                    <a:pt x="430" y="444"/>
                  </a:moveTo>
                  <a:cubicBezTo>
                    <a:pt x="430" y="444"/>
                    <a:pt x="430" y="444"/>
                    <a:pt x="430" y="444"/>
                  </a:cubicBezTo>
                  <a:cubicBezTo>
                    <a:pt x="431" y="444"/>
                    <a:pt x="431" y="444"/>
                    <a:pt x="430" y="443"/>
                  </a:cubicBezTo>
                  <a:cubicBezTo>
                    <a:pt x="430" y="443"/>
                    <a:pt x="430" y="443"/>
                    <a:pt x="430" y="443"/>
                  </a:cubicBezTo>
                  <a:cubicBezTo>
                    <a:pt x="429" y="443"/>
                    <a:pt x="429" y="443"/>
                    <a:pt x="429" y="443"/>
                  </a:cubicBezTo>
                  <a:cubicBezTo>
                    <a:pt x="429" y="443"/>
                    <a:pt x="428" y="443"/>
                    <a:pt x="428" y="443"/>
                  </a:cubicBezTo>
                  <a:cubicBezTo>
                    <a:pt x="428" y="444"/>
                    <a:pt x="427" y="444"/>
                    <a:pt x="427" y="444"/>
                  </a:cubicBezTo>
                  <a:cubicBezTo>
                    <a:pt x="427" y="444"/>
                    <a:pt x="427" y="445"/>
                    <a:pt x="427" y="445"/>
                  </a:cubicBezTo>
                  <a:cubicBezTo>
                    <a:pt x="427" y="445"/>
                    <a:pt x="427" y="445"/>
                    <a:pt x="427" y="445"/>
                  </a:cubicBezTo>
                  <a:cubicBezTo>
                    <a:pt x="427" y="446"/>
                    <a:pt x="428" y="446"/>
                    <a:pt x="429" y="446"/>
                  </a:cubicBezTo>
                  <a:cubicBezTo>
                    <a:pt x="429" y="446"/>
                    <a:pt x="430" y="445"/>
                    <a:pt x="430" y="445"/>
                  </a:cubicBezTo>
                  <a:cubicBezTo>
                    <a:pt x="430" y="445"/>
                    <a:pt x="430" y="445"/>
                    <a:pt x="430" y="444"/>
                  </a:cubicBezTo>
                  <a:close/>
                  <a:moveTo>
                    <a:pt x="425" y="445"/>
                  </a:moveTo>
                  <a:cubicBezTo>
                    <a:pt x="425" y="445"/>
                    <a:pt x="425" y="445"/>
                    <a:pt x="425" y="445"/>
                  </a:cubicBez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4"/>
                    <a:pt x="425" y="444"/>
                  </a:cubicBezTo>
                  <a:cubicBezTo>
                    <a:pt x="424" y="444"/>
                    <a:pt x="423" y="445"/>
                    <a:pt x="422" y="446"/>
                  </a:cubicBezTo>
                  <a:cubicBezTo>
                    <a:pt x="422" y="446"/>
                    <a:pt x="422" y="447"/>
                    <a:pt x="421" y="447"/>
                  </a:cubicBezTo>
                  <a:cubicBezTo>
                    <a:pt x="421" y="448"/>
                    <a:pt x="421" y="448"/>
                    <a:pt x="422" y="448"/>
                  </a:cubicBezTo>
                  <a:cubicBezTo>
                    <a:pt x="422" y="448"/>
                    <a:pt x="422" y="448"/>
                    <a:pt x="422" y="448"/>
                  </a:cubicBezTo>
                  <a:cubicBezTo>
                    <a:pt x="422" y="448"/>
                    <a:pt x="423" y="447"/>
                    <a:pt x="423" y="447"/>
                  </a:cubicBezTo>
                  <a:cubicBezTo>
                    <a:pt x="423" y="447"/>
                    <a:pt x="423" y="447"/>
                    <a:pt x="424" y="446"/>
                  </a:cubicBezTo>
                  <a:cubicBezTo>
                    <a:pt x="424" y="446"/>
                    <a:pt x="424" y="446"/>
                    <a:pt x="425" y="446"/>
                  </a:cubicBezTo>
                  <a:cubicBezTo>
                    <a:pt x="425" y="446"/>
                    <a:pt x="425" y="446"/>
                    <a:pt x="425" y="446"/>
                  </a:cubicBezTo>
                  <a:cubicBezTo>
                    <a:pt x="425" y="445"/>
                    <a:pt x="425" y="445"/>
                    <a:pt x="425" y="445"/>
                  </a:cubicBezTo>
                  <a:close/>
                  <a:moveTo>
                    <a:pt x="425" y="444"/>
                  </a:move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4"/>
                    <a:pt x="425" y="444"/>
                  </a:cubicBezTo>
                  <a:close/>
                  <a:moveTo>
                    <a:pt x="455" y="419"/>
                  </a:moveTo>
                  <a:cubicBezTo>
                    <a:pt x="455" y="420"/>
                    <a:pt x="455" y="420"/>
                    <a:pt x="455" y="420"/>
                  </a:cubicBezTo>
                  <a:cubicBezTo>
                    <a:pt x="455" y="421"/>
                    <a:pt x="454" y="421"/>
                    <a:pt x="454" y="422"/>
                  </a:cubicBezTo>
                  <a:cubicBezTo>
                    <a:pt x="453" y="422"/>
                    <a:pt x="453" y="423"/>
                    <a:pt x="453" y="424"/>
                  </a:cubicBezTo>
                  <a:cubicBezTo>
                    <a:pt x="453" y="424"/>
                    <a:pt x="453" y="424"/>
                    <a:pt x="453" y="424"/>
                  </a:cubicBezTo>
                  <a:cubicBezTo>
                    <a:pt x="452" y="424"/>
                    <a:pt x="452" y="424"/>
                    <a:pt x="451" y="424"/>
                  </a:cubicBezTo>
                  <a:cubicBezTo>
                    <a:pt x="451" y="424"/>
                    <a:pt x="451" y="424"/>
                    <a:pt x="451" y="424"/>
                  </a:cubicBezTo>
                  <a:cubicBezTo>
                    <a:pt x="451" y="423"/>
                    <a:pt x="452" y="423"/>
                    <a:pt x="451" y="423"/>
                  </a:cubicBezTo>
                  <a:cubicBezTo>
                    <a:pt x="451" y="423"/>
                    <a:pt x="451" y="423"/>
                    <a:pt x="451" y="423"/>
                  </a:cubicBezTo>
                  <a:cubicBezTo>
                    <a:pt x="451" y="423"/>
                    <a:pt x="450" y="423"/>
                    <a:pt x="450" y="423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450" y="423"/>
                    <a:pt x="449" y="423"/>
                    <a:pt x="449" y="423"/>
                  </a:cubicBezTo>
                  <a:cubicBezTo>
                    <a:pt x="449" y="423"/>
                    <a:pt x="448" y="423"/>
                    <a:pt x="448" y="422"/>
                  </a:cubicBezTo>
                  <a:cubicBezTo>
                    <a:pt x="448" y="422"/>
                    <a:pt x="448" y="422"/>
                    <a:pt x="447" y="422"/>
                  </a:cubicBezTo>
                  <a:cubicBezTo>
                    <a:pt x="447" y="422"/>
                    <a:pt x="447" y="422"/>
                    <a:pt x="446" y="422"/>
                  </a:cubicBezTo>
                  <a:cubicBezTo>
                    <a:pt x="446" y="422"/>
                    <a:pt x="446" y="422"/>
                    <a:pt x="446" y="422"/>
                  </a:cubicBezTo>
                  <a:cubicBezTo>
                    <a:pt x="446" y="422"/>
                    <a:pt x="446" y="422"/>
                    <a:pt x="445" y="422"/>
                  </a:cubicBezTo>
                  <a:cubicBezTo>
                    <a:pt x="445" y="422"/>
                    <a:pt x="446" y="422"/>
                    <a:pt x="446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4" y="423"/>
                    <a:pt x="444" y="423"/>
                    <a:pt x="444" y="423"/>
                  </a:cubicBezTo>
                  <a:cubicBezTo>
                    <a:pt x="444" y="423"/>
                    <a:pt x="444" y="423"/>
                    <a:pt x="445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5" y="423"/>
                    <a:pt x="445" y="423"/>
                    <a:pt x="445" y="423"/>
                  </a:cubicBezTo>
                  <a:cubicBezTo>
                    <a:pt x="445" y="423"/>
                    <a:pt x="445" y="423"/>
                    <a:pt x="446" y="423"/>
                  </a:cubicBezTo>
                  <a:cubicBezTo>
                    <a:pt x="446" y="423"/>
                    <a:pt x="447" y="423"/>
                    <a:pt x="448" y="423"/>
                  </a:cubicBezTo>
                  <a:cubicBezTo>
                    <a:pt x="448" y="423"/>
                    <a:pt x="448" y="424"/>
                    <a:pt x="448" y="424"/>
                  </a:cubicBezTo>
                  <a:cubicBezTo>
                    <a:pt x="448" y="424"/>
                    <a:pt x="448" y="424"/>
                    <a:pt x="448" y="424"/>
                  </a:cubicBezTo>
                  <a:cubicBezTo>
                    <a:pt x="448" y="424"/>
                    <a:pt x="449" y="425"/>
                    <a:pt x="449" y="424"/>
                  </a:cubicBezTo>
                  <a:cubicBezTo>
                    <a:pt x="449" y="424"/>
                    <a:pt x="449" y="425"/>
                    <a:pt x="449" y="425"/>
                  </a:cubicBezTo>
                  <a:cubicBezTo>
                    <a:pt x="449" y="425"/>
                    <a:pt x="449" y="425"/>
                    <a:pt x="449" y="425"/>
                  </a:cubicBezTo>
                  <a:cubicBezTo>
                    <a:pt x="449" y="426"/>
                    <a:pt x="449" y="427"/>
                    <a:pt x="449" y="427"/>
                  </a:cubicBezTo>
                  <a:cubicBezTo>
                    <a:pt x="448" y="427"/>
                    <a:pt x="448" y="427"/>
                    <a:pt x="448" y="427"/>
                  </a:cubicBezTo>
                  <a:cubicBezTo>
                    <a:pt x="448" y="427"/>
                    <a:pt x="448" y="427"/>
                    <a:pt x="448" y="427"/>
                  </a:cubicBezTo>
                  <a:cubicBezTo>
                    <a:pt x="447" y="427"/>
                    <a:pt x="447" y="427"/>
                    <a:pt x="447" y="427"/>
                  </a:cubicBezTo>
                  <a:cubicBezTo>
                    <a:pt x="447" y="427"/>
                    <a:pt x="447" y="427"/>
                    <a:pt x="447" y="427"/>
                  </a:cubicBezTo>
                  <a:cubicBezTo>
                    <a:pt x="447" y="427"/>
                    <a:pt x="447" y="427"/>
                    <a:pt x="447" y="427"/>
                  </a:cubicBezTo>
                  <a:cubicBezTo>
                    <a:pt x="447" y="428"/>
                    <a:pt x="447" y="428"/>
                    <a:pt x="446" y="428"/>
                  </a:cubicBezTo>
                  <a:cubicBezTo>
                    <a:pt x="446" y="428"/>
                    <a:pt x="446" y="428"/>
                    <a:pt x="446" y="427"/>
                  </a:cubicBezTo>
                  <a:cubicBezTo>
                    <a:pt x="446" y="427"/>
                    <a:pt x="446" y="427"/>
                    <a:pt x="446" y="427"/>
                  </a:cubicBezTo>
                  <a:cubicBezTo>
                    <a:pt x="446" y="427"/>
                    <a:pt x="446" y="427"/>
                    <a:pt x="446" y="427"/>
                  </a:cubicBezTo>
                  <a:cubicBezTo>
                    <a:pt x="446" y="427"/>
                    <a:pt x="446" y="426"/>
                    <a:pt x="446" y="426"/>
                  </a:cubicBezTo>
                  <a:cubicBezTo>
                    <a:pt x="446" y="426"/>
                    <a:pt x="446" y="426"/>
                    <a:pt x="446" y="426"/>
                  </a:cubicBezTo>
                  <a:cubicBezTo>
                    <a:pt x="446" y="426"/>
                    <a:pt x="446" y="426"/>
                    <a:pt x="445" y="426"/>
                  </a:cubicBezTo>
                  <a:cubicBezTo>
                    <a:pt x="445" y="426"/>
                    <a:pt x="445" y="426"/>
                    <a:pt x="445" y="426"/>
                  </a:cubicBezTo>
                  <a:cubicBezTo>
                    <a:pt x="445" y="426"/>
                    <a:pt x="444" y="426"/>
                    <a:pt x="444" y="426"/>
                  </a:cubicBezTo>
                  <a:cubicBezTo>
                    <a:pt x="444" y="426"/>
                    <a:pt x="444" y="426"/>
                    <a:pt x="444" y="426"/>
                  </a:cubicBezTo>
                  <a:cubicBezTo>
                    <a:pt x="443" y="426"/>
                    <a:pt x="443" y="427"/>
                    <a:pt x="443" y="427"/>
                  </a:cubicBezTo>
                  <a:cubicBezTo>
                    <a:pt x="443" y="426"/>
                    <a:pt x="442" y="426"/>
                    <a:pt x="442" y="426"/>
                  </a:cubicBezTo>
                  <a:cubicBezTo>
                    <a:pt x="442" y="426"/>
                    <a:pt x="442" y="426"/>
                    <a:pt x="442" y="426"/>
                  </a:cubicBezTo>
                  <a:cubicBezTo>
                    <a:pt x="442" y="426"/>
                    <a:pt x="442" y="426"/>
                    <a:pt x="442" y="426"/>
                  </a:cubicBezTo>
                  <a:cubicBezTo>
                    <a:pt x="442" y="426"/>
                    <a:pt x="442" y="426"/>
                    <a:pt x="442" y="427"/>
                  </a:cubicBezTo>
                  <a:cubicBezTo>
                    <a:pt x="442" y="427"/>
                    <a:pt x="442" y="427"/>
                    <a:pt x="442" y="427"/>
                  </a:cubicBezTo>
                  <a:cubicBezTo>
                    <a:pt x="442" y="427"/>
                    <a:pt x="443" y="427"/>
                    <a:pt x="443" y="427"/>
                  </a:cubicBezTo>
                  <a:cubicBezTo>
                    <a:pt x="443" y="427"/>
                    <a:pt x="443" y="427"/>
                    <a:pt x="444" y="427"/>
                  </a:cubicBezTo>
                  <a:cubicBezTo>
                    <a:pt x="444" y="427"/>
                    <a:pt x="445" y="427"/>
                    <a:pt x="445" y="428"/>
                  </a:cubicBezTo>
                  <a:cubicBezTo>
                    <a:pt x="445" y="428"/>
                    <a:pt x="445" y="428"/>
                    <a:pt x="445" y="428"/>
                  </a:cubicBezTo>
                  <a:cubicBezTo>
                    <a:pt x="445" y="428"/>
                    <a:pt x="444" y="429"/>
                    <a:pt x="444" y="429"/>
                  </a:cubicBezTo>
                  <a:cubicBezTo>
                    <a:pt x="444" y="429"/>
                    <a:pt x="444" y="429"/>
                    <a:pt x="443" y="429"/>
                  </a:cubicBezTo>
                  <a:cubicBezTo>
                    <a:pt x="443" y="429"/>
                    <a:pt x="442" y="429"/>
                    <a:pt x="442" y="429"/>
                  </a:cubicBezTo>
                  <a:cubicBezTo>
                    <a:pt x="442" y="429"/>
                    <a:pt x="442" y="429"/>
                    <a:pt x="442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2" y="429"/>
                    <a:pt x="442" y="429"/>
                    <a:pt x="442" y="430"/>
                  </a:cubicBezTo>
                  <a:cubicBezTo>
                    <a:pt x="442" y="430"/>
                    <a:pt x="442" y="430"/>
                    <a:pt x="442" y="429"/>
                  </a:cubicBezTo>
                  <a:cubicBezTo>
                    <a:pt x="442" y="429"/>
                    <a:pt x="442" y="430"/>
                    <a:pt x="442" y="430"/>
                  </a:cubicBezTo>
                  <a:cubicBezTo>
                    <a:pt x="442" y="430"/>
                    <a:pt x="442" y="430"/>
                    <a:pt x="442" y="430"/>
                  </a:cubicBezTo>
                  <a:cubicBezTo>
                    <a:pt x="442" y="430"/>
                    <a:pt x="442" y="430"/>
                    <a:pt x="442" y="431"/>
                  </a:cubicBezTo>
                  <a:cubicBezTo>
                    <a:pt x="442" y="431"/>
                    <a:pt x="442" y="431"/>
                    <a:pt x="442" y="431"/>
                  </a:cubicBezTo>
                  <a:cubicBezTo>
                    <a:pt x="442" y="430"/>
                    <a:pt x="443" y="430"/>
                    <a:pt x="443" y="430"/>
                  </a:cubicBezTo>
                  <a:cubicBezTo>
                    <a:pt x="443" y="430"/>
                    <a:pt x="444" y="430"/>
                    <a:pt x="443" y="430"/>
                  </a:cubicBezTo>
                  <a:cubicBezTo>
                    <a:pt x="443" y="430"/>
                    <a:pt x="443" y="430"/>
                    <a:pt x="443" y="430"/>
                  </a:cubicBezTo>
                  <a:cubicBezTo>
                    <a:pt x="443" y="430"/>
                    <a:pt x="443" y="431"/>
                    <a:pt x="443" y="431"/>
                  </a:cubicBezTo>
                  <a:cubicBezTo>
                    <a:pt x="443" y="430"/>
                    <a:pt x="444" y="430"/>
                    <a:pt x="444" y="430"/>
                  </a:cubicBezTo>
                  <a:cubicBezTo>
                    <a:pt x="444" y="430"/>
                    <a:pt x="444" y="430"/>
                    <a:pt x="444" y="430"/>
                  </a:cubicBezTo>
                  <a:cubicBezTo>
                    <a:pt x="445" y="430"/>
                    <a:pt x="445" y="430"/>
                    <a:pt x="445" y="430"/>
                  </a:cubicBezTo>
                  <a:cubicBezTo>
                    <a:pt x="445" y="430"/>
                    <a:pt x="446" y="430"/>
                    <a:pt x="446" y="430"/>
                  </a:cubicBezTo>
                  <a:cubicBezTo>
                    <a:pt x="446" y="430"/>
                    <a:pt x="446" y="430"/>
                    <a:pt x="446" y="431"/>
                  </a:cubicBezTo>
                  <a:cubicBezTo>
                    <a:pt x="446" y="431"/>
                    <a:pt x="446" y="431"/>
                    <a:pt x="445" y="431"/>
                  </a:cubicBezTo>
                  <a:cubicBezTo>
                    <a:pt x="445" y="431"/>
                    <a:pt x="445" y="431"/>
                    <a:pt x="445" y="431"/>
                  </a:cubicBezTo>
                  <a:cubicBezTo>
                    <a:pt x="444" y="431"/>
                    <a:pt x="444" y="431"/>
                    <a:pt x="444" y="432"/>
                  </a:cubicBezTo>
                  <a:cubicBezTo>
                    <a:pt x="443" y="432"/>
                    <a:pt x="443" y="432"/>
                    <a:pt x="443" y="432"/>
                  </a:cubicBezTo>
                  <a:cubicBezTo>
                    <a:pt x="443" y="432"/>
                    <a:pt x="442" y="432"/>
                    <a:pt x="442" y="432"/>
                  </a:cubicBezTo>
                  <a:cubicBezTo>
                    <a:pt x="442" y="432"/>
                    <a:pt x="441" y="433"/>
                    <a:pt x="442" y="433"/>
                  </a:cubicBezTo>
                  <a:cubicBezTo>
                    <a:pt x="442" y="433"/>
                    <a:pt x="442" y="433"/>
                    <a:pt x="442" y="433"/>
                  </a:cubicBezTo>
                  <a:cubicBezTo>
                    <a:pt x="442" y="434"/>
                    <a:pt x="441" y="434"/>
                    <a:pt x="440" y="434"/>
                  </a:cubicBezTo>
                  <a:cubicBezTo>
                    <a:pt x="440" y="434"/>
                    <a:pt x="440" y="434"/>
                    <a:pt x="440" y="434"/>
                  </a:cubicBezTo>
                  <a:cubicBezTo>
                    <a:pt x="440" y="433"/>
                    <a:pt x="440" y="433"/>
                    <a:pt x="440" y="433"/>
                  </a:cubicBezTo>
                  <a:cubicBezTo>
                    <a:pt x="440" y="433"/>
                    <a:pt x="440" y="433"/>
                    <a:pt x="440" y="433"/>
                  </a:cubicBezTo>
                  <a:cubicBezTo>
                    <a:pt x="440" y="432"/>
                    <a:pt x="441" y="432"/>
                    <a:pt x="441" y="432"/>
                  </a:cubicBezTo>
                  <a:cubicBezTo>
                    <a:pt x="440" y="432"/>
                    <a:pt x="440" y="432"/>
                    <a:pt x="440" y="432"/>
                  </a:cubicBezTo>
                  <a:cubicBezTo>
                    <a:pt x="440" y="432"/>
                    <a:pt x="440" y="432"/>
                    <a:pt x="440" y="432"/>
                  </a:cubicBezTo>
                  <a:cubicBezTo>
                    <a:pt x="440" y="432"/>
                    <a:pt x="440" y="432"/>
                    <a:pt x="439" y="433"/>
                  </a:cubicBezTo>
                  <a:cubicBezTo>
                    <a:pt x="439" y="433"/>
                    <a:pt x="439" y="432"/>
                    <a:pt x="439" y="432"/>
                  </a:cubicBezTo>
                  <a:cubicBezTo>
                    <a:pt x="439" y="432"/>
                    <a:pt x="439" y="432"/>
                    <a:pt x="439" y="432"/>
                  </a:cubicBezTo>
                  <a:cubicBezTo>
                    <a:pt x="440" y="432"/>
                    <a:pt x="440" y="432"/>
                    <a:pt x="440" y="431"/>
                  </a:cubicBezTo>
                  <a:cubicBezTo>
                    <a:pt x="440" y="431"/>
                    <a:pt x="440" y="431"/>
                    <a:pt x="440" y="431"/>
                  </a:cubicBezTo>
                  <a:cubicBezTo>
                    <a:pt x="440" y="431"/>
                    <a:pt x="440" y="431"/>
                    <a:pt x="440" y="431"/>
                  </a:cubicBezTo>
                  <a:cubicBezTo>
                    <a:pt x="439" y="431"/>
                    <a:pt x="440" y="431"/>
                    <a:pt x="440" y="431"/>
                  </a:cubicBezTo>
                  <a:cubicBezTo>
                    <a:pt x="440" y="431"/>
                    <a:pt x="441" y="430"/>
                    <a:pt x="441" y="430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1" y="429"/>
                  </a:cubicBezTo>
                  <a:cubicBezTo>
                    <a:pt x="441" y="429"/>
                    <a:pt x="441" y="429"/>
                    <a:pt x="440" y="429"/>
                  </a:cubicBezTo>
                  <a:cubicBezTo>
                    <a:pt x="440" y="430"/>
                    <a:pt x="440" y="430"/>
                    <a:pt x="440" y="429"/>
                  </a:cubicBezTo>
                  <a:cubicBezTo>
                    <a:pt x="440" y="429"/>
                    <a:pt x="439" y="429"/>
                    <a:pt x="439" y="429"/>
                  </a:cubicBezTo>
                  <a:cubicBezTo>
                    <a:pt x="439" y="429"/>
                    <a:pt x="439" y="430"/>
                    <a:pt x="439" y="430"/>
                  </a:cubicBezTo>
                  <a:cubicBezTo>
                    <a:pt x="439" y="430"/>
                    <a:pt x="440" y="430"/>
                    <a:pt x="440" y="430"/>
                  </a:cubicBezTo>
                  <a:cubicBezTo>
                    <a:pt x="439" y="430"/>
                    <a:pt x="439" y="430"/>
                    <a:pt x="439" y="431"/>
                  </a:cubicBezTo>
                  <a:cubicBezTo>
                    <a:pt x="439" y="431"/>
                    <a:pt x="439" y="431"/>
                    <a:pt x="439" y="431"/>
                  </a:cubicBezTo>
                  <a:cubicBezTo>
                    <a:pt x="439" y="431"/>
                    <a:pt x="439" y="431"/>
                    <a:pt x="439" y="431"/>
                  </a:cubicBezTo>
                  <a:cubicBezTo>
                    <a:pt x="438" y="431"/>
                    <a:pt x="438" y="431"/>
                    <a:pt x="438" y="431"/>
                  </a:cubicBezTo>
                  <a:cubicBezTo>
                    <a:pt x="438" y="431"/>
                    <a:pt x="438" y="431"/>
                    <a:pt x="438" y="430"/>
                  </a:cubicBezTo>
                  <a:cubicBezTo>
                    <a:pt x="438" y="430"/>
                    <a:pt x="438" y="430"/>
                    <a:pt x="438" y="430"/>
                  </a:cubicBezTo>
                  <a:cubicBezTo>
                    <a:pt x="438" y="430"/>
                    <a:pt x="438" y="430"/>
                    <a:pt x="437" y="430"/>
                  </a:cubicBezTo>
                  <a:cubicBezTo>
                    <a:pt x="437" y="430"/>
                    <a:pt x="437" y="430"/>
                    <a:pt x="437" y="430"/>
                  </a:cubicBezTo>
                  <a:cubicBezTo>
                    <a:pt x="437" y="430"/>
                    <a:pt x="438" y="430"/>
                    <a:pt x="438" y="430"/>
                  </a:cubicBezTo>
                  <a:cubicBezTo>
                    <a:pt x="438" y="430"/>
                    <a:pt x="438" y="430"/>
                    <a:pt x="438" y="430"/>
                  </a:cubicBezTo>
                  <a:cubicBezTo>
                    <a:pt x="438" y="430"/>
                    <a:pt x="438" y="431"/>
                    <a:pt x="438" y="431"/>
                  </a:cubicBezTo>
                  <a:cubicBezTo>
                    <a:pt x="438" y="431"/>
                    <a:pt x="438" y="432"/>
                    <a:pt x="438" y="432"/>
                  </a:cubicBezTo>
                  <a:cubicBezTo>
                    <a:pt x="438" y="432"/>
                    <a:pt x="438" y="432"/>
                    <a:pt x="438" y="432"/>
                  </a:cubicBezTo>
                  <a:cubicBezTo>
                    <a:pt x="438" y="433"/>
                    <a:pt x="438" y="432"/>
                    <a:pt x="438" y="432"/>
                  </a:cubicBezTo>
                  <a:cubicBezTo>
                    <a:pt x="437" y="432"/>
                    <a:pt x="437" y="432"/>
                    <a:pt x="437" y="432"/>
                  </a:cubicBezTo>
                  <a:cubicBezTo>
                    <a:pt x="436" y="432"/>
                    <a:pt x="436" y="432"/>
                    <a:pt x="436" y="432"/>
                  </a:cubicBezTo>
                  <a:cubicBezTo>
                    <a:pt x="436" y="432"/>
                    <a:pt x="436" y="432"/>
                    <a:pt x="436" y="432"/>
                  </a:cubicBezTo>
                  <a:cubicBezTo>
                    <a:pt x="435" y="432"/>
                    <a:pt x="435" y="432"/>
                    <a:pt x="435" y="433"/>
                  </a:cubicBezTo>
                  <a:cubicBezTo>
                    <a:pt x="435" y="433"/>
                    <a:pt x="435" y="433"/>
                    <a:pt x="436" y="433"/>
                  </a:cubicBezTo>
                  <a:cubicBezTo>
                    <a:pt x="436" y="433"/>
                    <a:pt x="436" y="433"/>
                    <a:pt x="436" y="433"/>
                  </a:cubicBezTo>
                  <a:cubicBezTo>
                    <a:pt x="437" y="433"/>
                    <a:pt x="437" y="433"/>
                    <a:pt x="437" y="433"/>
                  </a:cubicBezTo>
                  <a:cubicBezTo>
                    <a:pt x="437" y="433"/>
                    <a:pt x="437" y="433"/>
                    <a:pt x="437" y="433"/>
                  </a:cubicBezTo>
                  <a:cubicBezTo>
                    <a:pt x="437" y="434"/>
                    <a:pt x="437" y="434"/>
                    <a:pt x="437" y="434"/>
                  </a:cubicBezTo>
                  <a:cubicBezTo>
                    <a:pt x="437" y="434"/>
                    <a:pt x="437" y="434"/>
                    <a:pt x="437" y="434"/>
                  </a:cubicBezTo>
                  <a:cubicBezTo>
                    <a:pt x="438" y="434"/>
                    <a:pt x="437" y="434"/>
                    <a:pt x="437" y="435"/>
                  </a:cubicBezTo>
                  <a:cubicBezTo>
                    <a:pt x="437" y="435"/>
                    <a:pt x="437" y="435"/>
                    <a:pt x="437" y="435"/>
                  </a:cubicBezTo>
                  <a:cubicBezTo>
                    <a:pt x="437" y="435"/>
                    <a:pt x="437" y="435"/>
                    <a:pt x="437" y="435"/>
                  </a:cubicBezTo>
                  <a:cubicBezTo>
                    <a:pt x="437" y="435"/>
                    <a:pt x="437" y="435"/>
                    <a:pt x="437" y="435"/>
                  </a:cubicBezTo>
                  <a:cubicBezTo>
                    <a:pt x="437" y="436"/>
                    <a:pt x="436" y="436"/>
                    <a:pt x="436" y="436"/>
                  </a:cubicBezTo>
                  <a:cubicBezTo>
                    <a:pt x="436" y="436"/>
                    <a:pt x="436" y="436"/>
                    <a:pt x="436" y="435"/>
                  </a:cubicBezTo>
                  <a:cubicBezTo>
                    <a:pt x="436" y="435"/>
                    <a:pt x="436" y="435"/>
                    <a:pt x="435" y="435"/>
                  </a:cubicBezTo>
                  <a:cubicBezTo>
                    <a:pt x="435" y="435"/>
                    <a:pt x="435" y="435"/>
                    <a:pt x="435" y="435"/>
                  </a:cubicBezTo>
                  <a:cubicBezTo>
                    <a:pt x="435" y="435"/>
                    <a:pt x="435" y="436"/>
                    <a:pt x="435" y="436"/>
                  </a:cubicBezTo>
                  <a:cubicBezTo>
                    <a:pt x="436" y="436"/>
                    <a:pt x="435" y="436"/>
                    <a:pt x="435" y="437"/>
                  </a:cubicBezTo>
                  <a:cubicBezTo>
                    <a:pt x="435" y="437"/>
                    <a:pt x="435" y="437"/>
                    <a:pt x="435" y="437"/>
                  </a:cubicBezTo>
                  <a:cubicBezTo>
                    <a:pt x="434" y="437"/>
                    <a:pt x="434" y="437"/>
                    <a:pt x="435" y="437"/>
                  </a:cubicBezTo>
                  <a:cubicBezTo>
                    <a:pt x="435" y="437"/>
                    <a:pt x="435" y="437"/>
                    <a:pt x="435" y="438"/>
                  </a:cubicBezTo>
                  <a:cubicBezTo>
                    <a:pt x="435" y="437"/>
                    <a:pt x="435" y="437"/>
                    <a:pt x="435" y="437"/>
                  </a:cubicBezTo>
                  <a:cubicBezTo>
                    <a:pt x="435" y="437"/>
                    <a:pt x="435" y="437"/>
                    <a:pt x="435" y="437"/>
                  </a:cubicBezTo>
                  <a:cubicBezTo>
                    <a:pt x="436" y="437"/>
                    <a:pt x="435" y="437"/>
                    <a:pt x="435" y="437"/>
                  </a:cubicBezTo>
                  <a:cubicBezTo>
                    <a:pt x="435" y="437"/>
                    <a:pt x="435" y="438"/>
                    <a:pt x="434" y="438"/>
                  </a:cubicBezTo>
                  <a:cubicBezTo>
                    <a:pt x="434" y="438"/>
                    <a:pt x="434" y="438"/>
                    <a:pt x="434" y="438"/>
                  </a:cubicBezTo>
                  <a:cubicBezTo>
                    <a:pt x="433" y="438"/>
                    <a:pt x="433" y="438"/>
                    <a:pt x="433" y="438"/>
                  </a:cubicBezTo>
                  <a:cubicBezTo>
                    <a:pt x="433" y="439"/>
                    <a:pt x="433" y="439"/>
                    <a:pt x="432" y="440"/>
                  </a:cubicBezTo>
                  <a:cubicBezTo>
                    <a:pt x="432" y="440"/>
                    <a:pt x="432" y="440"/>
                    <a:pt x="432" y="440"/>
                  </a:cubicBezTo>
                  <a:cubicBezTo>
                    <a:pt x="432" y="440"/>
                    <a:pt x="431" y="440"/>
                    <a:pt x="431" y="440"/>
                  </a:cubicBezTo>
                  <a:cubicBezTo>
                    <a:pt x="431" y="440"/>
                    <a:pt x="431" y="440"/>
                    <a:pt x="431" y="440"/>
                  </a:cubicBezTo>
                  <a:cubicBezTo>
                    <a:pt x="430" y="440"/>
                    <a:pt x="430" y="440"/>
                    <a:pt x="430" y="440"/>
                  </a:cubicBezTo>
                  <a:cubicBezTo>
                    <a:pt x="430" y="440"/>
                    <a:pt x="430" y="439"/>
                    <a:pt x="430" y="439"/>
                  </a:cubicBezTo>
                  <a:cubicBezTo>
                    <a:pt x="430" y="438"/>
                    <a:pt x="431" y="438"/>
                    <a:pt x="431" y="438"/>
                  </a:cubicBezTo>
                  <a:cubicBezTo>
                    <a:pt x="431" y="437"/>
                    <a:pt x="432" y="437"/>
                    <a:pt x="432" y="436"/>
                  </a:cubicBezTo>
                  <a:cubicBezTo>
                    <a:pt x="432" y="436"/>
                    <a:pt x="432" y="436"/>
                    <a:pt x="432" y="436"/>
                  </a:cubicBezTo>
                  <a:cubicBezTo>
                    <a:pt x="433" y="436"/>
                    <a:pt x="433" y="435"/>
                    <a:pt x="434" y="435"/>
                  </a:cubicBezTo>
                  <a:cubicBezTo>
                    <a:pt x="434" y="435"/>
                    <a:pt x="434" y="434"/>
                    <a:pt x="434" y="434"/>
                  </a:cubicBezTo>
                  <a:cubicBezTo>
                    <a:pt x="434" y="434"/>
                    <a:pt x="435" y="434"/>
                    <a:pt x="434" y="434"/>
                  </a:cubicBezTo>
                  <a:cubicBezTo>
                    <a:pt x="434" y="434"/>
                    <a:pt x="434" y="434"/>
                    <a:pt x="434" y="434"/>
                  </a:cubicBezTo>
                  <a:cubicBezTo>
                    <a:pt x="434" y="434"/>
                    <a:pt x="434" y="435"/>
                    <a:pt x="433" y="435"/>
                  </a:cubicBezTo>
                  <a:cubicBezTo>
                    <a:pt x="433" y="435"/>
                    <a:pt x="433" y="434"/>
                    <a:pt x="434" y="434"/>
                  </a:cubicBezTo>
                  <a:cubicBezTo>
                    <a:pt x="434" y="434"/>
                    <a:pt x="434" y="434"/>
                    <a:pt x="434" y="434"/>
                  </a:cubicBezTo>
                  <a:cubicBezTo>
                    <a:pt x="434" y="434"/>
                    <a:pt x="433" y="433"/>
                    <a:pt x="433" y="434"/>
                  </a:cubicBezTo>
                  <a:cubicBezTo>
                    <a:pt x="433" y="434"/>
                    <a:pt x="433" y="434"/>
                    <a:pt x="433" y="434"/>
                  </a:cubicBezTo>
                  <a:cubicBezTo>
                    <a:pt x="433" y="434"/>
                    <a:pt x="433" y="435"/>
                    <a:pt x="433" y="435"/>
                  </a:cubicBezTo>
                  <a:cubicBezTo>
                    <a:pt x="433" y="435"/>
                    <a:pt x="433" y="435"/>
                    <a:pt x="432" y="435"/>
                  </a:cubicBezTo>
                  <a:cubicBezTo>
                    <a:pt x="432" y="435"/>
                    <a:pt x="432" y="435"/>
                    <a:pt x="432" y="435"/>
                  </a:cubicBezTo>
                  <a:cubicBezTo>
                    <a:pt x="432" y="434"/>
                    <a:pt x="432" y="434"/>
                    <a:pt x="432" y="433"/>
                  </a:cubicBezTo>
                  <a:cubicBezTo>
                    <a:pt x="432" y="433"/>
                    <a:pt x="433" y="433"/>
                    <a:pt x="433" y="433"/>
                  </a:cubicBezTo>
                  <a:cubicBezTo>
                    <a:pt x="433" y="432"/>
                    <a:pt x="433" y="432"/>
                    <a:pt x="433" y="432"/>
                  </a:cubicBezTo>
                  <a:cubicBezTo>
                    <a:pt x="433" y="432"/>
                    <a:pt x="433" y="432"/>
                    <a:pt x="434" y="432"/>
                  </a:cubicBezTo>
                  <a:cubicBezTo>
                    <a:pt x="434" y="431"/>
                    <a:pt x="434" y="431"/>
                    <a:pt x="435" y="431"/>
                  </a:cubicBezTo>
                  <a:cubicBezTo>
                    <a:pt x="435" y="431"/>
                    <a:pt x="435" y="431"/>
                    <a:pt x="434" y="431"/>
                  </a:cubicBezTo>
                  <a:cubicBezTo>
                    <a:pt x="434" y="431"/>
                    <a:pt x="434" y="431"/>
                    <a:pt x="434" y="431"/>
                  </a:cubicBezTo>
                  <a:cubicBezTo>
                    <a:pt x="434" y="430"/>
                    <a:pt x="434" y="431"/>
                    <a:pt x="434" y="431"/>
                  </a:cubicBezTo>
                  <a:cubicBezTo>
                    <a:pt x="434" y="431"/>
                    <a:pt x="434" y="431"/>
                    <a:pt x="433" y="431"/>
                  </a:cubicBezTo>
                  <a:cubicBezTo>
                    <a:pt x="433" y="431"/>
                    <a:pt x="433" y="431"/>
                    <a:pt x="433" y="431"/>
                  </a:cubicBezTo>
                  <a:cubicBezTo>
                    <a:pt x="433" y="432"/>
                    <a:pt x="432" y="432"/>
                    <a:pt x="432" y="432"/>
                  </a:cubicBezTo>
                  <a:cubicBezTo>
                    <a:pt x="432" y="433"/>
                    <a:pt x="432" y="433"/>
                    <a:pt x="432" y="433"/>
                  </a:cubicBezTo>
                  <a:cubicBezTo>
                    <a:pt x="431" y="433"/>
                    <a:pt x="431" y="433"/>
                    <a:pt x="431" y="433"/>
                  </a:cubicBezTo>
                  <a:cubicBezTo>
                    <a:pt x="431" y="434"/>
                    <a:pt x="431" y="434"/>
                    <a:pt x="431" y="434"/>
                  </a:cubicBezTo>
                  <a:cubicBezTo>
                    <a:pt x="431" y="435"/>
                    <a:pt x="431" y="435"/>
                    <a:pt x="430" y="435"/>
                  </a:cubicBezTo>
                  <a:cubicBezTo>
                    <a:pt x="430" y="435"/>
                    <a:pt x="430" y="434"/>
                    <a:pt x="430" y="434"/>
                  </a:cubicBezTo>
                  <a:cubicBezTo>
                    <a:pt x="430" y="434"/>
                    <a:pt x="430" y="434"/>
                    <a:pt x="430" y="434"/>
                  </a:cubicBezTo>
                  <a:cubicBezTo>
                    <a:pt x="430" y="434"/>
                    <a:pt x="430" y="433"/>
                    <a:pt x="430" y="433"/>
                  </a:cubicBezTo>
                  <a:cubicBezTo>
                    <a:pt x="430" y="432"/>
                    <a:pt x="431" y="432"/>
                    <a:pt x="431" y="432"/>
                  </a:cubicBezTo>
                  <a:cubicBezTo>
                    <a:pt x="432" y="432"/>
                    <a:pt x="432" y="431"/>
                    <a:pt x="432" y="431"/>
                  </a:cubicBezTo>
                  <a:cubicBezTo>
                    <a:pt x="431" y="431"/>
                    <a:pt x="431" y="431"/>
                    <a:pt x="430" y="431"/>
                  </a:cubicBezTo>
                  <a:cubicBezTo>
                    <a:pt x="430" y="431"/>
                    <a:pt x="430" y="431"/>
                    <a:pt x="430" y="431"/>
                  </a:cubicBezTo>
                  <a:cubicBezTo>
                    <a:pt x="430" y="431"/>
                    <a:pt x="430" y="431"/>
                    <a:pt x="430" y="431"/>
                  </a:cubicBezTo>
                  <a:cubicBezTo>
                    <a:pt x="430" y="431"/>
                    <a:pt x="429" y="431"/>
                    <a:pt x="429" y="431"/>
                  </a:cubicBezTo>
                  <a:cubicBezTo>
                    <a:pt x="429" y="431"/>
                    <a:pt x="429" y="431"/>
                    <a:pt x="429" y="431"/>
                  </a:cubicBezTo>
                  <a:cubicBezTo>
                    <a:pt x="429" y="430"/>
                    <a:pt x="429" y="430"/>
                    <a:pt x="428" y="430"/>
                  </a:cubicBezTo>
                  <a:cubicBezTo>
                    <a:pt x="428" y="430"/>
                    <a:pt x="428" y="430"/>
                    <a:pt x="428" y="431"/>
                  </a:cubicBezTo>
                  <a:cubicBezTo>
                    <a:pt x="428" y="431"/>
                    <a:pt x="428" y="431"/>
                    <a:pt x="428" y="431"/>
                  </a:cubicBezTo>
                  <a:cubicBezTo>
                    <a:pt x="428" y="431"/>
                    <a:pt x="427" y="431"/>
                    <a:pt x="427" y="431"/>
                  </a:cubicBezTo>
                  <a:cubicBezTo>
                    <a:pt x="427" y="431"/>
                    <a:pt x="427" y="431"/>
                    <a:pt x="427" y="431"/>
                  </a:cubicBezTo>
                  <a:cubicBezTo>
                    <a:pt x="426" y="431"/>
                    <a:pt x="426" y="431"/>
                    <a:pt x="426" y="431"/>
                  </a:cubicBezTo>
                  <a:cubicBezTo>
                    <a:pt x="426" y="431"/>
                    <a:pt x="426" y="431"/>
                    <a:pt x="426" y="431"/>
                  </a:cubicBezTo>
                  <a:cubicBezTo>
                    <a:pt x="425" y="431"/>
                    <a:pt x="425" y="432"/>
                    <a:pt x="425" y="432"/>
                  </a:cubicBezTo>
                  <a:cubicBezTo>
                    <a:pt x="425" y="432"/>
                    <a:pt x="426" y="433"/>
                    <a:pt x="426" y="433"/>
                  </a:cubicBezTo>
                  <a:cubicBezTo>
                    <a:pt x="426" y="433"/>
                    <a:pt x="427" y="433"/>
                    <a:pt x="427" y="433"/>
                  </a:cubicBezTo>
                  <a:cubicBezTo>
                    <a:pt x="427" y="433"/>
                    <a:pt x="427" y="432"/>
                    <a:pt x="427" y="432"/>
                  </a:cubicBezTo>
                  <a:cubicBezTo>
                    <a:pt x="428" y="432"/>
                    <a:pt x="428" y="431"/>
                    <a:pt x="428" y="431"/>
                  </a:cubicBezTo>
                  <a:cubicBezTo>
                    <a:pt x="429" y="431"/>
                    <a:pt x="429" y="431"/>
                    <a:pt x="430" y="431"/>
                  </a:cubicBezTo>
                  <a:cubicBezTo>
                    <a:pt x="430" y="431"/>
                    <a:pt x="430" y="431"/>
                    <a:pt x="430" y="432"/>
                  </a:cubicBezTo>
                  <a:cubicBezTo>
                    <a:pt x="430" y="432"/>
                    <a:pt x="430" y="433"/>
                    <a:pt x="430" y="433"/>
                  </a:cubicBezTo>
                  <a:cubicBezTo>
                    <a:pt x="430" y="434"/>
                    <a:pt x="430" y="434"/>
                    <a:pt x="429" y="434"/>
                  </a:cubicBezTo>
                  <a:cubicBezTo>
                    <a:pt x="429" y="434"/>
                    <a:pt x="429" y="434"/>
                    <a:pt x="429" y="435"/>
                  </a:cubicBezTo>
                  <a:cubicBezTo>
                    <a:pt x="430" y="435"/>
                    <a:pt x="429" y="435"/>
                    <a:pt x="429" y="435"/>
                  </a:cubicBezTo>
                  <a:cubicBezTo>
                    <a:pt x="429" y="435"/>
                    <a:pt x="429" y="436"/>
                    <a:pt x="429" y="436"/>
                  </a:cubicBezTo>
                  <a:cubicBezTo>
                    <a:pt x="429" y="436"/>
                    <a:pt x="428" y="436"/>
                    <a:pt x="428" y="436"/>
                  </a:cubicBezTo>
                  <a:cubicBezTo>
                    <a:pt x="428" y="436"/>
                    <a:pt x="428" y="436"/>
                    <a:pt x="428" y="436"/>
                  </a:cubicBezTo>
                  <a:cubicBezTo>
                    <a:pt x="428" y="436"/>
                    <a:pt x="429" y="436"/>
                    <a:pt x="429" y="436"/>
                  </a:cubicBezTo>
                  <a:cubicBezTo>
                    <a:pt x="429" y="436"/>
                    <a:pt x="429" y="436"/>
                    <a:pt x="429" y="436"/>
                  </a:cubicBezTo>
                  <a:cubicBezTo>
                    <a:pt x="429" y="436"/>
                    <a:pt x="429" y="437"/>
                    <a:pt x="428" y="437"/>
                  </a:cubicBezTo>
                  <a:cubicBezTo>
                    <a:pt x="428" y="436"/>
                    <a:pt x="428" y="437"/>
                    <a:pt x="428" y="437"/>
                  </a:cubicBezTo>
                  <a:cubicBezTo>
                    <a:pt x="428" y="437"/>
                    <a:pt x="428" y="437"/>
                    <a:pt x="428" y="437"/>
                  </a:cubicBezTo>
                  <a:cubicBezTo>
                    <a:pt x="428" y="437"/>
                    <a:pt x="428" y="437"/>
                    <a:pt x="428" y="437"/>
                  </a:cubicBezTo>
                  <a:cubicBezTo>
                    <a:pt x="428" y="437"/>
                    <a:pt x="428" y="436"/>
                    <a:pt x="428" y="436"/>
                  </a:cubicBezTo>
                  <a:cubicBezTo>
                    <a:pt x="428" y="436"/>
                    <a:pt x="428" y="436"/>
                    <a:pt x="428" y="436"/>
                  </a:cubicBezTo>
                  <a:cubicBezTo>
                    <a:pt x="428" y="436"/>
                    <a:pt x="428" y="436"/>
                    <a:pt x="427" y="436"/>
                  </a:cubicBezTo>
                  <a:cubicBezTo>
                    <a:pt x="427" y="436"/>
                    <a:pt x="427" y="436"/>
                    <a:pt x="427" y="436"/>
                  </a:cubicBezTo>
                  <a:cubicBezTo>
                    <a:pt x="427" y="436"/>
                    <a:pt x="427" y="436"/>
                    <a:pt x="427" y="436"/>
                  </a:cubicBezTo>
                  <a:cubicBezTo>
                    <a:pt x="427" y="436"/>
                    <a:pt x="427" y="435"/>
                    <a:pt x="428" y="435"/>
                  </a:cubicBezTo>
                  <a:cubicBezTo>
                    <a:pt x="427" y="435"/>
                    <a:pt x="427" y="435"/>
                    <a:pt x="427" y="435"/>
                  </a:cubicBezTo>
                  <a:cubicBezTo>
                    <a:pt x="427" y="435"/>
                    <a:pt x="427" y="435"/>
                    <a:pt x="427" y="435"/>
                  </a:cubicBezTo>
                  <a:cubicBezTo>
                    <a:pt x="426" y="435"/>
                    <a:pt x="426" y="435"/>
                    <a:pt x="425" y="435"/>
                  </a:cubicBezTo>
                  <a:cubicBezTo>
                    <a:pt x="425" y="434"/>
                    <a:pt x="425" y="434"/>
                    <a:pt x="425" y="434"/>
                  </a:cubicBezTo>
                  <a:cubicBezTo>
                    <a:pt x="425" y="433"/>
                    <a:pt x="425" y="432"/>
                    <a:pt x="425" y="431"/>
                  </a:cubicBezTo>
                  <a:cubicBezTo>
                    <a:pt x="425" y="431"/>
                    <a:pt x="425" y="430"/>
                    <a:pt x="425" y="430"/>
                  </a:cubicBezTo>
                  <a:cubicBezTo>
                    <a:pt x="424" y="429"/>
                    <a:pt x="424" y="428"/>
                    <a:pt x="424" y="428"/>
                  </a:cubicBezTo>
                  <a:cubicBezTo>
                    <a:pt x="423" y="428"/>
                    <a:pt x="423" y="428"/>
                    <a:pt x="423" y="428"/>
                  </a:cubicBezTo>
                  <a:cubicBezTo>
                    <a:pt x="423" y="428"/>
                    <a:pt x="423" y="428"/>
                    <a:pt x="423" y="427"/>
                  </a:cubicBezTo>
                  <a:cubicBezTo>
                    <a:pt x="423" y="427"/>
                    <a:pt x="422" y="427"/>
                    <a:pt x="422" y="427"/>
                  </a:cubicBezTo>
                  <a:cubicBezTo>
                    <a:pt x="422" y="428"/>
                    <a:pt x="422" y="428"/>
                    <a:pt x="422" y="428"/>
                  </a:cubicBezTo>
                  <a:cubicBezTo>
                    <a:pt x="422" y="428"/>
                    <a:pt x="421" y="427"/>
                    <a:pt x="422" y="427"/>
                  </a:cubicBezTo>
                  <a:cubicBezTo>
                    <a:pt x="422" y="427"/>
                    <a:pt x="422" y="427"/>
                    <a:pt x="422" y="427"/>
                  </a:cubicBezTo>
                  <a:cubicBezTo>
                    <a:pt x="422" y="427"/>
                    <a:pt x="422" y="426"/>
                    <a:pt x="422" y="426"/>
                  </a:cubicBezTo>
                  <a:cubicBezTo>
                    <a:pt x="421" y="426"/>
                    <a:pt x="421" y="426"/>
                    <a:pt x="421" y="426"/>
                  </a:cubicBezTo>
                  <a:cubicBezTo>
                    <a:pt x="421" y="426"/>
                    <a:pt x="422" y="426"/>
                    <a:pt x="422" y="426"/>
                  </a:cubicBezTo>
                  <a:cubicBezTo>
                    <a:pt x="422" y="426"/>
                    <a:pt x="422" y="426"/>
                    <a:pt x="422" y="425"/>
                  </a:cubicBezTo>
                  <a:cubicBezTo>
                    <a:pt x="422" y="425"/>
                    <a:pt x="422" y="425"/>
                    <a:pt x="422" y="425"/>
                  </a:cubicBezTo>
                  <a:cubicBezTo>
                    <a:pt x="422" y="425"/>
                    <a:pt x="422" y="424"/>
                    <a:pt x="422" y="424"/>
                  </a:cubicBezTo>
                  <a:cubicBezTo>
                    <a:pt x="422" y="424"/>
                    <a:pt x="422" y="424"/>
                    <a:pt x="422" y="424"/>
                  </a:cubicBezTo>
                  <a:cubicBezTo>
                    <a:pt x="423" y="424"/>
                    <a:pt x="423" y="423"/>
                    <a:pt x="423" y="423"/>
                  </a:cubicBezTo>
                  <a:cubicBezTo>
                    <a:pt x="423" y="423"/>
                    <a:pt x="423" y="423"/>
                    <a:pt x="423" y="422"/>
                  </a:cubicBezTo>
                  <a:cubicBezTo>
                    <a:pt x="423" y="422"/>
                    <a:pt x="424" y="422"/>
                    <a:pt x="424" y="422"/>
                  </a:cubicBezTo>
                  <a:cubicBezTo>
                    <a:pt x="424" y="422"/>
                    <a:pt x="424" y="422"/>
                    <a:pt x="424" y="422"/>
                  </a:cubicBezTo>
                  <a:cubicBezTo>
                    <a:pt x="425" y="422"/>
                    <a:pt x="425" y="421"/>
                    <a:pt x="425" y="421"/>
                  </a:cubicBezTo>
                  <a:cubicBezTo>
                    <a:pt x="425" y="421"/>
                    <a:pt x="425" y="421"/>
                    <a:pt x="425" y="421"/>
                  </a:cubicBezTo>
                  <a:cubicBezTo>
                    <a:pt x="425" y="420"/>
                    <a:pt x="425" y="420"/>
                    <a:pt x="425" y="420"/>
                  </a:cubicBezTo>
                  <a:cubicBezTo>
                    <a:pt x="425" y="421"/>
                    <a:pt x="426" y="421"/>
                    <a:pt x="426" y="420"/>
                  </a:cubicBezTo>
                  <a:cubicBezTo>
                    <a:pt x="426" y="420"/>
                    <a:pt x="426" y="420"/>
                    <a:pt x="427" y="419"/>
                  </a:cubicBezTo>
                  <a:cubicBezTo>
                    <a:pt x="427" y="419"/>
                    <a:pt x="427" y="419"/>
                    <a:pt x="427" y="419"/>
                  </a:cubicBezTo>
                  <a:cubicBezTo>
                    <a:pt x="427" y="419"/>
                    <a:pt x="427" y="419"/>
                    <a:pt x="427" y="419"/>
                  </a:cubicBezTo>
                  <a:cubicBezTo>
                    <a:pt x="428" y="419"/>
                    <a:pt x="428" y="418"/>
                    <a:pt x="429" y="418"/>
                  </a:cubicBezTo>
                  <a:cubicBezTo>
                    <a:pt x="429" y="418"/>
                    <a:pt x="430" y="418"/>
                    <a:pt x="430" y="419"/>
                  </a:cubicBezTo>
                  <a:cubicBezTo>
                    <a:pt x="430" y="419"/>
                    <a:pt x="430" y="419"/>
                    <a:pt x="431" y="419"/>
                  </a:cubicBezTo>
                  <a:cubicBezTo>
                    <a:pt x="431" y="418"/>
                    <a:pt x="431" y="419"/>
                    <a:pt x="431" y="419"/>
                  </a:cubicBezTo>
                  <a:cubicBezTo>
                    <a:pt x="431" y="419"/>
                    <a:pt x="432" y="419"/>
                    <a:pt x="432" y="419"/>
                  </a:cubicBezTo>
                  <a:cubicBezTo>
                    <a:pt x="432" y="420"/>
                    <a:pt x="432" y="420"/>
                    <a:pt x="432" y="421"/>
                  </a:cubicBezTo>
                  <a:cubicBezTo>
                    <a:pt x="432" y="421"/>
                    <a:pt x="431" y="421"/>
                    <a:pt x="431" y="421"/>
                  </a:cubicBezTo>
                  <a:cubicBezTo>
                    <a:pt x="431" y="421"/>
                    <a:pt x="431" y="421"/>
                    <a:pt x="431" y="421"/>
                  </a:cubicBezTo>
                  <a:cubicBezTo>
                    <a:pt x="431" y="421"/>
                    <a:pt x="431" y="421"/>
                    <a:pt x="431" y="421"/>
                  </a:cubicBezTo>
                  <a:cubicBezTo>
                    <a:pt x="431" y="422"/>
                    <a:pt x="431" y="422"/>
                    <a:pt x="431" y="421"/>
                  </a:cubicBezTo>
                  <a:cubicBezTo>
                    <a:pt x="432" y="421"/>
                    <a:pt x="432" y="421"/>
                    <a:pt x="432" y="421"/>
                  </a:cubicBezTo>
                  <a:cubicBezTo>
                    <a:pt x="432" y="421"/>
                    <a:pt x="432" y="421"/>
                    <a:pt x="432" y="421"/>
                  </a:cubicBezTo>
                  <a:cubicBezTo>
                    <a:pt x="432" y="421"/>
                    <a:pt x="432" y="421"/>
                    <a:pt x="432" y="422"/>
                  </a:cubicBezTo>
                  <a:cubicBezTo>
                    <a:pt x="433" y="422"/>
                    <a:pt x="432" y="422"/>
                    <a:pt x="433" y="422"/>
                  </a:cubicBezTo>
                  <a:cubicBezTo>
                    <a:pt x="433" y="423"/>
                    <a:pt x="433" y="423"/>
                    <a:pt x="433" y="423"/>
                  </a:cubicBezTo>
                  <a:cubicBezTo>
                    <a:pt x="433" y="424"/>
                    <a:pt x="433" y="424"/>
                    <a:pt x="433" y="424"/>
                  </a:cubicBezTo>
                  <a:cubicBezTo>
                    <a:pt x="433" y="424"/>
                    <a:pt x="433" y="425"/>
                    <a:pt x="433" y="425"/>
                  </a:cubicBezTo>
                  <a:cubicBezTo>
                    <a:pt x="434" y="425"/>
                    <a:pt x="434" y="425"/>
                    <a:pt x="434" y="426"/>
                  </a:cubicBezTo>
                  <a:cubicBezTo>
                    <a:pt x="434" y="426"/>
                    <a:pt x="434" y="426"/>
                    <a:pt x="434" y="427"/>
                  </a:cubicBezTo>
                  <a:cubicBezTo>
                    <a:pt x="435" y="427"/>
                    <a:pt x="435" y="427"/>
                    <a:pt x="435" y="427"/>
                  </a:cubicBezTo>
                  <a:cubicBezTo>
                    <a:pt x="435" y="427"/>
                    <a:pt x="436" y="427"/>
                    <a:pt x="436" y="427"/>
                  </a:cubicBezTo>
                  <a:cubicBezTo>
                    <a:pt x="436" y="427"/>
                    <a:pt x="436" y="427"/>
                    <a:pt x="435" y="427"/>
                  </a:cubicBezTo>
                  <a:cubicBezTo>
                    <a:pt x="435" y="427"/>
                    <a:pt x="435" y="427"/>
                    <a:pt x="435" y="427"/>
                  </a:cubicBezTo>
                  <a:cubicBezTo>
                    <a:pt x="435" y="426"/>
                    <a:pt x="435" y="426"/>
                    <a:pt x="435" y="426"/>
                  </a:cubicBezTo>
                  <a:cubicBezTo>
                    <a:pt x="434" y="425"/>
                    <a:pt x="434" y="425"/>
                    <a:pt x="434" y="424"/>
                  </a:cubicBezTo>
                  <a:cubicBezTo>
                    <a:pt x="434" y="424"/>
                    <a:pt x="434" y="424"/>
                    <a:pt x="434" y="424"/>
                  </a:cubicBezTo>
                  <a:cubicBezTo>
                    <a:pt x="434" y="423"/>
                    <a:pt x="434" y="423"/>
                    <a:pt x="434" y="422"/>
                  </a:cubicBezTo>
                  <a:cubicBezTo>
                    <a:pt x="434" y="422"/>
                    <a:pt x="434" y="421"/>
                    <a:pt x="434" y="421"/>
                  </a:cubicBezTo>
                  <a:cubicBezTo>
                    <a:pt x="434" y="421"/>
                    <a:pt x="433" y="421"/>
                    <a:pt x="433" y="421"/>
                  </a:cubicBezTo>
                  <a:cubicBezTo>
                    <a:pt x="433" y="421"/>
                    <a:pt x="434" y="420"/>
                    <a:pt x="434" y="420"/>
                  </a:cubicBezTo>
                  <a:cubicBezTo>
                    <a:pt x="434" y="420"/>
                    <a:pt x="434" y="420"/>
                    <a:pt x="434" y="421"/>
                  </a:cubicBezTo>
                  <a:cubicBezTo>
                    <a:pt x="434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5" y="421"/>
                    <a:pt x="435" y="421"/>
                    <a:pt x="435" y="421"/>
                  </a:cubicBezTo>
                  <a:cubicBezTo>
                    <a:pt x="434" y="421"/>
                    <a:pt x="434" y="421"/>
                    <a:pt x="434" y="420"/>
                  </a:cubicBezTo>
                  <a:cubicBezTo>
                    <a:pt x="434" y="420"/>
                    <a:pt x="433" y="420"/>
                    <a:pt x="433" y="419"/>
                  </a:cubicBezTo>
                  <a:cubicBezTo>
                    <a:pt x="433" y="419"/>
                    <a:pt x="433" y="419"/>
                    <a:pt x="433" y="419"/>
                  </a:cubicBezTo>
                  <a:cubicBezTo>
                    <a:pt x="434" y="419"/>
                    <a:pt x="435" y="419"/>
                    <a:pt x="436" y="419"/>
                  </a:cubicBezTo>
                  <a:cubicBezTo>
                    <a:pt x="436" y="419"/>
                    <a:pt x="436" y="419"/>
                    <a:pt x="436" y="419"/>
                  </a:cubicBezTo>
                  <a:cubicBezTo>
                    <a:pt x="436" y="419"/>
                    <a:pt x="436" y="419"/>
                    <a:pt x="436" y="420"/>
                  </a:cubicBezTo>
                  <a:cubicBezTo>
                    <a:pt x="436" y="420"/>
                    <a:pt x="436" y="420"/>
                    <a:pt x="437" y="420"/>
                  </a:cubicBezTo>
                  <a:cubicBezTo>
                    <a:pt x="437" y="420"/>
                    <a:pt x="437" y="420"/>
                    <a:pt x="437" y="420"/>
                  </a:cubicBezTo>
                  <a:cubicBezTo>
                    <a:pt x="437" y="420"/>
                    <a:pt x="437" y="420"/>
                    <a:pt x="437" y="419"/>
                  </a:cubicBezTo>
                  <a:cubicBezTo>
                    <a:pt x="437" y="419"/>
                    <a:pt x="436" y="418"/>
                    <a:pt x="435" y="418"/>
                  </a:cubicBezTo>
                  <a:cubicBezTo>
                    <a:pt x="435" y="418"/>
                    <a:pt x="435" y="418"/>
                    <a:pt x="435" y="418"/>
                  </a:cubicBezTo>
                  <a:cubicBezTo>
                    <a:pt x="434" y="418"/>
                    <a:pt x="434" y="418"/>
                    <a:pt x="434" y="417"/>
                  </a:cubicBezTo>
                  <a:cubicBezTo>
                    <a:pt x="434" y="417"/>
                    <a:pt x="434" y="417"/>
                    <a:pt x="433" y="417"/>
                  </a:cubicBezTo>
                  <a:cubicBezTo>
                    <a:pt x="433" y="417"/>
                    <a:pt x="432" y="417"/>
                    <a:pt x="432" y="416"/>
                  </a:cubicBezTo>
                  <a:cubicBezTo>
                    <a:pt x="432" y="416"/>
                    <a:pt x="432" y="415"/>
                    <a:pt x="432" y="415"/>
                  </a:cubicBezTo>
                  <a:cubicBezTo>
                    <a:pt x="433" y="415"/>
                    <a:pt x="433" y="414"/>
                    <a:pt x="433" y="414"/>
                  </a:cubicBezTo>
                  <a:cubicBezTo>
                    <a:pt x="433" y="414"/>
                    <a:pt x="433" y="414"/>
                    <a:pt x="433" y="414"/>
                  </a:cubicBezTo>
                  <a:cubicBezTo>
                    <a:pt x="433" y="414"/>
                    <a:pt x="434" y="413"/>
                    <a:pt x="434" y="413"/>
                  </a:cubicBezTo>
                  <a:cubicBezTo>
                    <a:pt x="434" y="413"/>
                    <a:pt x="434" y="413"/>
                    <a:pt x="435" y="413"/>
                  </a:cubicBezTo>
                  <a:cubicBezTo>
                    <a:pt x="435" y="413"/>
                    <a:pt x="435" y="413"/>
                    <a:pt x="435" y="413"/>
                  </a:cubicBezTo>
                  <a:cubicBezTo>
                    <a:pt x="435" y="413"/>
                    <a:pt x="436" y="413"/>
                    <a:pt x="436" y="413"/>
                  </a:cubicBezTo>
                  <a:cubicBezTo>
                    <a:pt x="436" y="413"/>
                    <a:pt x="436" y="413"/>
                    <a:pt x="436" y="414"/>
                  </a:cubicBezTo>
                  <a:cubicBezTo>
                    <a:pt x="436" y="414"/>
                    <a:pt x="437" y="414"/>
                    <a:pt x="437" y="414"/>
                  </a:cubicBezTo>
                  <a:cubicBezTo>
                    <a:pt x="437" y="414"/>
                    <a:pt x="437" y="414"/>
                    <a:pt x="437" y="415"/>
                  </a:cubicBezTo>
                  <a:cubicBezTo>
                    <a:pt x="437" y="415"/>
                    <a:pt x="437" y="415"/>
                    <a:pt x="437" y="415"/>
                  </a:cubicBezTo>
                  <a:cubicBezTo>
                    <a:pt x="437" y="415"/>
                    <a:pt x="437" y="415"/>
                    <a:pt x="437" y="415"/>
                  </a:cubicBezTo>
                  <a:cubicBezTo>
                    <a:pt x="437" y="416"/>
                    <a:pt x="437" y="416"/>
                    <a:pt x="437" y="417"/>
                  </a:cubicBezTo>
                  <a:cubicBezTo>
                    <a:pt x="437" y="418"/>
                    <a:pt x="438" y="418"/>
                    <a:pt x="438" y="418"/>
                  </a:cubicBezTo>
                  <a:cubicBezTo>
                    <a:pt x="438" y="418"/>
                    <a:pt x="438" y="419"/>
                    <a:pt x="438" y="419"/>
                  </a:cubicBezTo>
                  <a:cubicBezTo>
                    <a:pt x="438" y="418"/>
                    <a:pt x="438" y="418"/>
                    <a:pt x="438" y="417"/>
                  </a:cubicBezTo>
                  <a:cubicBezTo>
                    <a:pt x="438" y="417"/>
                    <a:pt x="438" y="417"/>
                    <a:pt x="438" y="417"/>
                  </a:cubicBezTo>
                  <a:cubicBezTo>
                    <a:pt x="438" y="417"/>
                    <a:pt x="439" y="417"/>
                    <a:pt x="439" y="417"/>
                  </a:cubicBezTo>
                  <a:cubicBezTo>
                    <a:pt x="439" y="417"/>
                    <a:pt x="438" y="417"/>
                    <a:pt x="438" y="417"/>
                  </a:cubicBezTo>
                  <a:cubicBezTo>
                    <a:pt x="438" y="416"/>
                    <a:pt x="438" y="416"/>
                    <a:pt x="438" y="416"/>
                  </a:cubicBezTo>
                  <a:cubicBezTo>
                    <a:pt x="438" y="416"/>
                    <a:pt x="438" y="416"/>
                    <a:pt x="438" y="416"/>
                  </a:cubicBezTo>
                  <a:cubicBezTo>
                    <a:pt x="439" y="416"/>
                    <a:pt x="439" y="416"/>
                    <a:pt x="439" y="416"/>
                  </a:cubicBezTo>
                  <a:cubicBezTo>
                    <a:pt x="439" y="416"/>
                    <a:pt x="439" y="417"/>
                    <a:pt x="439" y="417"/>
                  </a:cubicBezTo>
                  <a:cubicBezTo>
                    <a:pt x="439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7"/>
                    <a:pt x="440" y="417"/>
                  </a:cubicBezTo>
                  <a:cubicBezTo>
                    <a:pt x="440" y="417"/>
                    <a:pt x="440" y="416"/>
                    <a:pt x="440" y="416"/>
                  </a:cubicBezTo>
                  <a:cubicBezTo>
                    <a:pt x="440" y="416"/>
                    <a:pt x="440" y="416"/>
                    <a:pt x="440" y="416"/>
                  </a:cubicBezTo>
                  <a:cubicBezTo>
                    <a:pt x="440" y="416"/>
                    <a:pt x="439" y="416"/>
                    <a:pt x="439" y="416"/>
                  </a:cubicBezTo>
                  <a:cubicBezTo>
                    <a:pt x="439" y="415"/>
                    <a:pt x="439" y="415"/>
                    <a:pt x="438" y="415"/>
                  </a:cubicBezTo>
                  <a:cubicBezTo>
                    <a:pt x="438" y="415"/>
                    <a:pt x="438" y="415"/>
                    <a:pt x="438" y="415"/>
                  </a:cubicBezTo>
                  <a:cubicBezTo>
                    <a:pt x="438" y="414"/>
                    <a:pt x="438" y="414"/>
                    <a:pt x="438" y="414"/>
                  </a:cubicBezTo>
                  <a:cubicBezTo>
                    <a:pt x="439" y="414"/>
                    <a:pt x="440" y="415"/>
                    <a:pt x="440" y="415"/>
                  </a:cubicBezTo>
                  <a:cubicBezTo>
                    <a:pt x="441" y="415"/>
                    <a:pt x="441" y="415"/>
                    <a:pt x="441" y="415"/>
                  </a:cubicBezTo>
                  <a:cubicBezTo>
                    <a:pt x="441" y="415"/>
                    <a:pt x="441" y="415"/>
                    <a:pt x="441" y="415"/>
                  </a:cubicBezTo>
                  <a:cubicBezTo>
                    <a:pt x="442" y="415"/>
                    <a:pt x="442" y="415"/>
                    <a:pt x="442" y="416"/>
                  </a:cubicBezTo>
                  <a:cubicBezTo>
                    <a:pt x="442" y="416"/>
                    <a:pt x="442" y="416"/>
                    <a:pt x="441" y="416"/>
                  </a:cubicBezTo>
                  <a:cubicBezTo>
                    <a:pt x="441" y="416"/>
                    <a:pt x="441" y="416"/>
                    <a:pt x="442" y="417"/>
                  </a:cubicBezTo>
                  <a:cubicBezTo>
                    <a:pt x="442" y="417"/>
                    <a:pt x="442" y="417"/>
                    <a:pt x="442" y="417"/>
                  </a:cubicBezTo>
                  <a:cubicBezTo>
                    <a:pt x="442" y="417"/>
                    <a:pt x="442" y="417"/>
                    <a:pt x="442" y="417"/>
                  </a:cubicBezTo>
                  <a:cubicBezTo>
                    <a:pt x="442" y="416"/>
                    <a:pt x="442" y="416"/>
                    <a:pt x="442" y="415"/>
                  </a:cubicBezTo>
                  <a:cubicBezTo>
                    <a:pt x="442" y="415"/>
                    <a:pt x="442" y="414"/>
                    <a:pt x="442" y="413"/>
                  </a:cubicBezTo>
                  <a:cubicBezTo>
                    <a:pt x="442" y="413"/>
                    <a:pt x="442" y="413"/>
                    <a:pt x="442" y="413"/>
                  </a:cubicBezTo>
                  <a:cubicBezTo>
                    <a:pt x="442" y="413"/>
                    <a:pt x="441" y="413"/>
                    <a:pt x="441" y="413"/>
                  </a:cubicBezTo>
                  <a:cubicBezTo>
                    <a:pt x="442" y="413"/>
                    <a:pt x="442" y="413"/>
                    <a:pt x="442" y="413"/>
                  </a:cubicBezTo>
                  <a:cubicBezTo>
                    <a:pt x="442" y="413"/>
                    <a:pt x="442" y="414"/>
                    <a:pt x="443" y="414"/>
                  </a:cubicBezTo>
                  <a:cubicBezTo>
                    <a:pt x="443" y="414"/>
                    <a:pt x="443" y="414"/>
                    <a:pt x="443" y="414"/>
                  </a:cubicBezTo>
                  <a:cubicBezTo>
                    <a:pt x="443" y="414"/>
                    <a:pt x="443" y="413"/>
                    <a:pt x="443" y="413"/>
                  </a:cubicBezTo>
                  <a:cubicBezTo>
                    <a:pt x="443" y="413"/>
                    <a:pt x="443" y="413"/>
                    <a:pt x="443" y="413"/>
                  </a:cubicBezTo>
                  <a:cubicBezTo>
                    <a:pt x="442" y="413"/>
                    <a:pt x="442" y="412"/>
                    <a:pt x="442" y="412"/>
                  </a:cubicBezTo>
                  <a:cubicBezTo>
                    <a:pt x="441" y="411"/>
                    <a:pt x="441" y="411"/>
                    <a:pt x="441" y="411"/>
                  </a:cubicBezTo>
                  <a:cubicBezTo>
                    <a:pt x="440" y="411"/>
                    <a:pt x="440" y="410"/>
                    <a:pt x="441" y="410"/>
                  </a:cubicBezTo>
                  <a:cubicBezTo>
                    <a:pt x="441" y="410"/>
                    <a:pt x="441" y="410"/>
                    <a:pt x="441" y="410"/>
                  </a:cubicBezTo>
                  <a:cubicBezTo>
                    <a:pt x="441" y="411"/>
                    <a:pt x="442" y="411"/>
                    <a:pt x="442" y="411"/>
                  </a:cubicBezTo>
                  <a:cubicBezTo>
                    <a:pt x="442" y="411"/>
                    <a:pt x="442" y="411"/>
                    <a:pt x="442" y="411"/>
                  </a:cubicBezTo>
                  <a:cubicBezTo>
                    <a:pt x="443" y="411"/>
                    <a:pt x="443" y="412"/>
                    <a:pt x="444" y="412"/>
                  </a:cubicBezTo>
                  <a:cubicBezTo>
                    <a:pt x="444" y="412"/>
                    <a:pt x="444" y="412"/>
                    <a:pt x="444" y="412"/>
                  </a:cubicBezTo>
                  <a:cubicBezTo>
                    <a:pt x="444" y="412"/>
                    <a:pt x="444" y="412"/>
                    <a:pt x="444" y="412"/>
                  </a:cubicBezTo>
                  <a:cubicBezTo>
                    <a:pt x="444" y="411"/>
                    <a:pt x="444" y="411"/>
                    <a:pt x="445" y="411"/>
                  </a:cubicBezTo>
                  <a:cubicBezTo>
                    <a:pt x="445" y="411"/>
                    <a:pt x="445" y="411"/>
                    <a:pt x="446" y="412"/>
                  </a:cubicBezTo>
                  <a:cubicBezTo>
                    <a:pt x="446" y="412"/>
                    <a:pt x="446" y="412"/>
                    <a:pt x="447" y="412"/>
                  </a:cubicBezTo>
                  <a:cubicBezTo>
                    <a:pt x="447" y="412"/>
                    <a:pt x="447" y="412"/>
                    <a:pt x="447" y="413"/>
                  </a:cubicBezTo>
                  <a:cubicBezTo>
                    <a:pt x="447" y="413"/>
                    <a:pt x="446" y="413"/>
                    <a:pt x="446" y="413"/>
                  </a:cubicBezTo>
                  <a:cubicBezTo>
                    <a:pt x="446" y="413"/>
                    <a:pt x="446" y="413"/>
                    <a:pt x="446" y="414"/>
                  </a:cubicBezTo>
                  <a:cubicBezTo>
                    <a:pt x="446" y="414"/>
                    <a:pt x="446" y="414"/>
                    <a:pt x="446" y="414"/>
                  </a:cubicBezTo>
                  <a:cubicBezTo>
                    <a:pt x="446" y="414"/>
                    <a:pt x="445" y="414"/>
                    <a:pt x="445" y="415"/>
                  </a:cubicBezTo>
                  <a:cubicBezTo>
                    <a:pt x="446" y="415"/>
                    <a:pt x="445" y="416"/>
                    <a:pt x="446" y="416"/>
                  </a:cubicBezTo>
                  <a:cubicBezTo>
                    <a:pt x="446" y="416"/>
                    <a:pt x="446" y="416"/>
                    <a:pt x="446" y="417"/>
                  </a:cubicBezTo>
                  <a:cubicBezTo>
                    <a:pt x="446" y="417"/>
                    <a:pt x="446" y="417"/>
                    <a:pt x="446" y="417"/>
                  </a:cubicBezTo>
                  <a:cubicBezTo>
                    <a:pt x="446" y="417"/>
                    <a:pt x="446" y="417"/>
                    <a:pt x="446" y="417"/>
                  </a:cubicBezTo>
                  <a:cubicBezTo>
                    <a:pt x="446" y="416"/>
                    <a:pt x="446" y="415"/>
                    <a:pt x="446" y="415"/>
                  </a:cubicBezTo>
                  <a:cubicBezTo>
                    <a:pt x="446" y="414"/>
                    <a:pt x="447" y="414"/>
                    <a:pt x="447" y="414"/>
                  </a:cubicBezTo>
                  <a:cubicBezTo>
                    <a:pt x="447" y="414"/>
                    <a:pt x="447" y="414"/>
                    <a:pt x="447" y="414"/>
                  </a:cubicBezTo>
                  <a:cubicBezTo>
                    <a:pt x="447" y="414"/>
                    <a:pt x="447" y="414"/>
                    <a:pt x="447" y="414"/>
                  </a:cubicBezTo>
                  <a:cubicBezTo>
                    <a:pt x="448" y="414"/>
                    <a:pt x="448" y="415"/>
                    <a:pt x="448" y="414"/>
                  </a:cubicBezTo>
                  <a:cubicBezTo>
                    <a:pt x="448" y="414"/>
                    <a:pt x="448" y="414"/>
                    <a:pt x="448" y="414"/>
                  </a:cubicBezTo>
                  <a:cubicBezTo>
                    <a:pt x="448" y="414"/>
                    <a:pt x="448" y="414"/>
                    <a:pt x="448" y="414"/>
                  </a:cubicBezTo>
                  <a:cubicBezTo>
                    <a:pt x="448" y="413"/>
                    <a:pt x="449" y="413"/>
                    <a:pt x="449" y="413"/>
                  </a:cubicBezTo>
                  <a:cubicBezTo>
                    <a:pt x="449" y="413"/>
                    <a:pt x="449" y="414"/>
                    <a:pt x="449" y="413"/>
                  </a:cubicBezTo>
                  <a:cubicBezTo>
                    <a:pt x="449" y="413"/>
                    <a:pt x="449" y="413"/>
                    <a:pt x="449" y="413"/>
                  </a:cubicBezTo>
                  <a:cubicBezTo>
                    <a:pt x="449" y="413"/>
                    <a:pt x="449" y="413"/>
                    <a:pt x="449" y="412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450" y="412"/>
                    <a:pt x="450" y="412"/>
                    <a:pt x="450" y="412"/>
                  </a:cubicBezTo>
                  <a:cubicBezTo>
                    <a:pt x="450" y="412"/>
                    <a:pt x="450" y="412"/>
                    <a:pt x="450" y="412"/>
                  </a:cubicBezTo>
                  <a:cubicBezTo>
                    <a:pt x="450" y="412"/>
                    <a:pt x="451" y="412"/>
                    <a:pt x="451" y="413"/>
                  </a:cubicBezTo>
                  <a:cubicBezTo>
                    <a:pt x="451" y="413"/>
                    <a:pt x="451" y="413"/>
                    <a:pt x="451" y="413"/>
                  </a:cubicBezTo>
                  <a:cubicBezTo>
                    <a:pt x="451" y="413"/>
                    <a:pt x="452" y="413"/>
                    <a:pt x="452" y="413"/>
                  </a:cubicBezTo>
                  <a:cubicBezTo>
                    <a:pt x="452" y="414"/>
                    <a:pt x="452" y="414"/>
                    <a:pt x="452" y="414"/>
                  </a:cubicBezTo>
                  <a:cubicBezTo>
                    <a:pt x="452" y="414"/>
                    <a:pt x="452" y="414"/>
                    <a:pt x="452" y="414"/>
                  </a:cubicBezTo>
                  <a:cubicBezTo>
                    <a:pt x="452" y="414"/>
                    <a:pt x="452" y="414"/>
                    <a:pt x="452" y="415"/>
                  </a:cubicBezTo>
                  <a:cubicBezTo>
                    <a:pt x="452" y="415"/>
                    <a:pt x="452" y="414"/>
                    <a:pt x="452" y="414"/>
                  </a:cubicBezTo>
                  <a:cubicBezTo>
                    <a:pt x="452" y="414"/>
                    <a:pt x="452" y="414"/>
                    <a:pt x="453" y="414"/>
                  </a:cubicBezTo>
                  <a:cubicBezTo>
                    <a:pt x="453" y="415"/>
                    <a:pt x="453" y="415"/>
                    <a:pt x="452" y="415"/>
                  </a:cubicBezTo>
                  <a:cubicBezTo>
                    <a:pt x="452" y="415"/>
                    <a:pt x="452" y="415"/>
                    <a:pt x="452" y="415"/>
                  </a:cubicBezTo>
                  <a:cubicBezTo>
                    <a:pt x="452" y="415"/>
                    <a:pt x="452" y="415"/>
                    <a:pt x="451" y="416"/>
                  </a:cubicBezTo>
                  <a:cubicBezTo>
                    <a:pt x="451" y="416"/>
                    <a:pt x="451" y="416"/>
                    <a:pt x="451" y="416"/>
                  </a:cubicBezTo>
                  <a:cubicBezTo>
                    <a:pt x="451" y="416"/>
                    <a:pt x="451" y="416"/>
                    <a:pt x="451" y="416"/>
                  </a:cubicBezTo>
                  <a:cubicBezTo>
                    <a:pt x="451" y="417"/>
                    <a:pt x="451" y="417"/>
                    <a:pt x="450" y="417"/>
                  </a:cubicBezTo>
                  <a:cubicBezTo>
                    <a:pt x="450" y="417"/>
                    <a:pt x="450" y="417"/>
                    <a:pt x="450" y="417"/>
                  </a:cubicBezTo>
                  <a:cubicBezTo>
                    <a:pt x="450" y="417"/>
                    <a:pt x="450" y="417"/>
                    <a:pt x="450" y="418"/>
                  </a:cubicBezTo>
                  <a:cubicBezTo>
                    <a:pt x="450" y="418"/>
                    <a:pt x="450" y="418"/>
                    <a:pt x="450" y="418"/>
                  </a:cubicBezTo>
                  <a:cubicBezTo>
                    <a:pt x="451" y="417"/>
                    <a:pt x="451" y="417"/>
                    <a:pt x="451" y="417"/>
                  </a:cubicBezTo>
                  <a:cubicBezTo>
                    <a:pt x="451" y="417"/>
                    <a:pt x="451" y="418"/>
                    <a:pt x="451" y="418"/>
                  </a:cubicBezTo>
                  <a:cubicBezTo>
                    <a:pt x="451" y="418"/>
                    <a:pt x="451" y="418"/>
                    <a:pt x="451" y="418"/>
                  </a:cubicBezTo>
                  <a:cubicBezTo>
                    <a:pt x="451" y="418"/>
                    <a:pt x="451" y="419"/>
                    <a:pt x="451" y="419"/>
                  </a:cubicBezTo>
                  <a:cubicBezTo>
                    <a:pt x="451" y="419"/>
                    <a:pt x="451" y="418"/>
                    <a:pt x="452" y="418"/>
                  </a:cubicBezTo>
                  <a:cubicBezTo>
                    <a:pt x="452" y="418"/>
                    <a:pt x="452" y="418"/>
                    <a:pt x="452" y="418"/>
                  </a:cubicBezTo>
                  <a:cubicBezTo>
                    <a:pt x="452" y="419"/>
                    <a:pt x="452" y="419"/>
                    <a:pt x="452" y="419"/>
                  </a:cubicBezTo>
                  <a:cubicBezTo>
                    <a:pt x="452" y="419"/>
                    <a:pt x="452" y="419"/>
                    <a:pt x="451" y="420"/>
                  </a:cubicBezTo>
                  <a:cubicBezTo>
                    <a:pt x="451" y="420"/>
                    <a:pt x="451" y="420"/>
                    <a:pt x="451" y="420"/>
                  </a:cubicBezTo>
                  <a:cubicBezTo>
                    <a:pt x="451" y="420"/>
                    <a:pt x="452" y="420"/>
                    <a:pt x="452" y="420"/>
                  </a:cubicBezTo>
                  <a:cubicBezTo>
                    <a:pt x="452" y="419"/>
                    <a:pt x="453" y="419"/>
                    <a:pt x="453" y="419"/>
                  </a:cubicBezTo>
                  <a:cubicBezTo>
                    <a:pt x="453" y="419"/>
                    <a:pt x="453" y="419"/>
                    <a:pt x="453" y="419"/>
                  </a:cubicBezTo>
                  <a:cubicBezTo>
                    <a:pt x="454" y="419"/>
                    <a:pt x="454" y="419"/>
                    <a:pt x="454" y="419"/>
                  </a:cubicBezTo>
                  <a:cubicBezTo>
                    <a:pt x="454" y="420"/>
                    <a:pt x="454" y="419"/>
                    <a:pt x="455" y="419"/>
                  </a:cubicBezTo>
                  <a:cubicBezTo>
                    <a:pt x="455" y="419"/>
                    <a:pt x="455" y="419"/>
                    <a:pt x="455" y="419"/>
                  </a:cubicBezTo>
                  <a:close/>
                  <a:moveTo>
                    <a:pt x="435" y="417"/>
                  </a:moveTo>
                  <a:cubicBezTo>
                    <a:pt x="435" y="417"/>
                    <a:pt x="435" y="417"/>
                    <a:pt x="435" y="417"/>
                  </a:cubicBezTo>
                  <a:cubicBezTo>
                    <a:pt x="435" y="417"/>
                    <a:pt x="435" y="417"/>
                    <a:pt x="435" y="417"/>
                  </a:cubicBezTo>
                  <a:close/>
                  <a:moveTo>
                    <a:pt x="447" y="419"/>
                  </a:moveTo>
                  <a:cubicBezTo>
                    <a:pt x="447" y="419"/>
                    <a:pt x="447" y="419"/>
                    <a:pt x="447" y="419"/>
                  </a:cubicBezTo>
                  <a:cubicBezTo>
                    <a:pt x="447" y="419"/>
                    <a:pt x="447" y="419"/>
                    <a:pt x="447" y="419"/>
                  </a:cubicBezTo>
                  <a:close/>
                  <a:moveTo>
                    <a:pt x="450" y="418"/>
                  </a:moveTo>
                  <a:cubicBezTo>
                    <a:pt x="450" y="418"/>
                    <a:pt x="450" y="418"/>
                    <a:pt x="450" y="418"/>
                  </a:cubicBezTo>
                  <a:cubicBezTo>
                    <a:pt x="450" y="418"/>
                    <a:pt x="450" y="418"/>
                    <a:pt x="450" y="418"/>
                  </a:cubicBezTo>
                  <a:cubicBezTo>
                    <a:pt x="450" y="418"/>
                    <a:pt x="450" y="418"/>
                    <a:pt x="450" y="418"/>
                  </a:cubicBezTo>
                  <a:close/>
                  <a:moveTo>
                    <a:pt x="411" y="460"/>
                  </a:moveTo>
                  <a:cubicBezTo>
                    <a:pt x="411" y="460"/>
                    <a:pt x="411" y="460"/>
                    <a:pt x="411" y="459"/>
                  </a:cubicBezTo>
                  <a:cubicBezTo>
                    <a:pt x="411" y="459"/>
                    <a:pt x="410" y="460"/>
                    <a:pt x="410" y="460"/>
                  </a:cubicBezTo>
                  <a:cubicBezTo>
                    <a:pt x="410" y="460"/>
                    <a:pt x="410" y="461"/>
                    <a:pt x="410" y="461"/>
                  </a:cubicBezTo>
                  <a:cubicBezTo>
                    <a:pt x="409" y="461"/>
                    <a:pt x="409" y="461"/>
                    <a:pt x="409" y="461"/>
                  </a:cubicBezTo>
                  <a:cubicBezTo>
                    <a:pt x="409" y="462"/>
                    <a:pt x="409" y="462"/>
                    <a:pt x="409" y="462"/>
                  </a:cubicBezTo>
                  <a:cubicBezTo>
                    <a:pt x="409" y="463"/>
                    <a:pt x="409" y="463"/>
                    <a:pt x="410" y="463"/>
                  </a:cubicBezTo>
                  <a:cubicBezTo>
                    <a:pt x="410" y="463"/>
                    <a:pt x="410" y="463"/>
                    <a:pt x="411" y="463"/>
                  </a:cubicBezTo>
                  <a:cubicBezTo>
                    <a:pt x="411" y="463"/>
                    <a:pt x="411" y="463"/>
                    <a:pt x="411" y="463"/>
                  </a:cubicBezTo>
                  <a:cubicBezTo>
                    <a:pt x="411" y="462"/>
                    <a:pt x="412" y="462"/>
                    <a:pt x="411" y="461"/>
                  </a:cubicBezTo>
                  <a:cubicBezTo>
                    <a:pt x="411" y="461"/>
                    <a:pt x="411" y="460"/>
                    <a:pt x="411" y="460"/>
                  </a:cubicBezTo>
                  <a:close/>
                  <a:moveTo>
                    <a:pt x="458" y="404"/>
                  </a:moveTo>
                  <a:cubicBezTo>
                    <a:pt x="458" y="404"/>
                    <a:pt x="458" y="405"/>
                    <a:pt x="457" y="405"/>
                  </a:cubicBezTo>
                  <a:cubicBezTo>
                    <a:pt x="457" y="405"/>
                    <a:pt x="457" y="405"/>
                    <a:pt x="457" y="405"/>
                  </a:cubicBezTo>
                  <a:cubicBezTo>
                    <a:pt x="457" y="405"/>
                    <a:pt x="456" y="405"/>
                    <a:pt x="457" y="406"/>
                  </a:cubicBezTo>
                  <a:cubicBezTo>
                    <a:pt x="457" y="406"/>
                    <a:pt x="456" y="406"/>
                    <a:pt x="456" y="406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5" y="406"/>
                    <a:pt x="455" y="406"/>
                    <a:pt x="455" y="406"/>
                  </a:cubicBezTo>
                  <a:cubicBezTo>
                    <a:pt x="455" y="406"/>
                    <a:pt x="455" y="406"/>
                    <a:pt x="454" y="405"/>
                  </a:cubicBezTo>
                  <a:cubicBezTo>
                    <a:pt x="454" y="405"/>
                    <a:pt x="454" y="404"/>
                    <a:pt x="454" y="404"/>
                  </a:cubicBezTo>
                  <a:cubicBezTo>
                    <a:pt x="454" y="404"/>
                    <a:pt x="454" y="404"/>
                    <a:pt x="454" y="404"/>
                  </a:cubicBezTo>
                  <a:cubicBezTo>
                    <a:pt x="454" y="403"/>
                    <a:pt x="454" y="404"/>
                    <a:pt x="454" y="404"/>
                  </a:cubicBezTo>
                  <a:cubicBezTo>
                    <a:pt x="454" y="404"/>
                    <a:pt x="454" y="404"/>
                    <a:pt x="453" y="404"/>
                  </a:cubicBezTo>
                  <a:cubicBezTo>
                    <a:pt x="453" y="404"/>
                    <a:pt x="453" y="405"/>
                    <a:pt x="453" y="405"/>
                  </a:cubicBezTo>
                  <a:cubicBezTo>
                    <a:pt x="454" y="405"/>
                    <a:pt x="454" y="405"/>
                    <a:pt x="453" y="406"/>
                  </a:cubicBezTo>
                  <a:cubicBezTo>
                    <a:pt x="453" y="406"/>
                    <a:pt x="453" y="406"/>
                    <a:pt x="453" y="406"/>
                  </a:cubicBezTo>
                  <a:cubicBezTo>
                    <a:pt x="453" y="405"/>
                    <a:pt x="453" y="405"/>
                    <a:pt x="453" y="405"/>
                  </a:cubicBezTo>
                  <a:cubicBezTo>
                    <a:pt x="453" y="406"/>
                    <a:pt x="453" y="406"/>
                    <a:pt x="453" y="407"/>
                  </a:cubicBezTo>
                  <a:cubicBezTo>
                    <a:pt x="453" y="407"/>
                    <a:pt x="453" y="407"/>
                    <a:pt x="453" y="407"/>
                  </a:cubicBezTo>
                  <a:cubicBezTo>
                    <a:pt x="453" y="407"/>
                    <a:pt x="453" y="408"/>
                    <a:pt x="453" y="407"/>
                  </a:cubicBezTo>
                  <a:cubicBezTo>
                    <a:pt x="453" y="407"/>
                    <a:pt x="453" y="407"/>
                    <a:pt x="452" y="407"/>
                  </a:cubicBezTo>
                  <a:cubicBezTo>
                    <a:pt x="452" y="407"/>
                    <a:pt x="452" y="407"/>
                    <a:pt x="452" y="407"/>
                  </a:cubicBezTo>
                  <a:cubicBezTo>
                    <a:pt x="452" y="407"/>
                    <a:pt x="452" y="407"/>
                    <a:pt x="451" y="407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0" y="407"/>
                    <a:pt x="450" y="408"/>
                  </a:cubicBezTo>
                  <a:cubicBezTo>
                    <a:pt x="450" y="408"/>
                    <a:pt x="450" y="408"/>
                    <a:pt x="450" y="408"/>
                  </a:cubicBezTo>
                  <a:cubicBezTo>
                    <a:pt x="450" y="408"/>
                    <a:pt x="450" y="408"/>
                    <a:pt x="450" y="407"/>
                  </a:cubicBezTo>
                  <a:cubicBezTo>
                    <a:pt x="450" y="407"/>
                    <a:pt x="450" y="406"/>
                    <a:pt x="450" y="406"/>
                  </a:cubicBezTo>
                  <a:cubicBezTo>
                    <a:pt x="450" y="405"/>
                    <a:pt x="450" y="405"/>
                    <a:pt x="450" y="405"/>
                  </a:cubicBezTo>
                  <a:cubicBezTo>
                    <a:pt x="450" y="405"/>
                    <a:pt x="450" y="406"/>
                    <a:pt x="450" y="406"/>
                  </a:cubicBezTo>
                  <a:cubicBezTo>
                    <a:pt x="449" y="406"/>
                    <a:pt x="449" y="407"/>
                    <a:pt x="449" y="407"/>
                  </a:cubicBezTo>
                  <a:cubicBezTo>
                    <a:pt x="449" y="408"/>
                    <a:pt x="449" y="408"/>
                    <a:pt x="449" y="408"/>
                  </a:cubicBezTo>
                  <a:cubicBezTo>
                    <a:pt x="449" y="408"/>
                    <a:pt x="449" y="408"/>
                    <a:pt x="449" y="409"/>
                  </a:cubicBezTo>
                  <a:cubicBezTo>
                    <a:pt x="449" y="409"/>
                    <a:pt x="448" y="409"/>
                    <a:pt x="448" y="409"/>
                  </a:cubicBezTo>
                  <a:cubicBezTo>
                    <a:pt x="448" y="409"/>
                    <a:pt x="447" y="409"/>
                    <a:pt x="447" y="408"/>
                  </a:cubicBezTo>
                  <a:cubicBezTo>
                    <a:pt x="447" y="408"/>
                    <a:pt x="447" y="408"/>
                    <a:pt x="447" y="408"/>
                  </a:cubicBezTo>
                  <a:cubicBezTo>
                    <a:pt x="447" y="408"/>
                    <a:pt x="447" y="408"/>
                    <a:pt x="447" y="408"/>
                  </a:cubicBezTo>
                  <a:cubicBezTo>
                    <a:pt x="447" y="409"/>
                    <a:pt x="447" y="409"/>
                    <a:pt x="447" y="409"/>
                  </a:cubicBezTo>
                  <a:cubicBezTo>
                    <a:pt x="448" y="410"/>
                    <a:pt x="447" y="410"/>
                    <a:pt x="447" y="410"/>
                  </a:cubicBezTo>
                  <a:cubicBezTo>
                    <a:pt x="447" y="410"/>
                    <a:pt x="447" y="410"/>
                    <a:pt x="446" y="410"/>
                  </a:cubicBezTo>
                  <a:cubicBezTo>
                    <a:pt x="446" y="410"/>
                    <a:pt x="445" y="409"/>
                    <a:pt x="445" y="409"/>
                  </a:cubicBezTo>
                  <a:cubicBezTo>
                    <a:pt x="444" y="409"/>
                    <a:pt x="444" y="408"/>
                    <a:pt x="444" y="408"/>
                  </a:cubicBezTo>
                  <a:cubicBezTo>
                    <a:pt x="444" y="408"/>
                    <a:pt x="444" y="408"/>
                    <a:pt x="444" y="407"/>
                  </a:cubicBezTo>
                  <a:cubicBezTo>
                    <a:pt x="443" y="407"/>
                    <a:pt x="443" y="407"/>
                    <a:pt x="442" y="408"/>
                  </a:cubicBezTo>
                  <a:cubicBezTo>
                    <a:pt x="442" y="408"/>
                    <a:pt x="442" y="407"/>
                    <a:pt x="442" y="407"/>
                  </a:cubicBezTo>
                  <a:cubicBezTo>
                    <a:pt x="442" y="407"/>
                    <a:pt x="442" y="407"/>
                    <a:pt x="442" y="407"/>
                  </a:cubicBezTo>
                  <a:cubicBezTo>
                    <a:pt x="442" y="407"/>
                    <a:pt x="442" y="407"/>
                    <a:pt x="442" y="407"/>
                  </a:cubicBezTo>
                  <a:cubicBezTo>
                    <a:pt x="441" y="406"/>
                    <a:pt x="442" y="406"/>
                    <a:pt x="442" y="405"/>
                  </a:cubicBezTo>
                  <a:cubicBezTo>
                    <a:pt x="442" y="405"/>
                    <a:pt x="442" y="405"/>
                    <a:pt x="442" y="405"/>
                  </a:cubicBezTo>
                  <a:cubicBezTo>
                    <a:pt x="442" y="405"/>
                    <a:pt x="442" y="405"/>
                    <a:pt x="442" y="405"/>
                  </a:cubicBezTo>
                  <a:cubicBezTo>
                    <a:pt x="443" y="405"/>
                    <a:pt x="443" y="405"/>
                    <a:pt x="443" y="405"/>
                  </a:cubicBezTo>
                  <a:cubicBezTo>
                    <a:pt x="443" y="405"/>
                    <a:pt x="444" y="405"/>
                    <a:pt x="444" y="405"/>
                  </a:cubicBezTo>
                  <a:cubicBezTo>
                    <a:pt x="444" y="405"/>
                    <a:pt x="444" y="406"/>
                    <a:pt x="444" y="406"/>
                  </a:cubicBezTo>
                  <a:cubicBezTo>
                    <a:pt x="444" y="406"/>
                    <a:pt x="444" y="406"/>
                    <a:pt x="444" y="406"/>
                  </a:cubicBezTo>
                  <a:cubicBezTo>
                    <a:pt x="445" y="406"/>
                    <a:pt x="444" y="406"/>
                    <a:pt x="445" y="406"/>
                  </a:cubicBezTo>
                  <a:cubicBezTo>
                    <a:pt x="445" y="406"/>
                    <a:pt x="445" y="406"/>
                    <a:pt x="445" y="406"/>
                  </a:cubicBezTo>
                  <a:cubicBezTo>
                    <a:pt x="445" y="406"/>
                    <a:pt x="445" y="406"/>
                    <a:pt x="445" y="406"/>
                  </a:cubicBezTo>
                  <a:cubicBezTo>
                    <a:pt x="445" y="406"/>
                    <a:pt x="445" y="405"/>
                    <a:pt x="445" y="405"/>
                  </a:cubicBezTo>
                  <a:cubicBezTo>
                    <a:pt x="445" y="405"/>
                    <a:pt x="445" y="405"/>
                    <a:pt x="444" y="405"/>
                  </a:cubicBezTo>
                  <a:cubicBezTo>
                    <a:pt x="444" y="405"/>
                    <a:pt x="444" y="405"/>
                    <a:pt x="444" y="404"/>
                  </a:cubicBezTo>
                  <a:cubicBezTo>
                    <a:pt x="444" y="404"/>
                    <a:pt x="444" y="404"/>
                    <a:pt x="444" y="404"/>
                  </a:cubicBezTo>
                  <a:cubicBezTo>
                    <a:pt x="443" y="404"/>
                    <a:pt x="443" y="404"/>
                    <a:pt x="443" y="403"/>
                  </a:cubicBezTo>
                  <a:cubicBezTo>
                    <a:pt x="444" y="403"/>
                    <a:pt x="444" y="403"/>
                    <a:pt x="444" y="403"/>
                  </a:cubicBezTo>
                  <a:cubicBezTo>
                    <a:pt x="445" y="403"/>
                    <a:pt x="445" y="403"/>
                    <a:pt x="446" y="404"/>
                  </a:cubicBezTo>
                  <a:cubicBezTo>
                    <a:pt x="446" y="404"/>
                    <a:pt x="446" y="404"/>
                    <a:pt x="446" y="404"/>
                  </a:cubicBezTo>
                  <a:cubicBezTo>
                    <a:pt x="446" y="403"/>
                    <a:pt x="447" y="403"/>
                    <a:pt x="447" y="403"/>
                  </a:cubicBezTo>
                  <a:cubicBezTo>
                    <a:pt x="447" y="404"/>
                    <a:pt x="447" y="404"/>
                    <a:pt x="447" y="404"/>
                  </a:cubicBezTo>
                  <a:cubicBezTo>
                    <a:pt x="447" y="403"/>
                    <a:pt x="447" y="403"/>
                    <a:pt x="447" y="403"/>
                  </a:cubicBezTo>
                  <a:cubicBezTo>
                    <a:pt x="447" y="403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7" y="402"/>
                    <a:pt x="447" y="402"/>
                    <a:pt x="447" y="401"/>
                  </a:cubicBezTo>
                  <a:cubicBezTo>
                    <a:pt x="447" y="401"/>
                    <a:pt x="447" y="401"/>
                    <a:pt x="447" y="401"/>
                  </a:cubicBezTo>
                  <a:cubicBezTo>
                    <a:pt x="446" y="401"/>
                    <a:pt x="446" y="401"/>
                    <a:pt x="446" y="401"/>
                  </a:cubicBezTo>
                  <a:cubicBezTo>
                    <a:pt x="446" y="400"/>
                    <a:pt x="446" y="400"/>
                    <a:pt x="446" y="400"/>
                  </a:cubicBezTo>
                  <a:cubicBezTo>
                    <a:pt x="446" y="400"/>
                    <a:pt x="446" y="400"/>
                    <a:pt x="446" y="400"/>
                  </a:cubicBezTo>
                  <a:cubicBezTo>
                    <a:pt x="446" y="400"/>
                    <a:pt x="447" y="400"/>
                    <a:pt x="447" y="400"/>
                  </a:cubicBezTo>
                  <a:cubicBezTo>
                    <a:pt x="447" y="400"/>
                    <a:pt x="447" y="400"/>
                    <a:pt x="447" y="400"/>
                  </a:cubicBezTo>
                  <a:cubicBezTo>
                    <a:pt x="447" y="399"/>
                    <a:pt x="448" y="399"/>
                    <a:pt x="448" y="399"/>
                  </a:cubicBezTo>
                  <a:cubicBezTo>
                    <a:pt x="448" y="399"/>
                    <a:pt x="448" y="400"/>
                    <a:pt x="448" y="400"/>
                  </a:cubicBezTo>
                  <a:cubicBezTo>
                    <a:pt x="449" y="400"/>
                    <a:pt x="448" y="399"/>
                    <a:pt x="449" y="399"/>
                  </a:cubicBezTo>
                  <a:cubicBezTo>
                    <a:pt x="449" y="399"/>
                    <a:pt x="449" y="399"/>
                    <a:pt x="449" y="399"/>
                  </a:cubicBezTo>
                  <a:cubicBezTo>
                    <a:pt x="449" y="399"/>
                    <a:pt x="449" y="398"/>
                    <a:pt x="449" y="398"/>
                  </a:cubicBezTo>
                  <a:cubicBezTo>
                    <a:pt x="449" y="399"/>
                    <a:pt x="449" y="399"/>
                    <a:pt x="449" y="399"/>
                  </a:cubicBezTo>
                  <a:cubicBezTo>
                    <a:pt x="449" y="399"/>
                    <a:pt x="449" y="399"/>
                    <a:pt x="449" y="399"/>
                  </a:cubicBezTo>
                  <a:cubicBezTo>
                    <a:pt x="450" y="399"/>
                    <a:pt x="450" y="399"/>
                    <a:pt x="450" y="399"/>
                  </a:cubicBezTo>
                  <a:cubicBezTo>
                    <a:pt x="450" y="399"/>
                    <a:pt x="451" y="399"/>
                    <a:pt x="451" y="399"/>
                  </a:cubicBezTo>
                  <a:cubicBezTo>
                    <a:pt x="451" y="399"/>
                    <a:pt x="451" y="399"/>
                    <a:pt x="451" y="400"/>
                  </a:cubicBezTo>
                  <a:cubicBezTo>
                    <a:pt x="450" y="400"/>
                    <a:pt x="450" y="400"/>
                    <a:pt x="451" y="400"/>
                  </a:cubicBezTo>
                  <a:cubicBezTo>
                    <a:pt x="451" y="400"/>
                    <a:pt x="451" y="400"/>
                    <a:pt x="451" y="401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1" y="401"/>
                    <a:pt x="451" y="402"/>
                    <a:pt x="451" y="402"/>
                  </a:cubicBezTo>
                  <a:cubicBezTo>
                    <a:pt x="451" y="402"/>
                    <a:pt x="451" y="402"/>
                    <a:pt x="451" y="402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2" y="401"/>
                    <a:pt x="452" y="402"/>
                    <a:pt x="452" y="402"/>
                  </a:cubicBezTo>
                  <a:cubicBezTo>
                    <a:pt x="452" y="402"/>
                    <a:pt x="453" y="402"/>
                    <a:pt x="452" y="402"/>
                  </a:cubicBezTo>
                  <a:cubicBezTo>
                    <a:pt x="452" y="401"/>
                    <a:pt x="453" y="401"/>
                    <a:pt x="453" y="401"/>
                  </a:cubicBezTo>
                  <a:cubicBezTo>
                    <a:pt x="453" y="401"/>
                    <a:pt x="453" y="400"/>
                    <a:pt x="453" y="400"/>
                  </a:cubicBezTo>
                  <a:cubicBezTo>
                    <a:pt x="453" y="400"/>
                    <a:pt x="453" y="400"/>
                    <a:pt x="453" y="400"/>
                  </a:cubicBezTo>
                  <a:cubicBezTo>
                    <a:pt x="453" y="400"/>
                    <a:pt x="453" y="400"/>
                    <a:pt x="453" y="400"/>
                  </a:cubicBezTo>
                  <a:cubicBezTo>
                    <a:pt x="453" y="400"/>
                    <a:pt x="453" y="400"/>
                    <a:pt x="453" y="400"/>
                  </a:cubicBezTo>
                  <a:cubicBezTo>
                    <a:pt x="453" y="400"/>
                    <a:pt x="453" y="400"/>
                    <a:pt x="454" y="400"/>
                  </a:cubicBezTo>
                  <a:cubicBezTo>
                    <a:pt x="454" y="400"/>
                    <a:pt x="454" y="401"/>
                    <a:pt x="454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401"/>
                    <a:pt x="454" y="402"/>
                    <a:pt x="454" y="402"/>
                  </a:cubicBezTo>
                  <a:cubicBezTo>
                    <a:pt x="455" y="402"/>
                    <a:pt x="455" y="402"/>
                    <a:pt x="455" y="401"/>
                  </a:cubicBezTo>
                  <a:cubicBezTo>
                    <a:pt x="455" y="401"/>
                    <a:pt x="456" y="401"/>
                    <a:pt x="456" y="401"/>
                  </a:cubicBezTo>
                  <a:cubicBezTo>
                    <a:pt x="456" y="401"/>
                    <a:pt x="456" y="402"/>
                    <a:pt x="456" y="402"/>
                  </a:cubicBezTo>
                  <a:cubicBezTo>
                    <a:pt x="456" y="402"/>
                    <a:pt x="456" y="402"/>
                    <a:pt x="456" y="402"/>
                  </a:cubicBezTo>
                  <a:cubicBezTo>
                    <a:pt x="455" y="403"/>
                    <a:pt x="455" y="404"/>
                    <a:pt x="455" y="405"/>
                  </a:cubicBezTo>
                  <a:cubicBezTo>
                    <a:pt x="455" y="405"/>
                    <a:pt x="455" y="405"/>
                    <a:pt x="455" y="405"/>
                  </a:cubicBezTo>
                  <a:cubicBezTo>
                    <a:pt x="455" y="405"/>
                    <a:pt x="455" y="405"/>
                    <a:pt x="455" y="405"/>
                  </a:cubicBezTo>
                  <a:cubicBezTo>
                    <a:pt x="456" y="405"/>
                    <a:pt x="456" y="404"/>
                    <a:pt x="456" y="404"/>
                  </a:cubicBezTo>
                  <a:cubicBezTo>
                    <a:pt x="456" y="404"/>
                    <a:pt x="456" y="403"/>
                    <a:pt x="456" y="403"/>
                  </a:cubicBezTo>
                  <a:cubicBezTo>
                    <a:pt x="456" y="403"/>
                    <a:pt x="456" y="403"/>
                    <a:pt x="456" y="403"/>
                  </a:cubicBezTo>
                  <a:cubicBezTo>
                    <a:pt x="457" y="403"/>
                    <a:pt x="457" y="403"/>
                    <a:pt x="457" y="403"/>
                  </a:cubicBezTo>
                  <a:cubicBezTo>
                    <a:pt x="457" y="402"/>
                    <a:pt x="457" y="402"/>
                    <a:pt x="457" y="402"/>
                  </a:cubicBezTo>
                  <a:cubicBezTo>
                    <a:pt x="458" y="402"/>
                    <a:pt x="458" y="403"/>
                    <a:pt x="458" y="404"/>
                  </a:cubicBezTo>
                  <a:close/>
                  <a:moveTo>
                    <a:pt x="438" y="412"/>
                  </a:moveTo>
                  <a:cubicBezTo>
                    <a:pt x="438" y="413"/>
                    <a:pt x="438" y="413"/>
                    <a:pt x="439" y="413"/>
                  </a:cubicBezTo>
                  <a:cubicBezTo>
                    <a:pt x="439" y="413"/>
                    <a:pt x="439" y="414"/>
                    <a:pt x="440" y="414"/>
                  </a:cubicBezTo>
                  <a:cubicBezTo>
                    <a:pt x="440" y="414"/>
                    <a:pt x="440" y="414"/>
                    <a:pt x="440" y="414"/>
                  </a:cubicBezTo>
                  <a:cubicBezTo>
                    <a:pt x="440" y="414"/>
                    <a:pt x="440" y="414"/>
                    <a:pt x="440" y="414"/>
                  </a:cubicBezTo>
                  <a:cubicBezTo>
                    <a:pt x="441" y="415"/>
                    <a:pt x="441" y="415"/>
                    <a:pt x="441" y="415"/>
                  </a:cubicBezTo>
                  <a:cubicBezTo>
                    <a:pt x="441" y="415"/>
                    <a:pt x="442" y="415"/>
                    <a:pt x="442" y="415"/>
                  </a:cubicBezTo>
                  <a:cubicBezTo>
                    <a:pt x="442" y="415"/>
                    <a:pt x="442" y="415"/>
                    <a:pt x="442" y="415"/>
                  </a:cubicBezTo>
                  <a:cubicBezTo>
                    <a:pt x="441" y="414"/>
                    <a:pt x="441" y="414"/>
                    <a:pt x="441" y="413"/>
                  </a:cubicBezTo>
                  <a:cubicBezTo>
                    <a:pt x="441" y="413"/>
                    <a:pt x="441" y="413"/>
                    <a:pt x="441" y="413"/>
                  </a:cubicBezTo>
                  <a:cubicBezTo>
                    <a:pt x="441" y="413"/>
                    <a:pt x="441" y="413"/>
                    <a:pt x="441" y="412"/>
                  </a:cubicBezTo>
                  <a:cubicBezTo>
                    <a:pt x="440" y="412"/>
                    <a:pt x="440" y="412"/>
                    <a:pt x="440" y="412"/>
                  </a:cubicBezTo>
                  <a:cubicBezTo>
                    <a:pt x="440" y="412"/>
                    <a:pt x="439" y="411"/>
                    <a:pt x="438" y="411"/>
                  </a:cubicBezTo>
                  <a:cubicBezTo>
                    <a:pt x="438" y="411"/>
                    <a:pt x="438" y="411"/>
                    <a:pt x="438" y="411"/>
                  </a:cubicBezTo>
                  <a:cubicBezTo>
                    <a:pt x="437" y="411"/>
                    <a:pt x="437" y="412"/>
                    <a:pt x="438" y="412"/>
                  </a:cubicBezTo>
                  <a:close/>
                  <a:moveTo>
                    <a:pt x="433" y="444"/>
                  </a:moveTo>
                  <a:cubicBezTo>
                    <a:pt x="433" y="444"/>
                    <a:pt x="433" y="444"/>
                    <a:pt x="432" y="445"/>
                  </a:cubicBezTo>
                  <a:cubicBezTo>
                    <a:pt x="432" y="445"/>
                    <a:pt x="432" y="445"/>
                    <a:pt x="432" y="445"/>
                  </a:cubicBezTo>
                  <a:cubicBezTo>
                    <a:pt x="432" y="445"/>
                    <a:pt x="432" y="445"/>
                    <a:pt x="432" y="445"/>
                  </a:cubicBezTo>
                  <a:cubicBezTo>
                    <a:pt x="431" y="445"/>
                    <a:pt x="431" y="445"/>
                    <a:pt x="431" y="445"/>
                  </a:cubicBezTo>
                  <a:cubicBezTo>
                    <a:pt x="430" y="445"/>
                    <a:pt x="430" y="445"/>
                    <a:pt x="430" y="445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31" y="446"/>
                    <a:pt x="431" y="446"/>
                    <a:pt x="432" y="446"/>
                  </a:cubicBezTo>
                  <a:cubicBezTo>
                    <a:pt x="432" y="446"/>
                    <a:pt x="433" y="445"/>
                    <a:pt x="433" y="445"/>
                  </a:cubicBezTo>
                  <a:cubicBezTo>
                    <a:pt x="433" y="445"/>
                    <a:pt x="433" y="445"/>
                    <a:pt x="433" y="444"/>
                  </a:cubicBezTo>
                  <a:close/>
                  <a:moveTo>
                    <a:pt x="439" y="408"/>
                  </a:moveTo>
                  <a:cubicBezTo>
                    <a:pt x="440" y="408"/>
                    <a:pt x="440" y="407"/>
                    <a:pt x="440" y="407"/>
                  </a:cubicBezTo>
                  <a:cubicBezTo>
                    <a:pt x="440" y="407"/>
                    <a:pt x="440" y="407"/>
                    <a:pt x="441" y="407"/>
                  </a:cubicBezTo>
                  <a:cubicBezTo>
                    <a:pt x="441" y="407"/>
                    <a:pt x="441" y="407"/>
                    <a:pt x="441" y="407"/>
                  </a:cubicBezTo>
                  <a:cubicBezTo>
                    <a:pt x="441" y="407"/>
                    <a:pt x="441" y="407"/>
                    <a:pt x="442" y="408"/>
                  </a:cubicBezTo>
                  <a:cubicBezTo>
                    <a:pt x="442" y="408"/>
                    <a:pt x="442" y="408"/>
                    <a:pt x="442" y="408"/>
                  </a:cubicBezTo>
                  <a:cubicBezTo>
                    <a:pt x="442" y="408"/>
                    <a:pt x="442" y="408"/>
                    <a:pt x="442" y="408"/>
                  </a:cubicBezTo>
                  <a:cubicBezTo>
                    <a:pt x="443" y="408"/>
                    <a:pt x="443" y="408"/>
                    <a:pt x="443" y="408"/>
                  </a:cubicBezTo>
                  <a:cubicBezTo>
                    <a:pt x="443" y="408"/>
                    <a:pt x="443" y="408"/>
                    <a:pt x="443" y="408"/>
                  </a:cubicBezTo>
                  <a:cubicBezTo>
                    <a:pt x="443" y="408"/>
                    <a:pt x="443" y="409"/>
                    <a:pt x="444" y="409"/>
                  </a:cubicBezTo>
                  <a:cubicBezTo>
                    <a:pt x="444" y="409"/>
                    <a:pt x="444" y="410"/>
                    <a:pt x="444" y="410"/>
                  </a:cubicBezTo>
                  <a:cubicBezTo>
                    <a:pt x="445" y="410"/>
                    <a:pt x="445" y="410"/>
                    <a:pt x="445" y="410"/>
                  </a:cubicBezTo>
                  <a:cubicBezTo>
                    <a:pt x="445" y="410"/>
                    <a:pt x="446" y="410"/>
                    <a:pt x="446" y="410"/>
                  </a:cubicBezTo>
                  <a:cubicBezTo>
                    <a:pt x="446" y="411"/>
                    <a:pt x="445" y="411"/>
                    <a:pt x="445" y="411"/>
                  </a:cubicBezTo>
                  <a:cubicBezTo>
                    <a:pt x="445" y="411"/>
                    <a:pt x="444" y="411"/>
                    <a:pt x="444" y="411"/>
                  </a:cubicBezTo>
                  <a:cubicBezTo>
                    <a:pt x="444" y="411"/>
                    <a:pt x="443" y="410"/>
                    <a:pt x="443" y="410"/>
                  </a:cubicBezTo>
                  <a:cubicBezTo>
                    <a:pt x="443" y="410"/>
                    <a:pt x="443" y="410"/>
                    <a:pt x="442" y="410"/>
                  </a:cubicBezTo>
                  <a:cubicBezTo>
                    <a:pt x="442" y="410"/>
                    <a:pt x="442" y="409"/>
                    <a:pt x="442" y="409"/>
                  </a:cubicBezTo>
                  <a:cubicBezTo>
                    <a:pt x="441" y="409"/>
                    <a:pt x="441" y="409"/>
                    <a:pt x="441" y="409"/>
                  </a:cubicBezTo>
                  <a:cubicBezTo>
                    <a:pt x="441" y="409"/>
                    <a:pt x="441" y="408"/>
                    <a:pt x="441" y="408"/>
                  </a:cubicBezTo>
                  <a:cubicBezTo>
                    <a:pt x="441" y="408"/>
                    <a:pt x="441" y="408"/>
                    <a:pt x="441" y="409"/>
                  </a:cubicBezTo>
                  <a:cubicBezTo>
                    <a:pt x="441" y="409"/>
                    <a:pt x="441" y="409"/>
                    <a:pt x="441" y="409"/>
                  </a:cubicBezTo>
                  <a:cubicBezTo>
                    <a:pt x="441" y="409"/>
                    <a:pt x="441" y="409"/>
                    <a:pt x="441" y="409"/>
                  </a:cubicBezTo>
                  <a:cubicBezTo>
                    <a:pt x="440" y="409"/>
                    <a:pt x="440" y="409"/>
                    <a:pt x="440" y="409"/>
                  </a:cubicBezTo>
                  <a:cubicBezTo>
                    <a:pt x="439" y="409"/>
                    <a:pt x="439" y="409"/>
                    <a:pt x="439" y="408"/>
                  </a:cubicBezTo>
                  <a:close/>
                  <a:moveTo>
                    <a:pt x="460" y="404"/>
                  </a:moveTo>
                  <a:cubicBezTo>
                    <a:pt x="460" y="404"/>
                    <a:pt x="460" y="404"/>
                    <a:pt x="459" y="404"/>
                  </a:cubicBezTo>
                  <a:cubicBezTo>
                    <a:pt x="459" y="404"/>
                    <a:pt x="459" y="404"/>
                    <a:pt x="459" y="404"/>
                  </a:cubicBezTo>
                  <a:cubicBezTo>
                    <a:pt x="459" y="404"/>
                    <a:pt x="459" y="405"/>
                    <a:pt x="459" y="405"/>
                  </a:cubicBezTo>
                  <a:cubicBezTo>
                    <a:pt x="459" y="405"/>
                    <a:pt x="459" y="405"/>
                    <a:pt x="459" y="405"/>
                  </a:cubicBezTo>
                  <a:cubicBezTo>
                    <a:pt x="459" y="405"/>
                    <a:pt x="459" y="405"/>
                    <a:pt x="459" y="405"/>
                  </a:cubicBezTo>
                  <a:cubicBezTo>
                    <a:pt x="459" y="406"/>
                    <a:pt x="459" y="406"/>
                    <a:pt x="459" y="406"/>
                  </a:cubicBezTo>
                  <a:cubicBezTo>
                    <a:pt x="459" y="406"/>
                    <a:pt x="459" y="406"/>
                    <a:pt x="459" y="406"/>
                  </a:cubicBezTo>
                  <a:cubicBezTo>
                    <a:pt x="460" y="405"/>
                    <a:pt x="460" y="405"/>
                    <a:pt x="460" y="404"/>
                  </a:cubicBezTo>
                  <a:close/>
                  <a:moveTo>
                    <a:pt x="448" y="411"/>
                  </a:moveTo>
                  <a:cubicBezTo>
                    <a:pt x="448" y="411"/>
                    <a:pt x="448" y="411"/>
                    <a:pt x="448" y="411"/>
                  </a:cubicBezTo>
                  <a:cubicBezTo>
                    <a:pt x="448" y="411"/>
                    <a:pt x="448" y="411"/>
                    <a:pt x="447" y="411"/>
                  </a:cubicBezTo>
                  <a:cubicBezTo>
                    <a:pt x="447" y="411"/>
                    <a:pt x="447" y="411"/>
                    <a:pt x="447" y="411"/>
                  </a:cubicBezTo>
                  <a:cubicBezTo>
                    <a:pt x="446" y="411"/>
                    <a:pt x="446" y="411"/>
                    <a:pt x="446" y="411"/>
                  </a:cubicBezTo>
                  <a:cubicBezTo>
                    <a:pt x="446" y="412"/>
                    <a:pt x="447" y="412"/>
                    <a:pt x="447" y="412"/>
                  </a:cubicBezTo>
                  <a:cubicBezTo>
                    <a:pt x="447" y="412"/>
                    <a:pt x="448" y="412"/>
                    <a:pt x="448" y="411"/>
                  </a:cubicBezTo>
                  <a:close/>
                  <a:moveTo>
                    <a:pt x="452" y="411"/>
                  </a:moveTo>
                  <a:cubicBezTo>
                    <a:pt x="452" y="411"/>
                    <a:pt x="452" y="411"/>
                    <a:pt x="452" y="411"/>
                  </a:cubicBezTo>
                  <a:cubicBezTo>
                    <a:pt x="451" y="411"/>
                    <a:pt x="451" y="411"/>
                    <a:pt x="451" y="411"/>
                  </a:cubicBezTo>
                  <a:cubicBezTo>
                    <a:pt x="451" y="412"/>
                    <a:pt x="451" y="412"/>
                    <a:pt x="451" y="412"/>
                  </a:cubicBezTo>
                  <a:cubicBezTo>
                    <a:pt x="451" y="412"/>
                    <a:pt x="452" y="412"/>
                    <a:pt x="452" y="412"/>
                  </a:cubicBezTo>
                  <a:cubicBezTo>
                    <a:pt x="452" y="412"/>
                    <a:pt x="452" y="412"/>
                    <a:pt x="452" y="412"/>
                  </a:cubicBezTo>
                  <a:cubicBezTo>
                    <a:pt x="452" y="412"/>
                    <a:pt x="452" y="412"/>
                    <a:pt x="452" y="412"/>
                  </a:cubicBezTo>
                  <a:cubicBezTo>
                    <a:pt x="453" y="413"/>
                    <a:pt x="453" y="413"/>
                    <a:pt x="453" y="412"/>
                  </a:cubicBezTo>
                  <a:cubicBezTo>
                    <a:pt x="453" y="412"/>
                    <a:pt x="452" y="412"/>
                    <a:pt x="452" y="412"/>
                  </a:cubicBezTo>
                  <a:cubicBezTo>
                    <a:pt x="452" y="412"/>
                    <a:pt x="452" y="412"/>
                    <a:pt x="452" y="411"/>
                  </a:cubicBezTo>
                  <a:cubicBezTo>
                    <a:pt x="452" y="411"/>
                    <a:pt x="452" y="411"/>
                    <a:pt x="452" y="411"/>
                  </a:cubicBezTo>
                  <a:close/>
                  <a:moveTo>
                    <a:pt x="434" y="424"/>
                  </a:moveTo>
                  <a:cubicBezTo>
                    <a:pt x="434" y="423"/>
                    <a:pt x="434" y="422"/>
                    <a:pt x="433" y="421"/>
                  </a:cubicBezTo>
                  <a:cubicBezTo>
                    <a:pt x="433" y="421"/>
                    <a:pt x="433" y="422"/>
                    <a:pt x="433" y="422"/>
                  </a:cubicBezTo>
                  <a:cubicBezTo>
                    <a:pt x="433" y="422"/>
                    <a:pt x="433" y="423"/>
                    <a:pt x="433" y="423"/>
                  </a:cubicBezTo>
                  <a:cubicBezTo>
                    <a:pt x="433" y="423"/>
                    <a:pt x="433" y="424"/>
                    <a:pt x="434" y="424"/>
                  </a:cubicBezTo>
                  <a:close/>
                  <a:moveTo>
                    <a:pt x="445" y="402"/>
                  </a:moveTo>
                  <a:cubicBezTo>
                    <a:pt x="446" y="403"/>
                    <a:pt x="446" y="403"/>
                    <a:pt x="447" y="403"/>
                  </a:cubicBezTo>
                  <a:cubicBezTo>
                    <a:pt x="447" y="403"/>
                    <a:pt x="447" y="403"/>
                    <a:pt x="447" y="403"/>
                  </a:cubicBezTo>
                  <a:cubicBezTo>
                    <a:pt x="447" y="403"/>
                    <a:pt x="447" y="403"/>
                    <a:pt x="447" y="403"/>
                  </a:cubicBezTo>
                  <a:cubicBezTo>
                    <a:pt x="447" y="402"/>
                    <a:pt x="447" y="402"/>
                    <a:pt x="447" y="402"/>
                  </a:cubicBezTo>
                  <a:cubicBezTo>
                    <a:pt x="446" y="402"/>
                    <a:pt x="446" y="402"/>
                    <a:pt x="446" y="402"/>
                  </a:cubicBezTo>
                  <a:cubicBezTo>
                    <a:pt x="446" y="402"/>
                    <a:pt x="445" y="402"/>
                    <a:pt x="445" y="402"/>
                  </a:cubicBezTo>
                  <a:cubicBezTo>
                    <a:pt x="445" y="402"/>
                    <a:pt x="445" y="402"/>
                    <a:pt x="445" y="402"/>
                  </a:cubicBezTo>
                  <a:cubicBezTo>
                    <a:pt x="445" y="402"/>
                    <a:pt x="445" y="402"/>
                    <a:pt x="445" y="402"/>
                  </a:cubicBezTo>
                  <a:close/>
                  <a:moveTo>
                    <a:pt x="431" y="441"/>
                  </a:moveTo>
                  <a:cubicBezTo>
                    <a:pt x="431" y="441"/>
                    <a:pt x="431" y="441"/>
                    <a:pt x="431" y="441"/>
                  </a:cubicBezTo>
                  <a:cubicBezTo>
                    <a:pt x="431" y="441"/>
                    <a:pt x="431" y="440"/>
                    <a:pt x="431" y="441"/>
                  </a:cubicBezTo>
                  <a:cubicBezTo>
                    <a:pt x="430" y="441"/>
                    <a:pt x="430" y="441"/>
                    <a:pt x="430" y="441"/>
                  </a:cubicBezTo>
                  <a:cubicBezTo>
                    <a:pt x="430" y="442"/>
                    <a:pt x="431" y="441"/>
                    <a:pt x="431" y="442"/>
                  </a:cubicBezTo>
                  <a:cubicBezTo>
                    <a:pt x="431" y="442"/>
                    <a:pt x="431" y="442"/>
                    <a:pt x="431" y="441"/>
                  </a:cubicBezTo>
                  <a:close/>
                  <a:moveTo>
                    <a:pt x="426" y="444"/>
                  </a:moveTo>
                  <a:cubicBezTo>
                    <a:pt x="426" y="444"/>
                    <a:pt x="426" y="444"/>
                    <a:pt x="426" y="444"/>
                  </a:cubicBezTo>
                  <a:cubicBezTo>
                    <a:pt x="426" y="444"/>
                    <a:pt x="426" y="445"/>
                    <a:pt x="426" y="445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26" y="445"/>
                    <a:pt x="426" y="444"/>
                    <a:pt x="426" y="444"/>
                  </a:cubicBezTo>
                  <a:cubicBezTo>
                    <a:pt x="426" y="444"/>
                    <a:pt x="426" y="444"/>
                    <a:pt x="426" y="444"/>
                  </a:cubicBezTo>
                  <a:close/>
                  <a:moveTo>
                    <a:pt x="437" y="436"/>
                  </a:moveTo>
                  <a:cubicBezTo>
                    <a:pt x="437" y="436"/>
                    <a:pt x="437" y="436"/>
                    <a:pt x="436" y="436"/>
                  </a:cubicBezTo>
                  <a:cubicBezTo>
                    <a:pt x="436" y="436"/>
                    <a:pt x="436" y="436"/>
                    <a:pt x="436" y="436"/>
                  </a:cubicBezTo>
                  <a:cubicBezTo>
                    <a:pt x="437" y="436"/>
                    <a:pt x="437" y="436"/>
                    <a:pt x="437" y="436"/>
                  </a:cubicBezTo>
                  <a:cubicBezTo>
                    <a:pt x="437" y="436"/>
                    <a:pt x="437" y="436"/>
                    <a:pt x="437" y="436"/>
                  </a:cubicBezTo>
                  <a:cubicBezTo>
                    <a:pt x="437" y="436"/>
                    <a:pt x="437" y="436"/>
                    <a:pt x="437" y="436"/>
                  </a:cubicBezTo>
                  <a:close/>
                  <a:moveTo>
                    <a:pt x="428" y="437"/>
                  </a:moveTo>
                  <a:cubicBezTo>
                    <a:pt x="428" y="437"/>
                    <a:pt x="428" y="437"/>
                    <a:pt x="428" y="438"/>
                  </a:cubicBezTo>
                  <a:cubicBezTo>
                    <a:pt x="428" y="437"/>
                    <a:pt x="428" y="437"/>
                    <a:pt x="428" y="437"/>
                  </a:cubicBezTo>
                  <a:close/>
                  <a:moveTo>
                    <a:pt x="453" y="425"/>
                  </a:moveTo>
                  <a:cubicBezTo>
                    <a:pt x="453" y="425"/>
                    <a:pt x="453" y="425"/>
                    <a:pt x="453" y="425"/>
                  </a:cubicBezTo>
                  <a:cubicBezTo>
                    <a:pt x="453" y="425"/>
                    <a:pt x="453" y="425"/>
                    <a:pt x="453" y="425"/>
                  </a:cubicBezTo>
                  <a:cubicBezTo>
                    <a:pt x="453" y="425"/>
                    <a:pt x="454" y="425"/>
                    <a:pt x="454" y="425"/>
                  </a:cubicBezTo>
                  <a:cubicBezTo>
                    <a:pt x="454" y="425"/>
                    <a:pt x="454" y="425"/>
                    <a:pt x="453" y="425"/>
                  </a:cubicBezTo>
                  <a:close/>
                  <a:moveTo>
                    <a:pt x="453" y="416"/>
                  </a:moveTo>
                  <a:cubicBezTo>
                    <a:pt x="453" y="416"/>
                    <a:pt x="453" y="416"/>
                    <a:pt x="453" y="416"/>
                  </a:cubicBezTo>
                  <a:cubicBezTo>
                    <a:pt x="453" y="415"/>
                    <a:pt x="453" y="415"/>
                    <a:pt x="453" y="415"/>
                  </a:cubicBezTo>
                  <a:cubicBezTo>
                    <a:pt x="453" y="415"/>
                    <a:pt x="453" y="416"/>
                    <a:pt x="453" y="416"/>
                  </a:cubicBezTo>
                  <a:cubicBezTo>
                    <a:pt x="453" y="416"/>
                    <a:pt x="453" y="416"/>
                    <a:pt x="453" y="416"/>
                  </a:cubicBezTo>
                  <a:close/>
                  <a:moveTo>
                    <a:pt x="425" y="444"/>
                  </a:move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3"/>
                    <a:pt x="425" y="444"/>
                  </a:cubicBezTo>
                  <a:close/>
                  <a:moveTo>
                    <a:pt x="425" y="444"/>
                  </a:moveTo>
                  <a:cubicBezTo>
                    <a:pt x="425" y="444"/>
                    <a:pt x="425" y="444"/>
                    <a:pt x="425" y="444"/>
                  </a:cubicBezTo>
                  <a:cubicBezTo>
                    <a:pt x="425" y="444"/>
                    <a:pt x="425" y="444"/>
                    <a:pt x="425" y="444"/>
                  </a:cubicBezTo>
                  <a:close/>
                  <a:moveTo>
                    <a:pt x="428" y="437"/>
                  </a:moveTo>
                  <a:cubicBezTo>
                    <a:pt x="428" y="437"/>
                    <a:pt x="428" y="436"/>
                    <a:pt x="427" y="436"/>
                  </a:cubicBezTo>
                  <a:cubicBezTo>
                    <a:pt x="428" y="436"/>
                    <a:pt x="427" y="437"/>
                    <a:pt x="428" y="437"/>
                  </a:cubicBezTo>
                  <a:close/>
                  <a:moveTo>
                    <a:pt x="311" y="486"/>
                  </a:moveTo>
                  <a:cubicBezTo>
                    <a:pt x="311" y="486"/>
                    <a:pt x="311" y="486"/>
                    <a:pt x="311" y="486"/>
                  </a:cubicBezTo>
                  <a:cubicBezTo>
                    <a:pt x="312" y="486"/>
                    <a:pt x="314" y="487"/>
                    <a:pt x="315" y="487"/>
                  </a:cubicBezTo>
                  <a:cubicBezTo>
                    <a:pt x="315" y="486"/>
                    <a:pt x="314" y="486"/>
                    <a:pt x="314" y="486"/>
                  </a:cubicBezTo>
                  <a:cubicBezTo>
                    <a:pt x="313" y="486"/>
                    <a:pt x="313" y="486"/>
                    <a:pt x="312" y="486"/>
                  </a:cubicBezTo>
                  <a:cubicBezTo>
                    <a:pt x="311" y="486"/>
                    <a:pt x="311" y="486"/>
                    <a:pt x="310" y="485"/>
                  </a:cubicBezTo>
                  <a:cubicBezTo>
                    <a:pt x="310" y="485"/>
                    <a:pt x="310" y="484"/>
                    <a:pt x="310" y="483"/>
                  </a:cubicBezTo>
                  <a:cubicBezTo>
                    <a:pt x="310" y="482"/>
                    <a:pt x="310" y="481"/>
                    <a:pt x="309" y="480"/>
                  </a:cubicBezTo>
                  <a:cubicBezTo>
                    <a:pt x="309" y="480"/>
                    <a:pt x="309" y="480"/>
                    <a:pt x="309" y="480"/>
                  </a:cubicBezTo>
                  <a:cubicBezTo>
                    <a:pt x="309" y="479"/>
                    <a:pt x="308" y="479"/>
                    <a:pt x="308" y="479"/>
                  </a:cubicBezTo>
                  <a:cubicBezTo>
                    <a:pt x="307" y="479"/>
                    <a:pt x="306" y="479"/>
                    <a:pt x="305" y="479"/>
                  </a:cubicBezTo>
                  <a:cubicBezTo>
                    <a:pt x="305" y="479"/>
                    <a:pt x="304" y="479"/>
                    <a:pt x="304" y="479"/>
                  </a:cubicBezTo>
                  <a:cubicBezTo>
                    <a:pt x="304" y="480"/>
                    <a:pt x="303" y="480"/>
                    <a:pt x="303" y="480"/>
                  </a:cubicBezTo>
                  <a:cubicBezTo>
                    <a:pt x="303" y="481"/>
                    <a:pt x="302" y="481"/>
                    <a:pt x="302" y="481"/>
                  </a:cubicBezTo>
                  <a:cubicBezTo>
                    <a:pt x="301" y="482"/>
                    <a:pt x="301" y="482"/>
                    <a:pt x="300" y="482"/>
                  </a:cubicBezTo>
                  <a:cubicBezTo>
                    <a:pt x="300" y="482"/>
                    <a:pt x="299" y="483"/>
                    <a:pt x="299" y="483"/>
                  </a:cubicBezTo>
                  <a:cubicBezTo>
                    <a:pt x="298" y="482"/>
                    <a:pt x="298" y="482"/>
                    <a:pt x="297" y="482"/>
                  </a:cubicBezTo>
                  <a:cubicBezTo>
                    <a:pt x="297" y="482"/>
                    <a:pt x="297" y="482"/>
                    <a:pt x="296" y="482"/>
                  </a:cubicBezTo>
                  <a:cubicBezTo>
                    <a:pt x="296" y="482"/>
                    <a:pt x="296" y="483"/>
                    <a:pt x="296" y="483"/>
                  </a:cubicBezTo>
                  <a:cubicBezTo>
                    <a:pt x="296" y="484"/>
                    <a:pt x="295" y="485"/>
                    <a:pt x="295" y="485"/>
                  </a:cubicBezTo>
                  <a:cubicBezTo>
                    <a:pt x="294" y="486"/>
                    <a:pt x="294" y="487"/>
                    <a:pt x="294" y="487"/>
                  </a:cubicBezTo>
                  <a:cubicBezTo>
                    <a:pt x="294" y="488"/>
                    <a:pt x="293" y="488"/>
                    <a:pt x="293" y="488"/>
                  </a:cubicBezTo>
                  <a:cubicBezTo>
                    <a:pt x="293" y="489"/>
                    <a:pt x="292" y="489"/>
                    <a:pt x="291" y="489"/>
                  </a:cubicBezTo>
                  <a:cubicBezTo>
                    <a:pt x="291" y="489"/>
                    <a:pt x="290" y="490"/>
                    <a:pt x="291" y="491"/>
                  </a:cubicBezTo>
                  <a:cubicBezTo>
                    <a:pt x="291" y="491"/>
                    <a:pt x="291" y="492"/>
                    <a:pt x="291" y="493"/>
                  </a:cubicBezTo>
                  <a:cubicBezTo>
                    <a:pt x="291" y="493"/>
                    <a:pt x="291" y="493"/>
                    <a:pt x="291" y="493"/>
                  </a:cubicBezTo>
                  <a:cubicBezTo>
                    <a:pt x="291" y="493"/>
                    <a:pt x="291" y="493"/>
                    <a:pt x="291" y="493"/>
                  </a:cubicBezTo>
                  <a:cubicBezTo>
                    <a:pt x="293" y="493"/>
                    <a:pt x="296" y="493"/>
                    <a:pt x="297" y="493"/>
                  </a:cubicBezTo>
                  <a:cubicBezTo>
                    <a:pt x="298" y="493"/>
                    <a:pt x="298" y="492"/>
                    <a:pt x="298" y="492"/>
                  </a:cubicBezTo>
                  <a:cubicBezTo>
                    <a:pt x="299" y="492"/>
                    <a:pt x="299" y="491"/>
                    <a:pt x="299" y="491"/>
                  </a:cubicBezTo>
                  <a:cubicBezTo>
                    <a:pt x="300" y="490"/>
                    <a:pt x="301" y="489"/>
                    <a:pt x="302" y="488"/>
                  </a:cubicBezTo>
                  <a:cubicBezTo>
                    <a:pt x="305" y="488"/>
                    <a:pt x="307" y="488"/>
                    <a:pt x="309" y="488"/>
                  </a:cubicBezTo>
                  <a:cubicBezTo>
                    <a:pt x="310" y="488"/>
                    <a:pt x="310" y="488"/>
                    <a:pt x="311" y="487"/>
                  </a:cubicBezTo>
                  <a:cubicBezTo>
                    <a:pt x="311" y="487"/>
                    <a:pt x="311" y="486"/>
                    <a:pt x="311" y="486"/>
                  </a:cubicBezTo>
                  <a:close/>
                  <a:moveTo>
                    <a:pt x="253" y="516"/>
                  </a:moveTo>
                  <a:cubicBezTo>
                    <a:pt x="252" y="517"/>
                    <a:pt x="251" y="518"/>
                    <a:pt x="249" y="518"/>
                  </a:cubicBezTo>
                  <a:cubicBezTo>
                    <a:pt x="248" y="519"/>
                    <a:pt x="247" y="519"/>
                    <a:pt x="247" y="520"/>
                  </a:cubicBezTo>
                  <a:cubicBezTo>
                    <a:pt x="247" y="521"/>
                    <a:pt x="247" y="521"/>
                    <a:pt x="246" y="522"/>
                  </a:cubicBezTo>
                  <a:cubicBezTo>
                    <a:pt x="246" y="522"/>
                    <a:pt x="245" y="523"/>
                    <a:pt x="245" y="523"/>
                  </a:cubicBezTo>
                  <a:cubicBezTo>
                    <a:pt x="244" y="524"/>
                    <a:pt x="243" y="524"/>
                    <a:pt x="243" y="525"/>
                  </a:cubicBezTo>
                  <a:cubicBezTo>
                    <a:pt x="242" y="525"/>
                    <a:pt x="242" y="525"/>
                    <a:pt x="242" y="525"/>
                  </a:cubicBezTo>
                  <a:cubicBezTo>
                    <a:pt x="242" y="525"/>
                    <a:pt x="241" y="525"/>
                    <a:pt x="241" y="525"/>
                  </a:cubicBezTo>
                  <a:cubicBezTo>
                    <a:pt x="241" y="526"/>
                    <a:pt x="241" y="526"/>
                    <a:pt x="241" y="526"/>
                  </a:cubicBezTo>
                  <a:cubicBezTo>
                    <a:pt x="241" y="526"/>
                    <a:pt x="241" y="526"/>
                    <a:pt x="242" y="526"/>
                  </a:cubicBezTo>
                  <a:cubicBezTo>
                    <a:pt x="241" y="526"/>
                    <a:pt x="241" y="526"/>
                    <a:pt x="241" y="526"/>
                  </a:cubicBezTo>
                  <a:cubicBezTo>
                    <a:pt x="241" y="526"/>
                    <a:pt x="240" y="526"/>
                    <a:pt x="240" y="526"/>
                  </a:cubicBezTo>
                  <a:cubicBezTo>
                    <a:pt x="239" y="527"/>
                    <a:pt x="239" y="527"/>
                    <a:pt x="238" y="527"/>
                  </a:cubicBezTo>
                  <a:cubicBezTo>
                    <a:pt x="238" y="527"/>
                    <a:pt x="238" y="527"/>
                    <a:pt x="238" y="527"/>
                  </a:cubicBezTo>
                  <a:cubicBezTo>
                    <a:pt x="239" y="527"/>
                    <a:pt x="239" y="527"/>
                    <a:pt x="239" y="526"/>
                  </a:cubicBezTo>
                  <a:cubicBezTo>
                    <a:pt x="239" y="526"/>
                    <a:pt x="239" y="525"/>
                    <a:pt x="240" y="525"/>
                  </a:cubicBezTo>
                  <a:cubicBezTo>
                    <a:pt x="240" y="526"/>
                    <a:pt x="240" y="525"/>
                    <a:pt x="240" y="525"/>
                  </a:cubicBezTo>
                  <a:cubicBezTo>
                    <a:pt x="240" y="524"/>
                    <a:pt x="240" y="524"/>
                    <a:pt x="241" y="524"/>
                  </a:cubicBezTo>
                  <a:cubicBezTo>
                    <a:pt x="241" y="524"/>
                    <a:pt x="241" y="523"/>
                    <a:pt x="241" y="523"/>
                  </a:cubicBezTo>
                  <a:cubicBezTo>
                    <a:pt x="242" y="523"/>
                    <a:pt x="241" y="522"/>
                    <a:pt x="241" y="522"/>
                  </a:cubicBezTo>
                  <a:cubicBezTo>
                    <a:pt x="241" y="522"/>
                    <a:pt x="241" y="521"/>
                    <a:pt x="241" y="521"/>
                  </a:cubicBezTo>
                  <a:cubicBezTo>
                    <a:pt x="241" y="520"/>
                    <a:pt x="242" y="520"/>
                    <a:pt x="242" y="520"/>
                  </a:cubicBezTo>
                  <a:cubicBezTo>
                    <a:pt x="242" y="520"/>
                    <a:pt x="243" y="520"/>
                    <a:pt x="243" y="520"/>
                  </a:cubicBezTo>
                  <a:cubicBezTo>
                    <a:pt x="243" y="519"/>
                    <a:pt x="244" y="519"/>
                    <a:pt x="244" y="519"/>
                  </a:cubicBezTo>
                  <a:cubicBezTo>
                    <a:pt x="245" y="519"/>
                    <a:pt x="245" y="519"/>
                    <a:pt x="246" y="519"/>
                  </a:cubicBezTo>
                  <a:cubicBezTo>
                    <a:pt x="246" y="519"/>
                    <a:pt x="247" y="519"/>
                    <a:pt x="247" y="519"/>
                  </a:cubicBezTo>
                  <a:cubicBezTo>
                    <a:pt x="247" y="518"/>
                    <a:pt x="247" y="518"/>
                    <a:pt x="246" y="518"/>
                  </a:cubicBezTo>
                  <a:cubicBezTo>
                    <a:pt x="246" y="518"/>
                    <a:pt x="246" y="517"/>
                    <a:pt x="246" y="517"/>
                  </a:cubicBezTo>
                  <a:cubicBezTo>
                    <a:pt x="246" y="517"/>
                    <a:pt x="246" y="516"/>
                    <a:pt x="246" y="515"/>
                  </a:cubicBezTo>
                  <a:cubicBezTo>
                    <a:pt x="246" y="515"/>
                    <a:pt x="247" y="514"/>
                    <a:pt x="247" y="514"/>
                  </a:cubicBezTo>
                  <a:cubicBezTo>
                    <a:pt x="247" y="514"/>
                    <a:pt x="248" y="514"/>
                    <a:pt x="248" y="514"/>
                  </a:cubicBezTo>
                  <a:cubicBezTo>
                    <a:pt x="248" y="513"/>
                    <a:pt x="249" y="513"/>
                    <a:pt x="250" y="512"/>
                  </a:cubicBezTo>
                  <a:cubicBezTo>
                    <a:pt x="251" y="512"/>
                    <a:pt x="251" y="512"/>
                    <a:pt x="252" y="513"/>
                  </a:cubicBezTo>
                  <a:cubicBezTo>
                    <a:pt x="252" y="513"/>
                    <a:pt x="253" y="513"/>
                    <a:pt x="253" y="513"/>
                  </a:cubicBezTo>
                  <a:cubicBezTo>
                    <a:pt x="254" y="513"/>
                    <a:pt x="254" y="513"/>
                    <a:pt x="254" y="514"/>
                  </a:cubicBezTo>
                  <a:cubicBezTo>
                    <a:pt x="254" y="514"/>
                    <a:pt x="254" y="514"/>
                    <a:pt x="254" y="514"/>
                  </a:cubicBezTo>
                  <a:cubicBezTo>
                    <a:pt x="253" y="515"/>
                    <a:pt x="253" y="515"/>
                    <a:pt x="253" y="516"/>
                  </a:cubicBezTo>
                  <a:cubicBezTo>
                    <a:pt x="253" y="516"/>
                    <a:pt x="253" y="516"/>
                    <a:pt x="253" y="516"/>
                  </a:cubicBezTo>
                  <a:close/>
                  <a:moveTo>
                    <a:pt x="127" y="549"/>
                  </a:moveTo>
                  <a:cubicBezTo>
                    <a:pt x="128" y="549"/>
                    <a:pt x="128" y="549"/>
                    <a:pt x="128" y="548"/>
                  </a:cubicBezTo>
                  <a:cubicBezTo>
                    <a:pt x="127" y="548"/>
                    <a:pt x="127" y="549"/>
                    <a:pt x="126" y="549"/>
                  </a:cubicBezTo>
                  <a:cubicBezTo>
                    <a:pt x="125" y="549"/>
                    <a:pt x="125" y="548"/>
                    <a:pt x="124" y="548"/>
                  </a:cubicBezTo>
                  <a:cubicBezTo>
                    <a:pt x="124" y="548"/>
                    <a:pt x="124" y="547"/>
                    <a:pt x="123" y="547"/>
                  </a:cubicBezTo>
                  <a:cubicBezTo>
                    <a:pt x="123" y="547"/>
                    <a:pt x="122" y="547"/>
                    <a:pt x="122" y="547"/>
                  </a:cubicBezTo>
                  <a:cubicBezTo>
                    <a:pt x="121" y="547"/>
                    <a:pt x="121" y="547"/>
                    <a:pt x="120" y="548"/>
                  </a:cubicBezTo>
                  <a:cubicBezTo>
                    <a:pt x="120" y="548"/>
                    <a:pt x="121" y="548"/>
                    <a:pt x="121" y="548"/>
                  </a:cubicBezTo>
                  <a:cubicBezTo>
                    <a:pt x="121" y="549"/>
                    <a:pt x="122" y="549"/>
                    <a:pt x="122" y="549"/>
                  </a:cubicBezTo>
                  <a:cubicBezTo>
                    <a:pt x="122" y="550"/>
                    <a:pt x="122" y="550"/>
                    <a:pt x="123" y="550"/>
                  </a:cubicBezTo>
                  <a:cubicBezTo>
                    <a:pt x="123" y="550"/>
                    <a:pt x="123" y="550"/>
                    <a:pt x="124" y="550"/>
                  </a:cubicBezTo>
                  <a:cubicBezTo>
                    <a:pt x="124" y="551"/>
                    <a:pt x="124" y="551"/>
                    <a:pt x="123" y="551"/>
                  </a:cubicBezTo>
                  <a:cubicBezTo>
                    <a:pt x="123" y="551"/>
                    <a:pt x="122" y="551"/>
                    <a:pt x="122" y="551"/>
                  </a:cubicBezTo>
                  <a:cubicBezTo>
                    <a:pt x="122" y="551"/>
                    <a:pt x="121" y="552"/>
                    <a:pt x="122" y="552"/>
                  </a:cubicBezTo>
                  <a:cubicBezTo>
                    <a:pt x="122" y="552"/>
                    <a:pt x="122" y="552"/>
                    <a:pt x="122" y="552"/>
                  </a:cubicBezTo>
                  <a:cubicBezTo>
                    <a:pt x="122" y="552"/>
                    <a:pt x="123" y="552"/>
                    <a:pt x="123" y="552"/>
                  </a:cubicBezTo>
                  <a:cubicBezTo>
                    <a:pt x="123" y="553"/>
                    <a:pt x="124" y="553"/>
                    <a:pt x="124" y="553"/>
                  </a:cubicBezTo>
                  <a:cubicBezTo>
                    <a:pt x="124" y="553"/>
                    <a:pt x="124" y="554"/>
                    <a:pt x="124" y="553"/>
                  </a:cubicBezTo>
                  <a:cubicBezTo>
                    <a:pt x="124" y="553"/>
                    <a:pt x="124" y="553"/>
                    <a:pt x="124" y="553"/>
                  </a:cubicBezTo>
                  <a:cubicBezTo>
                    <a:pt x="124" y="552"/>
                    <a:pt x="124" y="552"/>
                    <a:pt x="125" y="552"/>
                  </a:cubicBezTo>
                  <a:cubicBezTo>
                    <a:pt x="125" y="552"/>
                    <a:pt x="125" y="551"/>
                    <a:pt x="125" y="551"/>
                  </a:cubicBezTo>
                  <a:cubicBezTo>
                    <a:pt x="125" y="551"/>
                    <a:pt x="126" y="550"/>
                    <a:pt x="125" y="550"/>
                  </a:cubicBezTo>
                  <a:cubicBezTo>
                    <a:pt x="126" y="550"/>
                    <a:pt x="126" y="550"/>
                    <a:pt x="126" y="550"/>
                  </a:cubicBezTo>
                  <a:cubicBezTo>
                    <a:pt x="126" y="549"/>
                    <a:pt x="127" y="549"/>
                    <a:pt x="127" y="549"/>
                  </a:cubicBezTo>
                  <a:close/>
                  <a:moveTo>
                    <a:pt x="273" y="509"/>
                  </a:moveTo>
                  <a:cubicBezTo>
                    <a:pt x="273" y="509"/>
                    <a:pt x="273" y="510"/>
                    <a:pt x="273" y="510"/>
                  </a:cubicBezTo>
                  <a:cubicBezTo>
                    <a:pt x="272" y="510"/>
                    <a:pt x="271" y="510"/>
                    <a:pt x="270" y="510"/>
                  </a:cubicBezTo>
                  <a:cubicBezTo>
                    <a:pt x="270" y="511"/>
                    <a:pt x="270" y="511"/>
                    <a:pt x="270" y="511"/>
                  </a:cubicBezTo>
                  <a:cubicBezTo>
                    <a:pt x="270" y="511"/>
                    <a:pt x="270" y="511"/>
                    <a:pt x="270" y="511"/>
                  </a:cubicBezTo>
                  <a:cubicBezTo>
                    <a:pt x="270" y="511"/>
                    <a:pt x="270" y="511"/>
                    <a:pt x="270" y="512"/>
                  </a:cubicBezTo>
                  <a:cubicBezTo>
                    <a:pt x="270" y="512"/>
                    <a:pt x="270" y="512"/>
                    <a:pt x="269" y="512"/>
                  </a:cubicBezTo>
                  <a:cubicBezTo>
                    <a:pt x="269" y="512"/>
                    <a:pt x="269" y="512"/>
                    <a:pt x="269" y="512"/>
                  </a:cubicBezTo>
                  <a:cubicBezTo>
                    <a:pt x="269" y="512"/>
                    <a:pt x="269" y="512"/>
                    <a:pt x="269" y="511"/>
                  </a:cubicBezTo>
                  <a:cubicBezTo>
                    <a:pt x="269" y="512"/>
                    <a:pt x="268" y="512"/>
                    <a:pt x="269" y="512"/>
                  </a:cubicBezTo>
                  <a:cubicBezTo>
                    <a:pt x="269" y="512"/>
                    <a:pt x="269" y="513"/>
                    <a:pt x="269" y="513"/>
                  </a:cubicBezTo>
                  <a:cubicBezTo>
                    <a:pt x="268" y="513"/>
                    <a:pt x="268" y="513"/>
                    <a:pt x="268" y="513"/>
                  </a:cubicBezTo>
                  <a:cubicBezTo>
                    <a:pt x="268" y="513"/>
                    <a:pt x="268" y="513"/>
                    <a:pt x="268" y="512"/>
                  </a:cubicBezTo>
                  <a:cubicBezTo>
                    <a:pt x="268" y="513"/>
                    <a:pt x="268" y="513"/>
                    <a:pt x="268" y="513"/>
                  </a:cubicBezTo>
                  <a:cubicBezTo>
                    <a:pt x="268" y="513"/>
                    <a:pt x="269" y="513"/>
                    <a:pt x="268" y="513"/>
                  </a:cubicBezTo>
                  <a:cubicBezTo>
                    <a:pt x="268" y="513"/>
                    <a:pt x="268" y="513"/>
                    <a:pt x="268" y="513"/>
                  </a:cubicBezTo>
                  <a:cubicBezTo>
                    <a:pt x="267" y="513"/>
                    <a:pt x="267" y="513"/>
                    <a:pt x="267" y="512"/>
                  </a:cubicBezTo>
                  <a:cubicBezTo>
                    <a:pt x="267" y="512"/>
                    <a:pt x="267" y="512"/>
                    <a:pt x="267" y="512"/>
                  </a:cubicBezTo>
                  <a:cubicBezTo>
                    <a:pt x="267" y="513"/>
                    <a:pt x="267" y="513"/>
                    <a:pt x="267" y="513"/>
                  </a:cubicBezTo>
                  <a:cubicBezTo>
                    <a:pt x="267" y="513"/>
                    <a:pt x="267" y="514"/>
                    <a:pt x="267" y="514"/>
                  </a:cubicBezTo>
                  <a:cubicBezTo>
                    <a:pt x="267" y="514"/>
                    <a:pt x="267" y="514"/>
                    <a:pt x="267" y="514"/>
                  </a:cubicBezTo>
                  <a:cubicBezTo>
                    <a:pt x="267" y="515"/>
                    <a:pt x="267" y="515"/>
                    <a:pt x="266" y="514"/>
                  </a:cubicBezTo>
                  <a:cubicBezTo>
                    <a:pt x="266" y="514"/>
                    <a:pt x="266" y="514"/>
                    <a:pt x="266" y="514"/>
                  </a:cubicBezTo>
                  <a:cubicBezTo>
                    <a:pt x="266" y="515"/>
                    <a:pt x="265" y="515"/>
                    <a:pt x="265" y="515"/>
                  </a:cubicBezTo>
                  <a:cubicBezTo>
                    <a:pt x="265" y="514"/>
                    <a:pt x="265" y="515"/>
                    <a:pt x="264" y="515"/>
                  </a:cubicBezTo>
                  <a:cubicBezTo>
                    <a:pt x="264" y="515"/>
                    <a:pt x="264" y="515"/>
                    <a:pt x="264" y="515"/>
                  </a:cubicBezTo>
                  <a:cubicBezTo>
                    <a:pt x="264" y="514"/>
                    <a:pt x="264" y="514"/>
                    <a:pt x="264" y="514"/>
                  </a:cubicBezTo>
                  <a:cubicBezTo>
                    <a:pt x="264" y="514"/>
                    <a:pt x="263" y="514"/>
                    <a:pt x="263" y="515"/>
                  </a:cubicBezTo>
                  <a:cubicBezTo>
                    <a:pt x="263" y="515"/>
                    <a:pt x="263" y="515"/>
                    <a:pt x="263" y="515"/>
                  </a:cubicBezTo>
                  <a:cubicBezTo>
                    <a:pt x="262" y="515"/>
                    <a:pt x="262" y="516"/>
                    <a:pt x="261" y="516"/>
                  </a:cubicBezTo>
                  <a:cubicBezTo>
                    <a:pt x="261" y="516"/>
                    <a:pt x="261" y="516"/>
                    <a:pt x="261" y="516"/>
                  </a:cubicBezTo>
                  <a:cubicBezTo>
                    <a:pt x="260" y="517"/>
                    <a:pt x="260" y="517"/>
                    <a:pt x="259" y="517"/>
                  </a:cubicBezTo>
                  <a:cubicBezTo>
                    <a:pt x="258" y="517"/>
                    <a:pt x="258" y="518"/>
                    <a:pt x="258" y="518"/>
                  </a:cubicBezTo>
                  <a:cubicBezTo>
                    <a:pt x="258" y="518"/>
                    <a:pt x="258" y="519"/>
                    <a:pt x="257" y="518"/>
                  </a:cubicBezTo>
                  <a:cubicBezTo>
                    <a:pt x="257" y="518"/>
                    <a:pt x="257" y="518"/>
                    <a:pt x="257" y="518"/>
                  </a:cubicBezTo>
                  <a:cubicBezTo>
                    <a:pt x="256" y="518"/>
                    <a:pt x="256" y="518"/>
                    <a:pt x="256" y="519"/>
                  </a:cubicBezTo>
                  <a:cubicBezTo>
                    <a:pt x="256" y="519"/>
                    <a:pt x="256" y="519"/>
                    <a:pt x="255" y="519"/>
                  </a:cubicBezTo>
                  <a:cubicBezTo>
                    <a:pt x="255" y="519"/>
                    <a:pt x="255" y="518"/>
                    <a:pt x="254" y="518"/>
                  </a:cubicBezTo>
                  <a:cubicBezTo>
                    <a:pt x="254" y="518"/>
                    <a:pt x="254" y="518"/>
                    <a:pt x="254" y="518"/>
                  </a:cubicBezTo>
                  <a:cubicBezTo>
                    <a:pt x="253" y="518"/>
                    <a:pt x="253" y="518"/>
                    <a:pt x="254" y="517"/>
                  </a:cubicBezTo>
                  <a:cubicBezTo>
                    <a:pt x="254" y="517"/>
                    <a:pt x="254" y="517"/>
                    <a:pt x="255" y="516"/>
                  </a:cubicBezTo>
                  <a:cubicBezTo>
                    <a:pt x="255" y="516"/>
                    <a:pt x="255" y="516"/>
                    <a:pt x="256" y="516"/>
                  </a:cubicBezTo>
                  <a:cubicBezTo>
                    <a:pt x="256" y="516"/>
                    <a:pt x="256" y="516"/>
                    <a:pt x="257" y="516"/>
                  </a:cubicBezTo>
                  <a:cubicBezTo>
                    <a:pt x="257" y="516"/>
                    <a:pt x="257" y="516"/>
                    <a:pt x="257" y="516"/>
                  </a:cubicBezTo>
                  <a:cubicBezTo>
                    <a:pt x="257" y="516"/>
                    <a:pt x="257" y="516"/>
                    <a:pt x="258" y="516"/>
                  </a:cubicBezTo>
                  <a:cubicBezTo>
                    <a:pt x="258" y="515"/>
                    <a:pt x="258" y="515"/>
                    <a:pt x="258" y="515"/>
                  </a:cubicBezTo>
                  <a:cubicBezTo>
                    <a:pt x="258" y="515"/>
                    <a:pt x="259" y="515"/>
                    <a:pt x="259" y="515"/>
                  </a:cubicBezTo>
                  <a:cubicBezTo>
                    <a:pt x="259" y="515"/>
                    <a:pt x="259" y="515"/>
                    <a:pt x="259" y="515"/>
                  </a:cubicBezTo>
                  <a:cubicBezTo>
                    <a:pt x="259" y="515"/>
                    <a:pt x="259" y="515"/>
                    <a:pt x="259" y="515"/>
                  </a:cubicBezTo>
                  <a:cubicBezTo>
                    <a:pt x="260" y="515"/>
                    <a:pt x="260" y="515"/>
                    <a:pt x="260" y="515"/>
                  </a:cubicBezTo>
                  <a:cubicBezTo>
                    <a:pt x="260" y="515"/>
                    <a:pt x="260" y="515"/>
                    <a:pt x="260" y="515"/>
                  </a:cubicBezTo>
                  <a:cubicBezTo>
                    <a:pt x="260" y="515"/>
                    <a:pt x="260" y="515"/>
                    <a:pt x="261" y="515"/>
                  </a:cubicBezTo>
                  <a:cubicBezTo>
                    <a:pt x="261" y="514"/>
                    <a:pt x="261" y="514"/>
                    <a:pt x="260" y="514"/>
                  </a:cubicBezTo>
                  <a:cubicBezTo>
                    <a:pt x="261" y="514"/>
                    <a:pt x="262" y="514"/>
                    <a:pt x="263" y="514"/>
                  </a:cubicBezTo>
                  <a:cubicBezTo>
                    <a:pt x="263" y="514"/>
                    <a:pt x="262" y="514"/>
                    <a:pt x="262" y="514"/>
                  </a:cubicBezTo>
                  <a:cubicBezTo>
                    <a:pt x="262" y="514"/>
                    <a:pt x="262" y="513"/>
                    <a:pt x="262" y="513"/>
                  </a:cubicBezTo>
                  <a:cubicBezTo>
                    <a:pt x="262" y="513"/>
                    <a:pt x="262" y="513"/>
                    <a:pt x="262" y="513"/>
                  </a:cubicBezTo>
                  <a:cubicBezTo>
                    <a:pt x="263" y="513"/>
                    <a:pt x="264" y="513"/>
                    <a:pt x="265" y="513"/>
                  </a:cubicBezTo>
                  <a:cubicBezTo>
                    <a:pt x="264" y="512"/>
                    <a:pt x="264" y="513"/>
                    <a:pt x="264" y="513"/>
                  </a:cubicBezTo>
                  <a:cubicBezTo>
                    <a:pt x="263" y="513"/>
                    <a:pt x="263" y="513"/>
                    <a:pt x="263" y="512"/>
                  </a:cubicBezTo>
                  <a:cubicBezTo>
                    <a:pt x="262" y="512"/>
                    <a:pt x="262" y="512"/>
                    <a:pt x="262" y="512"/>
                  </a:cubicBezTo>
                  <a:cubicBezTo>
                    <a:pt x="262" y="511"/>
                    <a:pt x="262" y="511"/>
                    <a:pt x="262" y="511"/>
                  </a:cubicBezTo>
                  <a:cubicBezTo>
                    <a:pt x="263" y="511"/>
                    <a:pt x="263" y="511"/>
                    <a:pt x="263" y="511"/>
                  </a:cubicBezTo>
                  <a:cubicBezTo>
                    <a:pt x="263" y="511"/>
                    <a:pt x="263" y="511"/>
                    <a:pt x="264" y="511"/>
                  </a:cubicBezTo>
                  <a:cubicBezTo>
                    <a:pt x="263" y="511"/>
                    <a:pt x="263" y="511"/>
                    <a:pt x="264" y="511"/>
                  </a:cubicBezTo>
                  <a:cubicBezTo>
                    <a:pt x="264" y="510"/>
                    <a:pt x="264" y="510"/>
                    <a:pt x="264" y="510"/>
                  </a:cubicBezTo>
                  <a:cubicBezTo>
                    <a:pt x="263" y="510"/>
                    <a:pt x="263" y="510"/>
                    <a:pt x="263" y="509"/>
                  </a:cubicBezTo>
                  <a:cubicBezTo>
                    <a:pt x="263" y="509"/>
                    <a:pt x="264" y="509"/>
                    <a:pt x="264" y="509"/>
                  </a:cubicBezTo>
                  <a:cubicBezTo>
                    <a:pt x="264" y="509"/>
                    <a:pt x="265" y="509"/>
                    <a:pt x="265" y="509"/>
                  </a:cubicBezTo>
                  <a:cubicBezTo>
                    <a:pt x="265" y="509"/>
                    <a:pt x="266" y="509"/>
                    <a:pt x="266" y="509"/>
                  </a:cubicBezTo>
                  <a:cubicBezTo>
                    <a:pt x="266" y="510"/>
                    <a:pt x="266" y="510"/>
                    <a:pt x="266" y="510"/>
                  </a:cubicBezTo>
                  <a:cubicBezTo>
                    <a:pt x="266" y="510"/>
                    <a:pt x="266" y="510"/>
                    <a:pt x="266" y="510"/>
                  </a:cubicBezTo>
                  <a:cubicBezTo>
                    <a:pt x="266" y="510"/>
                    <a:pt x="266" y="510"/>
                    <a:pt x="267" y="511"/>
                  </a:cubicBezTo>
                  <a:cubicBezTo>
                    <a:pt x="267" y="511"/>
                    <a:pt x="267" y="511"/>
                    <a:pt x="267" y="511"/>
                  </a:cubicBezTo>
                  <a:cubicBezTo>
                    <a:pt x="267" y="511"/>
                    <a:pt x="267" y="510"/>
                    <a:pt x="267" y="510"/>
                  </a:cubicBezTo>
                  <a:cubicBezTo>
                    <a:pt x="267" y="510"/>
                    <a:pt x="267" y="510"/>
                    <a:pt x="267" y="510"/>
                  </a:cubicBezTo>
                  <a:cubicBezTo>
                    <a:pt x="266" y="509"/>
                    <a:pt x="266" y="509"/>
                    <a:pt x="267" y="509"/>
                  </a:cubicBezTo>
                  <a:cubicBezTo>
                    <a:pt x="267" y="509"/>
                    <a:pt x="267" y="509"/>
                    <a:pt x="268" y="509"/>
                  </a:cubicBezTo>
                  <a:cubicBezTo>
                    <a:pt x="268" y="509"/>
                    <a:pt x="267" y="508"/>
                    <a:pt x="267" y="508"/>
                  </a:cubicBezTo>
                  <a:cubicBezTo>
                    <a:pt x="267" y="508"/>
                    <a:pt x="267" y="508"/>
                    <a:pt x="267" y="508"/>
                  </a:cubicBezTo>
                  <a:cubicBezTo>
                    <a:pt x="267" y="508"/>
                    <a:pt x="267" y="508"/>
                    <a:pt x="267" y="508"/>
                  </a:cubicBezTo>
                  <a:cubicBezTo>
                    <a:pt x="266" y="508"/>
                    <a:pt x="266" y="509"/>
                    <a:pt x="266" y="508"/>
                  </a:cubicBezTo>
                  <a:cubicBezTo>
                    <a:pt x="266" y="508"/>
                    <a:pt x="266" y="508"/>
                    <a:pt x="266" y="508"/>
                  </a:cubicBezTo>
                  <a:cubicBezTo>
                    <a:pt x="265" y="508"/>
                    <a:pt x="265" y="508"/>
                    <a:pt x="265" y="507"/>
                  </a:cubicBezTo>
                  <a:cubicBezTo>
                    <a:pt x="265" y="508"/>
                    <a:pt x="264" y="508"/>
                    <a:pt x="264" y="508"/>
                  </a:cubicBezTo>
                  <a:cubicBezTo>
                    <a:pt x="264" y="508"/>
                    <a:pt x="263" y="507"/>
                    <a:pt x="263" y="507"/>
                  </a:cubicBezTo>
                  <a:cubicBezTo>
                    <a:pt x="263" y="506"/>
                    <a:pt x="263" y="506"/>
                    <a:pt x="262" y="506"/>
                  </a:cubicBezTo>
                  <a:cubicBezTo>
                    <a:pt x="262" y="506"/>
                    <a:pt x="262" y="506"/>
                    <a:pt x="262" y="506"/>
                  </a:cubicBezTo>
                  <a:cubicBezTo>
                    <a:pt x="263" y="505"/>
                    <a:pt x="263" y="505"/>
                    <a:pt x="263" y="505"/>
                  </a:cubicBezTo>
                  <a:cubicBezTo>
                    <a:pt x="263" y="504"/>
                    <a:pt x="264" y="504"/>
                    <a:pt x="264" y="504"/>
                  </a:cubicBezTo>
                  <a:cubicBezTo>
                    <a:pt x="265" y="503"/>
                    <a:pt x="266" y="503"/>
                    <a:pt x="267" y="502"/>
                  </a:cubicBezTo>
                  <a:cubicBezTo>
                    <a:pt x="267" y="502"/>
                    <a:pt x="267" y="502"/>
                    <a:pt x="267" y="503"/>
                  </a:cubicBezTo>
                  <a:cubicBezTo>
                    <a:pt x="267" y="503"/>
                    <a:pt x="267" y="503"/>
                    <a:pt x="267" y="503"/>
                  </a:cubicBezTo>
                  <a:cubicBezTo>
                    <a:pt x="268" y="503"/>
                    <a:pt x="268" y="503"/>
                    <a:pt x="268" y="502"/>
                  </a:cubicBezTo>
                  <a:cubicBezTo>
                    <a:pt x="269" y="502"/>
                    <a:pt x="269" y="502"/>
                    <a:pt x="269" y="503"/>
                  </a:cubicBezTo>
                  <a:cubicBezTo>
                    <a:pt x="269" y="503"/>
                    <a:pt x="269" y="503"/>
                    <a:pt x="269" y="503"/>
                  </a:cubicBezTo>
                  <a:cubicBezTo>
                    <a:pt x="269" y="503"/>
                    <a:pt x="270" y="503"/>
                    <a:pt x="269" y="504"/>
                  </a:cubicBezTo>
                  <a:cubicBezTo>
                    <a:pt x="269" y="504"/>
                    <a:pt x="269" y="504"/>
                    <a:pt x="269" y="504"/>
                  </a:cubicBezTo>
                  <a:cubicBezTo>
                    <a:pt x="269" y="505"/>
                    <a:pt x="269" y="505"/>
                    <a:pt x="269" y="505"/>
                  </a:cubicBezTo>
                  <a:cubicBezTo>
                    <a:pt x="269" y="505"/>
                    <a:pt x="269" y="505"/>
                    <a:pt x="269" y="506"/>
                  </a:cubicBezTo>
                  <a:cubicBezTo>
                    <a:pt x="269" y="506"/>
                    <a:pt x="269" y="506"/>
                    <a:pt x="269" y="506"/>
                  </a:cubicBezTo>
                  <a:cubicBezTo>
                    <a:pt x="269" y="506"/>
                    <a:pt x="269" y="506"/>
                    <a:pt x="269" y="506"/>
                  </a:cubicBezTo>
                  <a:cubicBezTo>
                    <a:pt x="270" y="506"/>
                    <a:pt x="271" y="505"/>
                    <a:pt x="271" y="505"/>
                  </a:cubicBezTo>
                  <a:cubicBezTo>
                    <a:pt x="271" y="504"/>
                    <a:pt x="272" y="504"/>
                    <a:pt x="272" y="503"/>
                  </a:cubicBezTo>
                  <a:cubicBezTo>
                    <a:pt x="272" y="503"/>
                    <a:pt x="272" y="503"/>
                    <a:pt x="272" y="503"/>
                  </a:cubicBezTo>
                  <a:cubicBezTo>
                    <a:pt x="272" y="503"/>
                    <a:pt x="272" y="503"/>
                    <a:pt x="272" y="503"/>
                  </a:cubicBezTo>
                  <a:cubicBezTo>
                    <a:pt x="272" y="503"/>
                    <a:pt x="272" y="503"/>
                    <a:pt x="272" y="503"/>
                  </a:cubicBezTo>
                  <a:cubicBezTo>
                    <a:pt x="272" y="504"/>
                    <a:pt x="272" y="504"/>
                    <a:pt x="273" y="504"/>
                  </a:cubicBezTo>
                  <a:cubicBezTo>
                    <a:pt x="273" y="504"/>
                    <a:pt x="273" y="504"/>
                    <a:pt x="273" y="504"/>
                  </a:cubicBezTo>
                  <a:cubicBezTo>
                    <a:pt x="273" y="504"/>
                    <a:pt x="273" y="504"/>
                    <a:pt x="273" y="504"/>
                  </a:cubicBezTo>
                  <a:cubicBezTo>
                    <a:pt x="273" y="504"/>
                    <a:pt x="273" y="503"/>
                    <a:pt x="273" y="503"/>
                  </a:cubicBezTo>
                  <a:cubicBezTo>
                    <a:pt x="274" y="503"/>
                    <a:pt x="273" y="504"/>
                    <a:pt x="274" y="504"/>
                  </a:cubicBezTo>
                  <a:cubicBezTo>
                    <a:pt x="274" y="504"/>
                    <a:pt x="273" y="505"/>
                    <a:pt x="274" y="504"/>
                  </a:cubicBezTo>
                  <a:cubicBezTo>
                    <a:pt x="274" y="504"/>
                    <a:pt x="274" y="505"/>
                    <a:pt x="274" y="505"/>
                  </a:cubicBezTo>
                  <a:cubicBezTo>
                    <a:pt x="274" y="505"/>
                    <a:pt x="273" y="506"/>
                    <a:pt x="273" y="505"/>
                  </a:cubicBezTo>
                  <a:cubicBezTo>
                    <a:pt x="273" y="505"/>
                    <a:pt x="272" y="505"/>
                    <a:pt x="272" y="506"/>
                  </a:cubicBezTo>
                  <a:cubicBezTo>
                    <a:pt x="272" y="506"/>
                    <a:pt x="272" y="506"/>
                    <a:pt x="272" y="507"/>
                  </a:cubicBezTo>
                  <a:cubicBezTo>
                    <a:pt x="271" y="507"/>
                    <a:pt x="271" y="507"/>
                    <a:pt x="270" y="507"/>
                  </a:cubicBezTo>
                  <a:cubicBezTo>
                    <a:pt x="271" y="508"/>
                    <a:pt x="270" y="508"/>
                    <a:pt x="269" y="508"/>
                  </a:cubicBezTo>
                  <a:cubicBezTo>
                    <a:pt x="269" y="508"/>
                    <a:pt x="270" y="508"/>
                    <a:pt x="270" y="508"/>
                  </a:cubicBezTo>
                  <a:cubicBezTo>
                    <a:pt x="270" y="509"/>
                    <a:pt x="270" y="509"/>
                    <a:pt x="270" y="509"/>
                  </a:cubicBezTo>
                  <a:cubicBezTo>
                    <a:pt x="270" y="509"/>
                    <a:pt x="270" y="509"/>
                    <a:pt x="271" y="509"/>
                  </a:cubicBezTo>
                  <a:cubicBezTo>
                    <a:pt x="271" y="509"/>
                    <a:pt x="271" y="509"/>
                    <a:pt x="271" y="509"/>
                  </a:cubicBezTo>
                  <a:cubicBezTo>
                    <a:pt x="271" y="509"/>
                    <a:pt x="271" y="508"/>
                    <a:pt x="271" y="508"/>
                  </a:cubicBezTo>
                  <a:cubicBezTo>
                    <a:pt x="272" y="508"/>
                    <a:pt x="272" y="508"/>
                    <a:pt x="272" y="508"/>
                  </a:cubicBezTo>
                  <a:cubicBezTo>
                    <a:pt x="272" y="508"/>
                    <a:pt x="272" y="508"/>
                    <a:pt x="272" y="508"/>
                  </a:cubicBezTo>
                  <a:cubicBezTo>
                    <a:pt x="272" y="508"/>
                    <a:pt x="272" y="508"/>
                    <a:pt x="273" y="508"/>
                  </a:cubicBezTo>
                  <a:cubicBezTo>
                    <a:pt x="273" y="508"/>
                    <a:pt x="273" y="508"/>
                    <a:pt x="273" y="508"/>
                  </a:cubicBezTo>
                  <a:cubicBezTo>
                    <a:pt x="273" y="508"/>
                    <a:pt x="273" y="508"/>
                    <a:pt x="273" y="508"/>
                  </a:cubicBezTo>
                  <a:cubicBezTo>
                    <a:pt x="273" y="509"/>
                    <a:pt x="273" y="509"/>
                    <a:pt x="273" y="509"/>
                  </a:cubicBezTo>
                  <a:close/>
                  <a:moveTo>
                    <a:pt x="184" y="543"/>
                  </a:moveTo>
                  <a:cubicBezTo>
                    <a:pt x="184" y="543"/>
                    <a:pt x="183" y="543"/>
                    <a:pt x="183" y="543"/>
                  </a:cubicBezTo>
                  <a:cubicBezTo>
                    <a:pt x="183" y="543"/>
                    <a:pt x="183" y="543"/>
                    <a:pt x="182" y="543"/>
                  </a:cubicBezTo>
                  <a:cubicBezTo>
                    <a:pt x="182" y="543"/>
                    <a:pt x="181" y="543"/>
                    <a:pt x="181" y="543"/>
                  </a:cubicBezTo>
                  <a:cubicBezTo>
                    <a:pt x="180" y="543"/>
                    <a:pt x="180" y="543"/>
                    <a:pt x="180" y="542"/>
                  </a:cubicBezTo>
                  <a:cubicBezTo>
                    <a:pt x="179" y="542"/>
                    <a:pt x="178" y="543"/>
                    <a:pt x="177" y="543"/>
                  </a:cubicBezTo>
                  <a:cubicBezTo>
                    <a:pt x="176" y="543"/>
                    <a:pt x="175" y="542"/>
                    <a:pt x="174" y="543"/>
                  </a:cubicBezTo>
                  <a:cubicBezTo>
                    <a:pt x="174" y="543"/>
                    <a:pt x="175" y="543"/>
                    <a:pt x="175" y="544"/>
                  </a:cubicBezTo>
                  <a:cubicBezTo>
                    <a:pt x="175" y="544"/>
                    <a:pt x="176" y="544"/>
                    <a:pt x="177" y="544"/>
                  </a:cubicBezTo>
                  <a:cubicBezTo>
                    <a:pt x="177" y="544"/>
                    <a:pt x="178" y="544"/>
                    <a:pt x="179" y="544"/>
                  </a:cubicBezTo>
                  <a:cubicBezTo>
                    <a:pt x="179" y="544"/>
                    <a:pt x="180" y="544"/>
                    <a:pt x="180" y="545"/>
                  </a:cubicBezTo>
                  <a:cubicBezTo>
                    <a:pt x="180" y="545"/>
                    <a:pt x="181" y="545"/>
                    <a:pt x="181" y="545"/>
                  </a:cubicBezTo>
                  <a:cubicBezTo>
                    <a:pt x="182" y="544"/>
                    <a:pt x="183" y="544"/>
                    <a:pt x="183" y="544"/>
                  </a:cubicBezTo>
                  <a:cubicBezTo>
                    <a:pt x="183" y="544"/>
                    <a:pt x="183" y="544"/>
                    <a:pt x="184" y="544"/>
                  </a:cubicBezTo>
                  <a:cubicBezTo>
                    <a:pt x="185" y="544"/>
                    <a:pt x="186" y="544"/>
                    <a:pt x="187" y="544"/>
                  </a:cubicBezTo>
                  <a:cubicBezTo>
                    <a:pt x="187" y="544"/>
                    <a:pt x="187" y="544"/>
                    <a:pt x="188" y="543"/>
                  </a:cubicBezTo>
                  <a:cubicBezTo>
                    <a:pt x="187" y="543"/>
                    <a:pt x="187" y="543"/>
                    <a:pt x="187" y="543"/>
                  </a:cubicBezTo>
                  <a:cubicBezTo>
                    <a:pt x="186" y="543"/>
                    <a:pt x="185" y="543"/>
                    <a:pt x="184" y="543"/>
                  </a:cubicBezTo>
                  <a:close/>
                  <a:moveTo>
                    <a:pt x="174" y="538"/>
                  </a:moveTo>
                  <a:cubicBezTo>
                    <a:pt x="174" y="538"/>
                    <a:pt x="174" y="538"/>
                    <a:pt x="174" y="537"/>
                  </a:cubicBezTo>
                  <a:cubicBezTo>
                    <a:pt x="173" y="537"/>
                    <a:pt x="172" y="536"/>
                    <a:pt x="171" y="537"/>
                  </a:cubicBezTo>
                  <a:cubicBezTo>
                    <a:pt x="171" y="537"/>
                    <a:pt x="170" y="537"/>
                    <a:pt x="170" y="538"/>
                  </a:cubicBezTo>
                  <a:cubicBezTo>
                    <a:pt x="170" y="539"/>
                    <a:pt x="170" y="539"/>
                    <a:pt x="169" y="539"/>
                  </a:cubicBezTo>
                  <a:cubicBezTo>
                    <a:pt x="169" y="538"/>
                    <a:pt x="168" y="539"/>
                    <a:pt x="169" y="539"/>
                  </a:cubicBezTo>
                  <a:cubicBezTo>
                    <a:pt x="169" y="539"/>
                    <a:pt x="169" y="539"/>
                    <a:pt x="170" y="539"/>
                  </a:cubicBezTo>
                  <a:cubicBezTo>
                    <a:pt x="170" y="539"/>
                    <a:pt x="170" y="539"/>
                    <a:pt x="170" y="539"/>
                  </a:cubicBezTo>
                  <a:cubicBezTo>
                    <a:pt x="170" y="539"/>
                    <a:pt x="171" y="539"/>
                    <a:pt x="171" y="540"/>
                  </a:cubicBezTo>
                  <a:cubicBezTo>
                    <a:pt x="171" y="540"/>
                    <a:pt x="171" y="540"/>
                    <a:pt x="171" y="540"/>
                  </a:cubicBezTo>
                  <a:cubicBezTo>
                    <a:pt x="171" y="540"/>
                    <a:pt x="171" y="540"/>
                    <a:pt x="171" y="540"/>
                  </a:cubicBezTo>
                  <a:cubicBezTo>
                    <a:pt x="171" y="541"/>
                    <a:pt x="170" y="541"/>
                    <a:pt x="169" y="541"/>
                  </a:cubicBezTo>
                  <a:cubicBezTo>
                    <a:pt x="169" y="541"/>
                    <a:pt x="169" y="540"/>
                    <a:pt x="168" y="541"/>
                  </a:cubicBezTo>
                  <a:cubicBezTo>
                    <a:pt x="168" y="541"/>
                    <a:pt x="169" y="541"/>
                    <a:pt x="169" y="541"/>
                  </a:cubicBezTo>
                  <a:cubicBezTo>
                    <a:pt x="169" y="542"/>
                    <a:pt x="169" y="542"/>
                    <a:pt x="169" y="542"/>
                  </a:cubicBezTo>
                  <a:cubicBezTo>
                    <a:pt x="168" y="541"/>
                    <a:pt x="167" y="542"/>
                    <a:pt x="167" y="542"/>
                  </a:cubicBezTo>
                  <a:cubicBezTo>
                    <a:pt x="167" y="542"/>
                    <a:pt x="167" y="542"/>
                    <a:pt x="168" y="543"/>
                  </a:cubicBezTo>
                  <a:cubicBezTo>
                    <a:pt x="167" y="542"/>
                    <a:pt x="167" y="542"/>
                    <a:pt x="167" y="542"/>
                  </a:cubicBezTo>
                  <a:cubicBezTo>
                    <a:pt x="167" y="542"/>
                    <a:pt x="167" y="542"/>
                    <a:pt x="166" y="543"/>
                  </a:cubicBezTo>
                  <a:cubicBezTo>
                    <a:pt x="166" y="543"/>
                    <a:pt x="166" y="543"/>
                    <a:pt x="165" y="543"/>
                  </a:cubicBezTo>
                  <a:cubicBezTo>
                    <a:pt x="165" y="543"/>
                    <a:pt x="165" y="543"/>
                    <a:pt x="165" y="543"/>
                  </a:cubicBezTo>
                  <a:cubicBezTo>
                    <a:pt x="164" y="543"/>
                    <a:pt x="164" y="543"/>
                    <a:pt x="164" y="543"/>
                  </a:cubicBezTo>
                  <a:cubicBezTo>
                    <a:pt x="163" y="543"/>
                    <a:pt x="163" y="543"/>
                    <a:pt x="162" y="544"/>
                  </a:cubicBezTo>
                  <a:cubicBezTo>
                    <a:pt x="162" y="544"/>
                    <a:pt x="162" y="544"/>
                    <a:pt x="162" y="544"/>
                  </a:cubicBezTo>
                  <a:cubicBezTo>
                    <a:pt x="161" y="544"/>
                    <a:pt x="161" y="544"/>
                    <a:pt x="161" y="544"/>
                  </a:cubicBezTo>
                  <a:cubicBezTo>
                    <a:pt x="161" y="545"/>
                    <a:pt x="160" y="545"/>
                    <a:pt x="160" y="544"/>
                  </a:cubicBezTo>
                  <a:cubicBezTo>
                    <a:pt x="160" y="544"/>
                    <a:pt x="159" y="544"/>
                    <a:pt x="159" y="544"/>
                  </a:cubicBezTo>
                  <a:cubicBezTo>
                    <a:pt x="159" y="544"/>
                    <a:pt x="158" y="544"/>
                    <a:pt x="157" y="545"/>
                  </a:cubicBezTo>
                  <a:cubicBezTo>
                    <a:pt x="158" y="545"/>
                    <a:pt x="159" y="545"/>
                    <a:pt x="160" y="545"/>
                  </a:cubicBezTo>
                  <a:cubicBezTo>
                    <a:pt x="161" y="545"/>
                    <a:pt x="161" y="545"/>
                    <a:pt x="162" y="545"/>
                  </a:cubicBezTo>
                  <a:cubicBezTo>
                    <a:pt x="162" y="545"/>
                    <a:pt x="162" y="544"/>
                    <a:pt x="163" y="545"/>
                  </a:cubicBezTo>
                  <a:cubicBezTo>
                    <a:pt x="163" y="545"/>
                    <a:pt x="164" y="545"/>
                    <a:pt x="165" y="545"/>
                  </a:cubicBezTo>
                  <a:cubicBezTo>
                    <a:pt x="165" y="545"/>
                    <a:pt x="165" y="545"/>
                    <a:pt x="165" y="545"/>
                  </a:cubicBezTo>
                  <a:cubicBezTo>
                    <a:pt x="165" y="544"/>
                    <a:pt x="166" y="544"/>
                    <a:pt x="166" y="545"/>
                  </a:cubicBezTo>
                  <a:cubicBezTo>
                    <a:pt x="167" y="544"/>
                    <a:pt x="167" y="545"/>
                    <a:pt x="168" y="544"/>
                  </a:cubicBezTo>
                  <a:cubicBezTo>
                    <a:pt x="168" y="544"/>
                    <a:pt x="168" y="544"/>
                    <a:pt x="168" y="544"/>
                  </a:cubicBezTo>
                  <a:cubicBezTo>
                    <a:pt x="168" y="544"/>
                    <a:pt x="168" y="544"/>
                    <a:pt x="168" y="544"/>
                  </a:cubicBezTo>
                  <a:cubicBezTo>
                    <a:pt x="168" y="544"/>
                    <a:pt x="168" y="544"/>
                    <a:pt x="169" y="544"/>
                  </a:cubicBezTo>
                  <a:cubicBezTo>
                    <a:pt x="169" y="544"/>
                    <a:pt x="169" y="544"/>
                    <a:pt x="169" y="544"/>
                  </a:cubicBezTo>
                  <a:cubicBezTo>
                    <a:pt x="169" y="544"/>
                    <a:pt x="169" y="544"/>
                    <a:pt x="169" y="544"/>
                  </a:cubicBezTo>
                  <a:cubicBezTo>
                    <a:pt x="169" y="544"/>
                    <a:pt x="169" y="543"/>
                    <a:pt x="169" y="543"/>
                  </a:cubicBezTo>
                  <a:cubicBezTo>
                    <a:pt x="169" y="543"/>
                    <a:pt x="170" y="543"/>
                    <a:pt x="170" y="543"/>
                  </a:cubicBezTo>
                  <a:cubicBezTo>
                    <a:pt x="170" y="543"/>
                    <a:pt x="171" y="543"/>
                    <a:pt x="171" y="543"/>
                  </a:cubicBezTo>
                  <a:cubicBezTo>
                    <a:pt x="171" y="543"/>
                    <a:pt x="171" y="543"/>
                    <a:pt x="172" y="543"/>
                  </a:cubicBezTo>
                  <a:cubicBezTo>
                    <a:pt x="172" y="543"/>
                    <a:pt x="172" y="543"/>
                    <a:pt x="173" y="543"/>
                  </a:cubicBezTo>
                  <a:cubicBezTo>
                    <a:pt x="173" y="543"/>
                    <a:pt x="173" y="543"/>
                    <a:pt x="173" y="542"/>
                  </a:cubicBezTo>
                  <a:cubicBezTo>
                    <a:pt x="173" y="542"/>
                    <a:pt x="173" y="542"/>
                    <a:pt x="172" y="541"/>
                  </a:cubicBezTo>
                  <a:cubicBezTo>
                    <a:pt x="172" y="541"/>
                    <a:pt x="172" y="540"/>
                    <a:pt x="173" y="541"/>
                  </a:cubicBezTo>
                  <a:cubicBezTo>
                    <a:pt x="173" y="541"/>
                    <a:pt x="173" y="541"/>
                    <a:pt x="173" y="541"/>
                  </a:cubicBezTo>
                  <a:cubicBezTo>
                    <a:pt x="174" y="540"/>
                    <a:pt x="174" y="540"/>
                    <a:pt x="174" y="540"/>
                  </a:cubicBezTo>
                  <a:cubicBezTo>
                    <a:pt x="175" y="539"/>
                    <a:pt x="175" y="538"/>
                    <a:pt x="174" y="538"/>
                  </a:cubicBezTo>
                  <a:close/>
                  <a:moveTo>
                    <a:pt x="134" y="547"/>
                  </a:moveTo>
                  <a:cubicBezTo>
                    <a:pt x="133" y="547"/>
                    <a:pt x="133" y="547"/>
                    <a:pt x="133" y="547"/>
                  </a:cubicBezTo>
                  <a:cubicBezTo>
                    <a:pt x="133" y="548"/>
                    <a:pt x="133" y="548"/>
                    <a:pt x="133" y="548"/>
                  </a:cubicBezTo>
                  <a:cubicBezTo>
                    <a:pt x="133" y="549"/>
                    <a:pt x="133" y="550"/>
                    <a:pt x="132" y="550"/>
                  </a:cubicBezTo>
                  <a:cubicBezTo>
                    <a:pt x="131" y="550"/>
                    <a:pt x="130" y="550"/>
                    <a:pt x="129" y="551"/>
                  </a:cubicBezTo>
                  <a:cubicBezTo>
                    <a:pt x="129" y="551"/>
                    <a:pt x="128" y="551"/>
                    <a:pt x="128" y="551"/>
                  </a:cubicBezTo>
                  <a:cubicBezTo>
                    <a:pt x="128" y="551"/>
                    <a:pt x="128" y="551"/>
                    <a:pt x="127" y="551"/>
                  </a:cubicBezTo>
                  <a:cubicBezTo>
                    <a:pt x="127" y="551"/>
                    <a:pt x="127" y="551"/>
                    <a:pt x="127" y="551"/>
                  </a:cubicBezTo>
                  <a:cubicBezTo>
                    <a:pt x="127" y="552"/>
                    <a:pt x="127" y="552"/>
                    <a:pt x="127" y="552"/>
                  </a:cubicBezTo>
                  <a:cubicBezTo>
                    <a:pt x="128" y="552"/>
                    <a:pt x="128" y="552"/>
                    <a:pt x="128" y="552"/>
                  </a:cubicBezTo>
                  <a:cubicBezTo>
                    <a:pt x="128" y="551"/>
                    <a:pt x="128" y="551"/>
                    <a:pt x="129" y="551"/>
                  </a:cubicBezTo>
                  <a:cubicBezTo>
                    <a:pt x="129" y="551"/>
                    <a:pt x="129" y="552"/>
                    <a:pt x="130" y="551"/>
                  </a:cubicBezTo>
                  <a:cubicBezTo>
                    <a:pt x="130" y="551"/>
                    <a:pt x="131" y="551"/>
                    <a:pt x="131" y="551"/>
                  </a:cubicBezTo>
                  <a:cubicBezTo>
                    <a:pt x="131" y="551"/>
                    <a:pt x="131" y="551"/>
                    <a:pt x="132" y="551"/>
                  </a:cubicBezTo>
                  <a:cubicBezTo>
                    <a:pt x="132" y="552"/>
                    <a:pt x="132" y="552"/>
                    <a:pt x="132" y="552"/>
                  </a:cubicBezTo>
                  <a:cubicBezTo>
                    <a:pt x="132" y="552"/>
                    <a:pt x="133" y="552"/>
                    <a:pt x="133" y="552"/>
                  </a:cubicBezTo>
                  <a:cubicBezTo>
                    <a:pt x="133" y="551"/>
                    <a:pt x="133" y="551"/>
                    <a:pt x="134" y="551"/>
                  </a:cubicBezTo>
                  <a:cubicBezTo>
                    <a:pt x="134" y="551"/>
                    <a:pt x="134" y="551"/>
                    <a:pt x="134" y="551"/>
                  </a:cubicBezTo>
                  <a:cubicBezTo>
                    <a:pt x="134" y="550"/>
                    <a:pt x="135" y="550"/>
                    <a:pt x="134" y="549"/>
                  </a:cubicBezTo>
                  <a:cubicBezTo>
                    <a:pt x="134" y="549"/>
                    <a:pt x="134" y="549"/>
                    <a:pt x="135" y="549"/>
                  </a:cubicBezTo>
                  <a:cubicBezTo>
                    <a:pt x="135" y="548"/>
                    <a:pt x="135" y="548"/>
                    <a:pt x="135" y="547"/>
                  </a:cubicBezTo>
                  <a:cubicBezTo>
                    <a:pt x="135" y="547"/>
                    <a:pt x="134" y="546"/>
                    <a:pt x="134" y="547"/>
                  </a:cubicBezTo>
                  <a:close/>
                  <a:moveTo>
                    <a:pt x="66" y="546"/>
                  </a:moveTo>
                  <a:cubicBezTo>
                    <a:pt x="65" y="546"/>
                    <a:pt x="66" y="546"/>
                    <a:pt x="66" y="545"/>
                  </a:cubicBezTo>
                  <a:cubicBezTo>
                    <a:pt x="67" y="545"/>
                    <a:pt x="67" y="544"/>
                    <a:pt x="67" y="544"/>
                  </a:cubicBezTo>
                  <a:cubicBezTo>
                    <a:pt x="67" y="543"/>
                    <a:pt x="67" y="543"/>
                    <a:pt x="67" y="543"/>
                  </a:cubicBezTo>
                  <a:cubicBezTo>
                    <a:pt x="66" y="542"/>
                    <a:pt x="66" y="542"/>
                    <a:pt x="66" y="543"/>
                  </a:cubicBezTo>
                  <a:cubicBezTo>
                    <a:pt x="66" y="543"/>
                    <a:pt x="66" y="543"/>
                    <a:pt x="66" y="544"/>
                  </a:cubicBezTo>
                  <a:cubicBezTo>
                    <a:pt x="66" y="544"/>
                    <a:pt x="65" y="544"/>
                    <a:pt x="65" y="545"/>
                  </a:cubicBezTo>
                  <a:cubicBezTo>
                    <a:pt x="65" y="545"/>
                    <a:pt x="65" y="546"/>
                    <a:pt x="64" y="546"/>
                  </a:cubicBezTo>
                  <a:cubicBezTo>
                    <a:pt x="64" y="546"/>
                    <a:pt x="63" y="546"/>
                    <a:pt x="63" y="547"/>
                  </a:cubicBezTo>
                  <a:cubicBezTo>
                    <a:pt x="63" y="547"/>
                    <a:pt x="63" y="547"/>
                    <a:pt x="63" y="547"/>
                  </a:cubicBezTo>
                  <a:cubicBezTo>
                    <a:pt x="62" y="547"/>
                    <a:pt x="62" y="547"/>
                    <a:pt x="61" y="548"/>
                  </a:cubicBezTo>
                  <a:cubicBezTo>
                    <a:pt x="62" y="548"/>
                    <a:pt x="62" y="548"/>
                    <a:pt x="62" y="548"/>
                  </a:cubicBezTo>
                  <a:cubicBezTo>
                    <a:pt x="62" y="549"/>
                    <a:pt x="63" y="549"/>
                    <a:pt x="63" y="549"/>
                  </a:cubicBezTo>
                  <a:cubicBezTo>
                    <a:pt x="63" y="549"/>
                    <a:pt x="63" y="548"/>
                    <a:pt x="63" y="548"/>
                  </a:cubicBezTo>
                  <a:cubicBezTo>
                    <a:pt x="63" y="547"/>
                    <a:pt x="63" y="547"/>
                    <a:pt x="64" y="547"/>
                  </a:cubicBezTo>
                  <a:cubicBezTo>
                    <a:pt x="65" y="547"/>
                    <a:pt x="65" y="547"/>
                    <a:pt x="66" y="547"/>
                  </a:cubicBezTo>
                  <a:cubicBezTo>
                    <a:pt x="66" y="547"/>
                    <a:pt x="66" y="547"/>
                    <a:pt x="67" y="547"/>
                  </a:cubicBezTo>
                  <a:cubicBezTo>
                    <a:pt x="67" y="547"/>
                    <a:pt x="67" y="546"/>
                    <a:pt x="66" y="546"/>
                  </a:cubicBezTo>
                  <a:close/>
                  <a:moveTo>
                    <a:pt x="13" y="528"/>
                  </a:moveTo>
                  <a:cubicBezTo>
                    <a:pt x="13" y="527"/>
                    <a:pt x="13" y="527"/>
                    <a:pt x="12" y="527"/>
                  </a:cubicBezTo>
                  <a:cubicBezTo>
                    <a:pt x="12" y="527"/>
                    <a:pt x="12" y="527"/>
                    <a:pt x="11" y="527"/>
                  </a:cubicBezTo>
                  <a:cubicBezTo>
                    <a:pt x="11" y="527"/>
                    <a:pt x="11" y="527"/>
                    <a:pt x="11" y="527"/>
                  </a:cubicBezTo>
                  <a:cubicBezTo>
                    <a:pt x="11" y="526"/>
                    <a:pt x="11" y="526"/>
                    <a:pt x="11" y="526"/>
                  </a:cubicBezTo>
                  <a:cubicBezTo>
                    <a:pt x="11" y="526"/>
                    <a:pt x="11" y="526"/>
                    <a:pt x="10" y="526"/>
                  </a:cubicBezTo>
                  <a:cubicBezTo>
                    <a:pt x="10" y="525"/>
                    <a:pt x="10" y="526"/>
                    <a:pt x="10" y="526"/>
                  </a:cubicBezTo>
                  <a:cubicBezTo>
                    <a:pt x="10" y="526"/>
                    <a:pt x="9" y="526"/>
                    <a:pt x="9" y="526"/>
                  </a:cubicBezTo>
                  <a:cubicBezTo>
                    <a:pt x="9" y="526"/>
                    <a:pt x="9" y="526"/>
                    <a:pt x="9" y="525"/>
                  </a:cubicBezTo>
                  <a:cubicBezTo>
                    <a:pt x="10" y="525"/>
                    <a:pt x="9" y="525"/>
                    <a:pt x="9" y="524"/>
                  </a:cubicBezTo>
                  <a:cubicBezTo>
                    <a:pt x="9" y="524"/>
                    <a:pt x="8" y="524"/>
                    <a:pt x="8" y="524"/>
                  </a:cubicBezTo>
                  <a:cubicBezTo>
                    <a:pt x="8" y="524"/>
                    <a:pt x="8" y="524"/>
                    <a:pt x="8" y="524"/>
                  </a:cubicBezTo>
                  <a:cubicBezTo>
                    <a:pt x="7" y="524"/>
                    <a:pt x="7" y="525"/>
                    <a:pt x="7" y="525"/>
                  </a:cubicBezTo>
                  <a:cubicBezTo>
                    <a:pt x="7" y="525"/>
                    <a:pt x="6" y="525"/>
                    <a:pt x="6" y="525"/>
                  </a:cubicBezTo>
                  <a:cubicBezTo>
                    <a:pt x="6" y="524"/>
                    <a:pt x="6" y="524"/>
                    <a:pt x="6" y="524"/>
                  </a:cubicBezTo>
                  <a:cubicBezTo>
                    <a:pt x="5" y="524"/>
                    <a:pt x="4" y="524"/>
                    <a:pt x="4" y="524"/>
                  </a:cubicBezTo>
                  <a:cubicBezTo>
                    <a:pt x="3" y="524"/>
                    <a:pt x="3" y="524"/>
                    <a:pt x="3" y="524"/>
                  </a:cubicBezTo>
                  <a:cubicBezTo>
                    <a:pt x="2" y="525"/>
                    <a:pt x="2" y="525"/>
                    <a:pt x="1" y="525"/>
                  </a:cubicBezTo>
                  <a:cubicBezTo>
                    <a:pt x="1" y="526"/>
                    <a:pt x="0" y="526"/>
                    <a:pt x="1" y="526"/>
                  </a:cubicBezTo>
                  <a:cubicBezTo>
                    <a:pt x="1" y="526"/>
                    <a:pt x="1" y="526"/>
                    <a:pt x="1" y="526"/>
                  </a:cubicBezTo>
                  <a:cubicBezTo>
                    <a:pt x="2" y="526"/>
                    <a:pt x="2" y="526"/>
                    <a:pt x="3" y="526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3" y="526"/>
                    <a:pt x="3" y="527"/>
                    <a:pt x="3" y="527"/>
                  </a:cubicBezTo>
                  <a:cubicBezTo>
                    <a:pt x="3" y="527"/>
                    <a:pt x="3" y="527"/>
                    <a:pt x="3" y="527"/>
                  </a:cubicBezTo>
                  <a:cubicBezTo>
                    <a:pt x="3" y="527"/>
                    <a:pt x="3" y="527"/>
                    <a:pt x="3" y="527"/>
                  </a:cubicBezTo>
                  <a:cubicBezTo>
                    <a:pt x="3" y="527"/>
                    <a:pt x="4" y="527"/>
                    <a:pt x="4" y="527"/>
                  </a:cubicBezTo>
                  <a:cubicBezTo>
                    <a:pt x="4" y="527"/>
                    <a:pt x="3" y="527"/>
                    <a:pt x="3" y="527"/>
                  </a:cubicBezTo>
                  <a:cubicBezTo>
                    <a:pt x="4" y="527"/>
                    <a:pt x="4" y="527"/>
                    <a:pt x="4" y="527"/>
                  </a:cubicBezTo>
                  <a:cubicBezTo>
                    <a:pt x="4" y="527"/>
                    <a:pt x="4" y="527"/>
                    <a:pt x="4" y="527"/>
                  </a:cubicBezTo>
                  <a:cubicBezTo>
                    <a:pt x="4" y="527"/>
                    <a:pt x="4" y="527"/>
                    <a:pt x="4" y="527"/>
                  </a:cubicBezTo>
                  <a:cubicBezTo>
                    <a:pt x="4" y="527"/>
                    <a:pt x="4" y="528"/>
                    <a:pt x="4" y="528"/>
                  </a:cubicBezTo>
                  <a:cubicBezTo>
                    <a:pt x="4" y="528"/>
                    <a:pt x="4" y="529"/>
                    <a:pt x="4" y="529"/>
                  </a:cubicBezTo>
                  <a:cubicBezTo>
                    <a:pt x="5" y="529"/>
                    <a:pt x="5" y="529"/>
                    <a:pt x="5" y="529"/>
                  </a:cubicBezTo>
                  <a:cubicBezTo>
                    <a:pt x="5" y="528"/>
                    <a:pt x="6" y="529"/>
                    <a:pt x="6" y="529"/>
                  </a:cubicBezTo>
                  <a:cubicBezTo>
                    <a:pt x="6" y="530"/>
                    <a:pt x="6" y="530"/>
                    <a:pt x="7" y="529"/>
                  </a:cubicBezTo>
                  <a:cubicBezTo>
                    <a:pt x="7" y="529"/>
                    <a:pt x="7" y="528"/>
                    <a:pt x="8" y="528"/>
                  </a:cubicBezTo>
                  <a:cubicBezTo>
                    <a:pt x="8" y="528"/>
                    <a:pt x="8" y="528"/>
                    <a:pt x="9" y="528"/>
                  </a:cubicBezTo>
                  <a:cubicBezTo>
                    <a:pt x="9" y="529"/>
                    <a:pt x="9" y="529"/>
                    <a:pt x="9" y="528"/>
                  </a:cubicBezTo>
                  <a:cubicBezTo>
                    <a:pt x="10" y="528"/>
                    <a:pt x="10" y="528"/>
                    <a:pt x="10" y="528"/>
                  </a:cubicBezTo>
                  <a:cubicBezTo>
                    <a:pt x="10" y="527"/>
                    <a:pt x="10" y="527"/>
                    <a:pt x="11" y="528"/>
                  </a:cubicBezTo>
                  <a:cubicBezTo>
                    <a:pt x="11" y="528"/>
                    <a:pt x="11" y="528"/>
                    <a:pt x="11" y="528"/>
                  </a:cubicBezTo>
                  <a:cubicBezTo>
                    <a:pt x="12" y="528"/>
                    <a:pt x="12" y="528"/>
                    <a:pt x="12" y="528"/>
                  </a:cubicBezTo>
                  <a:cubicBezTo>
                    <a:pt x="13" y="528"/>
                    <a:pt x="13" y="528"/>
                    <a:pt x="13" y="528"/>
                  </a:cubicBezTo>
                  <a:close/>
                  <a:moveTo>
                    <a:pt x="17" y="535"/>
                  </a:moveTo>
                  <a:cubicBezTo>
                    <a:pt x="16" y="534"/>
                    <a:pt x="16" y="535"/>
                    <a:pt x="16" y="535"/>
                  </a:cubicBezTo>
                  <a:cubicBezTo>
                    <a:pt x="16" y="535"/>
                    <a:pt x="15" y="535"/>
                    <a:pt x="15" y="535"/>
                  </a:cubicBezTo>
                  <a:cubicBezTo>
                    <a:pt x="14" y="536"/>
                    <a:pt x="14" y="536"/>
                    <a:pt x="13" y="536"/>
                  </a:cubicBezTo>
                  <a:cubicBezTo>
                    <a:pt x="13" y="536"/>
                    <a:pt x="13" y="536"/>
                    <a:pt x="12" y="536"/>
                  </a:cubicBezTo>
                  <a:cubicBezTo>
                    <a:pt x="12" y="536"/>
                    <a:pt x="12" y="537"/>
                    <a:pt x="12" y="537"/>
                  </a:cubicBezTo>
                  <a:cubicBezTo>
                    <a:pt x="12" y="537"/>
                    <a:pt x="12" y="537"/>
                    <a:pt x="12" y="537"/>
                  </a:cubicBezTo>
                  <a:cubicBezTo>
                    <a:pt x="13" y="537"/>
                    <a:pt x="14" y="537"/>
                    <a:pt x="14" y="537"/>
                  </a:cubicBezTo>
                  <a:cubicBezTo>
                    <a:pt x="15" y="537"/>
                    <a:pt x="15" y="537"/>
                    <a:pt x="16" y="538"/>
                  </a:cubicBezTo>
                  <a:cubicBezTo>
                    <a:pt x="16" y="538"/>
                    <a:pt x="16" y="538"/>
                    <a:pt x="16" y="538"/>
                  </a:cubicBezTo>
                  <a:cubicBezTo>
                    <a:pt x="17" y="538"/>
                    <a:pt x="17" y="538"/>
                    <a:pt x="17" y="537"/>
                  </a:cubicBezTo>
                  <a:cubicBezTo>
                    <a:pt x="17" y="537"/>
                    <a:pt x="17" y="537"/>
                    <a:pt x="17" y="536"/>
                  </a:cubicBezTo>
                  <a:cubicBezTo>
                    <a:pt x="16" y="536"/>
                    <a:pt x="16" y="536"/>
                    <a:pt x="17" y="535"/>
                  </a:cubicBezTo>
                  <a:cubicBezTo>
                    <a:pt x="17" y="535"/>
                    <a:pt x="17" y="535"/>
                    <a:pt x="17" y="535"/>
                  </a:cubicBezTo>
                  <a:cubicBezTo>
                    <a:pt x="17" y="535"/>
                    <a:pt x="17" y="535"/>
                    <a:pt x="17" y="535"/>
                  </a:cubicBezTo>
                  <a:close/>
                  <a:moveTo>
                    <a:pt x="93" y="545"/>
                  </a:moveTo>
                  <a:cubicBezTo>
                    <a:pt x="93" y="545"/>
                    <a:pt x="92" y="545"/>
                    <a:pt x="92" y="545"/>
                  </a:cubicBezTo>
                  <a:cubicBezTo>
                    <a:pt x="92" y="545"/>
                    <a:pt x="91" y="546"/>
                    <a:pt x="91" y="546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8"/>
                    <a:pt x="92" y="548"/>
                    <a:pt x="93" y="548"/>
                  </a:cubicBezTo>
                  <a:cubicBezTo>
                    <a:pt x="94" y="547"/>
                    <a:pt x="94" y="547"/>
                    <a:pt x="94" y="546"/>
                  </a:cubicBezTo>
                  <a:cubicBezTo>
                    <a:pt x="94" y="546"/>
                    <a:pt x="94" y="546"/>
                    <a:pt x="94" y="546"/>
                  </a:cubicBezTo>
                  <a:cubicBezTo>
                    <a:pt x="94" y="546"/>
                    <a:pt x="94" y="546"/>
                    <a:pt x="93" y="545"/>
                  </a:cubicBezTo>
                  <a:close/>
                  <a:moveTo>
                    <a:pt x="195" y="537"/>
                  </a:moveTo>
                  <a:cubicBezTo>
                    <a:pt x="195" y="537"/>
                    <a:pt x="194" y="537"/>
                    <a:pt x="194" y="537"/>
                  </a:cubicBezTo>
                  <a:cubicBezTo>
                    <a:pt x="193" y="538"/>
                    <a:pt x="193" y="538"/>
                    <a:pt x="193" y="538"/>
                  </a:cubicBezTo>
                  <a:cubicBezTo>
                    <a:pt x="192" y="539"/>
                    <a:pt x="192" y="539"/>
                    <a:pt x="192" y="540"/>
                  </a:cubicBezTo>
                  <a:cubicBezTo>
                    <a:pt x="192" y="540"/>
                    <a:pt x="193" y="540"/>
                    <a:pt x="193" y="540"/>
                  </a:cubicBezTo>
                  <a:cubicBezTo>
                    <a:pt x="194" y="540"/>
                    <a:pt x="194" y="540"/>
                    <a:pt x="195" y="539"/>
                  </a:cubicBezTo>
                  <a:cubicBezTo>
                    <a:pt x="196" y="538"/>
                    <a:pt x="196" y="538"/>
                    <a:pt x="195" y="537"/>
                  </a:cubicBezTo>
                  <a:close/>
                  <a:moveTo>
                    <a:pt x="217" y="531"/>
                  </a:moveTo>
                  <a:cubicBezTo>
                    <a:pt x="216" y="531"/>
                    <a:pt x="216" y="532"/>
                    <a:pt x="216" y="532"/>
                  </a:cubicBezTo>
                  <a:cubicBezTo>
                    <a:pt x="215" y="532"/>
                    <a:pt x="215" y="533"/>
                    <a:pt x="215" y="533"/>
                  </a:cubicBezTo>
                  <a:cubicBezTo>
                    <a:pt x="215" y="534"/>
                    <a:pt x="215" y="534"/>
                    <a:pt x="215" y="534"/>
                  </a:cubicBezTo>
                  <a:cubicBezTo>
                    <a:pt x="215" y="534"/>
                    <a:pt x="216" y="534"/>
                    <a:pt x="216" y="534"/>
                  </a:cubicBezTo>
                  <a:cubicBezTo>
                    <a:pt x="216" y="533"/>
                    <a:pt x="216" y="533"/>
                    <a:pt x="217" y="533"/>
                  </a:cubicBezTo>
                  <a:cubicBezTo>
                    <a:pt x="218" y="533"/>
                    <a:pt x="218" y="533"/>
                    <a:pt x="218" y="532"/>
                  </a:cubicBezTo>
                  <a:cubicBezTo>
                    <a:pt x="218" y="532"/>
                    <a:pt x="218" y="532"/>
                    <a:pt x="218" y="531"/>
                  </a:cubicBezTo>
                  <a:cubicBezTo>
                    <a:pt x="218" y="531"/>
                    <a:pt x="217" y="531"/>
                    <a:pt x="217" y="531"/>
                  </a:cubicBezTo>
                  <a:close/>
                  <a:moveTo>
                    <a:pt x="285" y="498"/>
                  </a:moveTo>
                  <a:cubicBezTo>
                    <a:pt x="285" y="498"/>
                    <a:pt x="284" y="498"/>
                    <a:pt x="284" y="498"/>
                  </a:cubicBezTo>
                  <a:cubicBezTo>
                    <a:pt x="284" y="498"/>
                    <a:pt x="284" y="498"/>
                    <a:pt x="283" y="498"/>
                  </a:cubicBezTo>
                  <a:cubicBezTo>
                    <a:pt x="283" y="498"/>
                    <a:pt x="283" y="498"/>
                    <a:pt x="283" y="497"/>
                  </a:cubicBezTo>
                  <a:cubicBezTo>
                    <a:pt x="283" y="497"/>
                    <a:pt x="283" y="497"/>
                    <a:pt x="283" y="497"/>
                  </a:cubicBezTo>
                  <a:cubicBezTo>
                    <a:pt x="283" y="497"/>
                    <a:pt x="283" y="497"/>
                    <a:pt x="284" y="496"/>
                  </a:cubicBezTo>
                  <a:cubicBezTo>
                    <a:pt x="283" y="496"/>
                    <a:pt x="283" y="496"/>
                    <a:pt x="283" y="496"/>
                  </a:cubicBezTo>
                  <a:cubicBezTo>
                    <a:pt x="282" y="497"/>
                    <a:pt x="282" y="497"/>
                    <a:pt x="282" y="497"/>
                  </a:cubicBezTo>
                  <a:cubicBezTo>
                    <a:pt x="282" y="496"/>
                    <a:pt x="281" y="497"/>
                    <a:pt x="281" y="497"/>
                  </a:cubicBezTo>
                  <a:cubicBezTo>
                    <a:pt x="281" y="497"/>
                    <a:pt x="281" y="497"/>
                    <a:pt x="281" y="497"/>
                  </a:cubicBezTo>
                  <a:cubicBezTo>
                    <a:pt x="281" y="498"/>
                    <a:pt x="281" y="498"/>
                    <a:pt x="282" y="498"/>
                  </a:cubicBezTo>
                  <a:cubicBezTo>
                    <a:pt x="282" y="497"/>
                    <a:pt x="282" y="497"/>
                    <a:pt x="282" y="498"/>
                  </a:cubicBezTo>
                  <a:cubicBezTo>
                    <a:pt x="282" y="498"/>
                    <a:pt x="282" y="498"/>
                    <a:pt x="282" y="498"/>
                  </a:cubicBezTo>
                  <a:cubicBezTo>
                    <a:pt x="282" y="498"/>
                    <a:pt x="282" y="498"/>
                    <a:pt x="282" y="499"/>
                  </a:cubicBezTo>
                  <a:cubicBezTo>
                    <a:pt x="282" y="499"/>
                    <a:pt x="282" y="499"/>
                    <a:pt x="282" y="499"/>
                  </a:cubicBezTo>
                  <a:cubicBezTo>
                    <a:pt x="282" y="500"/>
                    <a:pt x="282" y="500"/>
                    <a:pt x="282" y="500"/>
                  </a:cubicBezTo>
                  <a:cubicBezTo>
                    <a:pt x="283" y="500"/>
                    <a:pt x="283" y="500"/>
                    <a:pt x="283" y="500"/>
                  </a:cubicBezTo>
                  <a:cubicBezTo>
                    <a:pt x="283" y="499"/>
                    <a:pt x="283" y="499"/>
                    <a:pt x="283" y="499"/>
                  </a:cubicBezTo>
                  <a:cubicBezTo>
                    <a:pt x="283" y="499"/>
                    <a:pt x="283" y="499"/>
                    <a:pt x="283" y="499"/>
                  </a:cubicBezTo>
                  <a:cubicBezTo>
                    <a:pt x="284" y="499"/>
                    <a:pt x="284" y="499"/>
                    <a:pt x="284" y="499"/>
                  </a:cubicBezTo>
                  <a:cubicBezTo>
                    <a:pt x="284" y="499"/>
                    <a:pt x="285" y="499"/>
                    <a:pt x="285" y="498"/>
                  </a:cubicBezTo>
                  <a:close/>
                  <a:moveTo>
                    <a:pt x="229" y="527"/>
                  </a:moveTo>
                  <a:cubicBezTo>
                    <a:pt x="229" y="527"/>
                    <a:pt x="228" y="527"/>
                    <a:pt x="227" y="527"/>
                  </a:cubicBezTo>
                  <a:cubicBezTo>
                    <a:pt x="227" y="527"/>
                    <a:pt x="227" y="527"/>
                    <a:pt x="226" y="527"/>
                  </a:cubicBezTo>
                  <a:cubicBezTo>
                    <a:pt x="226" y="527"/>
                    <a:pt x="226" y="527"/>
                    <a:pt x="226" y="528"/>
                  </a:cubicBezTo>
                  <a:cubicBezTo>
                    <a:pt x="225" y="528"/>
                    <a:pt x="226" y="529"/>
                    <a:pt x="226" y="529"/>
                  </a:cubicBezTo>
                  <a:cubicBezTo>
                    <a:pt x="226" y="529"/>
                    <a:pt x="227" y="529"/>
                    <a:pt x="227" y="528"/>
                  </a:cubicBezTo>
                  <a:cubicBezTo>
                    <a:pt x="227" y="528"/>
                    <a:pt x="227" y="528"/>
                    <a:pt x="227" y="528"/>
                  </a:cubicBezTo>
                  <a:cubicBezTo>
                    <a:pt x="228" y="528"/>
                    <a:pt x="228" y="528"/>
                    <a:pt x="229" y="529"/>
                  </a:cubicBezTo>
                  <a:cubicBezTo>
                    <a:pt x="229" y="529"/>
                    <a:pt x="229" y="529"/>
                    <a:pt x="229" y="529"/>
                  </a:cubicBezTo>
                  <a:cubicBezTo>
                    <a:pt x="230" y="529"/>
                    <a:pt x="230" y="527"/>
                    <a:pt x="229" y="527"/>
                  </a:cubicBezTo>
                  <a:close/>
                  <a:moveTo>
                    <a:pt x="147" y="545"/>
                  </a:moveTo>
                  <a:cubicBezTo>
                    <a:pt x="147" y="545"/>
                    <a:pt x="147" y="545"/>
                    <a:pt x="148" y="546"/>
                  </a:cubicBezTo>
                  <a:cubicBezTo>
                    <a:pt x="148" y="546"/>
                    <a:pt x="148" y="546"/>
                    <a:pt x="148" y="546"/>
                  </a:cubicBezTo>
                  <a:cubicBezTo>
                    <a:pt x="148" y="546"/>
                    <a:pt x="148" y="545"/>
                    <a:pt x="148" y="545"/>
                  </a:cubicBezTo>
                  <a:cubicBezTo>
                    <a:pt x="148" y="545"/>
                    <a:pt x="148" y="545"/>
                    <a:pt x="148" y="545"/>
                  </a:cubicBezTo>
                  <a:cubicBezTo>
                    <a:pt x="149" y="545"/>
                    <a:pt x="149" y="544"/>
                    <a:pt x="149" y="544"/>
                  </a:cubicBezTo>
                  <a:cubicBezTo>
                    <a:pt x="149" y="543"/>
                    <a:pt x="148" y="543"/>
                    <a:pt x="147" y="543"/>
                  </a:cubicBezTo>
                  <a:cubicBezTo>
                    <a:pt x="147" y="543"/>
                    <a:pt x="146" y="544"/>
                    <a:pt x="146" y="544"/>
                  </a:cubicBezTo>
                  <a:cubicBezTo>
                    <a:pt x="146" y="545"/>
                    <a:pt x="146" y="545"/>
                    <a:pt x="147" y="545"/>
                  </a:cubicBezTo>
                  <a:close/>
                  <a:moveTo>
                    <a:pt x="281" y="500"/>
                  </a:moveTo>
                  <a:cubicBezTo>
                    <a:pt x="281" y="500"/>
                    <a:pt x="281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500"/>
                    <a:pt x="280" y="500"/>
                    <a:pt x="280" y="500"/>
                  </a:cubicBezTo>
                  <a:cubicBezTo>
                    <a:pt x="280" y="499"/>
                    <a:pt x="280" y="500"/>
                    <a:pt x="280" y="499"/>
                  </a:cubicBezTo>
                  <a:cubicBezTo>
                    <a:pt x="280" y="499"/>
                    <a:pt x="280" y="499"/>
                    <a:pt x="280" y="499"/>
                  </a:cubicBezTo>
                  <a:cubicBezTo>
                    <a:pt x="280" y="499"/>
                    <a:pt x="280" y="499"/>
                    <a:pt x="279" y="499"/>
                  </a:cubicBezTo>
                  <a:cubicBezTo>
                    <a:pt x="279" y="499"/>
                    <a:pt x="279" y="499"/>
                    <a:pt x="279" y="499"/>
                  </a:cubicBezTo>
                  <a:cubicBezTo>
                    <a:pt x="279" y="498"/>
                    <a:pt x="279" y="498"/>
                    <a:pt x="278" y="498"/>
                  </a:cubicBezTo>
                  <a:cubicBezTo>
                    <a:pt x="278" y="498"/>
                    <a:pt x="278" y="498"/>
                    <a:pt x="278" y="498"/>
                  </a:cubicBezTo>
                  <a:cubicBezTo>
                    <a:pt x="277" y="498"/>
                    <a:pt x="277" y="498"/>
                    <a:pt x="276" y="499"/>
                  </a:cubicBezTo>
                  <a:cubicBezTo>
                    <a:pt x="276" y="499"/>
                    <a:pt x="275" y="500"/>
                    <a:pt x="276" y="501"/>
                  </a:cubicBezTo>
                  <a:cubicBezTo>
                    <a:pt x="276" y="501"/>
                    <a:pt x="276" y="501"/>
                    <a:pt x="276" y="501"/>
                  </a:cubicBezTo>
                  <a:cubicBezTo>
                    <a:pt x="276" y="502"/>
                    <a:pt x="277" y="502"/>
                    <a:pt x="277" y="501"/>
                  </a:cubicBezTo>
                  <a:cubicBezTo>
                    <a:pt x="277" y="501"/>
                    <a:pt x="277" y="501"/>
                    <a:pt x="277" y="501"/>
                  </a:cubicBezTo>
                  <a:cubicBezTo>
                    <a:pt x="277" y="501"/>
                    <a:pt x="278" y="501"/>
                    <a:pt x="278" y="501"/>
                  </a:cubicBezTo>
                  <a:cubicBezTo>
                    <a:pt x="278" y="502"/>
                    <a:pt x="278" y="502"/>
                    <a:pt x="279" y="502"/>
                  </a:cubicBezTo>
                  <a:cubicBezTo>
                    <a:pt x="279" y="502"/>
                    <a:pt x="279" y="501"/>
                    <a:pt x="279" y="501"/>
                  </a:cubicBezTo>
                  <a:cubicBezTo>
                    <a:pt x="279" y="501"/>
                    <a:pt x="279" y="501"/>
                    <a:pt x="279" y="501"/>
                  </a:cubicBezTo>
                  <a:cubicBezTo>
                    <a:pt x="280" y="501"/>
                    <a:pt x="281" y="501"/>
                    <a:pt x="281" y="500"/>
                  </a:cubicBezTo>
                  <a:cubicBezTo>
                    <a:pt x="281" y="500"/>
                    <a:pt x="281" y="500"/>
                    <a:pt x="281" y="500"/>
                  </a:cubicBezTo>
                  <a:cubicBezTo>
                    <a:pt x="281" y="500"/>
                    <a:pt x="281" y="500"/>
                    <a:pt x="281" y="500"/>
                  </a:cubicBezTo>
                  <a:close/>
                  <a:moveTo>
                    <a:pt x="145" y="549"/>
                  </a:moveTo>
                  <a:cubicBezTo>
                    <a:pt x="145" y="549"/>
                    <a:pt x="145" y="549"/>
                    <a:pt x="145" y="548"/>
                  </a:cubicBezTo>
                  <a:cubicBezTo>
                    <a:pt x="145" y="548"/>
                    <a:pt x="144" y="548"/>
                    <a:pt x="144" y="548"/>
                  </a:cubicBezTo>
                  <a:cubicBezTo>
                    <a:pt x="143" y="548"/>
                    <a:pt x="143" y="548"/>
                    <a:pt x="143" y="549"/>
                  </a:cubicBezTo>
                  <a:cubicBezTo>
                    <a:pt x="143" y="549"/>
                    <a:pt x="143" y="549"/>
                    <a:pt x="143" y="549"/>
                  </a:cubicBezTo>
                  <a:cubicBezTo>
                    <a:pt x="142" y="548"/>
                    <a:pt x="142" y="548"/>
                    <a:pt x="142" y="549"/>
                  </a:cubicBezTo>
                  <a:cubicBezTo>
                    <a:pt x="142" y="549"/>
                    <a:pt x="142" y="549"/>
                    <a:pt x="141" y="549"/>
                  </a:cubicBezTo>
                  <a:cubicBezTo>
                    <a:pt x="141" y="549"/>
                    <a:pt x="141" y="548"/>
                    <a:pt x="140" y="548"/>
                  </a:cubicBezTo>
                  <a:cubicBezTo>
                    <a:pt x="140" y="548"/>
                    <a:pt x="141" y="547"/>
                    <a:pt x="141" y="547"/>
                  </a:cubicBezTo>
                  <a:cubicBezTo>
                    <a:pt x="141" y="547"/>
                    <a:pt x="141" y="546"/>
                    <a:pt x="141" y="546"/>
                  </a:cubicBezTo>
                  <a:cubicBezTo>
                    <a:pt x="142" y="546"/>
                    <a:pt x="142" y="546"/>
                    <a:pt x="141" y="545"/>
                  </a:cubicBezTo>
                  <a:cubicBezTo>
                    <a:pt x="141" y="545"/>
                    <a:pt x="141" y="545"/>
                    <a:pt x="141" y="545"/>
                  </a:cubicBezTo>
                  <a:cubicBezTo>
                    <a:pt x="141" y="546"/>
                    <a:pt x="140" y="546"/>
                    <a:pt x="141" y="546"/>
                  </a:cubicBezTo>
                  <a:cubicBezTo>
                    <a:pt x="141" y="547"/>
                    <a:pt x="141" y="547"/>
                    <a:pt x="140" y="547"/>
                  </a:cubicBezTo>
                  <a:cubicBezTo>
                    <a:pt x="140" y="547"/>
                    <a:pt x="140" y="547"/>
                    <a:pt x="140" y="546"/>
                  </a:cubicBezTo>
                  <a:cubicBezTo>
                    <a:pt x="140" y="546"/>
                    <a:pt x="139" y="546"/>
                    <a:pt x="139" y="546"/>
                  </a:cubicBezTo>
                  <a:cubicBezTo>
                    <a:pt x="139" y="546"/>
                    <a:pt x="138" y="546"/>
                    <a:pt x="138" y="547"/>
                  </a:cubicBezTo>
                  <a:cubicBezTo>
                    <a:pt x="138" y="547"/>
                    <a:pt x="139" y="547"/>
                    <a:pt x="139" y="548"/>
                  </a:cubicBezTo>
                  <a:cubicBezTo>
                    <a:pt x="139" y="548"/>
                    <a:pt x="139" y="548"/>
                    <a:pt x="139" y="548"/>
                  </a:cubicBezTo>
                  <a:cubicBezTo>
                    <a:pt x="138" y="549"/>
                    <a:pt x="138" y="549"/>
                    <a:pt x="139" y="550"/>
                  </a:cubicBezTo>
                  <a:cubicBezTo>
                    <a:pt x="139" y="550"/>
                    <a:pt x="138" y="550"/>
                    <a:pt x="138" y="549"/>
                  </a:cubicBezTo>
                  <a:cubicBezTo>
                    <a:pt x="137" y="549"/>
                    <a:pt x="137" y="549"/>
                    <a:pt x="137" y="549"/>
                  </a:cubicBezTo>
                  <a:cubicBezTo>
                    <a:pt x="137" y="550"/>
                    <a:pt x="137" y="550"/>
                    <a:pt x="138" y="550"/>
                  </a:cubicBezTo>
                  <a:cubicBezTo>
                    <a:pt x="138" y="550"/>
                    <a:pt x="138" y="550"/>
                    <a:pt x="138" y="551"/>
                  </a:cubicBezTo>
                  <a:cubicBezTo>
                    <a:pt x="138" y="551"/>
                    <a:pt x="137" y="551"/>
                    <a:pt x="137" y="552"/>
                  </a:cubicBezTo>
                  <a:cubicBezTo>
                    <a:pt x="136" y="552"/>
                    <a:pt x="136" y="552"/>
                    <a:pt x="136" y="553"/>
                  </a:cubicBezTo>
                  <a:cubicBezTo>
                    <a:pt x="136" y="553"/>
                    <a:pt x="136" y="554"/>
                    <a:pt x="136" y="554"/>
                  </a:cubicBezTo>
                  <a:cubicBezTo>
                    <a:pt x="137" y="554"/>
                    <a:pt x="137" y="553"/>
                    <a:pt x="137" y="553"/>
                  </a:cubicBezTo>
                  <a:cubicBezTo>
                    <a:pt x="137" y="553"/>
                    <a:pt x="137" y="552"/>
                    <a:pt x="138" y="551"/>
                  </a:cubicBezTo>
                  <a:cubicBezTo>
                    <a:pt x="138" y="552"/>
                    <a:pt x="138" y="552"/>
                    <a:pt x="138" y="553"/>
                  </a:cubicBezTo>
                  <a:cubicBezTo>
                    <a:pt x="138" y="553"/>
                    <a:pt x="138" y="553"/>
                    <a:pt x="138" y="553"/>
                  </a:cubicBezTo>
                  <a:cubicBezTo>
                    <a:pt x="139" y="553"/>
                    <a:pt x="139" y="553"/>
                    <a:pt x="139" y="552"/>
                  </a:cubicBezTo>
                  <a:cubicBezTo>
                    <a:pt x="139" y="552"/>
                    <a:pt x="140" y="552"/>
                    <a:pt x="140" y="552"/>
                  </a:cubicBezTo>
                  <a:cubicBezTo>
                    <a:pt x="140" y="552"/>
                    <a:pt x="141" y="551"/>
                    <a:pt x="141" y="551"/>
                  </a:cubicBezTo>
                  <a:cubicBezTo>
                    <a:pt x="141" y="551"/>
                    <a:pt x="142" y="551"/>
                    <a:pt x="142" y="551"/>
                  </a:cubicBezTo>
                  <a:cubicBezTo>
                    <a:pt x="142" y="551"/>
                    <a:pt x="142" y="551"/>
                    <a:pt x="142" y="551"/>
                  </a:cubicBezTo>
                  <a:cubicBezTo>
                    <a:pt x="142" y="550"/>
                    <a:pt x="142" y="550"/>
                    <a:pt x="142" y="550"/>
                  </a:cubicBezTo>
                  <a:cubicBezTo>
                    <a:pt x="143" y="551"/>
                    <a:pt x="143" y="550"/>
                    <a:pt x="143" y="550"/>
                  </a:cubicBezTo>
                  <a:cubicBezTo>
                    <a:pt x="143" y="550"/>
                    <a:pt x="143" y="550"/>
                    <a:pt x="143" y="549"/>
                  </a:cubicBezTo>
                  <a:cubicBezTo>
                    <a:pt x="144" y="550"/>
                    <a:pt x="144" y="550"/>
                    <a:pt x="144" y="550"/>
                  </a:cubicBezTo>
                  <a:cubicBezTo>
                    <a:pt x="144" y="551"/>
                    <a:pt x="144" y="551"/>
                    <a:pt x="144" y="551"/>
                  </a:cubicBezTo>
                  <a:cubicBezTo>
                    <a:pt x="144" y="551"/>
                    <a:pt x="144" y="551"/>
                    <a:pt x="144" y="551"/>
                  </a:cubicBezTo>
                  <a:cubicBezTo>
                    <a:pt x="144" y="550"/>
                    <a:pt x="145" y="551"/>
                    <a:pt x="145" y="551"/>
                  </a:cubicBezTo>
                  <a:cubicBezTo>
                    <a:pt x="145" y="550"/>
                    <a:pt x="145" y="550"/>
                    <a:pt x="145" y="549"/>
                  </a:cubicBezTo>
                  <a:cubicBezTo>
                    <a:pt x="145" y="549"/>
                    <a:pt x="145" y="549"/>
                    <a:pt x="145" y="549"/>
                  </a:cubicBezTo>
                  <a:close/>
                  <a:moveTo>
                    <a:pt x="275" y="506"/>
                  </a:moveTo>
                  <a:cubicBezTo>
                    <a:pt x="275" y="506"/>
                    <a:pt x="274" y="506"/>
                    <a:pt x="274" y="507"/>
                  </a:cubicBezTo>
                  <a:cubicBezTo>
                    <a:pt x="274" y="507"/>
                    <a:pt x="274" y="507"/>
                    <a:pt x="274" y="507"/>
                  </a:cubicBezTo>
                  <a:cubicBezTo>
                    <a:pt x="274" y="507"/>
                    <a:pt x="273" y="507"/>
                    <a:pt x="273" y="507"/>
                  </a:cubicBezTo>
                  <a:cubicBezTo>
                    <a:pt x="273" y="508"/>
                    <a:pt x="273" y="508"/>
                    <a:pt x="273" y="508"/>
                  </a:cubicBezTo>
                  <a:cubicBezTo>
                    <a:pt x="273" y="509"/>
                    <a:pt x="274" y="509"/>
                    <a:pt x="274" y="509"/>
                  </a:cubicBezTo>
                  <a:cubicBezTo>
                    <a:pt x="274" y="509"/>
                    <a:pt x="275" y="508"/>
                    <a:pt x="275" y="508"/>
                  </a:cubicBezTo>
                  <a:cubicBezTo>
                    <a:pt x="275" y="508"/>
                    <a:pt x="275" y="508"/>
                    <a:pt x="275" y="508"/>
                  </a:cubicBezTo>
                  <a:cubicBezTo>
                    <a:pt x="275" y="508"/>
                    <a:pt x="275" y="507"/>
                    <a:pt x="275" y="507"/>
                  </a:cubicBezTo>
                  <a:cubicBezTo>
                    <a:pt x="275" y="507"/>
                    <a:pt x="275" y="506"/>
                    <a:pt x="276" y="506"/>
                  </a:cubicBezTo>
                  <a:cubicBezTo>
                    <a:pt x="276" y="506"/>
                    <a:pt x="276" y="506"/>
                    <a:pt x="276" y="506"/>
                  </a:cubicBezTo>
                  <a:cubicBezTo>
                    <a:pt x="276" y="506"/>
                    <a:pt x="275" y="506"/>
                    <a:pt x="275" y="506"/>
                  </a:cubicBezTo>
                  <a:close/>
                  <a:moveTo>
                    <a:pt x="290" y="500"/>
                  </a:moveTo>
                  <a:cubicBezTo>
                    <a:pt x="290" y="500"/>
                    <a:pt x="289" y="500"/>
                    <a:pt x="289" y="500"/>
                  </a:cubicBezTo>
                  <a:cubicBezTo>
                    <a:pt x="289" y="500"/>
                    <a:pt x="288" y="500"/>
                    <a:pt x="287" y="500"/>
                  </a:cubicBezTo>
                  <a:cubicBezTo>
                    <a:pt x="287" y="500"/>
                    <a:pt x="287" y="501"/>
                    <a:pt x="287" y="501"/>
                  </a:cubicBezTo>
                  <a:cubicBezTo>
                    <a:pt x="288" y="501"/>
                    <a:pt x="289" y="501"/>
                    <a:pt x="289" y="501"/>
                  </a:cubicBezTo>
                  <a:cubicBezTo>
                    <a:pt x="290" y="501"/>
                    <a:pt x="290" y="501"/>
                    <a:pt x="290" y="501"/>
                  </a:cubicBezTo>
                  <a:cubicBezTo>
                    <a:pt x="291" y="501"/>
                    <a:pt x="291" y="500"/>
                    <a:pt x="291" y="500"/>
                  </a:cubicBezTo>
                  <a:cubicBezTo>
                    <a:pt x="290" y="500"/>
                    <a:pt x="290" y="500"/>
                    <a:pt x="290" y="500"/>
                  </a:cubicBezTo>
                  <a:close/>
                  <a:moveTo>
                    <a:pt x="148" y="548"/>
                  </a:moveTo>
                  <a:cubicBezTo>
                    <a:pt x="147" y="549"/>
                    <a:pt x="147" y="548"/>
                    <a:pt x="147" y="548"/>
                  </a:cubicBezTo>
                  <a:cubicBezTo>
                    <a:pt x="146" y="548"/>
                    <a:pt x="146" y="548"/>
                    <a:pt x="146" y="548"/>
                  </a:cubicBezTo>
                  <a:cubicBezTo>
                    <a:pt x="146" y="548"/>
                    <a:pt x="146" y="549"/>
                    <a:pt x="146" y="549"/>
                  </a:cubicBezTo>
                  <a:cubicBezTo>
                    <a:pt x="146" y="550"/>
                    <a:pt x="146" y="550"/>
                    <a:pt x="147" y="550"/>
                  </a:cubicBezTo>
                  <a:cubicBezTo>
                    <a:pt x="147" y="550"/>
                    <a:pt x="147" y="550"/>
                    <a:pt x="147" y="549"/>
                  </a:cubicBezTo>
                  <a:cubicBezTo>
                    <a:pt x="147" y="549"/>
                    <a:pt x="148" y="549"/>
                    <a:pt x="148" y="549"/>
                  </a:cubicBezTo>
                  <a:cubicBezTo>
                    <a:pt x="148" y="549"/>
                    <a:pt x="148" y="549"/>
                    <a:pt x="148" y="549"/>
                  </a:cubicBezTo>
                  <a:cubicBezTo>
                    <a:pt x="148" y="548"/>
                    <a:pt x="148" y="548"/>
                    <a:pt x="148" y="548"/>
                  </a:cubicBezTo>
                  <a:close/>
                  <a:moveTo>
                    <a:pt x="78" y="546"/>
                  </a:moveTo>
                  <a:cubicBezTo>
                    <a:pt x="77" y="546"/>
                    <a:pt x="77" y="546"/>
                    <a:pt x="77" y="546"/>
                  </a:cubicBezTo>
                  <a:cubicBezTo>
                    <a:pt x="78" y="547"/>
                    <a:pt x="78" y="547"/>
                    <a:pt x="78" y="547"/>
                  </a:cubicBezTo>
                  <a:cubicBezTo>
                    <a:pt x="78" y="547"/>
                    <a:pt x="79" y="547"/>
                    <a:pt x="79" y="546"/>
                  </a:cubicBezTo>
                  <a:cubicBezTo>
                    <a:pt x="79" y="546"/>
                    <a:pt x="78" y="546"/>
                    <a:pt x="78" y="546"/>
                  </a:cubicBezTo>
                  <a:close/>
                  <a:moveTo>
                    <a:pt x="210" y="534"/>
                  </a:moveTo>
                  <a:cubicBezTo>
                    <a:pt x="209" y="534"/>
                    <a:pt x="209" y="535"/>
                    <a:pt x="209" y="535"/>
                  </a:cubicBezTo>
                  <a:cubicBezTo>
                    <a:pt x="209" y="536"/>
                    <a:pt x="209" y="536"/>
                    <a:pt x="210" y="536"/>
                  </a:cubicBezTo>
                  <a:cubicBezTo>
                    <a:pt x="210" y="536"/>
                    <a:pt x="210" y="535"/>
                    <a:pt x="210" y="535"/>
                  </a:cubicBezTo>
                  <a:cubicBezTo>
                    <a:pt x="210" y="535"/>
                    <a:pt x="210" y="535"/>
                    <a:pt x="210" y="534"/>
                  </a:cubicBezTo>
                  <a:close/>
                  <a:moveTo>
                    <a:pt x="229" y="524"/>
                  </a:moveTo>
                  <a:cubicBezTo>
                    <a:pt x="229" y="524"/>
                    <a:pt x="229" y="524"/>
                    <a:pt x="229" y="525"/>
                  </a:cubicBezTo>
                  <a:cubicBezTo>
                    <a:pt x="229" y="525"/>
                    <a:pt x="229" y="525"/>
                    <a:pt x="229" y="525"/>
                  </a:cubicBezTo>
                  <a:cubicBezTo>
                    <a:pt x="229" y="525"/>
                    <a:pt x="230" y="525"/>
                    <a:pt x="230" y="524"/>
                  </a:cubicBezTo>
                  <a:cubicBezTo>
                    <a:pt x="230" y="524"/>
                    <a:pt x="230" y="524"/>
                    <a:pt x="229" y="524"/>
                  </a:cubicBezTo>
                  <a:close/>
                  <a:moveTo>
                    <a:pt x="149" y="547"/>
                  </a:moveTo>
                  <a:cubicBezTo>
                    <a:pt x="149" y="547"/>
                    <a:pt x="148" y="547"/>
                    <a:pt x="148" y="547"/>
                  </a:cubicBezTo>
                  <a:cubicBezTo>
                    <a:pt x="148" y="547"/>
                    <a:pt x="148" y="547"/>
                    <a:pt x="147" y="548"/>
                  </a:cubicBezTo>
                  <a:cubicBezTo>
                    <a:pt x="148" y="548"/>
                    <a:pt x="148" y="548"/>
                    <a:pt x="149" y="548"/>
                  </a:cubicBezTo>
                  <a:cubicBezTo>
                    <a:pt x="149" y="548"/>
                    <a:pt x="149" y="548"/>
                    <a:pt x="149" y="548"/>
                  </a:cubicBezTo>
                  <a:cubicBezTo>
                    <a:pt x="150" y="547"/>
                    <a:pt x="149" y="548"/>
                    <a:pt x="149" y="547"/>
                  </a:cubicBezTo>
                  <a:close/>
                  <a:moveTo>
                    <a:pt x="286" y="501"/>
                  </a:moveTo>
                  <a:cubicBezTo>
                    <a:pt x="286" y="500"/>
                    <a:pt x="285" y="501"/>
                    <a:pt x="285" y="501"/>
                  </a:cubicBezTo>
                  <a:cubicBezTo>
                    <a:pt x="285" y="501"/>
                    <a:pt x="285" y="501"/>
                    <a:pt x="286" y="501"/>
                  </a:cubicBezTo>
                  <a:cubicBezTo>
                    <a:pt x="286" y="502"/>
                    <a:pt x="286" y="501"/>
                    <a:pt x="287" y="501"/>
                  </a:cubicBezTo>
                  <a:cubicBezTo>
                    <a:pt x="287" y="501"/>
                    <a:pt x="286" y="501"/>
                    <a:pt x="286" y="501"/>
                  </a:cubicBezTo>
                  <a:close/>
                  <a:moveTo>
                    <a:pt x="73" y="544"/>
                  </a:moveTo>
                  <a:cubicBezTo>
                    <a:pt x="73" y="544"/>
                    <a:pt x="73" y="545"/>
                    <a:pt x="73" y="545"/>
                  </a:cubicBezTo>
                  <a:cubicBezTo>
                    <a:pt x="73" y="545"/>
                    <a:pt x="73" y="546"/>
                    <a:pt x="73" y="546"/>
                  </a:cubicBezTo>
                  <a:cubicBezTo>
                    <a:pt x="74" y="546"/>
                    <a:pt x="74" y="546"/>
                    <a:pt x="74" y="545"/>
                  </a:cubicBezTo>
                  <a:cubicBezTo>
                    <a:pt x="74" y="545"/>
                    <a:pt x="74" y="544"/>
                    <a:pt x="73" y="544"/>
                  </a:cubicBezTo>
                  <a:close/>
                  <a:moveTo>
                    <a:pt x="226" y="526"/>
                  </a:moveTo>
                  <a:cubicBezTo>
                    <a:pt x="226" y="526"/>
                    <a:pt x="225" y="526"/>
                    <a:pt x="225" y="526"/>
                  </a:cubicBezTo>
                  <a:cubicBezTo>
                    <a:pt x="224" y="526"/>
                    <a:pt x="224" y="526"/>
                    <a:pt x="224" y="526"/>
                  </a:cubicBezTo>
                  <a:cubicBezTo>
                    <a:pt x="224" y="527"/>
                    <a:pt x="224" y="527"/>
                    <a:pt x="224" y="527"/>
                  </a:cubicBezTo>
                  <a:cubicBezTo>
                    <a:pt x="225" y="527"/>
                    <a:pt x="225" y="527"/>
                    <a:pt x="225" y="527"/>
                  </a:cubicBezTo>
                  <a:cubicBezTo>
                    <a:pt x="225" y="527"/>
                    <a:pt x="226" y="527"/>
                    <a:pt x="226" y="526"/>
                  </a:cubicBezTo>
                  <a:close/>
                  <a:moveTo>
                    <a:pt x="275" y="503"/>
                  </a:moveTo>
                  <a:cubicBezTo>
                    <a:pt x="275" y="503"/>
                    <a:pt x="275" y="503"/>
                    <a:pt x="275" y="503"/>
                  </a:cubicBezTo>
                  <a:cubicBezTo>
                    <a:pt x="274" y="504"/>
                    <a:pt x="275" y="503"/>
                    <a:pt x="275" y="504"/>
                  </a:cubicBezTo>
                  <a:cubicBezTo>
                    <a:pt x="275" y="504"/>
                    <a:pt x="276" y="504"/>
                    <a:pt x="276" y="503"/>
                  </a:cubicBezTo>
                  <a:cubicBezTo>
                    <a:pt x="276" y="503"/>
                    <a:pt x="275" y="503"/>
                    <a:pt x="275" y="503"/>
                  </a:cubicBezTo>
                  <a:close/>
                  <a:moveTo>
                    <a:pt x="223" y="529"/>
                  </a:moveTo>
                  <a:cubicBezTo>
                    <a:pt x="223" y="529"/>
                    <a:pt x="223" y="530"/>
                    <a:pt x="223" y="530"/>
                  </a:cubicBezTo>
                  <a:cubicBezTo>
                    <a:pt x="223" y="531"/>
                    <a:pt x="224" y="530"/>
                    <a:pt x="224" y="530"/>
                  </a:cubicBezTo>
                  <a:cubicBezTo>
                    <a:pt x="224" y="530"/>
                    <a:pt x="224" y="530"/>
                    <a:pt x="224" y="530"/>
                  </a:cubicBezTo>
                  <a:cubicBezTo>
                    <a:pt x="224" y="530"/>
                    <a:pt x="224" y="530"/>
                    <a:pt x="224" y="530"/>
                  </a:cubicBezTo>
                  <a:cubicBezTo>
                    <a:pt x="224" y="530"/>
                    <a:pt x="224" y="530"/>
                    <a:pt x="224" y="530"/>
                  </a:cubicBezTo>
                  <a:cubicBezTo>
                    <a:pt x="225" y="530"/>
                    <a:pt x="225" y="530"/>
                    <a:pt x="225" y="529"/>
                  </a:cubicBezTo>
                  <a:cubicBezTo>
                    <a:pt x="224" y="529"/>
                    <a:pt x="224" y="529"/>
                    <a:pt x="223" y="529"/>
                  </a:cubicBezTo>
                  <a:close/>
                  <a:moveTo>
                    <a:pt x="76" y="549"/>
                  </a:moveTo>
                  <a:cubicBezTo>
                    <a:pt x="76" y="549"/>
                    <a:pt x="75" y="549"/>
                    <a:pt x="75" y="549"/>
                  </a:cubicBezTo>
                  <a:cubicBezTo>
                    <a:pt x="75" y="549"/>
                    <a:pt x="75" y="549"/>
                    <a:pt x="75" y="550"/>
                  </a:cubicBezTo>
                  <a:cubicBezTo>
                    <a:pt x="75" y="550"/>
                    <a:pt x="75" y="550"/>
                    <a:pt x="75" y="550"/>
                  </a:cubicBezTo>
                  <a:cubicBezTo>
                    <a:pt x="76" y="550"/>
                    <a:pt x="76" y="550"/>
                    <a:pt x="76" y="550"/>
                  </a:cubicBezTo>
                  <a:cubicBezTo>
                    <a:pt x="76" y="550"/>
                    <a:pt x="76" y="550"/>
                    <a:pt x="76" y="550"/>
                  </a:cubicBezTo>
                  <a:cubicBezTo>
                    <a:pt x="76" y="550"/>
                    <a:pt x="76" y="549"/>
                    <a:pt x="76" y="549"/>
                  </a:cubicBezTo>
                  <a:close/>
                  <a:moveTo>
                    <a:pt x="45" y="538"/>
                  </a:moveTo>
                  <a:cubicBezTo>
                    <a:pt x="45" y="538"/>
                    <a:pt x="45" y="537"/>
                    <a:pt x="44" y="538"/>
                  </a:cubicBezTo>
                  <a:cubicBezTo>
                    <a:pt x="44" y="538"/>
                    <a:pt x="44" y="538"/>
                    <a:pt x="45" y="538"/>
                  </a:cubicBezTo>
                  <a:cubicBezTo>
                    <a:pt x="45" y="538"/>
                    <a:pt x="45" y="538"/>
                    <a:pt x="45" y="538"/>
                  </a:cubicBezTo>
                  <a:cubicBezTo>
                    <a:pt x="45" y="538"/>
                    <a:pt x="45" y="538"/>
                    <a:pt x="45" y="538"/>
                  </a:cubicBezTo>
                  <a:cubicBezTo>
                    <a:pt x="45" y="538"/>
                    <a:pt x="45" y="538"/>
                    <a:pt x="45" y="538"/>
                  </a:cubicBezTo>
                  <a:close/>
                  <a:moveTo>
                    <a:pt x="151" y="546"/>
                  </a:moveTo>
                  <a:cubicBezTo>
                    <a:pt x="151" y="546"/>
                    <a:pt x="150" y="546"/>
                    <a:pt x="151" y="547"/>
                  </a:cubicBezTo>
                  <a:cubicBezTo>
                    <a:pt x="151" y="547"/>
                    <a:pt x="151" y="547"/>
                    <a:pt x="152" y="547"/>
                  </a:cubicBezTo>
                  <a:cubicBezTo>
                    <a:pt x="151" y="547"/>
                    <a:pt x="151" y="546"/>
                    <a:pt x="151" y="546"/>
                  </a:cubicBezTo>
                  <a:close/>
                  <a:moveTo>
                    <a:pt x="150" y="545"/>
                  </a:moveTo>
                  <a:cubicBezTo>
                    <a:pt x="150" y="545"/>
                    <a:pt x="150" y="545"/>
                    <a:pt x="150" y="546"/>
                  </a:cubicBezTo>
                  <a:cubicBezTo>
                    <a:pt x="149" y="546"/>
                    <a:pt x="150" y="546"/>
                    <a:pt x="150" y="546"/>
                  </a:cubicBezTo>
                  <a:cubicBezTo>
                    <a:pt x="150" y="546"/>
                    <a:pt x="150" y="546"/>
                    <a:pt x="150" y="546"/>
                  </a:cubicBezTo>
                  <a:cubicBezTo>
                    <a:pt x="150" y="545"/>
                    <a:pt x="150" y="545"/>
                    <a:pt x="150" y="545"/>
                  </a:cubicBezTo>
                  <a:close/>
                  <a:moveTo>
                    <a:pt x="21" y="530"/>
                  </a:moveTo>
                  <a:cubicBezTo>
                    <a:pt x="21" y="530"/>
                    <a:pt x="21" y="530"/>
                    <a:pt x="21" y="530"/>
                  </a:cubicBezTo>
                  <a:cubicBezTo>
                    <a:pt x="21" y="530"/>
                    <a:pt x="22" y="530"/>
                    <a:pt x="22" y="530"/>
                  </a:cubicBezTo>
                  <a:cubicBezTo>
                    <a:pt x="22" y="531"/>
                    <a:pt x="22" y="530"/>
                    <a:pt x="22" y="530"/>
                  </a:cubicBezTo>
                  <a:cubicBezTo>
                    <a:pt x="22" y="530"/>
                    <a:pt x="22" y="530"/>
                    <a:pt x="21" y="530"/>
                  </a:cubicBezTo>
                  <a:close/>
                  <a:moveTo>
                    <a:pt x="283" y="501"/>
                  </a:moveTo>
                  <a:cubicBezTo>
                    <a:pt x="283" y="501"/>
                    <a:pt x="282" y="502"/>
                    <a:pt x="283" y="502"/>
                  </a:cubicBezTo>
                  <a:cubicBezTo>
                    <a:pt x="283" y="502"/>
                    <a:pt x="283" y="502"/>
                    <a:pt x="283" y="502"/>
                  </a:cubicBezTo>
                  <a:cubicBezTo>
                    <a:pt x="284" y="502"/>
                    <a:pt x="283" y="501"/>
                    <a:pt x="283" y="501"/>
                  </a:cubicBezTo>
                  <a:close/>
                  <a:moveTo>
                    <a:pt x="152" y="546"/>
                  </a:moveTo>
                  <a:cubicBezTo>
                    <a:pt x="152" y="546"/>
                    <a:pt x="153" y="546"/>
                    <a:pt x="153" y="546"/>
                  </a:cubicBezTo>
                  <a:cubicBezTo>
                    <a:pt x="152" y="546"/>
                    <a:pt x="152" y="546"/>
                    <a:pt x="152" y="546"/>
                  </a:cubicBezTo>
                  <a:close/>
                  <a:moveTo>
                    <a:pt x="109" y="560"/>
                  </a:moveTo>
                  <a:cubicBezTo>
                    <a:pt x="108" y="560"/>
                    <a:pt x="108" y="560"/>
                    <a:pt x="108" y="561"/>
                  </a:cubicBezTo>
                  <a:cubicBezTo>
                    <a:pt x="108" y="561"/>
                    <a:pt x="109" y="561"/>
                    <a:pt x="109" y="561"/>
                  </a:cubicBezTo>
                  <a:cubicBezTo>
                    <a:pt x="109" y="561"/>
                    <a:pt x="109" y="560"/>
                    <a:pt x="109" y="560"/>
                  </a:cubicBezTo>
                  <a:close/>
                  <a:moveTo>
                    <a:pt x="270" y="505"/>
                  </a:moveTo>
                  <a:cubicBezTo>
                    <a:pt x="270" y="505"/>
                    <a:pt x="270" y="504"/>
                    <a:pt x="270" y="504"/>
                  </a:cubicBezTo>
                  <a:cubicBezTo>
                    <a:pt x="270" y="504"/>
                    <a:pt x="270" y="505"/>
                    <a:pt x="270" y="505"/>
                  </a:cubicBezTo>
                  <a:cubicBezTo>
                    <a:pt x="270" y="505"/>
                    <a:pt x="270" y="505"/>
                    <a:pt x="270" y="505"/>
                  </a:cubicBezTo>
                  <a:close/>
                  <a:moveTo>
                    <a:pt x="211" y="533"/>
                  </a:moveTo>
                  <a:cubicBezTo>
                    <a:pt x="211" y="533"/>
                    <a:pt x="211" y="533"/>
                    <a:pt x="211" y="534"/>
                  </a:cubicBezTo>
                  <a:cubicBezTo>
                    <a:pt x="211" y="534"/>
                    <a:pt x="211" y="534"/>
                    <a:pt x="211" y="534"/>
                  </a:cubicBezTo>
                  <a:cubicBezTo>
                    <a:pt x="211" y="534"/>
                    <a:pt x="211" y="534"/>
                    <a:pt x="211" y="534"/>
                  </a:cubicBezTo>
                  <a:cubicBezTo>
                    <a:pt x="211" y="533"/>
                    <a:pt x="211" y="533"/>
                    <a:pt x="211" y="533"/>
                  </a:cubicBezTo>
                  <a:close/>
                  <a:moveTo>
                    <a:pt x="67" y="546"/>
                  </a:moveTo>
                  <a:cubicBezTo>
                    <a:pt x="67" y="546"/>
                    <a:pt x="67" y="546"/>
                    <a:pt x="67" y="546"/>
                  </a:cubicBezTo>
                  <a:cubicBezTo>
                    <a:pt x="67" y="546"/>
                    <a:pt x="67" y="546"/>
                    <a:pt x="68" y="546"/>
                  </a:cubicBezTo>
                  <a:cubicBezTo>
                    <a:pt x="67" y="546"/>
                    <a:pt x="67" y="546"/>
                    <a:pt x="67" y="546"/>
                  </a:cubicBezTo>
                  <a:close/>
                  <a:moveTo>
                    <a:pt x="113" y="555"/>
                  </a:moveTo>
                  <a:cubicBezTo>
                    <a:pt x="113" y="554"/>
                    <a:pt x="112" y="554"/>
                    <a:pt x="112" y="554"/>
                  </a:cubicBezTo>
                  <a:cubicBezTo>
                    <a:pt x="112" y="555"/>
                    <a:pt x="113" y="555"/>
                    <a:pt x="113" y="555"/>
                  </a:cubicBezTo>
                  <a:close/>
                  <a:moveTo>
                    <a:pt x="111" y="558"/>
                  </a:moveTo>
                  <a:cubicBezTo>
                    <a:pt x="111" y="558"/>
                    <a:pt x="110" y="558"/>
                    <a:pt x="110" y="558"/>
                  </a:cubicBezTo>
                  <a:cubicBezTo>
                    <a:pt x="111" y="559"/>
                    <a:pt x="110" y="559"/>
                    <a:pt x="110" y="559"/>
                  </a:cubicBezTo>
                  <a:cubicBezTo>
                    <a:pt x="111" y="559"/>
                    <a:pt x="111" y="559"/>
                    <a:pt x="111" y="559"/>
                  </a:cubicBezTo>
                  <a:cubicBezTo>
                    <a:pt x="111" y="559"/>
                    <a:pt x="111" y="559"/>
                    <a:pt x="111" y="559"/>
                  </a:cubicBezTo>
                  <a:cubicBezTo>
                    <a:pt x="111" y="559"/>
                    <a:pt x="111" y="558"/>
                    <a:pt x="111" y="558"/>
                  </a:cubicBezTo>
                  <a:close/>
                  <a:moveTo>
                    <a:pt x="291" y="498"/>
                  </a:moveTo>
                  <a:cubicBezTo>
                    <a:pt x="292" y="498"/>
                    <a:pt x="292" y="498"/>
                    <a:pt x="292" y="498"/>
                  </a:cubicBezTo>
                  <a:cubicBezTo>
                    <a:pt x="292" y="498"/>
                    <a:pt x="292" y="498"/>
                    <a:pt x="291" y="498"/>
                  </a:cubicBezTo>
                  <a:close/>
                  <a:moveTo>
                    <a:pt x="20" y="530"/>
                  </a:moveTo>
                  <a:cubicBezTo>
                    <a:pt x="20" y="530"/>
                    <a:pt x="20" y="530"/>
                    <a:pt x="20" y="530"/>
                  </a:cubicBezTo>
                  <a:cubicBezTo>
                    <a:pt x="20" y="530"/>
                    <a:pt x="20" y="530"/>
                    <a:pt x="20" y="530"/>
                  </a:cubicBezTo>
                  <a:close/>
                  <a:moveTo>
                    <a:pt x="113" y="549"/>
                  </a:moveTo>
                  <a:cubicBezTo>
                    <a:pt x="113" y="550"/>
                    <a:pt x="113" y="550"/>
                    <a:pt x="113" y="550"/>
                  </a:cubicBezTo>
                  <a:cubicBezTo>
                    <a:pt x="113" y="550"/>
                    <a:pt x="113" y="550"/>
                    <a:pt x="113" y="550"/>
                  </a:cubicBezTo>
                  <a:cubicBezTo>
                    <a:pt x="113" y="551"/>
                    <a:pt x="112" y="551"/>
                    <a:pt x="112" y="550"/>
                  </a:cubicBezTo>
                  <a:cubicBezTo>
                    <a:pt x="112" y="550"/>
                    <a:pt x="112" y="549"/>
                    <a:pt x="112" y="549"/>
                  </a:cubicBezTo>
                  <a:cubicBezTo>
                    <a:pt x="113" y="548"/>
                    <a:pt x="113" y="549"/>
                    <a:pt x="113" y="549"/>
                  </a:cubicBezTo>
                  <a:cubicBezTo>
                    <a:pt x="113" y="549"/>
                    <a:pt x="113" y="549"/>
                    <a:pt x="113" y="549"/>
                  </a:cubicBezTo>
                  <a:close/>
                  <a:moveTo>
                    <a:pt x="113" y="549"/>
                  </a:moveTo>
                  <a:cubicBezTo>
                    <a:pt x="113" y="549"/>
                    <a:pt x="113" y="549"/>
                    <a:pt x="113" y="549"/>
                  </a:cubicBezTo>
                  <a:cubicBezTo>
                    <a:pt x="113" y="549"/>
                    <a:pt x="113" y="549"/>
                    <a:pt x="113" y="549"/>
                  </a:cubicBezTo>
                  <a:close/>
                  <a:moveTo>
                    <a:pt x="115" y="553"/>
                  </a:moveTo>
                  <a:cubicBezTo>
                    <a:pt x="115" y="553"/>
                    <a:pt x="114" y="553"/>
                    <a:pt x="114" y="554"/>
                  </a:cubicBezTo>
                  <a:cubicBezTo>
                    <a:pt x="114" y="554"/>
                    <a:pt x="114" y="554"/>
                    <a:pt x="115" y="554"/>
                  </a:cubicBezTo>
                  <a:cubicBezTo>
                    <a:pt x="115" y="554"/>
                    <a:pt x="115" y="554"/>
                    <a:pt x="115" y="553"/>
                  </a:cubicBezTo>
                  <a:cubicBezTo>
                    <a:pt x="115" y="553"/>
                    <a:pt x="115" y="553"/>
                    <a:pt x="115" y="553"/>
                  </a:cubicBezTo>
                  <a:close/>
                  <a:moveTo>
                    <a:pt x="229" y="523"/>
                  </a:moveTo>
                  <a:cubicBezTo>
                    <a:pt x="229" y="523"/>
                    <a:pt x="229" y="523"/>
                    <a:pt x="228" y="523"/>
                  </a:cubicBezTo>
                  <a:cubicBezTo>
                    <a:pt x="228" y="523"/>
                    <a:pt x="228" y="523"/>
                    <a:pt x="228" y="523"/>
                  </a:cubicBezTo>
                  <a:cubicBezTo>
                    <a:pt x="228" y="523"/>
                    <a:pt x="229" y="523"/>
                    <a:pt x="229" y="523"/>
                  </a:cubicBezTo>
                  <a:close/>
                  <a:moveTo>
                    <a:pt x="88" y="558"/>
                  </a:moveTo>
                  <a:cubicBezTo>
                    <a:pt x="88" y="558"/>
                    <a:pt x="88" y="558"/>
                    <a:pt x="88" y="558"/>
                  </a:cubicBezTo>
                  <a:cubicBezTo>
                    <a:pt x="88" y="557"/>
                    <a:pt x="88" y="558"/>
                    <a:pt x="87" y="557"/>
                  </a:cubicBezTo>
                  <a:cubicBezTo>
                    <a:pt x="87" y="557"/>
                    <a:pt x="87" y="557"/>
                    <a:pt x="87" y="557"/>
                  </a:cubicBezTo>
                  <a:cubicBezTo>
                    <a:pt x="87" y="556"/>
                    <a:pt x="86" y="556"/>
                    <a:pt x="86" y="556"/>
                  </a:cubicBezTo>
                  <a:cubicBezTo>
                    <a:pt x="86" y="556"/>
                    <a:pt x="86" y="556"/>
                    <a:pt x="86" y="556"/>
                  </a:cubicBezTo>
                  <a:cubicBezTo>
                    <a:pt x="86" y="556"/>
                    <a:pt x="85" y="555"/>
                    <a:pt x="85" y="555"/>
                  </a:cubicBezTo>
                  <a:cubicBezTo>
                    <a:pt x="85" y="555"/>
                    <a:pt x="84" y="554"/>
                    <a:pt x="84" y="554"/>
                  </a:cubicBezTo>
                  <a:cubicBezTo>
                    <a:pt x="84" y="554"/>
                    <a:pt x="83" y="554"/>
                    <a:pt x="83" y="553"/>
                  </a:cubicBezTo>
                  <a:cubicBezTo>
                    <a:pt x="83" y="553"/>
                    <a:pt x="83" y="553"/>
                    <a:pt x="82" y="553"/>
                  </a:cubicBezTo>
                  <a:cubicBezTo>
                    <a:pt x="82" y="553"/>
                    <a:pt x="81" y="553"/>
                    <a:pt x="80" y="552"/>
                  </a:cubicBezTo>
                  <a:cubicBezTo>
                    <a:pt x="80" y="552"/>
                    <a:pt x="80" y="552"/>
                    <a:pt x="80" y="553"/>
                  </a:cubicBezTo>
                  <a:cubicBezTo>
                    <a:pt x="80" y="553"/>
                    <a:pt x="80" y="553"/>
                    <a:pt x="80" y="553"/>
                  </a:cubicBezTo>
                  <a:cubicBezTo>
                    <a:pt x="80" y="553"/>
                    <a:pt x="80" y="554"/>
                    <a:pt x="80" y="554"/>
                  </a:cubicBezTo>
                  <a:cubicBezTo>
                    <a:pt x="81" y="554"/>
                    <a:pt x="82" y="554"/>
                    <a:pt x="83" y="554"/>
                  </a:cubicBezTo>
                  <a:cubicBezTo>
                    <a:pt x="83" y="555"/>
                    <a:pt x="83" y="555"/>
                    <a:pt x="84" y="555"/>
                  </a:cubicBezTo>
                  <a:cubicBezTo>
                    <a:pt x="84" y="555"/>
                    <a:pt x="85" y="556"/>
                    <a:pt x="85" y="556"/>
                  </a:cubicBezTo>
                  <a:cubicBezTo>
                    <a:pt x="85" y="557"/>
                    <a:pt x="86" y="557"/>
                    <a:pt x="87" y="558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87" y="559"/>
                    <a:pt x="87" y="559"/>
                    <a:pt x="88" y="559"/>
                  </a:cubicBezTo>
                  <a:cubicBezTo>
                    <a:pt x="88" y="559"/>
                    <a:pt x="89" y="559"/>
                    <a:pt x="89" y="558"/>
                  </a:cubicBezTo>
                  <a:cubicBezTo>
                    <a:pt x="89" y="558"/>
                    <a:pt x="90" y="558"/>
                    <a:pt x="90" y="558"/>
                  </a:cubicBezTo>
                  <a:cubicBezTo>
                    <a:pt x="90" y="559"/>
                    <a:pt x="90" y="558"/>
                    <a:pt x="90" y="558"/>
                  </a:cubicBezTo>
                  <a:cubicBezTo>
                    <a:pt x="90" y="558"/>
                    <a:pt x="90" y="558"/>
                    <a:pt x="90" y="558"/>
                  </a:cubicBezTo>
                  <a:cubicBezTo>
                    <a:pt x="90" y="558"/>
                    <a:pt x="89" y="557"/>
                    <a:pt x="88" y="558"/>
                  </a:cubicBezTo>
                  <a:close/>
                  <a:moveTo>
                    <a:pt x="148" y="547"/>
                  </a:moveTo>
                  <a:cubicBezTo>
                    <a:pt x="148" y="547"/>
                    <a:pt x="148" y="547"/>
                    <a:pt x="148" y="547"/>
                  </a:cubicBezTo>
                  <a:cubicBezTo>
                    <a:pt x="148" y="547"/>
                    <a:pt x="148" y="547"/>
                    <a:pt x="148" y="547"/>
                  </a:cubicBezTo>
                  <a:cubicBezTo>
                    <a:pt x="148" y="546"/>
                    <a:pt x="148" y="546"/>
                    <a:pt x="148" y="546"/>
                  </a:cubicBezTo>
                  <a:cubicBezTo>
                    <a:pt x="148" y="546"/>
                    <a:pt x="148" y="547"/>
                    <a:pt x="148" y="547"/>
                  </a:cubicBezTo>
                  <a:close/>
                  <a:moveTo>
                    <a:pt x="321" y="494"/>
                  </a:moveTo>
                  <a:cubicBezTo>
                    <a:pt x="321" y="493"/>
                    <a:pt x="321" y="493"/>
                    <a:pt x="321" y="492"/>
                  </a:cubicBezTo>
                  <a:cubicBezTo>
                    <a:pt x="321" y="492"/>
                    <a:pt x="321" y="492"/>
                    <a:pt x="321" y="492"/>
                  </a:cubicBezTo>
                  <a:cubicBezTo>
                    <a:pt x="321" y="492"/>
                    <a:pt x="321" y="492"/>
                    <a:pt x="321" y="492"/>
                  </a:cubicBezTo>
                  <a:cubicBezTo>
                    <a:pt x="320" y="492"/>
                    <a:pt x="319" y="492"/>
                    <a:pt x="319" y="492"/>
                  </a:cubicBezTo>
                  <a:cubicBezTo>
                    <a:pt x="319" y="492"/>
                    <a:pt x="318" y="492"/>
                    <a:pt x="318" y="492"/>
                  </a:cubicBezTo>
                  <a:cubicBezTo>
                    <a:pt x="318" y="492"/>
                    <a:pt x="318" y="492"/>
                    <a:pt x="318" y="492"/>
                  </a:cubicBezTo>
                  <a:cubicBezTo>
                    <a:pt x="318" y="493"/>
                    <a:pt x="319" y="493"/>
                    <a:pt x="319" y="493"/>
                  </a:cubicBezTo>
                  <a:cubicBezTo>
                    <a:pt x="319" y="494"/>
                    <a:pt x="320" y="494"/>
                    <a:pt x="320" y="494"/>
                  </a:cubicBezTo>
                  <a:cubicBezTo>
                    <a:pt x="320" y="494"/>
                    <a:pt x="320" y="494"/>
                    <a:pt x="320" y="494"/>
                  </a:cubicBezTo>
                  <a:cubicBezTo>
                    <a:pt x="320" y="495"/>
                    <a:pt x="320" y="494"/>
                    <a:pt x="320" y="494"/>
                  </a:cubicBezTo>
                  <a:cubicBezTo>
                    <a:pt x="320" y="494"/>
                    <a:pt x="320" y="494"/>
                    <a:pt x="321" y="494"/>
                  </a:cubicBezTo>
                  <a:cubicBezTo>
                    <a:pt x="321" y="494"/>
                    <a:pt x="321" y="494"/>
                    <a:pt x="321" y="494"/>
                  </a:cubicBezTo>
                  <a:close/>
                  <a:moveTo>
                    <a:pt x="323" y="481"/>
                  </a:moveTo>
                  <a:cubicBezTo>
                    <a:pt x="323" y="481"/>
                    <a:pt x="323" y="481"/>
                    <a:pt x="323" y="481"/>
                  </a:cubicBezTo>
                  <a:cubicBezTo>
                    <a:pt x="323" y="482"/>
                    <a:pt x="323" y="482"/>
                    <a:pt x="323" y="482"/>
                  </a:cubicBezTo>
                  <a:cubicBezTo>
                    <a:pt x="323" y="482"/>
                    <a:pt x="323" y="483"/>
                    <a:pt x="323" y="483"/>
                  </a:cubicBezTo>
                  <a:cubicBezTo>
                    <a:pt x="324" y="483"/>
                    <a:pt x="324" y="483"/>
                    <a:pt x="324" y="483"/>
                  </a:cubicBezTo>
                  <a:cubicBezTo>
                    <a:pt x="324" y="484"/>
                    <a:pt x="325" y="484"/>
                    <a:pt x="325" y="484"/>
                  </a:cubicBezTo>
                  <a:cubicBezTo>
                    <a:pt x="325" y="484"/>
                    <a:pt x="325" y="483"/>
                    <a:pt x="325" y="483"/>
                  </a:cubicBezTo>
                  <a:cubicBezTo>
                    <a:pt x="325" y="483"/>
                    <a:pt x="326" y="482"/>
                    <a:pt x="326" y="481"/>
                  </a:cubicBezTo>
                  <a:cubicBezTo>
                    <a:pt x="326" y="481"/>
                    <a:pt x="326" y="481"/>
                    <a:pt x="326" y="481"/>
                  </a:cubicBezTo>
                  <a:cubicBezTo>
                    <a:pt x="326" y="481"/>
                    <a:pt x="325" y="481"/>
                    <a:pt x="325" y="481"/>
                  </a:cubicBezTo>
                  <a:cubicBezTo>
                    <a:pt x="325" y="481"/>
                    <a:pt x="325" y="481"/>
                    <a:pt x="324" y="481"/>
                  </a:cubicBezTo>
                  <a:cubicBezTo>
                    <a:pt x="324" y="481"/>
                    <a:pt x="324" y="481"/>
                    <a:pt x="323" y="481"/>
                  </a:cubicBezTo>
                  <a:close/>
                  <a:moveTo>
                    <a:pt x="333" y="477"/>
                  </a:moveTo>
                  <a:cubicBezTo>
                    <a:pt x="333" y="477"/>
                    <a:pt x="332" y="477"/>
                    <a:pt x="332" y="477"/>
                  </a:cubicBezTo>
                  <a:cubicBezTo>
                    <a:pt x="332" y="477"/>
                    <a:pt x="332" y="477"/>
                    <a:pt x="332" y="477"/>
                  </a:cubicBezTo>
                  <a:cubicBezTo>
                    <a:pt x="331" y="477"/>
                    <a:pt x="331" y="477"/>
                    <a:pt x="330" y="477"/>
                  </a:cubicBezTo>
                  <a:cubicBezTo>
                    <a:pt x="330" y="477"/>
                    <a:pt x="330" y="477"/>
                    <a:pt x="330" y="477"/>
                  </a:cubicBezTo>
                  <a:cubicBezTo>
                    <a:pt x="330" y="477"/>
                    <a:pt x="330" y="477"/>
                    <a:pt x="330" y="477"/>
                  </a:cubicBezTo>
                  <a:cubicBezTo>
                    <a:pt x="330" y="477"/>
                    <a:pt x="330" y="477"/>
                    <a:pt x="331" y="478"/>
                  </a:cubicBezTo>
                  <a:cubicBezTo>
                    <a:pt x="331" y="478"/>
                    <a:pt x="331" y="478"/>
                    <a:pt x="331" y="478"/>
                  </a:cubicBezTo>
                  <a:cubicBezTo>
                    <a:pt x="331" y="478"/>
                    <a:pt x="331" y="478"/>
                    <a:pt x="332" y="479"/>
                  </a:cubicBezTo>
                  <a:cubicBezTo>
                    <a:pt x="332" y="479"/>
                    <a:pt x="332" y="479"/>
                    <a:pt x="332" y="479"/>
                  </a:cubicBezTo>
                  <a:cubicBezTo>
                    <a:pt x="332" y="479"/>
                    <a:pt x="332" y="479"/>
                    <a:pt x="332" y="479"/>
                  </a:cubicBezTo>
                  <a:cubicBezTo>
                    <a:pt x="333" y="479"/>
                    <a:pt x="333" y="479"/>
                    <a:pt x="333" y="479"/>
                  </a:cubicBezTo>
                  <a:cubicBezTo>
                    <a:pt x="333" y="478"/>
                    <a:pt x="333" y="478"/>
                    <a:pt x="333" y="478"/>
                  </a:cubicBezTo>
                  <a:cubicBezTo>
                    <a:pt x="333" y="478"/>
                    <a:pt x="333" y="478"/>
                    <a:pt x="333" y="477"/>
                  </a:cubicBezTo>
                  <a:close/>
                  <a:moveTo>
                    <a:pt x="344" y="472"/>
                  </a:moveTo>
                  <a:cubicBezTo>
                    <a:pt x="344" y="472"/>
                    <a:pt x="344" y="472"/>
                    <a:pt x="343" y="473"/>
                  </a:cubicBezTo>
                  <a:cubicBezTo>
                    <a:pt x="343" y="473"/>
                    <a:pt x="343" y="474"/>
                    <a:pt x="343" y="474"/>
                  </a:cubicBezTo>
                  <a:cubicBezTo>
                    <a:pt x="343" y="475"/>
                    <a:pt x="343" y="476"/>
                    <a:pt x="343" y="476"/>
                  </a:cubicBezTo>
                  <a:cubicBezTo>
                    <a:pt x="344" y="477"/>
                    <a:pt x="344" y="477"/>
                    <a:pt x="344" y="477"/>
                  </a:cubicBezTo>
                  <a:cubicBezTo>
                    <a:pt x="344" y="477"/>
                    <a:pt x="344" y="476"/>
                    <a:pt x="344" y="476"/>
                  </a:cubicBezTo>
                  <a:cubicBezTo>
                    <a:pt x="345" y="476"/>
                    <a:pt x="345" y="476"/>
                    <a:pt x="346" y="476"/>
                  </a:cubicBezTo>
                  <a:cubicBezTo>
                    <a:pt x="346" y="476"/>
                    <a:pt x="347" y="477"/>
                    <a:pt x="347" y="477"/>
                  </a:cubicBezTo>
                  <a:cubicBezTo>
                    <a:pt x="347" y="477"/>
                    <a:pt x="347" y="477"/>
                    <a:pt x="347" y="477"/>
                  </a:cubicBezTo>
                  <a:cubicBezTo>
                    <a:pt x="347" y="477"/>
                    <a:pt x="347" y="477"/>
                    <a:pt x="347" y="477"/>
                  </a:cubicBezTo>
                  <a:cubicBezTo>
                    <a:pt x="348" y="477"/>
                    <a:pt x="348" y="476"/>
                    <a:pt x="348" y="476"/>
                  </a:cubicBezTo>
                  <a:cubicBezTo>
                    <a:pt x="347" y="476"/>
                    <a:pt x="347" y="475"/>
                    <a:pt x="347" y="475"/>
                  </a:cubicBezTo>
                  <a:cubicBezTo>
                    <a:pt x="347" y="475"/>
                    <a:pt x="347" y="475"/>
                    <a:pt x="347" y="474"/>
                  </a:cubicBezTo>
                  <a:cubicBezTo>
                    <a:pt x="347" y="474"/>
                    <a:pt x="348" y="474"/>
                    <a:pt x="348" y="474"/>
                  </a:cubicBezTo>
                  <a:cubicBezTo>
                    <a:pt x="349" y="474"/>
                    <a:pt x="350" y="474"/>
                    <a:pt x="350" y="474"/>
                  </a:cubicBezTo>
                  <a:cubicBezTo>
                    <a:pt x="350" y="473"/>
                    <a:pt x="350" y="473"/>
                    <a:pt x="349" y="473"/>
                  </a:cubicBezTo>
                  <a:cubicBezTo>
                    <a:pt x="349" y="473"/>
                    <a:pt x="349" y="473"/>
                    <a:pt x="348" y="473"/>
                  </a:cubicBezTo>
                  <a:cubicBezTo>
                    <a:pt x="348" y="473"/>
                    <a:pt x="347" y="472"/>
                    <a:pt x="348" y="472"/>
                  </a:cubicBezTo>
                  <a:cubicBezTo>
                    <a:pt x="347" y="472"/>
                    <a:pt x="347" y="472"/>
                    <a:pt x="347" y="472"/>
                  </a:cubicBezTo>
                  <a:cubicBezTo>
                    <a:pt x="346" y="472"/>
                    <a:pt x="346" y="472"/>
                    <a:pt x="346" y="472"/>
                  </a:cubicBezTo>
                  <a:cubicBezTo>
                    <a:pt x="346" y="472"/>
                    <a:pt x="346" y="472"/>
                    <a:pt x="346" y="472"/>
                  </a:cubicBezTo>
                  <a:cubicBezTo>
                    <a:pt x="345" y="471"/>
                    <a:pt x="345" y="472"/>
                    <a:pt x="344" y="472"/>
                  </a:cubicBezTo>
                  <a:close/>
                  <a:moveTo>
                    <a:pt x="352" y="471"/>
                  </a:moveTo>
                  <a:cubicBezTo>
                    <a:pt x="352" y="471"/>
                    <a:pt x="352" y="471"/>
                    <a:pt x="352" y="471"/>
                  </a:cubicBezTo>
                  <a:cubicBezTo>
                    <a:pt x="352" y="470"/>
                    <a:pt x="352" y="470"/>
                    <a:pt x="352" y="470"/>
                  </a:cubicBezTo>
                  <a:cubicBezTo>
                    <a:pt x="351" y="470"/>
                    <a:pt x="351" y="470"/>
                    <a:pt x="351" y="470"/>
                  </a:cubicBezTo>
                  <a:cubicBezTo>
                    <a:pt x="351" y="470"/>
                    <a:pt x="351" y="470"/>
                    <a:pt x="350" y="471"/>
                  </a:cubicBezTo>
                  <a:cubicBezTo>
                    <a:pt x="350" y="471"/>
                    <a:pt x="350" y="471"/>
                    <a:pt x="350" y="471"/>
                  </a:cubicBezTo>
                  <a:cubicBezTo>
                    <a:pt x="350" y="471"/>
                    <a:pt x="350" y="471"/>
                    <a:pt x="350" y="471"/>
                  </a:cubicBezTo>
                  <a:cubicBezTo>
                    <a:pt x="351" y="471"/>
                    <a:pt x="351" y="471"/>
                    <a:pt x="351" y="471"/>
                  </a:cubicBezTo>
                  <a:cubicBezTo>
                    <a:pt x="351" y="471"/>
                    <a:pt x="351" y="471"/>
                    <a:pt x="351" y="471"/>
                  </a:cubicBezTo>
                  <a:cubicBezTo>
                    <a:pt x="351" y="471"/>
                    <a:pt x="352" y="471"/>
                    <a:pt x="352" y="471"/>
                  </a:cubicBezTo>
                  <a:close/>
                  <a:moveTo>
                    <a:pt x="356" y="476"/>
                  </a:moveTo>
                  <a:cubicBezTo>
                    <a:pt x="356" y="476"/>
                    <a:pt x="356" y="476"/>
                    <a:pt x="356" y="475"/>
                  </a:cubicBezTo>
                  <a:cubicBezTo>
                    <a:pt x="356" y="475"/>
                    <a:pt x="356" y="475"/>
                    <a:pt x="356" y="474"/>
                  </a:cubicBezTo>
                  <a:cubicBezTo>
                    <a:pt x="356" y="474"/>
                    <a:pt x="356" y="474"/>
                    <a:pt x="355" y="474"/>
                  </a:cubicBezTo>
                  <a:cubicBezTo>
                    <a:pt x="355" y="474"/>
                    <a:pt x="355" y="474"/>
                    <a:pt x="355" y="475"/>
                  </a:cubicBezTo>
                  <a:cubicBezTo>
                    <a:pt x="355" y="475"/>
                    <a:pt x="355" y="476"/>
                    <a:pt x="354" y="477"/>
                  </a:cubicBezTo>
                  <a:cubicBezTo>
                    <a:pt x="354" y="477"/>
                    <a:pt x="354" y="477"/>
                    <a:pt x="353" y="477"/>
                  </a:cubicBezTo>
                  <a:cubicBezTo>
                    <a:pt x="353" y="477"/>
                    <a:pt x="353" y="477"/>
                    <a:pt x="353" y="478"/>
                  </a:cubicBezTo>
                  <a:cubicBezTo>
                    <a:pt x="353" y="478"/>
                    <a:pt x="353" y="478"/>
                    <a:pt x="353" y="478"/>
                  </a:cubicBezTo>
                  <a:cubicBezTo>
                    <a:pt x="353" y="478"/>
                    <a:pt x="353" y="478"/>
                    <a:pt x="353" y="478"/>
                  </a:cubicBezTo>
                  <a:cubicBezTo>
                    <a:pt x="353" y="479"/>
                    <a:pt x="352" y="479"/>
                    <a:pt x="352" y="479"/>
                  </a:cubicBezTo>
                  <a:cubicBezTo>
                    <a:pt x="352" y="479"/>
                    <a:pt x="353" y="479"/>
                    <a:pt x="353" y="480"/>
                  </a:cubicBezTo>
                  <a:cubicBezTo>
                    <a:pt x="353" y="480"/>
                    <a:pt x="353" y="480"/>
                    <a:pt x="353" y="480"/>
                  </a:cubicBezTo>
                  <a:cubicBezTo>
                    <a:pt x="352" y="480"/>
                    <a:pt x="352" y="481"/>
                    <a:pt x="352" y="481"/>
                  </a:cubicBezTo>
                  <a:cubicBezTo>
                    <a:pt x="353" y="481"/>
                    <a:pt x="353" y="481"/>
                    <a:pt x="354" y="481"/>
                  </a:cubicBezTo>
                  <a:cubicBezTo>
                    <a:pt x="354" y="480"/>
                    <a:pt x="354" y="480"/>
                    <a:pt x="355" y="479"/>
                  </a:cubicBezTo>
                  <a:cubicBezTo>
                    <a:pt x="355" y="479"/>
                    <a:pt x="355" y="478"/>
                    <a:pt x="356" y="478"/>
                  </a:cubicBezTo>
                  <a:cubicBezTo>
                    <a:pt x="356" y="478"/>
                    <a:pt x="356" y="478"/>
                    <a:pt x="356" y="477"/>
                  </a:cubicBezTo>
                  <a:cubicBezTo>
                    <a:pt x="356" y="477"/>
                    <a:pt x="356" y="477"/>
                    <a:pt x="356" y="477"/>
                  </a:cubicBezTo>
                  <a:cubicBezTo>
                    <a:pt x="356" y="477"/>
                    <a:pt x="356" y="477"/>
                    <a:pt x="356" y="476"/>
                  </a:cubicBezTo>
                  <a:close/>
                  <a:moveTo>
                    <a:pt x="360" y="478"/>
                  </a:moveTo>
                  <a:cubicBezTo>
                    <a:pt x="359" y="478"/>
                    <a:pt x="359" y="478"/>
                    <a:pt x="359" y="479"/>
                  </a:cubicBezTo>
                  <a:cubicBezTo>
                    <a:pt x="359" y="479"/>
                    <a:pt x="360" y="479"/>
                    <a:pt x="360" y="479"/>
                  </a:cubicBezTo>
                  <a:cubicBezTo>
                    <a:pt x="360" y="479"/>
                    <a:pt x="360" y="479"/>
                    <a:pt x="360" y="479"/>
                  </a:cubicBezTo>
                  <a:cubicBezTo>
                    <a:pt x="360" y="479"/>
                    <a:pt x="360" y="478"/>
                    <a:pt x="360" y="478"/>
                  </a:cubicBezTo>
                  <a:cubicBezTo>
                    <a:pt x="360" y="478"/>
                    <a:pt x="360" y="477"/>
                    <a:pt x="360" y="477"/>
                  </a:cubicBezTo>
                  <a:cubicBezTo>
                    <a:pt x="361" y="476"/>
                    <a:pt x="361" y="476"/>
                    <a:pt x="361" y="476"/>
                  </a:cubicBezTo>
                  <a:cubicBezTo>
                    <a:pt x="360" y="476"/>
                    <a:pt x="360" y="476"/>
                    <a:pt x="360" y="476"/>
                  </a:cubicBezTo>
                  <a:cubicBezTo>
                    <a:pt x="360" y="477"/>
                    <a:pt x="360" y="477"/>
                    <a:pt x="360" y="477"/>
                  </a:cubicBezTo>
                  <a:cubicBezTo>
                    <a:pt x="360" y="477"/>
                    <a:pt x="360" y="477"/>
                    <a:pt x="360" y="478"/>
                  </a:cubicBezTo>
                  <a:close/>
                  <a:moveTo>
                    <a:pt x="362" y="481"/>
                  </a:moveTo>
                  <a:cubicBezTo>
                    <a:pt x="362" y="481"/>
                    <a:pt x="362" y="481"/>
                    <a:pt x="362" y="481"/>
                  </a:cubicBezTo>
                  <a:cubicBezTo>
                    <a:pt x="362" y="481"/>
                    <a:pt x="362" y="481"/>
                    <a:pt x="362" y="481"/>
                  </a:cubicBezTo>
                  <a:cubicBezTo>
                    <a:pt x="362" y="481"/>
                    <a:pt x="362" y="481"/>
                    <a:pt x="363" y="481"/>
                  </a:cubicBezTo>
                  <a:cubicBezTo>
                    <a:pt x="363" y="481"/>
                    <a:pt x="363" y="481"/>
                    <a:pt x="363" y="481"/>
                  </a:cubicBezTo>
                  <a:cubicBezTo>
                    <a:pt x="363" y="481"/>
                    <a:pt x="363" y="481"/>
                    <a:pt x="362" y="481"/>
                  </a:cubicBezTo>
                  <a:cubicBezTo>
                    <a:pt x="362" y="480"/>
                    <a:pt x="362" y="480"/>
                    <a:pt x="362" y="480"/>
                  </a:cubicBezTo>
                  <a:cubicBezTo>
                    <a:pt x="362" y="480"/>
                    <a:pt x="362" y="480"/>
                    <a:pt x="362" y="479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2" y="480"/>
                    <a:pt x="362" y="480"/>
                    <a:pt x="362" y="480"/>
                  </a:cubicBezTo>
                  <a:moveTo>
                    <a:pt x="275" y="350"/>
                  </a:moveTo>
                  <a:cubicBezTo>
                    <a:pt x="275" y="350"/>
                    <a:pt x="274" y="350"/>
                    <a:pt x="274" y="350"/>
                  </a:cubicBezTo>
                  <a:cubicBezTo>
                    <a:pt x="274" y="350"/>
                    <a:pt x="273" y="350"/>
                    <a:pt x="273" y="351"/>
                  </a:cubicBezTo>
                  <a:cubicBezTo>
                    <a:pt x="272" y="351"/>
                    <a:pt x="272" y="351"/>
                    <a:pt x="272" y="351"/>
                  </a:cubicBezTo>
                  <a:cubicBezTo>
                    <a:pt x="271" y="351"/>
                    <a:pt x="271" y="350"/>
                    <a:pt x="271" y="350"/>
                  </a:cubicBezTo>
                  <a:cubicBezTo>
                    <a:pt x="271" y="350"/>
                    <a:pt x="271" y="351"/>
                    <a:pt x="271" y="351"/>
                  </a:cubicBezTo>
                  <a:cubicBezTo>
                    <a:pt x="270" y="352"/>
                    <a:pt x="269" y="352"/>
                    <a:pt x="268" y="352"/>
                  </a:cubicBezTo>
                  <a:cubicBezTo>
                    <a:pt x="267" y="353"/>
                    <a:pt x="267" y="353"/>
                    <a:pt x="267" y="354"/>
                  </a:cubicBezTo>
                  <a:cubicBezTo>
                    <a:pt x="267" y="354"/>
                    <a:pt x="267" y="354"/>
                    <a:pt x="267" y="354"/>
                  </a:cubicBezTo>
                  <a:cubicBezTo>
                    <a:pt x="267" y="354"/>
                    <a:pt x="267" y="354"/>
                    <a:pt x="267" y="354"/>
                  </a:cubicBezTo>
                  <a:cubicBezTo>
                    <a:pt x="266" y="355"/>
                    <a:pt x="265" y="355"/>
                    <a:pt x="265" y="355"/>
                  </a:cubicBezTo>
                  <a:cubicBezTo>
                    <a:pt x="265" y="354"/>
                    <a:pt x="264" y="354"/>
                    <a:pt x="264" y="354"/>
                  </a:cubicBezTo>
                  <a:cubicBezTo>
                    <a:pt x="264" y="354"/>
                    <a:pt x="264" y="354"/>
                    <a:pt x="263" y="354"/>
                  </a:cubicBezTo>
                  <a:cubicBezTo>
                    <a:pt x="263" y="355"/>
                    <a:pt x="262" y="355"/>
                    <a:pt x="261" y="355"/>
                  </a:cubicBezTo>
                  <a:cubicBezTo>
                    <a:pt x="260" y="355"/>
                    <a:pt x="260" y="355"/>
                    <a:pt x="260" y="355"/>
                  </a:cubicBezTo>
                  <a:cubicBezTo>
                    <a:pt x="259" y="355"/>
                    <a:pt x="259" y="355"/>
                    <a:pt x="259" y="355"/>
                  </a:cubicBezTo>
                  <a:cubicBezTo>
                    <a:pt x="259" y="356"/>
                    <a:pt x="259" y="356"/>
                    <a:pt x="259" y="356"/>
                  </a:cubicBezTo>
                  <a:cubicBezTo>
                    <a:pt x="260" y="357"/>
                    <a:pt x="260" y="358"/>
                    <a:pt x="260" y="358"/>
                  </a:cubicBezTo>
                  <a:cubicBezTo>
                    <a:pt x="261" y="359"/>
                    <a:pt x="261" y="359"/>
                    <a:pt x="261" y="360"/>
                  </a:cubicBezTo>
                  <a:cubicBezTo>
                    <a:pt x="262" y="360"/>
                    <a:pt x="262" y="360"/>
                    <a:pt x="262" y="361"/>
                  </a:cubicBezTo>
                  <a:cubicBezTo>
                    <a:pt x="262" y="361"/>
                    <a:pt x="263" y="361"/>
                    <a:pt x="263" y="361"/>
                  </a:cubicBezTo>
                  <a:cubicBezTo>
                    <a:pt x="265" y="361"/>
                    <a:pt x="266" y="362"/>
                    <a:pt x="268" y="363"/>
                  </a:cubicBezTo>
                  <a:cubicBezTo>
                    <a:pt x="268" y="363"/>
                    <a:pt x="268" y="363"/>
                    <a:pt x="268" y="363"/>
                  </a:cubicBezTo>
                  <a:cubicBezTo>
                    <a:pt x="269" y="364"/>
                    <a:pt x="271" y="364"/>
                    <a:pt x="272" y="364"/>
                  </a:cubicBezTo>
                  <a:cubicBezTo>
                    <a:pt x="272" y="364"/>
                    <a:pt x="273" y="364"/>
                    <a:pt x="273" y="364"/>
                  </a:cubicBezTo>
                  <a:cubicBezTo>
                    <a:pt x="273" y="365"/>
                    <a:pt x="274" y="365"/>
                    <a:pt x="274" y="366"/>
                  </a:cubicBezTo>
                  <a:cubicBezTo>
                    <a:pt x="274" y="366"/>
                    <a:pt x="274" y="366"/>
                    <a:pt x="274" y="366"/>
                  </a:cubicBezTo>
                  <a:cubicBezTo>
                    <a:pt x="274" y="366"/>
                    <a:pt x="274" y="366"/>
                    <a:pt x="275" y="366"/>
                  </a:cubicBezTo>
                  <a:cubicBezTo>
                    <a:pt x="275" y="366"/>
                    <a:pt x="275" y="366"/>
                    <a:pt x="275" y="366"/>
                  </a:cubicBezTo>
                  <a:cubicBezTo>
                    <a:pt x="275" y="365"/>
                    <a:pt x="275" y="365"/>
                    <a:pt x="274" y="365"/>
                  </a:cubicBezTo>
                  <a:cubicBezTo>
                    <a:pt x="274" y="365"/>
                    <a:pt x="274" y="365"/>
                    <a:pt x="274" y="364"/>
                  </a:cubicBezTo>
                  <a:cubicBezTo>
                    <a:pt x="274" y="364"/>
                    <a:pt x="274" y="364"/>
                    <a:pt x="274" y="364"/>
                  </a:cubicBezTo>
                  <a:cubicBezTo>
                    <a:pt x="274" y="364"/>
                    <a:pt x="275" y="365"/>
                    <a:pt x="276" y="364"/>
                  </a:cubicBezTo>
                  <a:cubicBezTo>
                    <a:pt x="276" y="364"/>
                    <a:pt x="277" y="364"/>
                    <a:pt x="277" y="364"/>
                  </a:cubicBezTo>
                  <a:cubicBezTo>
                    <a:pt x="278" y="363"/>
                    <a:pt x="278" y="363"/>
                    <a:pt x="279" y="363"/>
                  </a:cubicBezTo>
                  <a:cubicBezTo>
                    <a:pt x="279" y="363"/>
                    <a:pt x="279" y="363"/>
                    <a:pt x="279" y="363"/>
                  </a:cubicBezTo>
                  <a:cubicBezTo>
                    <a:pt x="279" y="362"/>
                    <a:pt x="280" y="363"/>
                    <a:pt x="280" y="363"/>
                  </a:cubicBezTo>
                  <a:cubicBezTo>
                    <a:pt x="280" y="363"/>
                    <a:pt x="281" y="363"/>
                    <a:pt x="282" y="362"/>
                  </a:cubicBezTo>
                  <a:cubicBezTo>
                    <a:pt x="282" y="362"/>
                    <a:pt x="282" y="362"/>
                    <a:pt x="283" y="362"/>
                  </a:cubicBezTo>
                  <a:cubicBezTo>
                    <a:pt x="283" y="361"/>
                    <a:pt x="283" y="361"/>
                    <a:pt x="282" y="361"/>
                  </a:cubicBezTo>
                  <a:cubicBezTo>
                    <a:pt x="282" y="361"/>
                    <a:pt x="282" y="361"/>
                    <a:pt x="282" y="361"/>
                  </a:cubicBezTo>
                  <a:cubicBezTo>
                    <a:pt x="282" y="360"/>
                    <a:pt x="282" y="360"/>
                    <a:pt x="282" y="360"/>
                  </a:cubicBezTo>
                  <a:cubicBezTo>
                    <a:pt x="282" y="360"/>
                    <a:pt x="281" y="360"/>
                    <a:pt x="281" y="359"/>
                  </a:cubicBezTo>
                  <a:cubicBezTo>
                    <a:pt x="281" y="359"/>
                    <a:pt x="281" y="358"/>
                    <a:pt x="281" y="358"/>
                  </a:cubicBezTo>
                  <a:cubicBezTo>
                    <a:pt x="281" y="357"/>
                    <a:pt x="281" y="357"/>
                    <a:pt x="281" y="357"/>
                  </a:cubicBezTo>
                  <a:cubicBezTo>
                    <a:pt x="281" y="357"/>
                    <a:pt x="281" y="356"/>
                    <a:pt x="281" y="356"/>
                  </a:cubicBezTo>
                  <a:cubicBezTo>
                    <a:pt x="281" y="356"/>
                    <a:pt x="281" y="355"/>
                    <a:pt x="281" y="355"/>
                  </a:cubicBezTo>
                  <a:cubicBezTo>
                    <a:pt x="281" y="354"/>
                    <a:pt x="281" y="354"/>
                    <a:pt x="281" y="354"/>
                  </a:cubicBezTo>
                  <a:cubicBezTo>
                    <a:pt x="281" y="353"/>
                    <a:pt x="280" y="353"/>
                    <a:pt x="280" y="353"/>
                  </a:cubicBezTo>
                  <a:cubicBezTo>
                    <a:pt x="280" y="352"/>
                    <a:pt x="280" y="352"/>
                    <a:pt x="280" y="352"/>
                  </a:cubicBezTo>
                  <a:cubicBezTo>
                    <a:pt x="280" y="352"/>
                    <a:pt x="279" y="351"/>
                    <a:pt x="279" y="351"/>
                  </a:cubicBezTo>
                  <a:cubicBezTo>
                    <a:pt x="278" y="351"/>
                    <a:pt x="278" y="352"/>
                    <a:pt x="277" y="352"/>
                  </a:cubicBezTo>
                  <a:cubicBezTo>
                    <a:pt x="276" y="352"/>
                    <a:pt x="276" y="351"/>
                    <a:pt x="275" y="351"/>
                  </a:cubicBezTo>
                  <a:cubicBezTo>
                    <a:pt x="275" y="351"/>
                    <a:pt x="275" y="350"/>
                    <a:pt x="275" y="350"/>
                  </a:cubicBezTo>
                  <a:close/>
                  <a:moveTo>
                    <a:pt x="512" y="362"/>
                  </a:moveTo>
                  <a:cubicBezTo>
                    <a:pt x="512" y="363"/>
                    <a:pt x="512" y="363"/>
                    <a:pt x="512" y="363"/>
                  </a:cubicBezTo>
                  <a:cubicBezTo>
                    <a:pt x="512" y="363"/>
                    <a:pt x="512" y="363"/>
                    <a:pt x="512" y="363"/>
                  </a:cubicBezTo>
                  <a:cubicBezTo>
                    <a:pt x="511" y="364"/>
                    <a:pt x="510" y="365"/>
                    <a:pt x="511" y="366"/>
                  </a:cubicBezTo>
                  <a:cubicBezTo>
                    <a:pt x="512" y="366"/>
                    <a:pt x="513" y="364"/>
                    <a:pt x="514" y="364"/>
                  </a:cubicBezTo>
                  <a:cubicBezTo>
                    <a:pt x="515" y="364"/>
                    <a:pt x="515" y="364"/>
                    <a:pt x="515" y="364"/>
                  </a:cubicBezTo>
                  <a:cubicBezTo>
                    <a:pt x="515" y="364"/>
                    <a:pt x="516" y="364"/>
                    <a:pt x="516" y="363"/>
                  </a:cubicBezTo>
                  <a:cubicBezTo>
                    <a:pt x="516" y="363"/>
                    <a:pt x="515" y="362"/>
                    <a:pt x="515" y="362"/>
                  </a:cubicBezTo>
                  <a:cubicBezTo>
                    <a:pt x="516" y="361"/>
                    <a:pt x="516" y="361"/>
                    <a:pt x="517" y="361"/>
                  </a:cubicBezTo>
                  <a:cubicBezTo>
                    <a:pt x="517" y="361"/>
                    <a:pt x="517" y="360"/>
                    <a:pt x="517" y="360"/>
                  </a:cubicBezTo>
                  <a:cubicBezTo>
                    <a:pt x="517" y="359"/>
                    <a:pt x="517" y="359"/>
                    <a:pt x="518" y="358"/>
                  </a:cubicBezTo>
                  <a:cubicBezTo>
                    <a:pt x="519" y="357"/>
                    <a:pt x="520" y="355"/>
                    <a:pt x="522" y="354"/>
                  </a:cubicBezTo>
                  <a:cubicBezTo>
                    <a:pt x="522" y="354"/>
                    <a:pt x="523" y="353"/>
                    <a:pt x="523" y="353"/>
                  </a:cubicBezTo>
                  <a:cubicBezTo>
                    <a:pt x="523" y="353"/>
                    <a:pt x="522" y="352"/>
                    <a:pt x="522" y="352"/>
                  </a:cubicBezTo>
                  <a:cubicBezTo>
                    <a:pt x="522" y="353"/>
                    <a:pt x="522" y="353"/>
                    <a:pt x="522" y="353"/>
                  </a:cubicBezTo>
                  <a:cubicBezTo>
                    <a:pt x="521" y="353"/>
                    <a:pt x="521" y="353"/>
                    <a:pt x="521" y="352"/>
                  </a:cubicBezTo>
                  <a:cubicBezTo>
                    <a:pt x="521" y="352"/>
                    <a:pt x="521" y="352"/>
                    <a:pt x="521" y="352"/>
                  </a:cubicBezTo>
                  <a:cubicBezTo>
                    <a:pt x="521" y="352"/>
                    <a:pt x="520" y="351"/>
                    <a:pt x="520" y="351"/>
                  </a:cubicBezTo>
                  <a:cubicBezTo>
                    <a:pt x="519" y="351"/>
                    <a:pt x="520" y="352"/>
                    <a:pt x="519" y="352"/>
                  </a:cubicBezTo>
                  <a:cubicBezTo>
                    <a:pt x="519" y="353"/>
                    <a:pt x="519" y="353"/>
                    <a:pt x="519" y="354"/>
                  </a:cubicBezTo>
                  <a:cubicBezTo>
                    <a:pt x="519" y="354"/>
                    <a:pt x="519" y="354"/>
                    <a:pt x="519" y="354"/>
                  </a:cubicBezTo>
                  <a:cubicBezTo>
                    <a:pt x="519" y="355"/>
                    <a:pt x="518" y="355"/>
                    <a:pt x="518" y="355"/>
                  </a:cubicBezTo>
                  <a:cubicBezTo>
                    <a:pt x="517" y="356"/>
                    <a:pt x="516" y="357"/>
                    <a:pt x="515" y="358"/>
                  </a:cubicBezTo>
                  <a:cubicBezTo>
                    <a:pt x="515" y="359"/>
                    <a:pt x="514" y="360"/>
                    <a:pt x="513" y="361"/>
                  </a:cubicBezTo>
                  <a:cubicBezTo>
                    <a:pt x="513" y="361"/>
                    <a:pt x="512" y="361"/>
                    <a:pt x="512" y="361"/>
                  </a:cubicBezTo>
                  <a:cubicBezTo>
                    <a:pt x="512" y="362"/>
                    <a:pt x="512" y="362"/>
                    <a:pt x="512" y="362"/>
                  </a:cubicBezTo>
                  <a:cubicBezTo>
                    <a:pt x="512" y="362"/>
                    <a:pt x="512" y="362"/>
                    <a:pt x="512" y="362"/>
                  </a:cubicBezTo>
                  <a:close/>
                  <a:moveTo>
                    <a:pt x="510" y="361"/>
                  </a:moveTo>
                  <a:cubicBezTo>
                    <a:pt x="510" y="361"/>
                    <a:pt x="510" y="361"/>
                    <a:pt x="510" y="361"/>
                  </a:cubicBezTo>
                  <a:cubicBezTo>
                    <a:pt x="511" y="360"/>
                    <a:pt x="511" y="360"/>
                    <a:pt x="511" y="360"/>
                  </a:cubicBezTo>
                  <a:cubicBezTo>
                    <a:pt x="511" y="360"/>
                    <a:pt x="511" y="359"/>
                    <a:pt x="511" y="359"/>
                  </a:cubicBezTo>
                  <a:cubicBezTo>
                    <a:pt x="511" y="359"/>
                    <a:pt x="511" y="359"/>
                    <a:pt x="511" y="359"/>
                  </a:cubicBezTo>
                  <a:cubicBezTo>
                    <a:pt x="511" y="358"/>
                    <a:pt x="510" y="358"/>
                    <a:pt x="510" y="358"/>
                  </a:cubicBezTo>
                  <a:cubicBezTo>
                    <a:pt x="510" y="358"/>
                    <a:pt x="510" y="359"/>
                    <a:pt x="510" y="359"/>
                  </a:cubicBezTo>
                  <a:cubicBezTo>
                    <a:pt x="510" y="359"/>
                    <a:pt x="510" y="359"/>
                    <a:pt x="510" y="360"/>
                  </a:cubicBezTo>
                  <a:cubicBezTo>
                    <a:pt x="509" y="360"/>
                    <a:pt x="509" y="360"/>
                    <a:pt x="509" y="360"/>
                  </a:cubicBezTo>
                  <a:cubicBezTo>
                    <a:pt x="509" y="361"/>
                    <a:pt x="508" y="361"/>
                    <a:pt x="508" y="361"/>
                  </a:cubicBezTo>
                  <a:cubicBezTo>
                    <a:pt x="509" y="361"/>
                    <a:pt x="509" y="362"/>
                    <a:pt x="510" y="361"/>
                  </a:cubicBezTo>
                  <a:cubicBezTo>
                    <a:pt x="510" y="361"/>
                    <a:pt x="510" y="361"/>
                    <a:pt x="510" y="361"/>
                  </a:cubicBezTo>
                  <a:close/>
                  <a:moveTo>
                    <a:pt x="510" y="354"/>
                  </a:moveTo>
                  <a:cubicBezTo>
                    <a:pt x="511" y="355"/>
                    <a:pt x="512" y="354"/>
                    <a:pt x="512" y="355"/>
                  </a:cubicBezTo>
                  <a:cubicBezTo>
                    <a:pt x="512" y="355"/>
                    <a:pt x="512" y="355"/>
                    <a:pt x="512" y="354"/>
                  </a:cubicBezTo>
                  <a:cubicBezTo>
                    <a:pt x="512" y="354"/>
                    <a:pt x="512" y="353"/>
                    <a:pt x="512" y="353"/>
                  </a:cubicBezTo>
                  <a:cubicBezTo>
                    <a:pt x="512" y="353"/>
                    <a:pt x="512" y="353"/>
                    <a:pt x="513" y="352"/>
                  </a:cubicBezTo>
                  <a:cubicBezTo>
                    <a:pt x="513" y="352"/>
                    <a:pt x="513" y="352"/>
                    <a:pt x="513" y="352"/>
                  </a:cubicBezTo>
                  <a:cubicBezTo>
                    <a:pt x="513" y="351"/>
                    <a:pt x="514" y="351"/>
                    <a:pt x="513" y="351"/>
                  </a:cubicBezTo>
                  <a:cubicBezTo>
                    <a:pt x="513" y="350"/>
                    <a:pt x="513" y="350"/>
                    <a:pt x="513" y="350"/>
                  </a:cubicBezTo>
                  <a:cubicBezTo>
                    <a:pt x="513" y="350"/>
                    <a:pt x="513" y="350"/>
                    <a:pt x="513" y="350"/>
                  </a:cubicBezTo>
                  <a:cubicBezTo>
                    <a:pt x="513" y="350"/>
                    <a:pt x="513" y="349"/>
                    <a:pt x="513" y="349"/>
                  </a:cubicBezTo>
                  <a:cubicBezTo>
                    <a:pt x="513" y="349"/>
                    <a:pt x="513" y="349"/>
                    <a:pt x="513" y="349"/>
                  </a:cubicBezTo>
                  <a:cubicBezTo>
                    <a:pt x="513" y="349"/>
                    <a:pt x="513" y="348"/>
                    <a:pt x="513" y="348"/>
                  </a:cubicBezTo>
                  <a:cubicBezTo>
                    <a:pt x="513" y="348"/>
                    <a:pt x="513" y="348"/>
                    <a:pt x="513" y="348"/>
                  </a:cubicBezTo>
                  <a:cubicBezTo>
                    <a:pt x="513" y="348"/>
                    <a:pt x="513" y="348"/>
                    <a:pt x="512" y="348"/>
                  </a:cubicBezTo>
                  <a:cubicBezTo>
                    <a:pt x="512" y="349"/>
                    <a:pt x="511" y="349"/>
                    <a:pt x="511" y="350"/>
                  </a:cubicBezTo>
                  <a:cubicBezTo>
                    <a:pt x="511" y="350"/>
                    <a:pt x="511" y="350"/>
                    <a:pt x="511" y="350"/>
                  </a:cubicBezTo>
                  <a:cubicBezTo>
                    <a:pt x="511" y="351"/>
                    <a:pt x="511" y="352"/>
                    <a:pt x="510" y="353"/>
                  </a:cubicBezTo>
                  <a:cubicBezTo>
                    <a:pt x="510" y="353"/>
                    <a:pt x="510" y="354"/>
                    <a:pt x="510" y="354"/>
                  </a:cubicBezTo>
                  <a:close/>
                  <a:moveTo>
                    <a:pt x="533" y="350"/>
                  </a:moveTo>
                  <a:cubicBezTo>
                    <a:pt x="534" y="350"/>
                    <a:pt x="533" y="350"/>
                    <a:pt x="533" y="349"/>
                  </a:cubicBezTo>
                  <a:cubicBezTo>
                    <a:pt x="533" y="349"/>
                    <a:pt x="532" y="349"/>
                    <a:pt x="532" y="349"/>
                  </a:cubicBezTo>
                  <a:cubicBezTo>
                    <a:pt x="532" y="349"/>
                    <a:pt x="531" y="349"/>
                    <a:pt x="531" y="349"/>
                  </a:cubicBezTo>
                  <a:cubicBezTo>
                    <a:pt x="531" y="350"/>
                    <a:pt x="530" y="349"/>
                    <a:pt x="530" y="349"/>
                  </a:cubicBezTo>
                  <a:cubicBezTo>
                    <a:pt x="530" y="349"/>
                    <a:pt x="530" y="349"/>
                    <a:pt x="530" y="348"/>
                  </a:cubicBezTo>
                  <a:cubicBezTo>
                    <a:pt x="530" y="348"/>
                    <a:pt x="530" y="348"/>
                    <a:pt x="529" y="348"/>
                  </a:cubicBezTo>
                  <a:cubicBezTo>
                    <a:pt x="529" y="348"/>
                    <a:pt x="529" y="348"/>
                    <a:pt x="528" y="348"/>
                  </a:cubicBezTo>
                  <a:cubicBezTo>
                    <a:pt x="528" y="348"/>
                    <a:pt x="528" y="348"/>
                    <a:pt x="528" y="348"/>
                  </a:cubicBezTo>
                  <a:cubicBezTo>
                    <a:pt x="527" y="347"/>
                    <a:pt x="527" y="347"/>
                    <a:pt x="527" y="347"/>
                  </a:cubicBezTo>
                  <a:cubicBezTo>
                    <a:pt x="526" y="348"/>
                    <a:pt x="526" y="348"/>
                    <a:pt x="526" y="349"/>
                  </a:cubicBezTo>
                  <a:cubicBezTo>
                    <a:pt x="526" y="349"/>
                    <a:pt x="526" y="350"/>
                    <a:pt x="526" y="350"/>
                  </a:cubicBezTo>
                  <a:cubicBezTo>
                    <a:pt x="525" y="350"/>
                    <a:pt x="525" y="351"/>
                    <a:pt x="525" y="351"/>
                  </a:cubicBezTo>
                  <a:cubicBezTo>
                    <a:pt x="526" y="351"/>
                    <a:pt x="526" y="351"/>
                    <a:pt x="526" y="351"/>
                  </a:cubicBezTo>
                  <a:cubicBezTo>
                    <a:pt x="526" y="351"/>
                    <a:pt x="526" y="351"/>
                    <a:pt x="526" y="351"/>
                  </a:cubicBezTo>
                  <a:cubicBezTo>
                    <a:pt x="526" y="351"/>
                    <a:pt x="527" y="350"/>
                    <a:pt x="527" y="351"/>
                  </a:cubicBezTo>
                  <a:cubicBezTo>
                    <a:pt x="527" y="351"/>
                    <a:pt x="528" y="351"/>
                    <a:pt x="528" y="351"/>
                  </a:cubicBezTo>
                  <a:cubicBezTo>
                    <a:pt x="528" y="351"/>
                    <a:pt x="528" y="351"/>
                    <a:pt x="528" y="351"/>
                  </a:cubicBezTo>
                  <a:cubicBezTo>
                    <a:pt x="528" y="351"/>
                    <a:pt x="527" y="352"/>
                    <a:pt x="527" y="352"/>
                  </a:cubicBezTo>
                  <a:cubicBezTo>
                    <a:pt x="527" y="352"/>
                    <a:pt x="527" y="353"/>
                    <a:pt x="526" y="353"/>
                  </a:cubicBezTo>
                  <a:cubicBezTo>
                    <a:pt x="526" y="353"/>
                    <a:pt x="526" y="353"/>
                    <a:pt x="526" y="353"/>
                  </a:cubicBezTo>
                  <a:cubicBezTo>
                    <a:pt x="526" y="354"/>
                    <a:pt x="527" y="354"/>
                    <a:pt x="527" y="354"/>
                  </a:cubicBezTo>
                  <a:cubicBezTo>
                    <a:pt x="528" y="354"/>
                    <a:pt x="529" y="352"/>
                    <a:pt x="530" y="351"/>
                  </a:cubicBezTo>
                  <a:cubicBezTo>
                    <a:pt x="531" y="351"/>
                    <a:pt x="532" y="351"/>
                    <a:pt x="532" y="351"/>
                  </a:cubicBezTo>
                  <a:cubicBezTo>
                    <a:pt x="533" y="351"/>
                    <a:pt x="533" y="351"/>
                    <a:pt x="533" y="350"/>
                  </a:cubicBezTo>
                  <a:close/>
                  <a:moveTo>
                    <a:pt x="531" y="348"/>
                  </a:moveTo>
                  <a:cubicBezTo>
                    <a:pt x="531" y="348"/>
                    <a:pt x="531" y="348"/>
                    <a:pt x="531" y="348"/>
                  </a:cubicBezTo>
                  <a:cubicBezTo>
                    <a:pt x="532" y="348"/>
                    <a:pt x="534" y="348"/>
                    <a:pt x="534" y="347"/>
                  </a:cubicBezTo>
                  <a:cubicBezTo>
                    <a:pt x="535" y="346"/>
                    <a:pt x="536" y="346"/>
                    <a:pt x="537" y="345"/>
                  </a:cubicBezTo>
                  <a:cubicBezTo>
                    <a:pt x="537" y="345"/>
                    <a:pt x="537" y="345"/>
                    <a:pt x="537" y="345"/>
                  </a:cubicBezTo>
                  <a:cubicBezTo>
                    <a:pt x="537" y="345"/>
                    <a:pt x="536" y="345"/>
                    <a:pt x="536" y="345"/>
                  </a:cubicBezTo>
                  <a:cubicBezTo>
                    <a:pt x="535" y="345"/>
                    <a:pt x="534" y="346"/>
                    <a:pt x="533" y="346"/>
                  </a:cubicBezTo>
                  <a:cubicBezTo>
                    <a:pt x="533" y="347"/>
                    <a:pt x="532" y="347"/>
                    <a:pt x="532" y="347"/>
                  </a:cubicBezTo>
                  <a:cubicBezTo>
                    <a:pt x="532" y="347"/>
                    <a:pt x="531" y="347"/>
                    <a:pt x="531" y="347"/>
                  </a:cubicBezTo>
                  <a:cubicBezTo>
                    <a:pt x="531" y="347"/>
                    <a:pt x="531" y="347"/>
                    <a:pt x="531" y="348"/>
                  </a:cubicBezTo>
                  <a:close/>
                  <a:moveTo>
                    <a:pt x="690" y="436"/>
                  </a:moveTo>
                  <a:cubicBezTo>
                    <a:pt x="691" y="436"/>
                    <a:pt x="691" y="437"/>
                    <a:pt x="692" y="437"/>
                  </a:cubicBezTo>
                  <a:cubicBezTo>
                    <a:pt x="692" y="437"/>
                    <a:pt x="691" y="437"/>
                    <a:pt x="691" y="437"/>
                  </a:cubicBezTo>
                  <a:cubicBezTo>
                    <a:pt x="690" y="437"/>
                    <a:pt x="690" y="437"/>
                    <a:pt x="690" y="437"/>
                  </a:cubicBezTo>
                  <a:cubicBezTo>
                    <a:pt x="690" y="437"/>
                    <a:pt x="690" y="437"/>
                    <a:pt x="690" y="437"/>
                  </a:cubicBezTo>
                  <a:cubicBezTo>
                    <a:pt x="691" y="437"/>
                    <a:pt x="691" y="438"/>
                    <a:pt x="691" y="438"/>
                  </a:cubicBezTo>
                  <a:cubicBezTo>
                    <a:pt x="691" y="439"/>
                    <a:pt x="692" y="439"/>
                    <a:pt x="693" y="438"/>
                  </a:cubicBezTo>
                  <a:cubicBezTo>
                    <a:pt x="693" y="439"/>
                    <a:pt x="693" y="439"/>
                    <a:pt x="693" y="439"/>
                  </a:cubicBezTo>
                  <a:cubicBezTo>
                    <a:pt x="693" y="440"/>
                    <a:pt x="693" y="440"/>
                    <a:pt x="693" y="440"/>
                  </a:cubicBezTo>
                  <a:cubicBezTo>
                    <a:pt x="693" y="440"/>
                    <a:pt x="693" y="441"/>
                    <a:pt x="692" y="441"/>
                  </a:cubicBezTo>
                  <a:cubicBezTo>
                    <a:pt x="692" y="442"/>
                    <a:pt x="692" y="442"/>
                    <a:pt x="693" y="443"/>
                  </a:cubicBezTo>
                  <a:cubicBezTo>
                    <a:pt x="693" y="443"/>
                    <a:pt x="693" y="444"/>
                    <a:pt x="693" y="445"/>
                  </a:cubicBezTo>
                  <a:cubicBezTo>
                    <a:pt x="693" y="445"/>
                    <a:pt x="693" y="446"/>
                    <a:pt x="693" y="447"/>
                  </a:cubicBezTo>
                  <a:cubicBezTo>
                    <a:pt x="693" y="447"/>
                    <a:pt x="693" y="447"/>
                    <a:pt x="694" y="447"/>
                  </a:cubicBezTo>
                  <a:cubicBezTo>
                    <a:pt x="694" y="447"/>
                    <a:pt x="695" y="447"/>
                    <a:pt x="695" y="447"/>
                  </a:cubicBezTo>
                  <a:cubicBezTo>
                    <a:pt x="696" y="447"/>
                    <a:pt x="696" y="447"/>
                    <a:pt x="696" y="447"/>
                  </a:cubicBezTo>
                  <a:cubicBezTo>
                    <a:pt x="696" y="446"/>
                    <a:pt x="696" y="446"/>
                    <a:pt x="696" y="446"/>
                  </a:cubicBezTo>
                  <a:cubicBezTo>
                    <a:pt x="696" y="446"/>
                    <a:pt x="697" y="446"/>
                    <a:pt x="697" y="446"/>
                  </a:cubicBezTo>
                  <a:cubicBezTo>
                    <a:pt x="697" y="446"/>
                    <a:pt x="697" y="447"/>
                    <a:pt x="697" y="447"/>
                  </a:cubicBezTo>
                  <a:cubicBezTo>
                    <a:pt x="698" y="446"/>
                    <a:pt x="698" y="447"/>
                    <a:pt x="699" y="447"/>
                  </a:cubicBezTo>
                  <a:cubicBezTo>
                    <a:pt x="699" y="447"/>
                    <a:pt x="700" y="447"/>
                    <a:pt x="700" y="446"/>
                  </a:cubicBezTo>
                  <a:cubicBezTo>
                    <a:pt x="700" y="446"/>
                    <a:pt x="700" y="445"/>
                    <a:pt x="700" y="445"/>
                  </a:cubicBezTo>
                  <a:cubicBezTo>
                    <a:pt x="700" y="445"/>
                    <a:pt x="700" y="445"/>
                    <a:pt x="700" y="445"/>
                  </a:cubicBezTo>
                  <a:cubicBezTo>
                    <a:pt x="700" y="445"/>
                    <a:pt x="700" y="444"/>
                    <a:pt x="700" y="444"/>
                  </a:cubicBezTo>
                  <a:cubicBezTo>
                    <a:pt x="700" y="444"/>
                    <a:pt x="700" y="444"/>
                    <a:pt x="700" y="444"/>
                  </a:cubicBezTo>
                  <a:cubicBezTo>
                    <a:pt x="700" y="443"/>
                    <a:pt x="700" y="443"/>
                    <a:pt x="700" y="443"/>
                  </a:cubicBezTo>
                  <a:cubicBezTo>
                    <a:pt x="700" y="443"/>
                    <a:pt x="699" y="443"/>
                    <a:pt x="699" y="443"/>
                  </a:cubicBezTo>
                  <a:cubicBezTo>
                    <a:pt x="699" y="442"/>
                    <a:pt x="699" y="442"/>
                    <a:pt x="698" y="443"/>
                  </a:cubicBezTo>
                  <a:cubicBezTo>
                    <a:pt x="698" y="442"/>
                    <a:pt x="698" y="442"/>
                    <a:pt x="698" y="442"/>
                  </a:cubicBezTo>
                  <a:cubicBezTo>
                    <a:pt x="698" y="442"/>
                    <a:pt x="699" y="442"/>
                    <a:pt x="699" y="441"/>
                  </a:cubicBezTo>
                  <a:cubicBezTo>
                    <a:pt x="699" y="441"/>
                    <a:pt x="699" y="440"/>
                    <a:pt x="698" y="440"/>
                  </a:cubicBezTo>
                  <a:cubicBezTo>
                    <a:pt x="697" y="440"/>
                    <a:pt x="697" y="440"/>
                    <a:pt x="697" y="440"/>
                  </a:cubicBezTo>
                  <a:cubicBezTo>
                    <a:pt x="697" y="439"/>
                    <a:pt x="697" y="439"/>
                    <a:pt x="697" y="439"/>
                  </a:cubicBezTo>
                  <a:cubicBezTo>
                    <a:pt x="697" y="439"/>
                    <a:pt x="697" y="438"/>
                    <a:pt x="697" y="438"/>
                  </a:cubicBezTo>
                  <a:cubicBezTo>
                    <a:pt x="697" y="439"/>
                    <a:pt x="698" y="438"/>
                    <a:pt x="698" y="439"/>
                  </a:cubicBezTo>
                  <a:cubicBezTo>
                    <a:pt x="698" y="439"/>
                    <a:pt x="698" y="439"/>
                    <a:pt x="698" y="439"/>
                  </a:cubicBezTo>
                  <a:cubicBezTo>
                    <a:pt x="698" y="440"/>
                    <a:pt x="699" y="440"/>
                    <a:pt x="699" y="441"/>
                  </a:cubicBezTo>
                  <a:cubicBezTo>
                    <a:pt x="699" y="441"/>
                    <a:pt x="699" y="441"/>
                    <a:pt x="699" y="441"/>
                  </a:cubicBezTo>
                  <a:cubicBezTo>
                    <a:pt x="700" y="442"/>
                    <a:pt x="701" y="442"/>
                    <a:pt x="701" y="443"/>
                  </a:cubicBezTo>
                  <a:cubicBezTo>
                    <a:pt x="701" y="443"/>
                    <a:pt x="701" y="444"/>
                    <a:pt x="702" y="443"/>
                  </a:cubicBezTo>
                  <a:cubicBezTo>
                    <a:pt x="702" y="443"/>
                    <a:pt x="702" y="442"/>
                    <a:pt x="702" y="442"/>
                  </a:cubicBezTo>
                  <a:cubicBezTo>
                    <a:pt x="702" y="441"/>
                    <a:pt x="702" y="441"/>
                    <a:pt x="702" y="441"/>
                  </a:cubicBezTo>
                  <a:cubicBezTo>
                    <a:pt x="702" y="441"/>
                    <a:pt x="702" y="441"/>
                    <a:pt x="702" y="441"/>
                  </a:cubicBezTo>
                  <a:cubicBezTo>
                    <a:pt x="702" y="440"/>
                    <a:pt x="702" y="440"/>
                    <a:pt x="702" y="440"/>
                  </a:cubicBezTo>
                  <a:cubicBezTo>
                    <a:pt x="702" y="440"/>
                    <a:pt x="703" y="441"/>
                    <a:pt x="702" y="441"/>
                  </a:cubicBezTo>
                  <a:cubicBezTo>
                    <a:pt x="702" y="442"/>
                    <a:pt x="703" y="442"/>
                    <a:pt x="703" y="443"/>
                  </a:cubicBezTo>
                  <a:cubicBezTo>
                    <a:pt x="702" y="443"/>
                    <a:pt x="702" y="443"/>
                    <a:pt x="702" y="444"/>
                  </a:cubicBezTo>
                  <a:cubicBezTo>
                    <a:pt x="702" y="444"/>
                    <a:pt x="702" y="444"/>
                    <a:pt x="701" y="444"/>
                  </a:cubicBezTo>
                  <a:cubicBezTo>
                    <a:pt x="701" y="444"/>
                    <a:pt x="701" y="444"/>
                    <a:pt x="701" y="444"/>
                  </a:cubicBezTo>
                  <a:cubicBezTo>
                    <a:pt x="701" y="444"/>
                    <a:pt x="701" y="445"/>
                    <a:pt x="701" y="446"/>
                  </a:cubicBezTo>
                  <a:cubicBezTo>
                    <a:pt x="701" y="446"/>
                    <a:pt x="702" y="446"/>
                    <a:pt x="702" y="445"/>
                  </a:cubicBezTo>
                  <a:cubicBezTo>
                    <a:pt x="702" y="445"/>
                    <a:pt x="702" y="445"/>
                    <a:pt x="702" y="444"/>
                  </a:cubicBezTo>
                  <a:cubicBezTo>
                    <a:pt x="702" y="445"/>
                    <a:pt x="702" y="445"/>
                    <a:pt x="702" y="445"/>
                  </a:cubicBezTo>
                  <a:cubicBezTo>
                    <a:pt x="702" y="446"/>
                    <a:pt x="702" y="446"/>
                    <a:pt x="703" y="446"/>
                  </a:cubicBezTo>
                  <a:cubicBezTo>
                    <a:pt x="703" y="446"/>
                    <a:pt x="704" y="446"/>
                    <a:pt x="704" y="446"/>
                  </a:cubicBezTo>
                  <a:cubicBezTo>
                    <a:pt x="704" y="446"/>
                    <a:pt x="705" y="446"/>
                    <a:pt x="705" y="446"/>
                  </a:cubicBezTo>
                  <a:cubicBezTo>
                    <a:pt x="705" y="445"/>
                    <a:pt x="705" y="445"/>
                    <a:pt x="705" y="445"/>
                  </a:cubicBezTo>
                  <a:cubicBezTo>
                    <a:pt x="705" y="445"/>
                    <a:pt x="705" y="445"/>
                    <a:pt x="705" y="445"/>
                  </a:cubicBezTo>
                  <a:cubicBezTo>
                    <a:pt x="705" y="444"/>
                    <a:pt x="705" y="445"/>
                    <a:pt x="705" y="445"/>
                  </a:cubicBezTo>
                  <a:cubicBezTo>
                    <a:pt x="705" y="445"/>
                    <a:pt x="705" y="445"/>
                    <a:pt x="706" y="445"/>
                  </a:cubicBezTo>
                  <a:cubicBezTo>
                    <a:pt x="706" y="445"/>
                    <a:pt x="707" y="445"/>
                    <a:pt x="707" y="444"/>
                  </a:cubicBezTo>
                  <a:cubicBezTo>
                    <a:pt x="707" y="444"/>
                    <a:pt x="708" y="444"/>
                    <a:pt x="707" y="443"/>
                  </a:cubicBezTo>
                  <a:cubicBezTo>
                    <a:pt x="707" y="443"/>
                    <a:pt x="706" y="443"/>
                    <a:pt x="706" y="442"/>
                  </a:cubicBezTo>
                  <a:cubicBezTo>
                    <a:pt x="706" y="442"/>
                    <a:pt x="706" y="442"/>
                    <a:pt x="706" y="442"/>
                  </a:cubicBezTo>
                  <a:cubicBezTo>
                    <a:pt x="705" y="442"/>
                    <a:pt x="705" y="441"/>
                    <a:pt x="705" y="440"/>
                  </a:cubicBezTo>
                  <a:cubicBezTo>
                    <a:pt x="704" y="440"/>
                    <a:pt x="704" y="439"/>
                    <a:pt x="703" y="439"/>
                  </a:cubicBezTo>
                  <a:cubicBezTo>
                    <a:pt x="702" y="439"/>
                    <a:pt x="702" y="439"/>
                    <a:pt x="702" y="440"/>
                  </a:cubicBezTo>
                  <a:cubicBezTo>
                    <a:pt x="702" y="439"/>
                    <a:pt x="702" y="439"/>
                    <a:pt x="702" y="439"/>
                  </a:cubicBezTo>
                  <a:cubicBezTo>
                    <a:pt x="701" y="439"/>
                    <a:pt x="702" y="438"/>
                    <a:pt x="702" y="438"/>
                  </a:cubicBezTo>
                  <a:cubicBezTo>
                    <a:pt x="703" y="438"/>
                    <a:pt x="702" y="438"/>
                    <a:pt x="702" y="437"/>
                  </a:cubicBezTo>
                  <a:cubicBezTo>
                    <a:pt x="702" y="437"/>
                    <a:pt x="702" y="437"/>
                    <a:pt x="702" y="436"/>
                  </a:cubicBezTo>
                  <a:cubicBezTo>
                    <a:pt x="702" y="436"/>
                    <a:pt x="702" y="436"/>
                    <a:pt x="702" y="436"/>
                  </a:cubicBezTo>
                  <a:cubicBezTo>
                    <a:pt x="701" y="435"/>
                    <a:pt x="701" y="435"/>
                    <a:pt x="700" y="434"/>
                  </a:cubicBezTo>
                  <a:cubicBezTo>
                    <a:pt x="700" y="434"/>
                    <a:pt x="700" y="434"/>
                    <a:pt x="700" y="434"/>
                  </a:cubicBezTo>
                  <a:cubicBezTo>
                    <a:pt x="699" y="434"/>
                    <a:pt x="699" y="434"/>
                    <a:pt x="698" y="434"/>
                  </a:cubicBezTo>
                  <a:cubicBezTo>
                    <a:pt x="697" y="434"/>
                    <a:pt x="697" y="434"/>
                    <a:pt x="698" y="435"/>
                  </a:cubicBezTo>
                  <a:cubicBezTo>
                    <a:pt x="698" y="435"/>
                    <a:pt x="698" y="435"/>
                    <a:pt x="698" y="436"/>
                  </a:cubicBezTo>
                  <a:cubicBezTo>
                    <a:pt x="697" y="435"/>
                    <a:pt x="697" y="434"/>
                    <a:pt x="696" y="434"/>
                  </a:cubicBezTo>
                  <a:cubicBezTo>
                    <a:pt x="696" y="434"/>
                    <a:pt x="696" y="434"/>
                    <a:pt x="696" y="434"/>
                  </a:cubicBezTo>
                  <a:cubicBezTo>
                    <a:pt x="696" y="434"/>
                    <a:pt x="695" y="433"/>
                    <a:pt x="695" y="433"/>
                  </a:cubicBezTo>
                  <a:cubicBezTo>
                    <a:pt x="694" y="433"/>
                    <a:pt x="694" y="433"/>
                    <a:pt x="693" y="433"/>
                  </a:cubicBezTo>
                  <a:cubicBezTo>
                    <a:pt x="692" y="433"/>
                    <a:pt x="692" y="433"/>
                    <a:pt x="692" y="432"/>
                  </a:cubicBezTo>
                  <a:cubicBezTo>
                    <a:pt x="691" y="432"/>
                    <a:pt x="690" y="432"/>
                    <a:pt x="689" y="433"/>
                  </a:cubicBezTo>
                  <a:cubicBezTo>
                    <a:pt x="688" y="433"/>
                    <a:pt x="688" y="433"/>
                    <a:pt x="689" y="434"/>
                  </a:cubicBezTo>
                  <a:cubicBezTo>
                    <a:pt x="689" y="435"/>
                    <a:pt x="690" y="435"/>
                    <a:pt x="690" y="436"/>
                  </a:cubicBezTo>
                  <a:close/>
                  <a:moveTo>
                    <a:pt x="690" y="449"/>
                  </a:moveTo>
                  <a:cubicBezTo>
                    <a:pt x="690" y="449"/>
                    <a:pt x="690" y="449"/>
                    <a:pt x="690" y="448"/>
                  </a:cubicBezTo>
                  <a:cubicBezTo>
                    <a:pt x="690" y="448"/>
                    <a:pt x="690" y="448"/>
                    <a:pt x="690" y="448"/>
                  </a:cubicBezTo>
                  <a:cubicBezTo>
                    <a:pt x="690" y="448"/>
                    <a:pt x="690" y="448"/>
                    <a:pt x="689" y="447"/>
                  </a:cubicBezTo>
                  <a:cubicBezTo>
                    <a:pt x="690" y="447"/>
                    <a:pt x="690" y="447"/>
                    <a:pt x="690" y="447"/>
                  </a:cubicBezTo>
                  <a:cubicBezTo>
                    <a:pt x="691" y="447"/>
                    <a:pt x="691" y="447"/>
                    <a:pt x="690" y="447"/>
                  </a:cubicBezTo>
                  <a:cubicBezTo>
                    <a:pt x="690" y="446"/>
                    <a:pt x="690" y="446"/>
                    <a:pt x="690" y="446"/>
                  </a:cubicBezTo>
                  <a:cubicBezTo>
                    <a:pt x="690" y="446"/>
                    <a:pt x="689" y="446"/>
                    <a:pt x="689" y="446"/>
                  </a:cubicBezTo>
                  <a:cubicBezTo>
                    <a:pt x="690" y="446"/>
                    <a:pt x="690" y="445"/>
                    <a:pt x="690" y="445"/>
                  </a:cubicBezTo>
                  <a:cubicBezTo>
                    <a:pt x="691" y="444"/>
                    <a:pt x="691" y="444"/>
                    <a:pt x="690" y="444"/>
                  </a:cubicBezTo>
                  <a:cubicBezTo>
                    <a:pt x="690" y="444"/>
                    <a:pt x="690" y="444"/>
                    <a:pt x="690" y="443"/>
                  </a:cubicBezTo>
                  <a:cubicBezTo>
                    <a:pt x="691" y="443"/>
                    <a:pt x="691" y="443"/>
                    <a:pt x="692" y="444"/>
                  </a:cubicBezTo>
                  <a:cubicBezTo>
                    <a:pt x="692" y="444"/>
                    <a:pt x="692" y="445"/>
                    <a:pt x="692" y="444"/>
                  </a:cubicBezTo>
                  <a:cubicBezTo>
                    <a:pt x="692" y="444"/>
                    <a:pt x="693" y="444"/>
                    <a:pt x="692" y="443"/>
                  </a:cubicBezTo>
                  <a:cubicBezTo>
                    <a:pt x="692" y="443"/>
                    <a:pt x="693" y="442"/>
                    <a:pt x="692" y="442"/>
                  </a:cubicBezTo>
                  <a:cubicBezTo>
                    <a:pt x="692" y="442"/>
                    <a:pt x="692" y="442"/>
                    <a:pt x="692" y="442"/>
                  </a:cubicBezTo>
                  <a:cubicBezTo>
                    <a:pt x="692" y="441"/>
                    <a:pt x="692" y="441"/>
                    <a:pt x="692" y="440"/>
                  </a:cubicBezTo>
                  <a:cubicBezTo>
                    <a:pt x="692" y="440"/>
                    <a:pt x="692" y="439"/>
                    <a:pt x="692" y="439"/>
                  </a:cubicBezTo>
                  <a:cubicBezTo>
                    <a:pt x="692" y="439"/>
                    <a:pt x="691" y="439"/>
                    <a:pt x="691" y="439"/>
                  </a:cubicBezTo>
                  <a:cubicBezTo>
                    <a:pt x="691" y="439"/>
                    <a:pt x="691" y="439"/>
                    <a:pt x="690" y="439"/>
                  </a:cubicBezTo>
                  <a:cubicBezTo>
                    <a:pt x="690" y="439"/>
                    <a:pt x="690" y="439"/>
                    <a:pt x="690" y="440"/>
                  </a:cubicBezTo>
                  <a:cubicBezTo>
                    <a:pt x="691" y="440"/>
                    <a:pt x="690" y="441"/>
                    <a:pt x="690" y="441"/>
                  </a:cubicBezTo>
                  <a:cubicBezTo>
                    <a:pt x="690" y="441"/>
                    <a:pt x="690" y="441"/>
                    <a:pt x="690" y="441"/>
                  </a:cubicBezTo>
                  <a:cubicBezTo>
                    <a:pt x="690" y="442"/>
                    <a:pt x="690" y="442"/>
                    <a:pt x="689" y="442"/>
                  </a:cubicBezTo>
                  <a:cubicBezTo>
                    <a:pt x="689" y="443"/>
                    <a:pt x="689" y="443"/>
                    <a:pt x="689" y="442"/>
                  </a:cubicBezTo>
                  <a:cubicBezTo>
                    <a:pt x="689" y="442"/>
                    <a:pt x="689" y="442"/>
                    <a:pt x="689" y="442"/>
                  </a:cubicBezTo>
                  <a:cubicBezTo>
                    <a:pt x="689" y="442"/>
                    <a:pt x="690" y="440"/>
                    <a:pt x="690" y="440"/>
                  </a:cubicBezTo>
                  <a:cubicBezTo>
                    <a:pt x="689" y="439"/>
                    <a:pt x="689" y="439"/>
                    <a:pt x="689" y="438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8" y="438"/>
                    <a:pt x="689" y="438"/>
                    <a:pt x="689" y="437"/>
                  </a:cubicBezTo>
                  <a:cubicBezTo>
                    <a:pt x="689" y="437"/>
                    <a:pt x="688" y="437"/>
                    <a:pt x="688" y="437"/>
                  </a:cubicBezTo>
                  <a:cubicBezTo>
                    <a:pt x="688" y="437"/>
                    <a:pt x="687" y="437"/>
                    <a:pt x="687" y="436"/>
                  </a:cubicBezTo>
                  <a:cubicBezTo>
                    <a:pt x="687" y="436"/>
                    <a:pt x="686" y="436"/>
                    <a:pt x="686" y="436"/>
                  </a:cubicBezTo>
                  <a:cubicBezTo>
                    <a:pt x="686" y="437"/>
                    <a:pt x="687" y="437"/>
                    <a:pt x="687" y="438"/>
                  </a:cubicBezTo>
                  <a:cubicBezTo>
                    <a:pt x="686" y="438"/>
                    <a:pt x="686" y="437"/>
                    <a:pt x="686" y="437"/>
                  </a:cubicBezTo>
                  <a:cubicBezTo>
                    <a:pt x="685" y="437"/>
                    <a:pt x="685" y="436"/>
                    <a:pt x="685" y="437"/>
                  </a:cubicBezTo>
                  <a:cubicBezTo>
                    <a:pt x="684" y="437"/>
                    <a:pt x="685" y="438"/>
                    <a:pt x="685" y="438"/>
                  </a:cubicBezTo>
                  <a:cubicBezTo>
                    <a:pt x="685" y="438"/>
                    <a:pt x="685" y="438"/>
                    <a:pt x="685" y="439"/>
                  </a:cubicBezTo>
                  <a:cubicBezTo>
                    <a:pt x="685" y="439"/>
                    <a:pt x="685" y="438"/>
                    <a:pt x="685" y="438"/>
                  </a:cubicBezTo>
                  <a:cubicBezTo>
                    <a:pt x="685" y="438"/>
                    <a:pt x="684" y="438"/>
                    <a:pt x="684" y="438"/>
                  </a:cubicBezTo>
                  <a:cubicBezTo>
                    <a:pt x="684" y="438"/>
                    <a:pt x="685" y="438"/>
                    <a:pt x="685" y="438"/>
                  </a:cubicBezTo>
                  <a:cubicBezTo>
                    <a:pt x="684" y="438"/>
                    <a:pt x="684" y="438"/>
                    <a:pt x="684" y="438"/>
                  </a:cubicBezTo>
                  <a:cubicBezTo>
                    <a:pt x="684" y="438"/>
                    <a:pt x="684" y="438"/>
                    <a:pt x="684" y="438"/>
                  </a:cubicBezTo>
                  <a:cubicBezTo>
                    <a:pt x="683" y="438"/>
                    <a:pt x="683" y="438"/>
                    <a:pt x="683" y="438"/>
                  </a:cubicBezTo>
                  <a:cubicBezTo>
                    <a:pt x="683" y="438"/>
                    <a:pt x="683" y="439"/>
                    <a:pt x="684" y="439"/>
                  </a:cubicBezTo>
                  <a:cubicBezTo>
                    <a:pt x="684" y="439"/>
                    <a:pt x="684" y="439"/>
                    <a:pt x="684" y="439"/>
                  </a:cubicBezTo>
                  <a:cubicBezTo>
                    <a:pt x="684" y="440"/>
                    <a:pt x="684" y="440"/>
                    <a:pt x="684" y="441"/>
                  </a:cubicBezTo>
                  <a:cubicBezTo>
                    <a:pt x="684" y="441"/>
                    <a:pt x="684" y="442"/>
                    <a:pt x="684" y="442"/>
                  </a:cubicBezTo>
                  <a:cubicBezTo>
                    <a:pt x="685" y="443"/>
                    <a:pt x="685" y="443"/>
                    <a:pt x="685" y="442"/>
                  </a:cubicBezTo>
                  <a:cubicBezTo>
                    <a:pt x="686" y="442"/>
                    <a:pt x="686" y="442"/>
                    <a:pt x="686" y="442"/>
                  </a:cubicBezTo>
                  <a:cubicBezTo>
                    <a:pt x="686" y="442"/>
                    <a:pt x="686" y="442"/>
                    <a:pt x="685" y="443"/>
                  </a:cubicBezTo>
                  <a:cubicBezTo>
                    <a:pt x="685" y="443"/>
                    <a:pt x="685" y="443"/>
                    <a:pt x="685" y="443"/>
                  </a:cubicBezTo>
                  <a:cubicBezTo>
                    <a:pt x="685" y="443"/>
                    <a:pt x="686" y="443"/>
                    <a:pt x="686" y="443"/>
                  </a:cubicBezTo>
                  <a:cubicBezTo>
                    <a:pt x="686" y="443"/>
                    <a:pt x="686" y="443"/>
                    <a:pt x="686" y="443"/>
                  </a:cubicBezTo>
                  <a:cubicBezTo>
                    <a:pt x="686" y="443"/>
                    <a:pt x="686" y="443"/>
                    <a:pt x="686" y="444"/>
                  </a:cubicBezTo>
                  <a:cubicBezTo>
                    <a:pt x="685" y="444"/>
                    <a:pt x="685" y="444"/>
                    <a:pt x="685" y="445"/>
                  </a:cubicBezTo>
                  <a:cubicBezTo>
                    <a:pt x="686" y="444"/>
                    <a:pt x="686" y="445"/>
                    <a:pt x="686" y="445"/>
                  </a:cubicBezTo>
                  <a:cubicBezTo>
                    <a:pt x="686" y="445"/>
                    <a:pt x="686" y="445"/>
                    <a:pt x="686" y="445"/>
                  </a:cubicBezTo>
                  <a:cubicBezTo>
                    <a:pt x="687" y="446"/>
                    <a:pt x="687" y="446"/>
                    <a:pt x="687" y="446"/>
                  </a:cubicBezTo>
                  <a:cubicBezTo>
                    <a:pt x="687" y="446"/>
                    <a:pt x="687" y="445"/>
                    <a:pt x="687" y="445"/>
                  </a:cubicBezTo>
                  <a:cubicBezTo>
                    <a:pt x="688" y="445"/>
                    <a:pt x="688" y="445"/>
                    <a:pt x="688" y="445"/>
                  </a:cubicBezTo>
                  <a:cubicBezTo>
                    <a:pt x="688" y="445"/>
                    <a:pt x="688" y="445"/>
                    <a:pt x="688" y="445"/>
                  </a:cubicBezTo>
                  <a:cubicBezTo>
                    <a:pt x="688" y="446"/>
                    <a:pt x="688" y="446"/>
                    <a:pt x="688" y="447"/>
                  </a:cubicBezTo>
                  <a:cubicBezTo>
                    <a:pt x="688" y="447"/>
                    <a:pt x="688" y="447"/>
                    <a:pt x="688" y="447"/>
                  </a:cubicBezTo>
                  <a:cubicBezTo>
                    <a:pt x="688" y="448"/>
                    <a:pt x="688" y="448"/>
                    <a:pt x="688" y="449"/>
                  </a:cubicBezTo>
                  <a:cubicBezTo>
                    <a:pt x="688" y="449"/>
                    <a:pt x="688" y="448"/>
                    <a:pt x="687" y="448"/>
                  </a:cubicBezTo>
                  <a:cubicBezTo>
                    <a:pt x="687" y="448"/>
                    <a:pt x="686" y="448"/>
                    <a:pt x="686" y="448"/>
                  </a:cubicBezTo>
                  <a:cubicBezTo>
                    <a:pt x="686" y="448"/>
                    <a:pt x="686" y="448"/>
                    <a:pt x="686" y="449"/>
                  </a:cubicBezTo>
                  <a:cubicBezTo>
                    <a:pt x="685" y="449"/>
                    <a:pt x="685" y="449"/>
                    <a:pt x="685" y="450"/>
                  </a:cubicBezTo>
                  <a:cubicBezTo>
                    <a:pt x="685" y="450"/>
                    <a:pt x="685" y="450"/>
                    <a:pt x="685" y="450"/>
                  </a:cubicBezTo>
                  <a:cubicBezTo>
                    <a:pt x="685" y="451"/>
                    <a:pt x="685" y="451"/>
                    <a:pt x="685" y="451"/>
                  </a:cubicBezTo>
                  <a:cubicBezTo>
                    <a:pt x="685" y="451"/>
                    <a:pt x="686" y="451"/>
                    <a:pt x="686" y="451"/>
                  </a:cubicBezTo>
                  <a:cubicBezTo>
                    <a:pt x="686" y="450"/>
                    <a:pt x="686" y="450"/>
                    <a:pt x="686" y="450"/>
                  </a:cubicBezTo>
                  <a:cubicBezTo>
                    <a:pt x="686" y="450"/>
                    <a:pt x="686" y="450"/>
                    <a:pt x="686" y="450"/>
                  </a:cubicBezTo>
                  <a:cubicBezTo>
                    <a:pt x="686" y="451"/>
                    <a:pt x="685" y="452"/>
                    <a:pt x="686" y="453"/>
                  </a:cubicBezTo>
                  <a:cubicBezTo>
                    <a:pt x="686" y="453"/>
                    <a:pt x="686" y="453"/>
                    <a:pt x="686" y="453"/>
                  </a:cubicBezTo>
                  <a:cubicBezTo>
                    <a:pt x="685" y="453"/>
                    <a:pt x="686" y="454"/>
                    <a:pt x="686" y="454"/>
                  </a:cubicBezTo>
                  <a:cubicBezTo>
                    <a:pt x="686" y="454"/>
                    <a:pt x="686" y="454"/>
                    <a:pt x="686" y="454"/>
                  </a:cubicBezTo>
                  <a:cubicBezTo>
                    <a:pt x="685" y="455"/>
                    <a:pt x="686" y="455"/>
                    <a:pt x="686" y="455"/>
                  </a:cubicBezTo>
                  <a:cubicBezTo>
                    <a:pt x="686" y="455"/>
                    <a:pt x="686" y="456"/>
                    <a:pt x="686" y="456"/>
                  </a:cubicBezTo>
                  <a:cubicBezTo>
                    <a:pt x="686" y="456"/>
                    <a:pt x="687" y="456"/>
                    <a:pt x="687" y="457"/>
                  </a:cubicBezTo>
                  <a:cubicBezTo>
                    <a:pt x="687" y="457"/>
                    <a:pt x="687" y="457"/>
                    <a:pt x="687" y="457"/>
                  </a:cubicBezTo>
                  <a:cubicBezTo>
                    <a:pt x="687" y="457"/>
                    <a:pt x="687" y="457"/>
                    <a:pt x="687" y="457"/>
                  </a:cubicBezTo>
                  <a:cubicBezTo>
                    <a:pt x="687" y="456"/>
                    <a:pt x="687" y="456"/>
                    <a:pt x="688" y="455"/>
                  </a:cubicBezTo>
                  <a:cubicBezTo>
                    <a:pt x="688" y="455"/>
                    <a:pt x="688" y="454"/>
                    <a:pt x="687" y="454"/>
                  </a:cubicBezTo>
                  <a:cubicBezTo>
                    <a:pt x="687" y="454"/>
                    <a:pt x="686" y="454"/>
                    <a:pt x="686" y="454"/>
                  </a:cubicBezTo>
                  <a:cubicBezTo>
                    <a:pt x="686" y="453"/>
                    <a:pt x="687" y="453"/>
                    <a:pt x="687" y="454"/>
                  </a:cubicBezTo>
                  <a:cubicBezTo>
                    <a:pt x="687" y="454"/>
                    <a:pt x="688" y="453"/>
                    <a:pt x="688" y="453"/>
                  </a:cubicBezTo>
                  <a:cubicBezTo>
                    <a:pt x="688" y="453"/>
                    <a:pt x="687" y="452"/>
                    <a:pt x="688" y="452"/>
                  </a:cubicBezTo>
                  <a:cubicBezTo>
                    <a:pt x="688" y="452"/>
                    <a:pt x="688" y="451"/>
                    <a:pt x="688" y="451"/>
                  </a:cubicBezTo>
                  <a:cubicBezTo>
                    <a:pt x="688" y="451"/>
                    <a:pt x="688" y="450"/>
                    <a:pt x="688" y="450"/>
                  </a:cubicBezTo>
                  <a:cubicBezTo>
                    <a:pt x="688" y="450"/>
                    <a:pt x="688" y="451"/>
                    <a:pt x="688" y="451"/>
                  </a:cubicBezTo>
                  <a:cubicBezTo>
                    <a:pt x="688" y="451"/>
                    <a:pt x="688" y="451"/>
                    <a:pt x="688" y="451"/>
                  </a:cubicBezTo>
                  <a:cubicBezTo>
                    <a:pt x="688" y="452"/>
                    <a:pt x="688" y="453"/>
                    <a:pt x="688" y="455"/>
                  </a:cubicBezTo>
                  <a:cubicBezTo>
                    <a:pt x="688" y="455"/>
                    <a:pt x="689" y="455"/>
                    <a:pt x="689" y="455"/>
                  </a:cubicBezTo>
                  <a:cubicBezTo>
                    <a:pt x="689" y="456"/>
                    <a:pt x="689" y="455"/>
                    <a:pt x="689" y="455"/>
                  </a:cubicBezTo>
                  <a:cubicBezTo>
                    <a:pt x="690" y="454"/>
                    <a:pt x="690" y="454"/>
                    <a:pt x="689" y="453"/>
                  </a:cubicBezTo>
                  <a:cubicBezTo>
                    <a:pt x="689" y="453"/>
                    <a:pt x="689" y="453"/>
                    <a:pt x="690" y="452"/>
                  </a:cubicBezTo>
                  <a:cubicBezTo>
                    <a:pt x="690" y="452"/>
                    <a:pt x="690" y="452"/>
                    <a:pt x="690" y="452"/>
                  </a:cubicBezTo>
                  <a:cubicBezTo>
                    <a:pt x="690" y="452"/>
                    <a:pt x="690" y="451"/>
                    <a:pt x="690" y="451"/>
                  </a:cubicBezTo>
                  <a:cubicBezTo>
                    <a:pt x="689" y="451"/>
                    <a:pt x="689" y="451"/>
                    <a:pt x="689" y="451"/>
                  </a:cubicBezTo>
                  <a:cubicBezTo>
                    <a:pt x="689" y="451"/>
                    <a:pt x="689" y="451"/>
                    <a:pt x="689" y="451"/>
                  </a:cubicBezTo>
                  <a:cubicBezTo>
                    <a:pt x="689" y="450"/>
                    <a:pt x="689" y="450"/>
                    <a:pt x="689" y="450"/>
                  </a:cubicBezTo>
                  <a:cubicBezTo>
                    <a:pt x="689" y="450"/>
                    <a:pt x="689" y="450"/>
                    <a:pt x="689" y="450"/>
                  </a:cubicBezTo>
                  <a:cubicBezTo>
                    <a:pt x="689" y="450"/>
                    <a:pt x="690" y="450"/>
                    <a:pt x="690" y="450"/>
                  </a:cubicBezTo>
                  <a:cubicBezTo>
                    <a:pt x="690" y="450"/>
                    <a:pt x="690" y="451"/>
                    <a:pt x="690" y="451"/>
                  </a:cubicBezTo>
                  <a:cubicBezTo>
                    <a:pt x="690" y="451"/>
                    <a:pt x="690" y="451"/>
                    <a:pt x="691" y="450"/>
                  </a:cubicBezTo>
                  <a:cubicBezTo>
                    <a:pt x="691" y="450"/>
                    <a:pt x="691" y="450"/>
                    <a:pt x="690" y="449"/>
                  </a:cubicBezTo>
                  <a:close/>
                  <a:moveTo>
                    <a:pt x="705" y="487"/>
                  </a:moveTo>
                  <a:cubicBezTo>
                    <a:pt x="705" y="486"/>
                    <a:pt x="705" y="486"/>
                    <a:pt x="705" y="486"/>
                  </a:cubicBezTo>
                  <a:cubicBezTo>
                    <a:pt x="705" y="486"/>
                    <a:pt x="705" y="485"/>
                    <a:pt x="705" y="485"/>
                  </a:cubicBezTo>
                  <a:cubicBezTo>
                    <a:pt x="705" y="485"/>
                    <a:pt x="705" y="484"/>
                    <a:pt x="705" y="484"/>
                  </a:cubicBezTo>
                  <a:cubicBezTo>
                    <a:pt x="704" y="484"/>
                    <a:pt x="704" y="483"/>
                    <a:pt x="704" y="484"/>
                  </a:cubicBezTo>
                  <a:cubicBezTo>
                    <a:pt x="704" y="483"/>
                    <a:pt x="704" y="482"/>
                    <a:pt x="703" y="482"/>
                  </a:cubicBezTo>
                  <a:cubicBezTo>
                    <a:pt x="703" y="482"/>
                    <a:pt x="703" y="481"/>
                    <a:pt x="702" y="481"/>
                  </a:cubicBezTo>
                  <a:cubicBezTo>
                    <a:pt x="702" y="481"/>
                    <a:pt x="702" y="481"/>
                    <a:pt x="702" y="481"/>
                  </a:cubicBezTo>
                  <a:cubicBezTo>
                    <a:pt x="702" y="480"/>
                    <a:pt x="702" y="480"/>
                    <a:pt x="702" y="480"/>
                  </a:cubicBezTo>
                  <a:cubicBezTo>
                    <a:pt x="702" y="479"/>
                    <a:pt x="701" y="479"/>
                    <a:pt x="701" y="479"/>
                  </a:cubicBezTo>
                  <a:cubicBezTo>
                    <a:pt x="701" y="479"/>
                    <a:pt x="701" y="479"/>
                    <a:pt x="701" y="479"/>
                  </a:cubicBezTo>
                  <a:cubicBezTo>
                    <a:pt x="701" y="478"/>
                    <a:pt x="701" y="478"/>
                    <a:pt x="701" y="478"/>
                  </a:cubicBezTo>
                  <a:cubicBezTo>
                    <a:pt x="701" y="478"/>
                    <a:pt x="700" y="478"/>
                    <a:pt x="700" y="478"/>
                  </a:cubicBezTo>
                  <a:cubicBezTo>
                    <a:pt x="701" y="478"/>
                    <a:pt x="701" y="478"/>
                    <a:pt x="701" y="478"/>
                  </a:cubicBezTo>
                  <a:cubicBezTo>
                    <a:pt x="701" y="478"/>
                    <a:pt x="701" y="478"/>
                    <a:pt x="701" y="478"/>
                  </a:cubicBezTo>
                  <a:cubicBezTo>
                    <a:pt x="702" y="478"/>
                    <a:pt x="701" y="477"/>
                    <a:pt x="701" y="477"/>
                  </a:cubicBezTo>
                  <a:cubicBezTo>
                    <a:pt x="701" y="477"/>
                    <a:pt x="701" y="477"/>
                    <a:pt x="701" y="477"/>
                  </a:cubicBezTo>
                  <a:cubicBezTo>
                    <a:pt x="701" y="477"/>
                    <a:pt x="700" y="476"/>
                    <a:pt x="700" y="476"/>
                  </a:cubicBezTo>
                  <a:cubicBezTo>
                    <a:pt x="701" y="476"/>
                    <a:pt x="700" y="476"/>
                    <a:pt x="700" y="476"/>
                  </a:cubicBezTo>
                  <a:cubicBezTo>
                    <a:pt x="700" y="475"/>
                    <a:pt x="700" y="475"/>
                    <a:pt x="700" y="475"/>
                  </a:cubicBezTo>
                  <a:cubicBezTo>
                    <a:pt x="700" y="475"/>
                    <a:pt x="700" y="474"/>
                    <a:pt x="700" y="474"/>
                  </a:cubicBezTo>
                  <a:cubicBezTo>
                    <a:pt x="699" y="474"/>
                    <a:pt x="699" y="474"/>
                    <a:pt x="699" y="475"/>
                  </a:cubicBezTo>
                  <a:cubicBezTo>
                    <a:pt x="699" y="475"/>
                    <a:pt x="699" y="475"/>
                    <a:pt x="699" y="475"/>
                  </a:cubicBezTo>
                  <a:cubicBezTo>
                    <a:pt x="699" y="476"/>
                    <a:pt x="699" y="476"/>
                    <a:pt x="699" y="476"/>
                  </a:cubicBezTo>
                  <a:cubicBezTo>
                    <a:pt x="699" y="476"/>
                    <a:pt x="699" y="477"/>
                    <a:pt x="699" y="477"/>
                  </a:cubicBezTo>
                  <a:cubicBezTo>
                    <a:pt x="699" y="477"/>
                    <a:pt x="699" y="477"/>
                    <a:pt x="700" y="478"/>
                  </a:cubicBezTo>
                  <a:cubicBezTo>
                    <a:pt x="699" y="478"/>
                    <a:pt x="699" y="478"/>
                    <a:pt x="699" y="478"/>
                  </a:cubicBezTo>
                  <a:cubicBezTo>
                    <a:pt x="699" y="478"/>
                    <a:pt x="699" y="478"/>
                    <a:pt x="699" y="478"/>
                  </a:cubicBezTo>
                  <a:cubicBezTo>
                    <a:pt x="699" y="478"/>
                    <a:pt x="699" y="479"/>
                    <a:pt x="699" y="479"/>
                  </a:cubicBezTo>
                  <a:cubicBezTo>
                    <a:pt x="698" y="479"/>
                    <a:pt x="699" y="479"/>
                    <a:pt x="699" y="480"/>
                  </a:cubicBezTo>
                  <a:cubicBezTo>
                    <a:pt x="699" y="480"/>
                    <a:pt x="700" y="480"/>
                    <a:pt x="700" y="480"/>
                  </a:cubicBezTo>
                  <a:cubicBezTo>
                    <a:pt x="699" y="481"/>
                    <a:pt x="700" y="481"/>
                    <a:pt x="701" y="481"/>
                  </a:cubicBezTo>
                  <a:cubicBezTo>
                    <a:pt x="701" y="481"/>
                    <a:pt x="701" y="481"/>
                    <a:pt x="701" y="481"/>
                  </a:cubicBezTo>
                  <a:cubicBezTo>
                    <a:pt x="701" y="482"/>
                    <a:pt x="700" y="481"/>
                    <a:pt x="700" y="482"/>
                  </a:cubicBezTo>
                  <a:cubicBezTo>
                    <a:pt x="700" y="482"/>
                    <a:pt x="701" y="482"/>
                    <a:pt x="701" y="482"/>
                  </a:cubicBezTo>
                  <a:cubicBezTo>
                    <a:pt x="701" y="482"/>
                    <a:pt x="701" y="482"/>
                    <a:pt x="701" y="482"/>
                  </a:cubicBezTo>
                  <a:cubicBezTo>
                    <a:pt x="701" y="483"/>
                    <a:pt x="701" y="483"/>
                    <a:pt x="701" y="483"/>
                  </a:cubicBezTo>
                  <a:cubicBezTo>
                    <a:pt x="701" y="484"/>
                    <a:pt x="702" y="484"/>
                    <a:pt x="702" y="484"/>
                  </a:cubicBezTo>
                  <a:cubicBezTo>
                    <a:pt x="702" y="484"/>
                    <a:pt x="702" y="483"/>
                    <a:pt x="703" y="483"/>
                  </a:cubicBezTo>
                  <a:cubicBezTo>
                    <a:pt x="703" y="484"/>
                    <a:pt x="702" y="484"/>
                    <a:pt x="702" y="484"/>
                  </a:cubicBezTo>
                  <a:cubicBezTo>
                    <a:pt x="702" y="485"/>
                    <a:pt x="703" y="485"/>
                    <a:pt x="703" y="485"/>
                  </a:cubicBezTo>
                  <a:cubicBezTo>
                    <a:pt x="703" y="485"/>
                    <a:pt x="703" y="486"/>
                    <a:pt x="704" y="486"/>
                  </a:cubicBezTo>
                  <a:cubicBezTo>
                    <a:pt x="704" y="486"/>
                    <a:pt x="703" y="486"/>
                    <a:pt x="703" y="486"/>
                  </a:cubicBezTo>
                  <a:cubicBezTo>
                    <a:pt x="703" y="486"/>
                    <a:pt x="703" y="487"/>
                    <a:pt x="704" y="487"/>
                  </a:cubicBezTo>
                  <a:cubicBezTo>
                    <a:pt x="704" y="487"/>
                    <a:pt x="704" y="486"/>
                    <a:pt x="704" y="487"/>
                  </a:cubicBezTo>
                  <a:cubicBezTo>
                    <a:pt x="704" y="487"/>
                    <a:pt x="705" y="487"/>
                    <a:pt x="706" y="487"/>
                  </a:cubicBezTo>
                  <a:cubicBezTo>
                    <a:pt x="705" y="487"/>
                    <a:pt x="705" y="487"/>
                    <a:pt x="705" y="487"/>
                  </a:cubicBezTo>
                  <a:close/>
                  <a:moveTo>
                    <a:pt x="704" y="452"/>
                  </a:moveTo>
                  <a:cubicBezTo>
                    <a:pt x="704" y="452"/>
                    <a:pt x="705" y="452"/>
                    <a:pt x="705" y="451"/>
                  </a:cubicBezTo>
                  <a:cubicBezTo>
                    <a:pt x="706" y="451"/>
                    <a:pt x="706" y="451"/>
                    <a:pt x="706" y="450"/>
                  </a:cubicBezTo>
                  <a:cubicBezTo>
                    <a:pt x="706" y="450"/>
                    <a:pt x="706" y="449"/>
                    <a:pt x="706" y="449"/>
                  </a:cubicBezTo>
                  <a:cubicBezTo>
                    <a:pt x="707" y="448"/>
                    <a:pt x="706" y="448"/>
                    <a:pt x="706" y="447"/>
                  </a:cubicBezTo>
                  <a:cubicBezTo>
                    <a:pt x="706" y="447"/>
                    <a:pt x="705" y="447"/>
                    <a:pt x="705" y="447"/>
                  </a:cubicBezTo>
                  <a:cubicBezTo>
                    <a:pt x="704" y="447"/>
                    <a:pt x="704" y="447"/>
                    <a:pt x="703" y="447"/>
                  </a:cubicBezTo>
                  <a:cubicBezTo>
                    <a:pt x="702" y="447"/>
                    <a:pt x="702" y="447"/>
                    <a:pt x="701" y="448"/>
                  </a:cubicBezTo>
                  <a:cubicBezTo>
                    <a:pt x="701" y="448"/>
                    <a:pt x="701" y="449"/>
                    <a:pt x="701" y="449"/>
                  </a:cubicBezTo>
                  <a:cubicBezTo>
                    <a:pt x="701" y="449"/>
                    <a:pt x="701" y="450"/>
                    <a:pt x="701" y="450"/>
                  </a:cubicBezTo>
                  <a:cubicBezTo>
                    <a:pt x="702" y="451"/>
                    <a:pt x="702" y="451"/>
                    <a:pt x="703" y="452"/>
                  </a:cubicBezTo>
                  <a:cubicBezTo>
                    <a:pt x="703" y="452"/>
                    <a:pt x="703" y="452"/>
                    <a:pt x="704" y="452"/>
                  </a:cubicBezTo>
                  <a:close/>
                  <a:moveTo>
                    <a:pt x="697" y="462"/>
                  </a:moveTo>
                  <a:cubicBezTo>
                    <a:pt x="696" y="462"/>
                    <a:pt x="695" y="462"/>
                    <a:pt x="695" y="462"/>
                  </a:cubicBezTo>
                  <a:cubicBezTo>
                    <a:pt x="695" y="461"/>
                    <a:pt x="695" y="461"/>
                    <a:pt x="694" y="461"/>
                  </a:cubicBezTo>
                  <a:cubicBezTo>
                    <a:pt x="694" y="461"/>
                    <a:pt x="694" y="462"/>
                    <a:pt x="694" y="462"/>
                  </a:cubicBezTo>
                  <a:cubicBezTo>
                    <a:pt x="694" y="462"/>
                    <a:pt x="694" y="461"/>
                    <a:pt x="693" y="461"/>
                  </a:cubicBezTo>
                  <a:cubicBezTo>
                    <a:pt x="693" y="462"/>
                    <a:pt x="693" y="462"/>
                    <a:pt x="693" y="463"/>
                  </a:cubicBezTo>
                  <a:cubicBezTo>
                    <a:pt x="693" y="463"/>
                    <a:pt x="693" y="463"/>
                    <a:pt x="693" y="463"/>
                  </a:cubicBezTo>
                  <a:cubicBezTo>
                    <a:pt x="693" y="464"/>
                    <a:pt x="694" y="464"/>
                    <a:pt x="694" y="464"/>
                  </a:cubicBezTo>
                  <a:cubicBezTo>
                    <a:pt x="695" y="464"/>
                    <a:pt x="695" y="464"/>
                    <a:pt x="695" y="464"/>
                  </a:cubicBezTo>
                  <a:cubicBezTo>
                    <a:pt x="695" y="464"/>
                    <a:pt x="695" y="464"/>
                    <a:pt x="695" y="463"/>
                  </a:cubicBezTo>
                  <a:cubicBezTo>
                    <a:pt x="695" y="463"/>
                    <a:pt x="695" y="463"/>
                    <a:pt x="695" y="463"/>
                  </a:cubicBezTo>
                  <a:cubicBezTo>
                    <a:pt x="696" y="463"/>
                    <a:pt x="696" y="464"/>
                    <a:pt x="697" y="463"/>
                  </a:cubicBezTo>
                  <a:cubicBezTo>
                    <a:pt x="697" y="463"/>
                    <a:pt x="697" y="463"/>
                    <a:pt x="697" y="462"/>
                  </a:cubicBezTo>
                  <a:cubicBezTo>
                    <a:pt x="697" y="462"/>
                    <a:pt x="697" y="462"/>
                    <a:pt x="697" y="462"/>
                  </a:cubicBezTo>
                  <a:close/>
                  <a:moveTo>
                    <a:pt x="705" y="477"/>
                  </a:moveTo>
                  <a:cubicBezTo>
                    <a:pt x="705" y="477"/>
                    <a:pt x="704" y="476"/>
                    <a:pt x="704" y="476"/>
                  </a:cubicBezTo>
                  <a:cubicBezTo>
                    <a:pt x="704" y="476"/>
                    <a:pt x="704" y="476"/>
                    <a:pt x="704" y="476"/>
                  </a:cubicBezTo>
                  <a:cubicBezTo>
                    <a:pt x="703" y="476"/>
                    <a:pt x="703" y="476"/>
                    <a:pt x="703" y="477"/>
                  </a:cubicBezTo>
                  <a:cubicBezTo>
                    <a:pt x="703" y="477"/>
                    <a:pt x="703" y="478"/>
                    <a:pt x="703" y="478"/>
                  </a:cubicBezTo>
                  <a:cubicBezTo>
                    <a:pt x="704" y="478"/>
                    <a:pt x="704" y="478"/>
                    <a:pt x="703" y="479"/>
                  </a:cubicBezTo>
                  <a:cubicBezTo>
                    <a:pt x="703" y="479"/>
                    <a:pt x="703" y="479"/>
                    <a:pt x="703" y="479"/>
                  </a:cubicBezTo>
                  <a:cubicBezTo>
                    <a:pt x="703" y="479"/>
                    <a:pt x="704" y="480"/>
                    <a:pt x="704" y="480"/>
                  </a:cubicBezTo>
                  <a:cubicBezTo>
                    <a:pt x="704" y="479"/>
                    <a:pt x="704" y="480"/>
                    <a:pt x="704" y="480"/>
                  </a:cubicBezTo>
                  <a:cubicBezTo>
                    <a:pt x="704" y="480"/>
                    <a:pt x="705" y="480"/>
                    <a:pt x="705" y="480"/>
                  </a:cubicBezTo>
                  <a:cubicBezTo>
                    <a:pt x="705" y="480"/>
                    <a:pt x="705" y="480"/>
                    <a:pt x="705" y="480"/>
                  </a:cubicBezTo>
                  <a:cubicBezTo>
                    <a:pt x="706" y="479"/>
                    <a:pt x="706" y="479"/>
                    <a:pt x="705" y="479"/>
                  </a:cubicBezTo>
                  <a:cubicBezTo>
                    <a:pt x="705" y="478"/>
                    <a:pt x="705" y="478"/>
                    <a:pt x="705" y="478"/>
                  </a:cubicBezTo>
                  <a:cubicBezTo>
                    <a:pt x="706" y="477"/>
                    <a:pt x="705" y="477"/>
                    <a:pt x="705" y="477"/>
                  </a:cubicBezTo>
                  <a:close/>
                  <a:moveTo>
                    <a:pt x="681" y="444"/>
                  </a:moveTo>
                  <a:cubicBezTo>
                    <a:pt x="681" y="444"/>
                    <a:pt x="681" y="444"/>
                    <a:pt x="681" y="445"/>
                  </a:cubicBezTo>
                  <a:cubicBezTo>
                    <a:pt x="680" y="444"/>
                    <a:pt x="680" y="444"/>
                    <a:pt x="680" y="444"/>
                  </a:cubicBezTo>
                  <a:cubicBezTo>
                    <a:pt x="680" y="444"/>
                    <a:pt x="680" y="444"/>
                    <a:pt x="680" y="444"/>
                  </a:cubicBezTo>
                  <a:cubicBezTo>
                    <a:pt x="680" y="445"/>
                    <a:pt x="680" y="445"/>
                    <a:pt x="680" y="445"/>
                  </a:cubicBezTo>
                  <a:cubicBezTo>
                    <a:pt x="679" y="445"/>
                    <a:pt x="680" y="445"/>
                    <a:pt x="680" y="445"/>
                  </a:cubicBezTo>
                  <a:cubicBezTo>
                    <a:pt x="680" y="445"/>
                    <a:pt x="680" y="445"/>
                    <a:pt x="680" y="445"/>
                  </a:cubicBezTo>
                  <a:cubicBezTo>
                    <a:pt x="680" y="445"/>
                    <a:pt x="680" y="445"/>
                    <a:pt x="680" y="445"/>
                  </a:cubicBezTo>
                  <a:cubicBezTo>
                    <a:pt x="680" y="446"/>
                    <a:pt x="681" y="446"/>
                    <a:pt x="680" y="447"/>
                  </a:cubicBezTo>
                  <a:cubicBezTo>
                    <a:pt x="681" y="447"/>
                    <a:pt x="680" y="447"/>
                    <a:pt x="680" y="448"/>
                  </a:cubicBezTo>
                  <a:cubicBezTo>
                    <a:pt x="681" y="448"/>
                    <a:pt x="681" y="448"/>
                    <a:pt x="680" y="449"/>
                  </a:cubicBezTo>
                  <a:cubicBezTo>
                    <a:pt x="680" y="449"/>
                    <a:pt x="681" y="449"/>
                    <a:pt x="681" y="449"/>
                  </a:cubicBezTo>
                  <a:cubicBezTo>
                    <a:pt x="681" y="449"/>
                    <a:pt x="681" y="450"/>
                    <a:pt x="680" y="450"/>
                  </a:cubicBezTo>
                  <a:cubicBezTo>
                    <a:pt x="680" y="450"/>
                    <a:pt x="680" y="450"/>
                    <a:pt x="680" y="450"/>
                  </a:cubicBezTo>
                  <a:cubicBezTo>
                    <a:pt x="680" y="450"/>
                    <a:pt x="680" y="450"/>
                    <a:pt x="680" y="450"/>
                  </a:cubicBezTo>
                  <a:cubicBezTo>
                    <a:pt x="680" y="451"/>
                    <a:pt x="680" y="451"/>
                    <a:pt x="680" y="452"/>
                  </a:cubicBezTo>
                  <a:cubicBezTo>
                    <a:pt x="681" y="452"/>
                    <a:pt x="680" y="453"/>
                    <a:pt x="680" y="454"/>
                  </a:cubicBezTo>
                  <a:cubicBezTo>
                    <a:pt x="680" y="453"/>
                    <a:pt x="679" y="454"/>
                    <a:pt x="680" y="453"/>
                  </a:cubicBezTo>
                  <a:cubicBezTo>
                    <a:pt x="680" y="453"/>
                    <a:pt x="680" y="453"/>
                    <a:pt x="680" y="452"/>
                  </a:cubicBezTo>
                  <a:cubicBezTo>
                    <a:pt x="680" y="452"/>
                    <a:pt x="680" y="452"/>
                    <a:pt x="679" y="452"/>
                  </a:cubicBezTo>
                  <a:cubicBezTo>
                    <a:pt x="679" y="453"/>
                    <a:pt x="679" y="452"/>
                    <a:pt x="679" y="452"/>
                  </a:cubicBezTo>
                  <a:cubicBezTo>
                    <a:pt x="679" y="452"/>
                    <a:pt x="678" y="451"/>
                    <a:pt x="678" y="450"/>
                  </a:cubicBezTo>
                  <a:cubicBezTo>
                    <a:pt x="678" y="450"/>
                    <a:pt x="678" y="450"/>
                    <a:pt x="678" y="450"/>
                  </a:cubicBezTo>
                  <a:cubicBezTo>
                    <a:pt x="678" y="450"/>
                    <a:pt x="678" y="450"/>
                    <a:pt x="678" y="450"/>
                  </a:cubicBezTo>
                  <a:cubicBezTo>
                    <a:pt x="677" y="450"/>
                    <a:pt x="677" y="450"/>
                    <a:pt x="677" y="449"/>
                  </a:cubicBezTo>
                  <a:cubicBezTo>
                    <a:pt x="677" y="449"/>
                    <a:pt x="677" y="448"/>
                    <a:pt x="676" y="447"/>
                  </a:cubicBezTo>
                  <a:cubicBezTo>
                    <a:pt x="676" y="447"/>
                    <a:pt x="676" y="447"/>
                    <a:pt x="677" y="447"/>
                  </a:cubicBezTo>
                  <a:cubicBezTo>
                    <a:pt x="676" y="446"/>
                    <a:pt x="676" y="447"/>
                    <a:pt x="676" y="446"/>
                  </a:cubicBezTo>
                  <a:cubicBezTo>
                    <a:pt x="676" y="446"/>
                    <a:pt x="676" y="445"/>
                    <a:pt x="675" y="445"/>
                  </a:cubicBezTo>
                  <a:cubicBezTo>
                    <a:pt x="675" y="445"/>
                    <a:pt x="676" y="445"/>
                    <a:pt x="675" y="444"/>
                  </a:cubicBezTo>
                  <a:cubicBezTo>
                    <a:pt x="675" y="444"/>
                    <a:pt x="676" y="444"/>
                    <a:pt x="676" y="444"/>
                  </a:cubicBezTo>
                  <a:cubicBezTo>
                    <a:pt x="677" y="443"/>
                    <a:pt x="677" y="443"/>
                    <a:pt x="677" y="443"/>
                  </a:cubicBezTo>
                  <a:cubicBezTo>
                    <a:pt x="676" y="443"/>
                    <a:pt x="676" y="443"/>
                    <a:pt x="676" y="442"/>
                  </a:cubicBezTo>
                  <a:cubicBezTo>
                    <a:pt x="676" y="442"/>
                    <a:pt x="676" y="442"/>
                    <a:pt x="676" y="442"/>
                  </a:cubicBezTo>
                  <a:cubicBezTo>
                    <a:pt x="676" y="442"/>
                    <a:pt x="676" y="442"/>
                    <a:pt x="676" y="442"/>
                  </a:cubicBezTo>
                  <a:cubicBezTo>
                    <a:pt x="676" y="442"/>
                    <a:pt x="676" y="442"/>
                    <a:pt x="676" y="442"/>
                  </a:cubicBezTo>
                  <a:cubicBezTo>
                    <a:pt x="676" y="442"/>
                    <a:pt x="676" y="443"/>
                    <a:pt x="675" y="443"/>
                  </a:cubicBezTo>
                  <a:cubicBezTo>
                    <a:pt x="675" y="444"/>
                    <a:pt x="675" y="444"/>
                    <a:pt x="674" y="444"/>
                  </a:cubicBezTo>
                  <a:cubicBezTo>
                    <a:pt x="674" y="443"/>
                    <a:pt x="674" y="443"/>
                    <a:pt x="674" y="443"/>
                  </a:cubicBezTo>
                  <a:cubicBezTo>
                    <a:pt x="674" y="443"/>
                    <a:pt x="674" y="443"/>
                    <a:pt x="674" y="443"/>
                  </a:cubicBezTo>
                  <a:cubicBezTo>
                    <a:pt x="674" y="442"/>
                    <a:pt x="674" y="441"/>
                    <a:pt x="675" y="441"/>
                  </a:cubicBezTo>
                  <a:cubicBezTo>
                    <a:pt x="675" y="441"/>
                    <a:pt x="675" y="440"/>
                    <a:pt x="676" y="440"/>
                  </a:cubicBezTo>
                  <a:cubicBezTo>
                    <a:pt x="675" y="440"/>
                    <a:pt x="675" y="440"/>
                    <a:pt x="675" y="440"/>
                  </a:cubicBezTo>
                  <a:cubicBezTo>
                    <a:pt x="675" y="440"/>
                    <a:pt x="675" y="441"/>
                    <a:pt x="674" y="441"/>
                  </a:cubicBezTo>
                  <a:cubicBezTo>
                    <a:pt x="674" y="441"/>
                    <a:pt x="674" y="442"/>
                    <a:pt x="674" y="442"/>
                  </a:cubicBezTo>
                  <a:cubicBezTo>
                    <a:pt x="674" y="442"/>
                    <a:pt x="673" y="442"/>
                    <a:pt x="673" y="442"/>
                  </a:cubicBezTo>
                  <a:cubicBezTo>
                    <a:pt x="673" y="442"/>
                    <a:pt x="673" y="441"/>
                    <a:pt x="673" y="441"/>
                  </a:cubicBezTo>
                  <a:cubicBezTo>
                    <a:pt x="673" y="441"/>
                    <a:pt x="674" y="441"/>
                    <a:pt x="674" y="441"/>
                  </a:cubicBezTo>
                  <a:cubicBezTo>
                    <a:pt x="673" y="441"/>
                    <a:pt x="674" y="440"/>
                    <a:pt x="674" y="439"/>
                  </a:cubicBezTo>
                  <a:cubicBezTo>
                    <a:pt x="673" y="440"/>
                    <a:pt x="673" y="440"/>
                    <a:pt x="673" y="441"/>
                  </a:cubicBezTo>
                  <a:cubicBezTo>
                    <a:pt x="673" y="441"/>
                    <a:pt x="673" y="441"/>
                    <a:pt x="673" y="441"/>
                  </a:cubicBezTo>
                  <a:cubicBezTo>
                    <a:pt x="673" y="441"/>
                    <a:pt x="673" y="441"/>
                    <a:pt x="673" y="441"/>
                  </a:cubicBezTo>
                  <a:cubicBezTo>
                    <a:pt x="672" y="441"/>
                    <a:pt x="673" y="441"/>
                    <a:pt x="673" y="441"/>
                  </a:cubicBezTo>
                  <a:cubicBezTo>
                    <a:pt x="673" y="441"/>
                    <a:pt x="673" y="440"/>
                    <a:pt x="673" y="440"/>
                  </a:cubicBezTo>
                  <a:cubicBezTo>
                    <a:pt x="672" y="440"/>
                    <a:pt x="673" y="440"/>
                    <a:pt x="673" y="439"/>
                  </a:cubicBezTo>
                  <a:cubicBezTo>
                    <a:pt x="673" y="439"/>
                    <a:pt x="673" y="439"/>
                    <a:pt x="673" y="439"/>
                  </a:cubicBezTo>
                  <a:cubicBezTo>
                    <a:pt x="672" y="439"/>
                    <a:pt x="672" y="439"/>
                    <a:pt x="671" y="439"/>
                  </a:cubicBezTo>
                  <a:cubicBezTo>
                    <a:pt x="671" y="438"/>
                    <a:pt x="671" y="438"/>
                    <a:pt x="671" y="437"/>
                  </a:cubicBezTo>
                  <a:cubicBezTo>
                    <a:pt x="671" y="437"/>
                    <a:pt x="671" y="437"/>
                    <a:pt x="671" y="437"/>
                  </a:cubicBezTo>
                  <a:cubicBezTo>
                    <a:pt x="672" y="437"/>
                    <a:pt x="672" y="437"/>
                    <a:pt x="672" y="437"/>
                  </a:cubicBezTo>
                  <a:cubicBezTo>
                    <a:pt x="672" y="436"/>
                    <a:pt x="672" y="436"/>
                    <a:pt x="671" y="435"/>
                  </a:cubicBezTo>
                  <a:cubicBezTo>
                    <a:pt x="671" y="435"/>
                    <a:pt x="671" y="435"/>
                    <a:pt x="671" y="435"/>
                  </a:cubicBezTo>
                  <a:cubicBezTo>
                    <a:pt x="672" y="435"/>
                    <a:pt x="672" y="434"/>
                    <a:pt x="673" y="434"/>
                  </a:cubicBezTo>
                  <a:cubicBezTo>
                    <a:pt x="673" y="434"/>
                    <a:pt x="673" y="434"/>
                    <a:pt x="673" y="434"/>
                  </a:cubicBezTo>
                  <a:cubicBezTo>
                    <a:pt x="673" y="434"/>
                    <a:pt x="674" y="434"/>
                    <a:pt x="674" y="433"/>
                  </a:cubicBezTo>
                  <a:cubicBezTo>
                    <a:pt x="674" y="433"/>
                    <a:pt x="674" y="433"/>
                    <a:pt x="674" y="433"/>
                  </a:cubicBezTo>
                  <a:cubicBezTo>
                    <a:pt x="674" y="433"/>
                    <a:pt x="673" y="433"/>
                    <a:pt x="673" y="433"/>
                  </a:cubicBezTo>
                  <a:cubicBezTo>
                    <a:pt x="672" y="434"/>
                    <a:pt x="671" y="433"/>
                    <a:pt x="671" y="432"/>
                  </a:cubicBezTo>
                  <a:cubicBezTo>
                    <a:pt x="671" y="432"/>
                    <a:pt x="671" y="431"/>
                    <a:pt x="672" y="431"/>
                  </a:cubicBezTo>
                  <a:cubicBezTo>
                    <a:pt x="672" y="431"/>
                    <a:pt x="672" y="430"/>
                    <a:pt x="672" y="430"/>
                  </a:cubicBezTo>
                  <a:cubicBezTo>
                    <a:pt x="672" y="430"/>
                    <a:pt x="672" y="430"/>
                    <a:pt x="672" y="430"/>
                  </a:cubicBezTo>
                  <a:cubicBezTo>
                    <a:pt x="672" y="430"/>
                    <a:pt x="672" y="430"/>
                    <a:pt x="672" y="430"/>
                  </a:cubicBezTo>
                  <a:cubicBezTo>
                    <a:pt x="672" y="430"/>
                    <a:pt x="672" y="430"/>
                    <a:pt x="671" y="430"/>
                  </a:cubicBezTo>
                  <a:cubicBezTo>
                    <a:pt x="671" y="430"/>
                    <a:pt x="671" y="431"/>
                    <a:pt x="671" y="431"/>
                  </a:cubicBezTo>
                  <a:cubicBezTo>
                    <a:pt x="671" y="431"/>
                    <a:pt x="671" y="430"/>
                    <a:pt x="671" y="430"/>
                  </a:cubicBezTo>
                  <a:cubicBezTo>
                    <a:pt x="672" y="430"/>
                    <a:pt x="671" y="429"/>
                    <a:pt x="672" y="428"/>
                  </a:cubicBezTo>
                  <a:cubicBezTo>
                    <a:pt x="671" y="428"/>
                    <a:pt x="670" y="428"/>
                    <a:pt x="669" y="429"/>
                  </a:cubicBezTo>
                  <a:cubicBezTo>
                    <a:pt x="669" y="429"/>
                    <a:pt x="669" y="428"/>
                    <a:pt x="669" y="428"/>
                  </a:cubicBezTo>
                  <a:cubicBezTo>
                    <a:pt x="669" y="428"/>
                    <a:pt x="669" y="428"/>
                    <a:pt x="669" y="428"/>
                  </a:cubicBezTo>
                  <a:cubicBezTo>
                    <a:pt x="669" y="429"/>
                    <a:pt x="668" y="428"/>
                    <a:pt x="668" y="429"/>
                  </a:cubicBezTo>
                  <a:cubicBezTo>
                    <a:pt x="668" y="429"/>
                    <a:pt x="668" y="430"/>
                    <a:pt x="668" y="430"/>
                  </a:cubicBezTo>
                  <a:cubicBezTo>
                    <a:pt x="668" y="431"/>
                    <a:pt x="669" y="431"/>
                    <a:pt x="669" y="431"/>
                  </a:cubicBezTo>
                  <a:cubicBezTo>
                    <a:pt x="669" y="432"/>
                    <a:pt x="668" y="433"/>
                    <a:pt x="668" y="434"/>
                  </a:cubicBezTo>
                  <a:cubicBezTo>
                    <a:pt x="668" y="434"/>
                    <a:pt x="667" y="434"/>
                    <a:pt x="666" y="434"/>
                  </a:cubicBezTo>
                  <a:cubicBezTo>
                    <a:pt x="666" y="434"/>
                    <a:pt x="666" y="435"/>
                    <a:pt x="665" y="434"/>
                  </a:cubicBezTo>
                  <a:cubicBezTo>
                    <a:pt x="665" y="434"/>
                    <a:pt x="665" y="434"/>
                    <a:pt x="665" y="433"/>
                  </a:cubicBezTo>
                  <a:cubicBezTo>
                    <a:pt x="665" y="432"/>
                    <a:pt x="665" y="432"/>
                    <a:pt x="666" y="432"/>
                  </a:cubicBezTo>
                  <a:cubicBezTo>
                    <a:pt x="667" y="431"/>
                    <a:pt x="666" y="431"/>
                    <a:pt x="666" y="430"/>
                  </a:cubicBezTo>
                  <a:cubicBezTo>
                    <a:pt x="666" y="430"/>
                    <a:pt x="666" y="430"/>
                    <a:pt x="666" y="430"/>
                  </a:cubicBezTo>
                  <a:cubicBezTo>
                    <a:pt x="665" y="430"/>
                    <a:pt x="665" y="430"/>
                    <a:pt x="665" y="430"/>
                  </a:cubicBezTo>
                  <a:cubicBezTo>
                    <a:pt x="666" y="430"/>
                    <a:pt x="665" y="429"/>
                    <a:pt x="666" y="429"/>
                  </a:cubicBezTo>
                  <a:cubicBezTo>
                    <a:pt x="665" y="429"/>
                    <a:pt x="665" y="428"/>
                    <a:pt x="665" y="428"/>
                  </a:cubicBezTo>
                  <a:cubicBezTo>
                    <a:pt x="665" y="428"/>
                    <a:pt x="665" y="428"/>
                    <a:pt x="665" y="428"/>
                  </a:cubicBezTo>
                  <a:cubicBezTo>
                    <a:pt x="665" y="427"/>
                    <a:pt x="666" y="427"/>
                    <a:pt x="665" y="427"/>
                  </a:cubicBezTo>
                  <a:cubicBezTo>
                    <a:pt x="665" y="427"/>
                    <a:pt x="665" y="426"/>
                    <a:pt x="665" y="426"/>
                  </a:cubicBezTo>
                  <a:cubicBezTo>
                    <a:pt x="667" y="426"/>
                    <a:pt x="667" y="426"/>
                    <a:pt x="667" y="428"/>
                  </a:cubicBezTo>
                  <a:cubicBezTo>
                    <a:pt x="667" y="428"/>
                    <a:pt x="667" y="428"/>
                    <a:pt x="667" y="428"/>
                  </a:cubicBezTo>
                  <a:cubicBezTo>
                    <a:pt x="668" y="428"/>
                    <a:pt x="667" y="427"/>
                    <a:pt x="668" y="427"/>
                  </a:cubicBezTo>
                  <a:cubicBezTo>
                    <a:pt x="668" y="427"/>
                    <a:pt x="668" y="427"/>
                    <a:pt x="668" y="427"/>
                  </a:cubicBezTo>
                  <a:cubicBezTo>
                    <a:pt x="668" y="427"/>
                    <a:pt x="668" y="427"/>
                    <a:pt x="668" y="427"/>
                  </a:cubicBezTo>
                  <a:cubicBezTo>
                    <a:pt x="668" y="426"/>
                    <a:pt x="667" y="426"/>
                    <a:pt x="667" y="426"/>
                  </a:cubicBezTo>
                  <a:cubicBezTo>
                    <a:pt x="667" y="426"/>
                    <a:pt x="667" y="426"/>
                    <a:pt x="668" y="426"/>
                  </a:cubicBezTo>
                  <a:cubicBezTo>
                    <a:pt x="668" y="426"/>
                    <a:pt x="669" y="426"/>
                    <a:pt x="669" y="426"/>
                  </a:cubicBezTo>
                  <a:cubicBezTo>
                    <a:pt x="669" y="426"/>
                    <a:pt x="670" y="426"/>
                    <a:pt x="670" y="426"/>
                  </a:cubicBezTo>
                  <a:cubicBezTo>
                    <a:pt x="669" y="425"/>
                    <a:pt x="669" y="425"/>
                    <a:pt x="669" y="425"/>
                  </a:cubicBezTo>
                  <a:cubicBezTo>
                    <a:pt x="668" y="425"/>
                    <a:pt x="668" y="425"/>
                    <a:pt x="669" y="425"/>
                  </a:cubicBezTo>
                  <a:cubicBezTo>
                    <a:pt x="669" y="424"/>
                    <a:pt x="669" y="424"/>
                    <a:pt x="669" y="423"/>
                  </a:cubicBezTo>
                  <a:cubicBezTo>
                    <a:pt x="669" y="423"/>
                    <a:pt x="669" y="424"/>
                    <a:pt x="668" y="424"/>
                  </a:cubicBezTo>
                  <a:cubicBezTo>
                    <a:pt x="668" y="424"/>
                    <a:pt x="668" y="424"/>
                    <a:pt x="668" y="424"/>
                  </a:cubicBezTo>
                  <a:cubicBezTo>
                    <a:pt x="668" y="424"/>
                    <a:pt x="668" y="424"/>
                    <a:pt x="668" y="425"/>
                  </a:cubicBezTo>
                  <a:cubicBezTo>
                    <a:pt x="667" y="425"/>
                    <a:pt x="667" y="425"/>
                    <a:pt x="667" y="425"/>
                  </a:cubicBezTo>
                  <a:cubicBezTo>
                    <a:pt x="667" y="425"/>
                    <a:pt x="667" y="426"/>
                    <a:pt x="666" y="425"/>
                  </a:cubicBezTo>
                  <a:cubicBezTo>
                    <a:pt x="666" y="425"/>
                    <a:pt x="666" y="425"/>
                    <a:pt x="666" y="425"/>
                  </a:cubicBezTo>
                  <a:cubicBezTo>
                    <a:pt x="665" y="425"/>
                    <a:pt x="665" y="425"/>
                    <a:pt x="665" y="424"/>
                  </a:cubicBezTo>
                  <a:cubicBezTo>
                    <a:pt x="665" y="424"/>
                    <a:pt x="664" y="424"/>
                    <a:pt x="664" y="423"/>
                  </a:cubicBezTo>
                  <a:cubicBezTo>
                    <a:pt x="664" y="423"/>
                    <a:pt x="663" y="423"/>
                    <a:pt x="663" y="422"/>
                  </a:cubicBezTo>
                  <a:cubicBezTo>
                    <a:pt x="663" y="422"/>
                    <a:pt x="663" y="422"/>
                    <a:pt x="663" y="422"/>
                  </a:cubicBezTo>
                  <a:cubicBezTo>
                    <a:pt x="663" y="422"/>
                    <a:pt x="663" y="422"/>
                    <a:pt x="663" y="422"/>
                  </a:cubicBezTo>
                  <a:cubicBezTo>
                    <a:pt x="663" y="422"/>
                    <a:pt x="664" y="422"/>
                    <a:pt x="664" y="422"/>
                  </a:cubicBezTo>
                  <a:cubicBezTo>
                    <a:pt x="664" y="423"/>
                    <a:pt x="665" y="423"/>
                    <a:pt x="665" y="424"/>
                  </a:cubicBezTo>
                  <a:cubicBezTo>
                    <a:pt x="665" y="423"/>
                    <a:pt x="665" y="423"/>
                    <a:pt x="664" y="422"/>
                  </a:cubicBezTo>
                  <a:cubicBezTo>
                    <a:pt x="664" y="422"/>
                    <a:pt x="664" y="422"/>
                    <a:pt x="663" y="421"/>
                  </a:cubicBezTo>
                  <a:cubicBezTo>
                    <a:pt x="663" y="421"/>
                    <a:pt x="663" y="421"/>
                    <a:pt x="663" y="421"/>
                  </a:cubicBezTo>
                  <a:cubicBezTo>
                    <a:pt x="663" y="421"/>
                    <a:pt x="662" y="421"/>
                    <a:pt x="663" y="419"/>
                  </a:cubicBezTo>
                  <a:cubicBezTo>
                    <a:pt x="662" y="419"/>
                    <a:pt x="663" y="420"/>
                    <a:pt x="662" y="420"/>
                  </a:cubicBezTo>
                  <a:cubicBezTo>
                    <a:pt x="662" y="419"/>
                    <a:pt x="662" y="419"/>
                    <a:pt x="662" y="419"/>
                  </a:cubicBezTo>
                  <a:cubicBezTo>
                    <a:pt x="662" y="419"/>
                    <a:pt x="662" y="420"/>
                    <a:pt x="662" y="419"/>
                  </a:cubicBezTo>
                  <a:cubicBezTo>
                    <a:pt x="661" y="419"/>
                    <a:pt x="661" y="419"/>
                    <a:pt x="661" y="419"/>
                  </a:cubicBezTo>
                  <a:cubicBezTo>
                    <a:pt x="661" y="419"/>
                    <a:pt x="661" y="419"/>
                    <a:pt x="661" y="419"/>
                  </a:cubicBezTo>
                  <a:cubicBezTo>
                    <a:pt x="660" y="419"/>
                    <a:pt x="660" y="418"/>
                    <a:pt x="660" y="418"/>
                  </a:cubicBezTo>
                  <a:cubicBezTo>
                    <a:pt x="660" y="418"/>
                    <a:pt x="661" y="417"/>
                    <a:pt x="661" y="418"/>
                  </a:cubicBezTo>
                  <a:cubicBezTo>
                    <a:pt x="661" y="417"/>
                    <a:pt x="660" y="417"/>
                    <a:pt x="661" y="416"/>
                  </a:cubicBezTo>
                  <a:cubicBezTo>
                    <a:pt x="661" y="416"/>
                    <a:pt x="660" y="416"/>
                    <a:pt x="660" y="416"/>
                  </a:cubicBezTo>
                  <a:cubicBezTo>
                    <a:pt x="660" y="416"/>
                    <a:pt x="660" y="416"/>
                    <a:pt x="660" y="416"/>
                  </a:cubicBezTo>
                  <a:cubicBezTo>
                    <a:pt x="660" y="416"/>
                    <a:pt x="660" y="417"/>
                    <a:pt x="660" y="417"/>
                  </a:cubicBezTo>
                  <a:cubicBezTo>
                    <a:pt x="659" y="417"/>
                    <a:pt x="659" y="416"/>
                    <a:pt x="659" y="416"/>
                  </a:cubicBezTo>
                  <a:cubicBezTo>
                    <a:pt x="659" y="415"/>
                    <a:pt x="659" y="415"/>
                    <a:pt x="658" y="415"/>
                  </a:cubicBezTo>
                  <a:cubicBezTo>
                    <a:pt x="658" y="414"/>
                    <a:pt x="658" y="414"/>
                    <a:pt x="658" y="414"/>
                  </a:cubicBezTo>
                  <a:cubicBezTo>
                    <a:pt x="658" y="414"/>
                    <a:pt x="658" y="414"/>
                    <a:pt x="658" y="414"/>
                  </a:cubicBezTo>
                  <a:cubicBezTo>
                    <a:pt x="658" y="414"/>
                    <a:pt x="658" y="414"/>
                    <a:pt x="657" y="414"/>
                  </a:cubicBezTo>
                  <a:cubicBezTo>
                    <a:pt x="657" y="414"/>
                    <a:pt x="657" y="413"/>
                    <a:pt x="657" y="413"/>
                  </a:cubicBezTo>
                  <a:cubicBezTo>
                    <a:pt x="657" y="413"/>
                    <a:pt x="657" y="413"/>
                    <a:pt x="657" y="413"/>
                  </a:cubicBezTo>
                  <a:cubicBezTo>
                    <a:pt x="656" y="412"/>
                    <a:pt x="656" y="412"/>
                    <a:pt x="656" y="411"/>
                  </a:cubicBezTo>
                  <a:cubicBezTo>
                    <a:pt x="656" y="411"/>
                    <a:pt x="657" y="410"/>
                    <a:pt x="656" y="410"/>
                  </a:cubicBezTo>
                  <a:cubicBezTo>
                    <a:pt x="656" y="410"/>
                    <a:pt x="656" y="408"/>
                    <a:pt x="657" y="408"/>
                  </a:cubicBezTo>
                  <a:cubicBezTo>
                    <a:pt x="657" y="408"/>
                    <a:pt x="657" y="408"/>
                    <a:pt x="657" y="408"/>
                  </a:cubicBezTo>
                  <a:cubicBezTo>
                    <a:pt x="658" y="409"/>
                    <a:pt x="658" y="409"/>
                    <a:pt x="658" y="410"/>
                  </a:cubicBezTo>
                  <a:cubicBezTo>
                    <a:pt x="659" y="410"/>
                    <a:pt x="659" y="410"/>
                    <a:pt x="659" y="410"/>
                  </a:cubicBezTo>
                  <a:cubicBezTo>
                    <a:pt x="659" y="410"/>
                    <a:pt x="659" y="411"/>
                    <a:pt x="659" y="411"/>
                  </a:cubicBezTo>
                  <a:cubicBezTo>
                    <a:pt x="660" y="411"/>
                    <a:pt x="661" y="412"/>
                    <a:pt x="662" y="413"/>
                  </a:cubicBezTo>
                  <a:cubicBezTo>
                    <a:pt x="662" y="414"/>
                    <a:pt x="662" y="414"/>
                    <a:pt x="662" y="414"/>
                  </a:cubicBezTo>
                  <a:cubicBezTo>
                    <a:pt x="662" y="414"/>
                    <a:pt x="662" y="414"/>
                    <a:pt x="663" y="414"/>
                  </a:cubicBezTo>
                  <a:cubicBezTo>
                    <a:pt x="663" y="414"/>
                    <a:pt x="663" y="414"/>
                    <a:pt x="663" y="414"/>
                  </a:cubicBezTo>
                  <a:cubicBezTo>
                    <a:pt x="662" y="414"/>
                    <a:pt x="662" y="414"/>
                    <a:pt x="662" y="414"/>
                  </a:cubicBezTo>
                  <a:cubicBezTo>
                    <a:pt x="662" y="414"/>
                    <a:pt x="662" y="414"/>
                    <a:pt x="662" y="414"/>
                  </a:cubicBezTo>
                  <a:cubicBezTo>
                    <a:pt x="662" y="413"/>
                    <a:pt x="661" y="413"/>
                    <a:pt x="661" y="412"/>
                  </a:cubicBezTo>
                  <a:cubicBezTo>
                    <a:pt x="660" y="412"/>
                    <a:pt x="660" y="411"/>
                    <a:pt x="659" y="410"/>
                  </a:cubicBezTo>
                  <a:cubicBezTo>
                    <a:pt x="659" y="410"/>
                    <a:pt x="659" y="409"/>
                    <a:pt x="658" y="409"/>
                  </a:cubicBezTo>
                  <a:cubicBezTo>
                    <a:pt x="658" y="409"/>
                    <a:pt x="658" y="408"/>
                    <a:pt x="658" y="408"/>
                  </a:cubicBezTo>
                  <a:cubicBezTo>
                    <a:pt x="657" y="407"/>
                    <a:pt x="658" y="407"/>
                    <a:pt x="658" y="407"/>
                  </a:cubicBezTo>
                  <a:cubicBezTo>
                    <a:pt x="658" y="407"/>
                    <a:pt x="658" y="407"/>
                    <a:pt x="659" y="407"/>
                  </a:cubicBezTo>
                  <a:cubicBezTo>
                    <a:pt x="659" y="407"/>
                    <a:pt x="659" y="407"/>
                    <a:pt x="659" y="408"/>
                  </a:cubicBezTo>
                  <a:cubicBezTo>
                    <a:pt x="659" y="408"/>
                    <a:pt x="659" y="408"/>
                    <a:pt x="660" y="408"/>
                  </a:cubicBezTo>
                  <a:cubicBezTo>
                    <a:pt x="659" y="407"/>
                    <a:pt x="659" y="407"/>
                    <a:pt x="659" y="406"/>
                  </a:cubicBezTo>
                  <a:cubicBezTo>
                    <a:pt x="659" y="405"/>
                    <a:pt x="659" y="405"/>
                    <a:pt x="659" y="405"/>
                  </a:cubicBezTo>
                  <a:cubicBezTo>
                    <a:pt x="659" y="405"/>
                    <a:pt x="659" y="405"/>
                    <a:pt x="660" y="405"/>
                  </a:cubicBezTo>
                  <a:cubicBezTo>
                    <a:pt x="660" y="406"/>
                    <a:pt x="660" y="406"/>
                    <a:pt x="660" y="406"/>
                  </a:cubicBezTo>
                  <a:cubicBezTo>
                    <a:pt x="660" y="407"/>
                    <a:pt x="661" y="407"/>
                    <a:pt x="661" y="408"/>
                  </a:cubicBezTo>
                  <a:cubicBezTo>
                    <a:pt x="661" y="408"/>
                    <a:pt x="661" y="409"/>
                    <a:pt x="662" y="409"/>
                  </a:cubicBezTo>
                  <a:cubicBezTo>
                    <a:pt x="662" y="409"/>
                    <a:pt x="662" y="409"/>
                    <a:pt x="662" y="409"/>
                  </a:cubicBezTo>
                  <a:cubicBezTo>
                    <a:pt x="662" y="409"/>
                    <a:pt x="662" y="409"/>
                    <a:pt x="662" y="409"/>
                  </a:cubicBezTo>
                  <a:cubicBezTo>
                    <a:pt x="661" y="408"/>
                    <a:pt x="661" y="408"/>
                    <a:pt x="661" y="407"/>
                  </a:cubicBezTo>
                  <a:cubicBezTo>
                    <a:pt x="661" y="407"/>
                    <a:pt x="661" y="407"/>
                    <a:pt x="661" y="407"/>
                  </a:cubicBezTo>
                  <a:cubicBezTo>
                    <a:pt x="661" y="406"/>
                    <a:pt x="661" y="406"/>
                    <a:pt x="661" y="405"/>
                  </a:cubicBezTo>
                  <a:cubicBezTo>
                    <a:pt x="662" y="405"/>
                    <a:pt x="662" y="405"/>
                    <a:pt x="663" y="405"/>
                  </a:cubicBezTo>
                  <a:cubicBezTo>
                    <a:pt x="663" y="406"/>
                    <a:pt x="663" y="406"/>
                    <a:pt x="663" y="406"/>
                  </a:cubicBezTo>
                  <a:cubicBezTo>
                    <a:pt x="663" y="406"/>
                    <a:pt x="664" y="406"/>
                    <a:pt x="664" y="406"/>
                  </a:cubicBezTo>
                  <a:cubicBezTo>
                    <a:pt x="664" y="405"/>
                    <a:pt x="664" y="405"/>
                    <a:pt x="664" y="405"/>
                  </a:cubicBezTo>
                  <a:cubicBezTo>
                    <a:pt x="665" y="404"/>
                    <a:pt x="665" y="404"/>
                    <a:pt x="666" y="404"/>
                  </a:cubicBezTo>
                  <a:cubicBezTo>
                    <a:pt x="666" y="404"/>
                    <a:pt x="666" y="404"/>
                    <a:pt x="666" y="404"/>
                  </a:cubicBezTo>
                  <a:cubicBezTo>
                    <a:pt x="667" y="404"/>
                    <a:pt x="667" y="405"/>
                    <a:pt x="668" y="405"/>
                  </a:cubicBezTo>
                  <a:cubicBezTo>
                    <a:pt x="668" y="405"/>
                    <a:pt x="668" y="405"/>
                    <a:pt x="669" y="406"/>
                  </a:cubicBezTo>
                  <a:cubicBezTo>
                    <a:pt x="669" y="406"/>
                    <a:pt x="669" y="406"/>
                    <a:pt x="669" y="406"/>
                  </a:cubicBezTo>
                  <a:cubicBezTo>
                    <a:pt x="670" y="407"/>
                    <a:pt x="669" y="407"/>
                    <a:pt x="669" y="407"/>
                  </a:cubicBezTo>
                  <a:cubicBezTo>
                    <a:pt x="669" y="408"/>
                    <a:pt x="669" y="409"/>
                    <a:pt x="668" y="409"/>
                  </a:cubicBezTo>
                  <a:cubicBezTo>
                    <a:pt x="668" y="409"/>
                    <a:pt x="667" y="409"/>
                    <a:pt x="667" y="409"/>
                  </a:cubicBezTo>
                  <a:cubicBezTo>
                    <a:pt x="667" y="409"/>
                    <a:pt x="666" y="409"/>
                    <a:pt x="666" y="409"/>
                  </a:cubicBezTo>
                  <a:cubicBezTo>
                    <a:pt x="666" y="410"/>
                    <a:pt x="666" y="409"/>
                    <a:pt x="667" y="409"/>
                  </a:cubicBezTo>
                  <a:cubicBezTo>
                    <a:pt x="667" y="409"/>
                    <a:pt x="667" y="409"/>
                    <a:pt x="667" y="410"/>
                  </a:cubicBezTo>
                  <a:cubicBezTo>
                    <a:pt x="667" y="410"/>
                    <a:pt x="667" y="410"/>
                    <a:pt x="668" y="410"/>
                  </a:cubicBezTo>
                  <a:cubicBezTo>
                    <a:pt x="668" y="410"/>
                    <a:pt x="668" y="410"/>
                    <a:pt x="668" y="410"/>
                  </a:cubicBezTo>
                  <a:cubicBezTo>
                    <a:pt x="668" y="411"/>
                    <a:pt x="667" y="411"/>
                    <a:pt x="667" y="411"/>
                  </a:cubicBezTo>
                  <a:cubicBezTo>
                    <a:pt x="667" y="410"/>
                    <a:pt x="666" y="410"/>
                    <a:pt x="666" y="411"/>
                  </a:cubicBezTo>
                  <a:cubicBezTo>
                    <a:pt x="666" y="411"/>
                    <a:pt x="667" y="411"/>
                    <a:pt x="667" y="411"/>
                  </a:cubicBezTo>
                  <a:cubicBezTo>
                    <a:pt x="667" y="411"/>
                    <a:pt x="668" y="411"/>
                    <a:pt x="668" y="411"/>
                  </a:cubicBezTo>
                  <a:cubicBezTo>
                    <a:pt x="668" y="411"/>
                    <a:pt x="668" y="411"/>
                    <a:pt x="668" y="411"/>
                  </a:cubicBezTo>
                  <a:cubicBezTo>
                    <a:pt x="669" y="411"/>
                    <a:pt x="669" y="410"/>
                    <a:pt x="669" y="410"/>
                  </a:cubicBezTo>
                  <a:cubicBezTo>
                    <a:pt x="669" y="409"/>
                    <a:pt x="670" y="409"/>
                    <a:pt x="670" y="408"/>
                  </a:cubicBezTo>
                  <a:cubicBezTo>
                    <a:pt x="671" y="408"/>
                    <a:pt x="671" y="408"/>
                    <a:pt x="670" y="408"/>
                  </a:cubicBezTo>
                  <a:cubicBezTo>
                    <a:pt x="670" y="408"/>
                    <a:pt x="670" y="408"/>
                    <a:pt x="670" y="407"/>
                  </a:cubicBezTo>
                  <a:cubicBezTo>
                    <a:pt x="670" y="407"/>
                    <a:pt x="671" y="407"/>
                    <a:pt x="671" y="407"/>
                  </a:cubicBezTo>
                  <a:cubicBezTo>
                    <a:pt x="671" y="407"/>
                    <a:pt x="672" y="407"/>
                    <a:pt x="672" y="408"/>
                  </a:cubicBezTo>
                  <a:cubicBezTo>
                    <a:pt x="672" y="409"/>
                    <a:pt x="673" y="408"/>
                    <a:pt x="674" y="408"/>
                  </a:cubicBezTo>
                  <a:cubicBezTo>
                    <a:pt x="674" y="408"/>
                    <a:pt x="674" y="408"/>
                    <a:pt x="674" y="408"/>
                  </a:cubicBezTo>
                  <a:cubicBezTo>
                    <a:pt x="675" y="408"/>
                    <a:pt x="675" y="408"/>
                    <a:pt x="675" y="409"/>
                  </a:cubicBezTo>
                  <a:cubicBezTo>
                    <a:pt x="675" y="409"/>
                    <a:pt x="675" y="409"/>
                    <a:pt x="674" y="409"/>
                  </a:cubicBezTo>
                  <a:cubicBezTo>
                    <a:pt x="675" y="409"/>
                    <a:pt x="676" y="409"/>
                    <a:pt x="677" y="410"/>
                  </a:cubicBezTo>
                  <a:cubicBezTo>
                    <a:pt x="677" y="410"/>
                    <a:pt x="677" y="411"/>
                    <a:pt x="677" y="411"/>
                  </a:cubicBezTo>
                  <a:cubicBezTo>
                    <a:pt x="677" y="412"/>
                    <a:pt x="677" y="413"/>
                    <a:pt x="676" y="413"/>
                  </a:cubicBezTo>
                  <a:cubicBezTo>
                    <a:pt x="676" y="413"/>
                    <a:pt x="676" y="413"/>
                    <a:pt x="676" y="413"/>
                  </a:cubicBezTo>
                  <a:cubicBezTo>
                    <a:pt x="675" y="413"/>
                    <a:pt x="675" y="413"/>
                    <a:pt x="674" y="412"/>
                  </a:cubicBezTo>
                  <a:cubicBezTo>
                    <a:pt x="674" y="412"/>
                    <a:pt x="674" y="412"/>
                    <a:pt x="674" y="412"/>
                  </a:cubicBezTo>
                  <a:cubicBezTo>
                    <a:pt x="673" y="412"/>
                    <a:pt x="673" y="412"/>
                    <a:pt x="673" y="412"/>
                  </a:cubicBezTo>
                  <a:cubicBezTo>
                    <a:pt x="673" y="412"/>
                    <a:pt x="673" y="412"/>
                    <a:pt x="674" y="412"/>
                  </a:cubicBezTo>
                  <a:cubicBezTo>
                    <a:pt x="674" y="412"/>
                    <a:pt x="674" y="412"/>
                    <a:pt x="674" y="412"/>
                  </a:cubicBezTo>
                  <a:cubicBezTo>
                    <a:pt x="674" y="413"/>
                    <a:pt x="674" y="413"/>
                    <a:pt x="675" y="413"/>
                  </a:cubicBezTo>
                  <a:cubicBezTo>
                    <a:pt x="675" y="414"/>
                    <a:pt x="676" y="414"/>
                    <a:pt x="676" y="414"/>
                  </a:cubicBezTo>
                  <a:cubicBezTo>
                    <a:pt x="676" y="414"/>
                    <a:pt x="676" y="414"/>
                    <a:pt x="676" y="415"/>
                  </a:cubicBezTo>
                  <a:cubicBezTo>
                    <a:pt x="676" y="415"/>
                    <a:pt x="677" y="415"/>
                    <a:pt x="676" y="415"/>
                  </a:cubicBezTo>
                  <a:cubicBezTo>
                    <a:pt x="676" y="415"/>
                    <a:pt x="676" y="416"/>
                    <a:pt x="675" y="416"/>
                  </a:cubicBezTo>
                  <a:cubicBezTo>
                    <a:pt x="675" y="416"/>
                    <a:pt x="674" y="416"/>
                    <a:pt x="674" y="416"/>
                  </a:cubicBezTo>
                  <a:cubicBezTo>
                    <a:pt x="673" y="416"/>
                    <a:pt x="673" y="416"/>
                    <a:pt x="672" y="415"/>
                  </a:cubicBezTo>
                  <a:cubicBezTo>
                    <a:pt x="672" y="415"/>
                    <a:pt x="671" y="414"/>
                    <a:pt x="671" y="414"/>
                  </a:cubicBezTo>
                  <a:cubicBezTo>
                    <a:pt x="670" y="414"/>
                    <a:pt x="670" y="414"/>
                    <a:pt x="670" y="413"/>
                  </a:cubicBezTo>
                  <a:cubicBezTo>
                    <a:pt x="668" y="413"/>
                    <a:pt x="667" y="412"/>
                    <a:pt x="666" y="411"/>
                  </a:cubicBezTo>
                  <a:cubicBezTo>
                    <a:pt x="666" y="411"/>
                    <a:pt x="665" y="411"/>
                    <a:pt x="665" y="411"/>
                  </a:cubicBezTo>
                  <a:cubicBezTo>
                    <a:pt x="666" y="412"/>
                    <a:pt x="667" y="412"/>
                    <a:pt x="667" y="412"/>
                  </a:cubicBezTo>
                  <a:cubicBezTo>
                    <a:pt x="668" y="413"/>
                    <a:pt x="668" y="413"/>
                    <a:pt x="668" y="413"/>
                  </a:cubicBezTo>
                  <a:cubicBezTo>
                    <a:pt x="668" y="414"/>
                    <a:pt x="668" y="414"/>
                    <a:pt x="668" y="414"/>
                  </a:cubicBezTo>
                  <a:cubicBezTo>
                    <a:pt x="668" y="414"/>
                    <a:pt x="668" y="414"/>
                    <a:pt x="669" y="414"/>
                  </a:cubicBezTo>
                  <a:cubicBezTo>
                    <a:pt x="669" y="414"/>
                    <a:pt x="669" y="414"/>
                    <a:pt x="669" y="414"/>
                  </a:cubicBezTo>
                  <a:cubicBezTo>
                    <a:pt x="669" y="414"/>
                    <a:pt x="669" y="414"/>
                    <a:pt x="669" y="415"/>
                  </a:cubicBezTo>
                  <a:cubicBezTo>
                    <a:pt x="669" y="414"/>
                    <a:pt x="670" y="414"/>
                    <a:pt x="670" y="415"/>
                  </a:cubicBezTo>
                  <a:cubicBezTo>
                    <a:pt x="671" y="415"/>
                    <a:pt x="671" y="415"/>
                    <a:pt x="671" y="416"/>
                  </a:cubicBezTo>
                  <a:cubicBezTo>
                    <a:pt x="671" y="416"/>
                    <a:pt x="671" y="416"/>
                    <a:pt x="671" y="416"/>
                  </a:cubicBezTo>
                  <a:cubicBezTo>
                    <a:pt x="671" y="416"/>
                    <a:pt x="672" y="416"/>
                    <a:pt x="672" y="416"/>
                  </a:cubicBezTo>
                  <a:cubicBezTo>
                    <a:pt x="671" y="417"/>
                    <a:pt x="671" y="417"/>
                    <a:pt x="671" y="417"/>
                  </a:cubicBezTo>
                  <a:cubicBezTo>
                    <a:pt x="671" y="417"/>
                    <a:pt x="671" y="417"/>
                    <a:pt x="671" y="417"/>
                  </a:cubicBezTo>
                  <a:cubicBezTo>
                    <a:pt x="671" y="417"/>
                    <a:pt x="671" y="417"/>
                    <a:pt x="672" y="417"/>
                  </a:cubicBezTo>
                  <a:cubicBezTo>
                    <a:pt x="672" y="417"/>
                    <a:pt x="673" y="417"/>
                    <a:pt x="673" y="417"/>
                  </a:cubicBezTo>
                  <a:cubicBezTo>
                    <a:pt x="673" y="417"/>
                    <a:pt x="673" y="417"/>
                    <a:pt x="673" y="417"/>
                  </a:cubicBezTo>
                  <a:cubicBezTo>
                    <a:pt x="673" y="417"/>
                    <a:pt x="674" y="417"/>
                    <a:pt x="674" y="417"/>
                  </a:cubicBezTo>
                  <a:cubicBezTo>
                    <a:pt x="674" y="417"/>
                    <a:pt x="674" y="417"/>
                    <a:pt x="675" y="417"/>
                  </a:cubicBezTo>
                  <a:cubicBezTo>
                    <a:pt x="675" y="416"/>
                    <a:pt x="675" y="416"/>
                    <a:pt x="675" y="416"/>
                  </a:cubicBezTo>
                  <a:cubicBezTo>
                    <a:pt x="676" y="417"/>
                    <a:pt x="676" y="417"/>
                    <a:pt x="676" y="416"/>
                  </a:cubicBezTo>
                  <a:cubicBezTo>
                    <a:pt x="677" y="416"/>
                    <a:pt x="677" y="416"/>
                    <a:pt x="677" y="417"/>
                  </a:cubicBezTo>
                  <a:cubicBezTo>
                    <a:pt x="677" y="417"/>
                    <a:pt x="678" y="418"/>
                    <a:pt x="677" y="418"/>
                  </a:cubicBezTo>
                  <a:cubicBezTo>
                    <a:pt x="677" y="418"/>
                    <a:pt x="677" y="419"/>
                    <a:pt x="677" y="419"/>
                  </a:cubicBezTo>
                  <a:cubicBezTo>
                    <a:pt x="677" y="419"/>
                    <a:pt x="677" y="419"/>
                    <a:pt x="677" y="419"/>
                  </a:cubicBezTo>
                  <a:cubicBezTo>
                    <a:pt x="677" y="419"/>
                    <a:pt x="677" y="419"/>
                    <a:pt x="677" y="419"/>
                  </a:cubicBezTo>
                  <a:cubicBezTo>
                    <a:pt x="678" y="419"/>
                    <a:pt x="678" y="420"/>
                    <a:pt x="678" y="420"/>
                  </a:cubicBezTo>
                  <a:cubicBezTo>
                    <a:pt x="678" y="420"/>
                    <a:pt x="678" y="421"/>
                    <a:pt x="678" y="421"/>
                  </a:cubicBezTo>
                  <a:cubicBezTo>
                    <a:pt x="678" y="421"/>
                    <a:pt x="678" y="421"/>
                    <a:pt x="678" y="421"/>
                  </a:cubicBezTo>
                  <a:cubicBezTo>
                    <a:pt x="678" y="421"/>
                    <a:pt x="678" y="421"/>
                    <a:pt x="678" y="422"/>
                  </a:cubicBezTo>
                  <a:cubicBezTo>
                    <a:pt x="678" y="422"/>
                    <a:pt x="678" y="422"/>
                    <a:pt x="678" y="423"/>
                  </a:cubicBezTo>
                  <a:cubicBezTo>
                    <a:pt x="678" y="423"/>
                    <a:pt x="677" y="422"/>
                    <a:pt x="677" y="422"/>
                  </a:cubicBezTo>
                  <a:cubicBezTo>
                    <a:pt x="677" y="422"/>
                    <a:pt x="677" y="422"/>
                    <a:pt x="676" y="421"/>
                  </a:cubicBezTo>
                  <a:cubicBezTo>
                    <a:pt x="677" y="422"/>
                    <a:pt x="677" y="422"/>
                    <a:pt x="677" y="423"/>
                  </a:cubicBezTo>
                  <a:cubicBezTo>
                    <a:pt x="678" y="423"/>
                    <a:pt x="677" y="423"/>
                    <a:pt x="677" y="423"/>
                  </a:cubicBezTo>
                  <a:cubicBezTo>
                    <a:pt x="676" y="423"/>
                    <a:pt x="676" y="424"/>
                    <a:pt x="675" y="423"/>
                  </a:cubicBezTo>
                  <a:cubicBezTo>
                    <a:pt x="675" y="423"/>
                    <a:pt x="675" y="423"/>
                    <a:pt x="675" y="423"/>
                  </a:cubicBezTo>
                  <a:cubicBezTo>
                    <a:pt x="674" y="423"/>
                    <a:pt x="674" y="422"/>
                    <a:pt x="674" y="422"/>
                  </a:cubicBezTo>
                  <a:cubicBezTo>
                    <a:pt x="673" y="422"/>
                    <a:pt x="673" y="421"/>
                    <a:pt x="673" y="421"/>
                  </a:cubicBezTo>
                  <a:cubicBezTo>
                    <a:pt x="672" y="421"/>
                    <a:pt x="672" y="421"/>
                    <a:pt x="672" y="421"/>
                  </a:cubicBezTo>
                  <a:cubicBezTo>
                    <a:pt x="671" y="420"/>
                    <a:pt x="670" y="419"/>
                    <a:pt x="669" y="419"/>
                  </a:cubicBezTo>
                  <a:cubicBezTo>
                    <a:pt x="669" y="418"/>
                    <a:pt x="669" y="418"/>
                    <a:pt x="669" y="418"/>
                  </a:cubicBezTo>
                  <a:cubicBezTo>
                    <a:pt x="668" y="418"/>
                    <a:pt x="668" y="418"/>
                    <a:pt x="668" y="418"/>
                  </a:cubicBezTo>
                  <a:cubicBezTo>
                    <a:pt x="668" y="418"/>
                    <a:pt x="667" y="417"/>
                    <a:pt x="667" y="417"/>
                  </a:cubicBezTo>
                  <a:cubicBezTo>
                    <a:pt x="667" y="417"/>
                    <a:pt x="667" y="417"/>
                    <a:pt x="666" y="417"/>
                  </a:cubicBezTo>
                  <a:cubicBezTo>
                    <a:pt x="666" y="416"/>
                    <a:pt x="666" y="416"/>
                    <a:pt x="666" y="416"/>
                  </a:cubicBezTo>
                  <a:cubicBezTo>
                    <a:pt x="666" y="416"/>
                    <a:pt x="666" y="416"/>
                    <a:pt x="666" y="416"/>
                  </a:cubicBezTo>
                  <a:cubicBezTo>
                    <a:pt x="665" y="416"/>
                    <a:pt x="666" y="416"/>
                    <a:pt x="666" y="417"/>
                  </a:cubicBezTo>
                  <a:cubicBezTo>
                    <a:pt x="666" y="417"/>
                    <a:pt x="666" y="417"/>
                    <a:pt x="666" y="417"/>
                  </a:cubicBezTo>
                  <a:cubicBezTo>
                    <a:pt x="667" y="418"/>
                    <a:pt x="667" y="418"/>
                    <a:pt x="666" y="419"/>
                  </a:cubicBezTo>
                  <a:cubicBezTo>
                    <a:pt x="666" y="419"/>
                    <a:pt x="666" y="419"/>
                    <a:pt x="667" y="419"/>
                  </a:cubicBezTo>
                  <a:cubicBezTo>
                    <a:pt x="667" y="419"/>
                    <a:pt x="667" y="419"/>
                    <a:pt x="667" y="419"/>
                  </a:cubicBezTo>
                  <a:cubicBezTo>
                    <a:pt x="668" y="419"/>
                    <a:pt x="668" y="420"/>
                    <a:pt x="668" y="420"/>
                  </a:cubicBezTo>
                  <a:cubicBezTo>
                    <a:pt x="669" y="420"/>
                    <a:pt x="669" y="420"/>
                    <a:pt x="669" y="420"/>
                  </a:cubicBezTo>
                  <a:cubicBezTo>
                    <a:pt x="669" y="421"/>
                    <a:pt x="668" y="421"/>
                    <a:pt x="668" y="421"/>
                  </a:cubicBezTo>
                  <a:cubicBezTo>
                    <a:pt x="668" y="421"/>
                    <a:pt x="668" y="421"/>
                    <a:pt x="668" y="421"/>
                  </a:cubicBezTo>
                  <a:cubicBezTo>
                    <a:pt x="668" y="421"/>
                    <a:pt x="668" y="421"/>
                    <a:pt x="668" y="421"/>
                  </a:cubicBezTo>
                  <a:cubicBezTo>
                    <a:pt x="668" y="421"/>
                    <a:pt x="669" y="421"/>
                    <a:pt x="669" y="422"/>
                  </a:cubicBezTo>
                  <a:cubicBezTo>
                    <a:pt x="669" y="422"/>
                    <a:pt x="669" y="422"/>
                    <a:pt x="669" y="423"/>
                  </a:cubicBezTo>
                  <a:cubicBezTo>
                    <a:pt x="669" y="422"/>
                    <a:pt x="669" y="422"/>
                    <a:pt x="669" y="422"/>
                  </a:cubicBezTo>
                  <a:cubicBezTo>
                    <a:pt x="670" y="422"/>
                    <a:pt x="670" y="422"/>
                    <a:pt x="670" y="421"/>
                  </a:cubicBezTo>
                  <a:cubicBezTo>
                    <a:pt x="670" y="421"/>
                    <a:pt x="671" y="421"/>
                    <a:pt x="671" y="421"/>
                  </a:cubicBezTo>
                  <a:cubicBezTo>
                    <a:pt x="672" y="421"/>
                    <a:pt x="672" y="422"/>
                    <a:pt x="672" y="422"/>
                  </a:cubicBezTo>
                  <a:cubicBezTo>
                    <a:pt x="672" y="422"/>
                    <a:pt x="672" y="423"/>
                    <a:pt x="672" y="423"/>
                  </a:cubicBezTo>
                  <a:cubicBezTo>
                    <a:pt x="672" y="423"/>
                    <a:pt x="671" y="423"/>
                    <a:pt x="671" y="423"/>
                  </a:cubicBezTo>
                  <a:cubicBezTo>
                    <a:pt x="671" y="424"/>
                    <a:pt x="671" y="424"/>
                    <a:pt x="671" y="424"/>
                  </a:cubicBezTo>
                  <a:cubicBezTo>
                    <a:pt x="671" y="423"/>
                    <a:pt x="671" y="423"/>
                    <a:pt x="672" y="423"/>
                  </a:cubicBezTo>
                  <a:cubicBezTo>
                    <a:pt x="672" y="423"/>
                    <a:pt x="672" y="423"/>
                    <a:pt x="672" y="423"/>
                  </a:cubicBezTo>
                  <a:cubicBezTo>
                    <a:pt x="672" y="423"/>
                    <a:pt x="673" y="423"/>
                    <a:pt x="673" y="423"/>
                  </a:cubicBezTo>
                  <a:cubicBezTo>
                    <a:pt x="673" y="423"/>
                    <a:pt x="674" y="423"/>
                    <a:pt x="674" y="423"/>
                  </a:cubicBezTo>
                  <a:cubicBezTo>
                    <a:pt x="674" y="423"/>
                    <a:pt x="674" y="423"/>
                    <a:pt x="674" y="424"/>
                  </a:cubicBezTo>
                  <a:cubicBezTo>
                    <a:pt x="674" y="424"/>
                    <a:pt x="674" y="424"/>
                    <a:pt x="673" y="424"/>
                  </a:cubicBezTo>
                  <a:cubicBezTo>
                    <a:pt x="674" y="424"/>
                    <a:pt x="675" y="424"/>
                    <a:pt x="676" y="425"/>
                  </a:cubicBezTo>
                  <a:cubicBezTo>
                    <a:pt x="676" y="425"/>
                    <a:pt x="676" y="425"/>
                    <a:pt x="676" y="425"/>
                  </a:cubicBezTo>
                  <a:cubicBezTo>
                    <a:pt x="677" y="424"/>
                    <a:pt x="678" y="424"/>
                    <a:pt x="678" y="425"/>
                  </a:cubicBezTo>
                  <a:cubicBezTo>
                    <a:pt x="678" y="426"/>
                    <a:pt x="678" y="426"/>
                    <a:pt x="678" y="427"/>
                  </a:cubicBezTo>
                  <a:cubicBezTo>
                    <a:pt x="678" y="427"/>
                    <a:pt x="678" y="427"/>
                    <a:pt x="678" y="427"/>
                  </a:cubicBezTo>
                  <a:cubicBezTo>
                    <a:pt x="677" y="426"/>
                    <a:pt x="677" y="426"/>
                    <a:pt x="676" y="426"/>
                  </a:cubicBezTo>
                  <a:cubicBezTo>
                    <a:pt x="676" y="426"/>
                    <a:pt x="676" y="426"/>
                    <a:pt x="676" y="426"/>
                  </a:cubicBezTo>
                  <a:cubicBezTo>
                    <a:pt x="676" y="426"/>
                    <a:pt x="677" y="426"/>
                    <a:pt x="676" y="427"/>
                  </a:cubicBezTo>
                  <a:cubicBezTo>
                    <a:pt x="676" y="427"/>
                    <a:pt x="676" y="427"/>
                    <a:pt x="676" y="427"/>
                  </a:cubicBezTo>
                  <a:cubicBezTo>
                    <a:pt x="677" y="427"/>
                    <a:pt x="677" y="429"/>
                    <a:pt x="678" y="428"/>
                  </a:cubicBezTo>
                  <a:cubicBezTo>
                    <a:pt x="678" y="428"/>
                    <a:pt x="678" y="428"/>
                    <a:pt x="678" y="428"/>
                  </a:cubicBezTo>
                  <a:cubicBezTo>
                    <a:pt x="678" y="428"/>
                    <a:pt x="678" y="429"/>
                    <a:pt x="678" y="429"/>
                  </a:cubicBezTo>
                  <a:cubicBezTo>
                    <a:pt x="678" y="429"/>
                    <a:pt x="678" y="429"/>
                    <a:pt x="678" y="429"/>
                  </a:cubicBezTo>
                  <a:cubicBezTo>
                    <a:pt x="678" y="429"/>
                    <a:pt x="678" y="429"/>
                    <a:pt x="678" y="429"/>
                  </a:cubicBezTo>
                  <a:cubicBezTo>
                    <a:pt x="678" y="430"/>
                    <a:pt x="678" y="430"/>
                    <a:pt x="678" y="430"/>
                  </a:cubicBezTo>
                  <a:cubicBezTo>
                    <a:pt x="679" y="430"/>
                    <a:pt x="679" y="431"/>
                    <a:pt x="678" y="431"/>
                  </a:cubicBezTo>
                  <a:cubicBezTo>
                    <a:pt x="678" y="431"/>
                    <a:pt x="678" y="431"/>
                    <a:pt x="678" y="431"/>
                  </a:cubicBezTo>
                  <a:cubicBezTo>
                    <a:pt x="679" y="431"/>
                    <a:pt x="679" y="432"/>
                    <a:pt x="679" y="432"/>
                  </a:cubicBezTo>
                  <a:cubicBezTo>
                    <a:pt x="679" y="432"/>
                    <a:pt x="678" y="432"/>
                    <a:pt x="678" y="432"/>
                  </a:cubicBezTo>
                  <a:cubicBezTo>
                    <a:pt x="679" y="432"/>
                    <a:pt x="679" y="432"/>
                    <a:pt x="679" y="433"/>
                  </a:cubicBezTo>
                  <a:cubicBezTo>
                    <a:pt x="679" y="433"/>
                    <a:pt x="679" y="433"/>
                    <a:pt x="679" y="433"/>
                  </a:cubicBezTo>
                  <a:cubicBezTo>
                    <a:pt x="679" y="434"/>
                    <a:pt x="679" y="434"/>
                    <a:pt x="679" y="435"/>
                  </a:cubicBezTo>
                  <a:cubicBezTo>
                    <a:pt x="679" y="435"/>
                    <a:pt x="679" y="435"/>
                    <a:pt x="679" y="435"/>
                  </a:cubicBezTo>
                  <a:cubicBezTo>
                    <a:pt x="680" y="436"/>
                    <a:pt x="680" y="437"/>
                    <a:pt x="680" y="438"/>
                  </a:cubicBezTo>
                  <a:cubicBezTo>
                    <a:pt x="680" y="438"/>
                    <a:pt x="680" y="438"/>
                    <a:pt x="680" y="438"/>
                  </a:cubicBezTo>
                  <a:cubicBezTo>
                    <a:pt x="680" y="439"/>
                    <a:pt x="680" y="439"/>
                    <a:pt x="680" y="440"/>
                  </a:cubicBezTo>
                  <a:cubicBezTo>
                    <a:pt x="680" y="440"/>
                    <a:pt x="680" y="440"/>
                    <a:pt x="680" y="440"/>
                  </a:cubicBezTo>
                  <a:cubicBezTo>
                    <a:pt x="681" y="440"/>
                    <a:pt x="681" y="441"/>
                    <a:pt x="681" y="441"/>
                  </a:cubicBezTo>
                  <a:cubicBezTo>
                    <a:pt x="681" y="441"/>
                    <a:pt x="681" y="441"/>
                    <a:pt x="681" y="441"/>
                  </a:cubicBezTo>
                  <a:cubicBezTo>
                    <a:pt x="681" y="441"/>
                    <a:pt x="681" y="441"/>
                    <a:pt x="681" y="441"/>
                  </a:cubicBezTo>
                  <a:cubicBezTo>
                    <a:pt x="681" y="442"/>
                    <a:pt x="681" y="443"/>
                    <a:pt x="681" y="444"/>
                  </a:cubicBezTo>
                  <a:close/>
                  <a:moveTo>
                    <a:pt x="680" y="447"/>
                  </a:moveTo>
                  <a:cubicBezTo>
                    <a:pt x="680" y="447"/>
                    <a:pt x="680" y="447"/>
                    <a:pt x="680" y="447"/>
                  </a:cubicBezTo>
                  <a:close/>
                  <a:moveTo>
                    <a:pt x="697" y="474"/>
                  </a:moveTo>
                  <a:cubicBezTo>
                    <a:pt x="697" y="473"/>
                    <a:pt x="697" y="473"/>
                    <a:pt x="697" y="473"/>
                  </a:cubicBezTo>
                  <a:cubicBezTo>
                    <a:pt x="698" y="473"/>
                    <a:pt x="698" y="473"/>
                    <a:pt x="697" y="473"/>
                  </a:cubicBezTo>
                  <a:cubicBezTo>
                    <a:pt x="697" y="472"/>
                    <a:pt x="697" y="472"/>
                    <a:pt x="697" y="473"/>
                  </a:cubicBezTo>
                  <a:cubicBezTo>
                    <a:pt x="697" y="473"/>
                    <a:pt x="696" y="473"/>
                    <a:pt x="696" y="473"/>
                  </a:cubicBezTo>
                  <a:cubicBezTo>
                    <a:pt x="696" y="473"/>
                    <a:pt x="696" y="473"/>
                    <a:pt x="696" y="474"/>
                  </a:cubicBezTo>
                  <a:cubicBezTo>
                    <a:pt x="696" y="474"/>
                    <a:pt x="696" y="474"/>
                    <a:pt x="696" y="474"/>
                  </a:cubicBezTo>
                  <a:cubicBezTo>
                    <a:pt x="695" y="474"/>
                    <a:pt x="696" y="475"/>
                    <a:pt x="696" y="475"/>
                  </a:cubicBezTo>
                  <a:cubicBezTo>
                    <a:pt x="696" y="475"/>
                    <a:pt x="696" y="475"/>
                    <a:pt x="696" y="475"/>
                  </a:cubicBezTo>
                  <a:cubicBezTo>
                    <a:pt x="697" y="475"/>
                    <a:pt x="697" y="475"/>
                    <a:pt x="697" y="475"/>
                  </a:cubicBezTo>
                  <a:cubicBezTo>
                    <a:pt x="697" y="476"/>
                    <a:pt x="698" y="475"/>
                    <a:pt x="698" y="475"/>
                  </a:cubicBezTo>
                  <a:cubicBezTo>
                    <a:pt x="698" y="475"/>
                    <a:pt x="699" y="474"/>
                    <a:pt x="698" y="474"/>
                  </a:cubicBezTo>
                  <a:cubicBezTo>
                    <a:pt x="698" y="473"/>
                    <a:pt x="698" y="473"/>
                    <a:pt x="697" y="474"/>
                  </a:cubicBezTo>
                  <a:close/>
                  <a:moveTo>
                    <a:pt x="694" y="471"/>
                  </a:moveTo>
                  <a:cubicBezTo>
                    <a:pt x="694" y="470"/>
                    <a:pt x="694" y="471"/>
                    <a:pt x="694" y="471"/>
                  </a:cubicBezTo>
                  <a:cubicBezTo>
                    <a:pt x="694" y="471"/>
                    <a:pt x="694" y="471"/>
                    <a:pt x="693" y="471"/>
                  </a:cubicBezTo>
                  <a:cubicBezTo>
                    <a:pt x="693" y="471"/>
                    <a:pt x="693" y="472"/>
                    <a:pt x="693" y="472"/>
                  </a:cubicBezTo>
                  <a:cubicBezTo>
                    <a:pt x="694" y="472"/>
                    <a:pt x="693" y="473"/>
                    <a:pt x="693" y="473"/>
                  </a:cubicBezTo>
                  <a:cubicBezTo>
                    <a:pt x="693" y="474"/>
                    <a:pt x="693" y="474"/>
                    <a:pt x="694" y="475"/>
                  </a:cubicBezTo>
                  <a:cubicBezTo>
                    <a:pt x="694" y="474"/>
                    <a:pt x="694" y="473"/>
                    <a:pt x="694" y="472"/>
                  </a:cubicBezTo>
                  <a:cubicBezTo>
                    <a:pt x="695" y="472"/>
                    <a:pt x="695" y="472"/>
                    <a:pt x="695" y="471"/>
                  </a:cubicBezTo>
                  <a:cubicBezTo>
                    <a:pt x="695" y="472"/>
                    <a:pt x="696" y="472"/>
                    <a:pt x="696" y="471"/>
                  </a:cubicBezTo>
                  <a:cubicBezTo>
                    <a:pt x="695" y="470"/>
                    <a:pt x="695" y="471"/>
                    <a:pt x="694" y="471"/>
                  </a:cubicBezTo>
                  <a:close/>
                  <a:moveTo>
                    <a:pt x="706" y="484"/>
                  </a:moveTo>
                  <a:cubicBezTo>
                    <a:pt x="706" y="484"/>
                    <a:pt x="705" y="484"/>
                    <a:pt x="706" y="483"/>
                  </a:cubicBezTo>
                  <a:cubicBezTo>
                    <a:pt x="706" y="483"/>
                    <a:pt x="706" y="483"/>
                    <a:pt x="706" y="483"/>
                  </a:cubicBezTo>
                  <a:cubicBezTo>
                    <a:pt x="706" y="483"/>
                    <a:pt x="706" y="482"/>
                    <a:pt x="706" y="482"/>
                  </a:cubicBezTo>
                  <a:cubicBezTo>
                    <a:pt x="706" y="483"/>
                    <a:pt x="706" y="481"/>
                    <a:pt x="705" y="482"/>
                  </a:cubicBezTo>
                  <a:cubicBezTo>
                    <a:pt x="705" y="482"/>
                    <a:pt x="705" y="482"/>
                    <a:pt x="705" y="482"/>
                  </a:cubicBezTo>
                  <a:cubicBezTo>
                    <a:pt x="705" y="481"/>
                    <a:pt x="704" y="481"/>
                    <a:pt x="704" y="482"/>
                  </a:cubicBezTo>
                  <a:cubicBezTo>
                    <a:pt x="704" y="482"/>
                    <a:pt x="704" y="483"/>
                    <a:pt x="704" y="483"/>
                  </a:cubicBezTo>
                  <a:cubicBezTo>
                    <a:pt x="705" y="484"/>
                    <a:pt x="706" y="484"/>
                    <a:pt x="706" y="485"/>
                  </a:cubicBezTo>
                  <a:cubicBezTo>
                    <a:pt x="706" y="485"/>
                    <a:pt x="706" y="486"/>
                    <a:pt x="706" y="485"/>
                  </a:cubicBezTo>
                  <a:cubicBezTo>
                    <a:pt x="706" y="485"/>
                    <a:pt x="707" y="485"/>
                    <a:pt x="706" y="485"/>
                  </a:cubicBezTo>
                  <a:cubicBezTo>
                    <a:pt x="706" y="484"/>
                    <a:pt x="706" y="484"/>
                    <a:pt x="706" y="484"/>
                  </a:cubicBezTo>
                  <a:close/>
                  <a:moveTo>
                    <a:pt x="694" y="469"/>
                  </a:moveTo>
                  <a:cubicBezTo>
                    <a:pt x="694" y="469"/>
                    <a:pt x="694" y="469"/>
                    <a:pt x="694" y="469"/>
                  </a:cubicBezTo>
                  <a:cubicBezTo>
                    <a:pt x="694" y="468"/>
                    <a:pt x="694" y="468"/>
                    <a:pt x="694" y="468"/>
                  </a:cubicBezTo>
                  <a:cubicBezTo>
                    <a:pt x="693" y="468"/>
                    <a:pt x="693" y="468"/>
                    <a:pt x="692" y="468"/>
                  </a:cubicBezTo>
                  <a:cubicBezTo>
                    <a:pt x="692" y="468"/>
                    <a:pt x="692" y="468"/>
                    <a:pt x="692" y="468"/>
                  </a:cubicBezTo>
                  <a:cubicBezTo>
                    <a:pt x="692" y="468"/>
                    <a:pt x="692" y="468"/>
                    <a:pt x="692" y="468"/>
                  </a:cubicBezTo>
                  <a:cubicBezTo>
                    <a:pt x="692" y="468"/>
                    <a:pt x="692" y="468"/>
                    <a:pt x="692" y="468"/>
                  </a:cubicBezTo>
                  <a:cubicBezTo>
                    <a:pt x="692" y="469"/>
                    <a:pt x="692" y="469"/>
                    <a:pt x="691" y="470"/>
                  </a:cubicBezTo>
                  <a:cubicBezTo>
                    <a:pt x="692" y="470"/>
                    <a:pt x="692" y="469"/>
                    <a:pt x="692" y="470"/>
                  </a:cubicBezTo>
                  <a:cubicBezTo>
                    <a:pt x="693" y="470"/>
                    <a:pt x="693" y="470"/>
                    <a:pt x="694" y="469"/>
                  </a:cubicBezTo>
                  <a:close/>
                  <a:moveTo>
                    <a:pt x="696" y="467"/>
                  </a:moveTo>
                  <a:cubicBezTo>
                    <a:pt x="696" y="467"/>
                    <a:pt x="696" y="467"/>
                    <a:pt x="696" y="468"/>
                  </a:cubicBezTo>
                  <a:cubicBezTo>
                    <a:pt x="696" y="468"/>
                    <a:pt x="696" y="468"/>
                    <a:pt x="696" y="468"/>
                  </a:cubicBezTo>
                  <a:cubicBezTo>
                    <a:pt x="696" y="469"/>
                    <a:pt x="696" y="469"/>
                    <a:pt x="697" y="470"/>
                  </a:cubicBezTo>
                  <a:cubicBezTo>
                    <a:pt x="697" y="470"/>
                    <a:pt x="697" y="470"/>
                    <a:pt x="697" y="470"/>
                  </a:cubicBezTo>
                  <a:cubicBezTo>
                    <a:pt x="698" y="469"/>
                    <a:pt x="698" y="469"/>
                    <a:pt x="698" y="468"/>
                  </a:cubicBezTo>
                  <a:cubicBezTo>
                    <a:pt x="698" y="468"/>
                    <a:pt x="697" y="467"/>
                    <a:pt x="696" y="467"/>
                  </a:cubicBezTo>
                  <a:close/>
                  <a:moveTo>
                    <a:pt x="671" y="429"/>
                  </a:moveTo>
                  <a:cubicBezTo>
                    <a:pt x="671" y="429"/>
                    <a:pt x="671" y="429"/>
                    <a:pt x="671" y="428"/>
                  </a:cubicBezTo>
                  <a:cubicBezTo>
                    <a:pt x="670" y="428"/>
                    <a:pt x="670" y="428"/>
                    <a:pt x="670" y="429"/>
                  </a:cubicBezTo>
                  <a:cubicBezTo>
                    <a:pt x="670" y="429"/>
                    <a:pt x="669" y="429"/>
                    <a:pt x="669" y="429"/>
                  </a:cubicBezTo>
                  <a:cubicBezTo>
                    <a:pt x="669" y="429"/>
                    <a:pt x="669" y="430"/>
                    <a:pt x="669" y="430"/>
                  </a:cubicBezTo>
                  <a:cubicBezTo>
                    <a:pt x="669" y="431"/>
                    <a:pt x="669" y="431"/>
                    <a:pt x="669" y="431"/>
                  </a:cubicBezTo>
                  <a:cubicBezTo>
                    <a:pt x="669" y="431"/>
                    <a:pt x="670" y="431"/>
                    <a:pt x="670" y="431"/>
                  </a:cubicBezTo>
                  <a:cubicBezTo>
                    <a:pt x="670" y="430"/>
                    <a:pt x="670" y="430"/>
                    <a:pt x="670" y="430"/>
                  </a:cubicBezTo>
                  <a:cubicBezTo>
                    <a:pt x="670" y="430"/>
                    <a:pt x="670" y="430"/>
                    <a:pt x="671" y="430"/>
                  </a:cubicBezTo>
                  <a:cubicBezTo>
                    <a:pt x="671" y="430"/>
                    <a:pt x="671" y="429"/>
                    <a:pt x="671" y="429"/>
                  </a:cubicBezTo>
                  <a:close/>
                  <a:moveTo>
                    <a:pt x="698" y="462"/>
                  </a:moveTo>
                  <a:cubicBezTo>
                    <a:pt x="698" y="462"/>
                    <a:pt x="698" y="462"/>
                    <a:pt x="698" y="462"/>
                  </a:cubicBezTo>
                  <a:cubicBezTo>
                    <a:pt x="699" y="462"/>
                    <a:pt x="699" y="462"/>
                    <a:pt x="699" y="461"/>
                  </a:cubicBezTo>
                  <a:cubicBezTo>
                    <a:pt x="699" y="461"/>
                    <a:pt x="699" y="461"/>
                    <a:pt x="699" y="461"/>
                  </a:cubicBezTo>
                  <a:cubicBezTo>
                    <a:pt x="699" y="460"/>
                    <a:pt x="698" y="460"/>
                    <a:pt x="698" y="460"/>
                  </a:cubicBezTo>
                  <a:cubicBezTo>
                    <a:pt x="698" y="461"/>
                    <a:pt x="698" y="460"/>
                    <a:pt x="698" y="460"/>
                  </a:cubicBezTo>
                  <a:cubicBezTo>
                    <a:pt x="698" y="460"/>
                    <a:pt x="698" y="460"/>
                    <a:pt x="698" y="460"/>
                  </a:cubicBezTo>
                  <a:cubicBezTo>
                    <a:pt x="697" y="460"/>
                    <a:pt x="697" y="461"/>
                    <a:pt x="698" y="462"/>
                  </a:cubicBezTo>
                  <a:close/>
                  <a:moveTo>
                    <a:pt x="687" y="459"/>
                  </a:moveTo>
                  <a:cubicBezTo>
                    <a:pt x="686" y="459"/>
                    <a:pt x="686" y="460"/>
                    <a:pt x="686" y="460"/>
                  </a:cubicBezTo>
                  <a:cubicBezTo>
                    <a:pt x="686" y="460"/>
                    <a:pt x="686" y="460"/>
                    <a:pt x="686" y="460"/>
                  </a:cubicBezTo>
                  <a:cubicBezTo>
                    <a:pt x="685" y="459"/>
                    <a:pt x="685" y="459"/>
                    <a:pt x="685" y="459"/>
                  </a:cubicBezTo>
                  <a:cubicBezTo>
                    <a:pt x="685" y="460"/>
                    <a:pt x="685" y="459"/>
                    <a:pt x="684" y="459"/>
                  </a:cubicBezTo>
                  <a:cubicBezTo>
                    <a:pt x="684" y="460"/>
                    <a:pt x="684" y="460"/>
                    <a:pt x="685" y="460"/>
                  </a:cubicBezTo>
                  <a:cubicBezTo>
                    <a:pt x="685" y="460"/>
                    <a:pt x="685" y="461"/>
                    <a:pt x="684" y="461"/>
                  </a:cubicBezTo>
                  <a:cubicBezTo>
                    <a:pt x="685" y="461"/>
                    <a:pt x="685" y="461"/>
                    <a:pt x="685" y="461"/>
                  </a:cubicBezTo>
                  <a:cubicBezTo>
                    <a:pt x="686" y="461"/>
                    <a:pt x="686" y="460"/>
                    <a:pt x="687" y="460"/>
                  </a:cubicBezTo>
                  <a:cubicBezTo>
                    <a:pt x="687" y="460"/>
                    <a:pt x="687" y="459"/>
                    <a:pt x="687" y="459"/>
                  </a:cubicBezTo>
                  <a:cubicBezTo>
                    <a:pt x="687" y="459"/>
                    <a:pt x="687" y="459"/>
                    <a:pt x="687" y="459"/>
                  </a:cubicBezTo>
                  <a:close/>
                  <a:moveTo>
                    <a:pt x="694" y="470"/>
                  </a:moveTo>
                  <a:cubicBezTo>
                    <a:pt x="694" y="470"/>
                    <a:pt x="694" y="470"/>
                    <a:pt x="695" y="470"/>
                  </a:cubicBezTo>
                  <a:cubicBezTo>
                    <a:pt x="695" y="470"/>
                    <a:pt x="695" y="470"/>
                    <a:pt x="695" y="470"/>
                  </a:cubicBezTo>
                  <a:cubicBezTo>
                    <a:pt x="696" y="470"/>
                    <a:pt x="696" y="470"/>
                    <a:pt x="696" y="470"/>
                  </a:cubicBezTo>
                  <a:cubicBezTo>
                    <a:pt x="696" y="469"/>
                    <a:pt x="696" y="468"/>
                    <a:pt x="695" y="468"/>
                  </a:cubicBezTo>
                  <a:cubicBezTo>
                    <a:pt x="695" y="468"/>
                    <a:pt x="695" y="469"/>
                    <a:pt x="695" y="469"/>
                  </a:cubicBezTo>
                  <a:cubicBezTo>
                    <a:pt x="694" y="469"/>
                    <a:pt x="694" y="469"/>
                    <a:pt x="694" y="469"/>
                  </a:cubicBezTo>
                  <a:cubicBezTo>
                    <a:pt x="694" y="470"/>
                    <a:pt x="694" y="470"/>
                    <a:pt x="694" y="470"/>
                  </a:cubicBezTo>
                  <a:close/>
                  <a:moveTo>
                    <a:pt x="690" y="459"/>
                  </a:moveTo>
                  <a:cubicBezTo>
                    <a:pt x="690" y="459"/>
                    <a:pt x="690" y="459"/>
                    <a:pt x="690" y="460"/>
                  </a:cubicBezTo>
                  <a:cubicBezTo>
                    <a:pt x="690" y="460"/>
                    <a:pt x="690" y="460"/>
                    <a:pt x="690" y="461"/>
                  </a:cubicBezTo>
                  <a:cubicBezTo>
                    <a:pt x="690" y="461"/>
                    <a:pt x="690" y="461"/>
                    <a:pt x="690" y="461"/>
                  </a:cubicBezTo>
                  <a:cubicBezTo>
                    <a:pt x="691" y="461"/>
                    <a:pt x="691" y="461"/>
                    <a:pt x="691" y="461"/>
                  </a:cubicBezTo>
                  <a:cubicBezTo>
                    <a:pt x="691" y="460"/>
                    <a:pt x="690" y="460"/>
                    <a:pt x="691" y="460"/>
                  </a:cubicBezTo>
                  <a:cubicBezTo>
                    <a:pt x="691" y="460"/>
                    <a:pt x="691" y="459"/>
                    <a:pt x="691" y="459"/>
                  </a:cubicBezTo>
                  <a:cubicBezTo>
                    <a:pt x="690" y="459"/>
                    <a:pt x="690" y="459"/>
                    <a:pt x="690" y="459"/>
                  </a:cubicBezTo>
                  <a:close/>
                  <a:moveTo>
                    <a:pt x="662" y="404"/>
                  </a:moveTo>
                  <a:cubicBezTo>
                    <a:pt x="663" y="404"/>
                    <a:pt x="663" y="404"/>
                    <a:pt x="663" y="403"/>
                  </a:cubicBezTo>
                  <a:cubicBezTo>
                    <a:pt x="663" y="403"/>
                    <a:pt x="663" y="403"/>
                    <a:pt x="663" y="403"/>
                  </a:cubicBezTo>
                  <a:cubicBezTo>
                    <a:pt x="662" y="403"/>
                    <a:pt x="661" y="404"/>
                    <a:pt x="661" y="404"/>
                  </a:cubicBezTo>
                  <a:cubicBezTo>
                    <a:pt x="662" y="404"/>
                    <a:pt x="662" y="404"/>
                    <a:pt x="662" y="404"/>
                  </a:cubicBezTo>
                  <a:close/>
                  <a:moveTo>
                    <a:pt x="701" y="455"/>
                  </a:moveTo>
                  <a:cubicBezTo>
                    <a:pt x="701" y="455"/>
                    <a:pt x="701" y="455"/>
                    <a:pt x="701" y="455"/>
                  </a:cubicBezTo>
                  <a:cubicBezTo>
                    <a:pt x="701" y="456"/>
                    <a:pt x="701" y="456"/>
                    <a:pt x="701" y="456"/>
                  </a:cubicBezTo>
                  <a:cubicBezTo>
                    <a:pt x="702" y="456"/>
                    <a:pt x="702" y="456"/>
                    <a:pt x="702" y="456"/>
                  </a:cubicBezTo>
                  <a:cubicBezTo>
                    <a:pt x="702" y="455"/>
                    <a:pt x="702" y="455"/>
                    <a:pt x="701" y="455"/>
                  </a:cubicBezTo>
                  <a:close/>
                  <a:moveTo>
                    <a:pt x="667" y="418"/>
                  </a:moveTo>
                  <a:cubicBezTo>
                    <a:pt x="667" y="418"/>
                    <a:pt x="668" y="419"/>
                    <a:pt x="668" y="419"/>
                  </a:cubicBezTo>
                  <a:cubicBezTo>
                    <a:pt x="668" y="419"/>
                    <a:pt x="668" y="419"/>
                    <a:pt x="668" y="419"/>
                  </a:cubicBezTo>
                  <a:cubicBezTo>
                    <a:pt x="668" y="418"/>
                    <a:pt x="667" y="418"/>
                    <a:pt x="667" y="418"/>
                  </a:cubicBezTo>
                  <a:cubicBezTo>
                    <a:pt x="667" y="418"/>
                    <a:pt x="667" y="418"/>
                    <a:pt x="667" y="418"/>
                  </a:cubicBezTo>
                  <a:close/>
                  <a:moveTo>
                    <a:pt x="714" y="484"/>
                  </a:moveTo>
                  <a:cubicBezTo>
                    <a:pt x="714" y="484"/>
                    <a:pt x="714" y="484"/>
                    <a:pt x="715" y="483"/>
                  </a:cubicBezTo>
                  <a:cubicBezTo>
                    <a:pt x="715" y="483"/>
                    <a:pt x="714" y="483"/>
                    <a:pt x="714" y="483"/>
                  </a:cubicBezTo>
                  <a:cubicBezTo>
                    <a:pt x="713" y="483"/>
                    <a:pt x="713" y="483"/>
                    <a:pt x="713" y="482"/>
                  </a:cubicBezTo>
                  <a:cubicBezTo>
                    <a:pt x="714" y="482"/>
                    <a:pt x="714" y="482"/>
                    <a:pt x="715" y="481"/>
                  </a:cubicBezTo>
                  <a:cubicBezTo>
                    <a:pt x="715" y="481"/>
                    <a:pt x="715" y="480"/>
                    <a:pt x="714" y="481"/>
                  </a:cubicBezTo>
                  <a:cubicBezTo>
                    <a:pt x="714" y="481"/>
                    <a:pt x="714" y="481"/>
                    <a:pt x="714" y="481"/>
                  </a:cubicBezTo>
                  <a:cubicBezTo>
                    <a:pt x="714" y="481"/>
                    <a:pt x="714" y="480"/>
                    <a:pt x="714" y="480"/>
                  </a:cubicBezTo>
                  <a:cubicBezTo>
                    <a:pt x="715" y="480"/>
                    <a:pt x="714" y="480"/>
                    <a:pt x="714" y="480"/>
                  </a:cubicBezTo>
                  <a:cubicBezTo>
                    <a:pt x="714" y="479"/>
                    <a:pt x="714" y="479"/>
                    <a:pt x="714" y="480"/>
                  </a:cubicBezTo>
                  <a:cubicBezTo>
                    <a:pt x="713" y="480"/>
                    <a:pt x="713" y="480"/>
                    <a:pt x="713" y="480"/>
                  </a:cubicBezTo>
                  <a:cubicBezTo>
                    <a:pt x="713" y="481"/>
                    <a:pt x="712" y="481"/>
                    <a:pt x="712" y="481"/>
                  </a:cubicBezTo>
                  <a:cubicBezTo>
                    <a:pt x="712" y="481"/>
                    <a:pt x="712" y="481"/>
                    <a:pt x="712" y="481"/>
                  </a:cubicBezTo>
                  <a:cubicBezTo>
                    <a:pt x="712" y="480"/>
                    <a:pt x="712" y="480"/>
                    <a:pt x="712" y="480"/>
                  </a:cubicBezTo>
                  <a:cubicBezTo>
                    <a:pt x="711" y="480"/>
                    <a:pt x="711" y="480"/>
                    <a:pt x="711" y="480"/>
                  </a:cubicBezTo>
                  <a:cubicBezTo>
                    <a:pt x="712" y="480"/>
                    <a:pt x="712" y="480"/>
                    <a:pt x="713" y="479"/>
                  </a:cubicBezTo>
                  <a:cubicBezTo>
                    <a:pt x="713" y="479"/>
                    <a:pt x="713" y="479"/>
                    <a:pt x="713" y="478"/>
                  </a:cubicBezTo>
                  <a:cubicBezTo>
                    <a:pt x="713" y="478"/>
                    <a:pt x="713" y="478"/>
                    <a:pt x="713" y="477"/>
                  </a:cubicBezTo>
                  <a:cubicBezTo>
                    <a:pt x="713" y="477"/>
                    <a:pt x="713" y="478"/>
                    <a:pt x="713" y="478"/>
                  </a:cubicBezTo>
                  <a:cubicBezTo>
                    <a:pt x="713" y="478"/>
                    <a:pt x="714" y="478"/>
                    <a:pt x="714" y="478"/>
                  </a:cubicBezTo>
                  <a:cubicBezTo>
                    <a:pt x="714" y="478"/>
                    <a:pt x="714" y="478"/>
                    <a:pt x="714" y="478"/>
                  </a:cubicBezTo>
                  <a:cubicBezTo>
                    <a:pt x="714" y="477"/>
                    <a:pt x="714" y="478"/>
                    <a:pt x="714" y="477"/>
                  </a:cubicBezTo>
                  <a:cubicBezTo>
                    <a:pt x="714" y="477"/>
                    <a:pt x="714" y="477"/>
                    <a:pt x="714" y="477"/>
                  </a:cubicBezTo>
                  <a:cubicBezTo>
                    <a:pt x="715" y="476"/>
                    <a:pt x="715" y="475"/>
                    <a:pt x="714" y="474"/>
                  </a:cubicBezTo>
                  <a:cubicBezTo>
                    <a:pt x="714" y="474"/>
                    <a:pt x="714" y="474"/>
                    <a:pt x="714" y="474"/>
                  </a:cubicBezTo>
                  <a:cubicBezTo>
                    <a:pt x="714" y="474"/>
                    <a:pt x="714" y="474"/>
                    <a:pt x="714" y="474"/>
                  </a:cubicBezTo>
                  <a:cubicBezTo>
                    <a:pt x="713" y="475"/>
                    <a:pt x="713" y="476"/>
                    <a:pt x="712" y="476"/>
                  </a:cubicBezTo>
                  <a:cubicBezTo>
                    <a:pt x="712" y="475"/>
                    <a:pt x="712" y="475"/>
                    <a:pt x="711" y="475"/>
                  </a:cubicBezTo>
                  <a:cubicBezTo>
                    <a:pt x="711" y="475"/>
                    <a:pt x="711" y="475"/>
                    <a:pt x="711" y="475"/>
                  </a:cubicBezTo>
                  <a:cubicBezTo>
                    <a:pt x="711" y="475"/>
                    <a:pt x="711" y="475"/>
                    <a:pt x="711" y="475"/>
                  </a:cubicBezTo>
                  <a:cubicBezTo>
                    <a:pt x="710" y="476"/>
                    <a:pt x="710" y="476"/>
                    <a:pt x="710" y="477"/>
                  </a:cubicBezTo>
                  <a:cubicBezTo>
                    <a:pt x="710" y="476"/>
                    <a:pt x="710" y="476"/>
                    <a:pt x="710" y="476"/>
                  </a:cubicBezTo>
                  <a:cubicBezTo>
                    <a:pt x="710" y="476"/>
                    <a:pt x="710" y="475"/>
                    <a:pt x="710" y="475"/>
                  </a:cubicBezTo>
                  <a:cubicBezTo>
                    <a:pt x="711" y="475"/>
                    <a:pt x="711" y="475"/>
                    <a:pt x="710" y="474"/>
                  </a:cubicBezTo>
                  <a:cubicBezTo>
                    <a:pt x="711" y="474"/>
                    <a:pt x="711" y="474"/>
                    <a:pt x="711" y="474"/>
                  </a:cubicBezTo>
                  <a:cubicBezTo>
                    <a:pt x="712" y="475"/>
                    <a:pt x="712" y="475"/>
                    <a:pt x="713" y="474"/>
                  </a:cubicBezTo>
                  <a:cubicBezTo>
                    <a:pt x="713" y="474"/>
                    <a:pt x="713" y="474"/>
                    <a:pt x="713" y="473"/>
                  </a:cubicBezTo>
                  <a:cubicBezTo>
                    <a:pt x="713" y="473"/>
                    <a:pt x="712" y="474"/>
                    <a:pt x="712" y="473"/>
                  </a:cubicBezTo>
                  <a:cubicBezTo>
                    <a:pt x="713" y="472"/>
                    <a:pt x="712" y="472"/>
                    <a:pt x="712" y="472"/>
                  </a:cubicBezTo>
                  <a:cubicBezTo>
                    <a:pt x="711" y="471"/>
                    <a:pt x="711" y="471"/>
                    <a:pt x="711" y="471"/>
                  </a:cubicBezTo>
                  <a:cubicBezTo>
                    <a:pt x="711" y="471"/>
                    <a:pt x="710" y="471"/>
                    <a:pt x="710" y="471"/>
                  </a:cubicBezTo>
                  <a:cubicBezTo>
                    <a:pt x="710" y="471"/>
                    <a:pt x="710" y="471"/>
                    <a:pt x="710" y="471"/>
                  </a:cubicBezTo>
                  <a:cubicBezTo>
                    <a:pt x="710" y="472"/>
                    <a:pt x="710" y="472"/>
                    <a:pt x="710" y="473"/>
                  </a:cubicBezTo>
                  <a:cubicBezTo>
                    <a:pt x="710" y="472"/>
                    <a:pt x="710" y="472"/>
                    <a:pt x="709" y="471"/>
                  </a:cubicBezTo>
                  <a:cubicBezTo>
                    <a:pt x="710" y="471"/>
                    <a:pt x="709" y="471"/>
                    <a:pt x="709" y="471"/>
                  </a:cubicBezTo>
                  <a:cubicBezTo>
                    <a:pt x="709" y="470"/>
                    <a:pt x="709" y="471"/>
                    <a:pt x="709" y="470"/>
                  </a:cubicBezTo>
                  <a:cubicBezTo>
                    <a:pt x="710" y="470"/>
                    <a:pt x="710" y="470"/>
                    <a:pt x="711" y="470"/>
                  </a:cubicBezTo>
                  <a:cubicBezTo>
                    <a:pt x="710" y="470"/>
                    <a:pt x="710" y="469"/>
                    <a:pt x="710" y="469"/>
                  </a:cubicBezTo>
                  <a:cubicBezTo>
                    <a:pt x="709" y="469"/>
                    <a:pt x="709" y="469"/>
                    <a:pt x="709" y="469"/>
                  </a:cubicBezTo>
                  <a:cubicBezTo>
                    <a:pt x="709" y="469"/>
                    <a:pt x="709" y="468"/>
                    <a:pt x="709" y="469"/>
                  </a:cubicBezTo>
                  <a:cubicBezTo>
                    <a:pt x="709" y="469"/>
                    <a:pt x="708" y="469"/>
                    <a:pt x="708" y="469"/>
                  </a:cubicBezTo>
                  <a:cubicBezTo>
                    <a:pt x="708" y="469"/>
                    <a:pt x="707" y="469"/>
                    <a:pt x="707" y="469"/>
                  </a:cubicBezTo>
                  <a:cubicBezTo>
                    <a:pt x="707" y="470"/>
                    <a:pt x="706" y="470"/>
                    <a:pt x="706" y="470"/>
                  </a:cubicBezTo>
                  <a:cubicBezTo>
                    <a:pt x="706" y="470"/>
                    <a:pt x="706" y="469"/>
                    <a:pt x="706" y="469"/>
                  </a:cubicBezTo>
                  <a:cubicBezTo>
                    <a:pt x="707" y="469"/>
                    <a:pt x="707" y="469"/>
                    <a:pt x="707" y="469"/>
                  </a:cubicBezTo>
                  <a:cubicBezTo>
                    <a:pt x="707" y="469"/>
                    <a:pt x="707" y="468"/>
                    <a:pt x="707" y="468"/>
                  </a:cubicBezTo>
                  <a:cubicBezTo>
                    <a:pt x="707" y="468"/>
                    <a:pt x="708" y="468"/>
                    <a:pt x="707" y="467"/>
                  </a:cubicBezTo>
                  <a:cubicBezTo>
                    <a:pt x="707" y="467"/>
                    <a:pt x="707" y="467"/>
                    <a:pt x="707" y="467"/>
                  </a:cubicBezTo>
                  <a:cubicBezTo>
                    <a:pt x="707" y="466"/>
                    <a:pt x="708" y="466"/>
                    <a:pt x="708" y="467"/>
                  </a:cubicBezTo>
                  <a:cubicBezTo>
                    <a:pt x="708" y="467"/>
                    <a:pt x="708" y="467"/>
                    <a:pt x="708" y="467"/>
                  </a:cubicBezTo>
                  <a:cubicBezTo>
                    <a:pt x="708" y="467"/>
                    <a:pt x="709" y="468"/>
                    <a:pt x="709" y="468"/>
                  </a:cubicBezTo>
                  <a:cubicBezTo>
                    <a:pt x="710" y="468"/>
                    <a:pt x="711" y="469"/>
                    <a:pt x="712" y="470"/>
                  </a:cubicBezTo>
                  <a:cubicBezTo>
                    <a:pt x="712" y="470"/>
                    <a:pt x="712" y="470"/>
                    <a:pt x="712" y="470"/>
                  </a:cubicBezTo>
                  <a:cubicBezTo>
                    <a:pt x="712" y="470"/>
                    <a:pt x="712" y="469"/>
                    <a:pt x="712" y="469"/>
                  </a:cubicBezTo>
                  <a:cubicBezTo>
                    <a:pt x="712" y="469"/>
                    <a:pt x="712" y="469"/>
                    <a:pt x="712" y="468"/>
                  </a:cubicBezTo>
                  <a:cubicBezTo>
                    <a:pt x="711" y="468"/>
                    <a:pt x="710" y="467"/>
                    <a:pt x="710" y="467"/>
                  </a:cubicBezTo>
                  <a:cubicBezTo>
                    <a:pt x="710" y="466"/>
                    <a:pt x="710" y="466"/>
                    <a:pt x="710" y="466"/>
                  </a:cubicBezTo>
                  <a:cubicBezTo>
                    <a:pt x="710" y="465"/>
                    <a:pt x="710" y="465"/>
                    <a:pt x="709" y="465"/>
                  </a:cubicBezTo>
                  <a:cubicBezTo>
                    <a:pt x="709" y="465"/>
                    <a:pt x="709" y="465"/>
                    <a:pt x="709" y="466"/>
                  </a:cubicBezTo>
                  <a:cubicBezTo>
                    <a:pt x="709" y="466"/>
                    <a:pt x="709" y="466"/>
                    <a:pt x="708" y="466"/>
                  </a:cubicBezTo>
                  <a:cubicBezTo>
                    <a:pt x="709" y="465"/>
                    <a:pt x="708" y="465"/>
                    <a:pt x="708" y="465"/>
                  </a:cubicBezTo>
                  <a:cubicBezTo>
                    <a:pt x="708" y="465"/>
                    <a:pt x="709" y="465"/>
                    <a:pt x="708" y="464"/>
                  </a:cubicBezTo>
                  <a:cubicBezTo>
                    <a:pt x="708" y="464"/>
                    <a:pt x="708" y="464"/>
                    <a:pt x="708" y="464"/>
                  </a:cubicBezTo>
                  <a:cubicBezTo>
                    <a:pt x="709" y="464"/>
                    <a:pt x="708" y="464"/>
                    <a:pt x="708" y="463"/>
                  </a:cubicBezTo>
                  <a:cubicBezTo>
                    <a:pt x="708" y="463"/>
                    <a:pt x="708" y="463"/>
                    <a:pt x="708" y="463"/>
                  </a:cubicBezTo>
                  <a:cubicBezTo>
                    <a:pt x="709" y="462"/>
                    <a:pt x="708" y="462"/>
                    <a:pt x="708" y="462"/>
                  </a:cubicBezTo>
                  <a:cubicBezTo>
                    <a:pt x="707" y="461"/>
                    <a:pt x="707" y="460"/>
                    <a:pt x="707" y="460"/>
                  </a:cubicBezTo>
                  <a:cubicBezTo>
                    <a:pt x="706" y="460"/>
                    <a:pt x="706" y="460"/>
                    <a:pt x="706" y="460"/>
                  </a:cubicBezTo>
                  <a:cubicBezTo>
                    <a:pt x="707" y="459"/>
                    <a:pt x="706" y="459"/>
                    <a:pt x="706" y="459"/>
                  </a:cubicBezTo>
                  <a:cubicBezTo>
                    <a:pt x="706" y="459"/>
                    <a:pt x="705" y="459"/>
                    <a:pt x="705" y="458"/>
                  </a:cubicBezTo>
                  <a:cubicBezTo>
                    <a:pt x="705" y="458"/>
                    <a:pt x="704" y="457"/>
                    <a:pt x="704" y="457"/>
                  </a:cubicBezTo>
                  <a:cubicBezTo>
                    <a:pt x="703" y="457"/>
                    <a:pt x="702" y="457"/>
                    <a:pt x="702" y="456"/>
                  </a:cubicBezTo>
                  <a:cubicBezTo>
                    <a:pt x="702" y="457"/>
                    <a:pt x="701" y="456"/>
                    <a:pt x="701" y="457"/>
                  </a:cubicBezTo>
                  <a:cubicBezTo>
                    <a:pt x="701" y="457"/>
                    <a:pt x="700" y="457"/>
                    <a:pt x="700" y="456"/>
                  </a:cubicBezTo>
                  <a:cubicBezTo>
                    <a:pt x="700" y="456"/>
                    <a:pt x="700" y="455"/>
                    <a:pt x="700" y="454"/>
                  </a:cubicBezTo>
                  <a:cubicBezTo>
                    <a:pt x="700" y="455"/>
                    <a:pt x="700" y="455"/>
                    <a:pt x="701" y="454"/>
                  </a:cubicBezTo>
                  <a:cubicBezTo>
                    <a:pt x="701" y="454"/>
                    <a:pt x="701" y="453"/>
                    <a:pt x="701" y="453"/>
                  </a:cubicBezTo>
                  <a:cubicBezTo>
                    <a:pt x="700" y="453"/>
                    <a:pt x="701" y="453"/>
                    <a:pt x="701" y="453"/>
                  </a:cubicBezTo>
                  <a:cubicBezTo>
                    <a:pt x="701" y="452"/>
                    <a:pt x="701" y="452"/>
                    <a:pt x="700" y="452"/>
                  </a:cubicBezTo>
                  <a:cubicBezTo>
                    <a:pt x="700" y="452"/>
                    <a:pt x="700" y="451"/>
                    <a:pt x="700" y="450"/>
                  </a:cubicBezTo>
                  <a:cubicBezTo>
                    <a:pt x="700" y="450"/>
                    <a:pt x="699" y="450"/>
                    <a:pt x="699" y="450"/>
                  </a:cubicBezTo>
                  <a:cubicBezTo>
                    <a:pt x="699" y="450"/>
                    <a:pt x="699" y="450"/>
                    <a:pt x="698" y="450"/>
                  </a:cubicBezTo>
                  <a:cubicBezTo>
                    <a:pt x="698" y="450"/>
                    <a:pt x="698" y="450"/>
                    <a:pt x="698" y="450"/>
                  </a:cubicBezTo>
                  <a:cubicBezTo>
                    <a:pt x="698" y="450"/>
                    <a:pt x="697" y="451"/>
                    <a:pt x="698" y="451"/>
                  </a:cubicBezTo>
                  <a:cubicBezTo>
                    <a:pt x="698" y="451"/>
                    <a:pt x="697" y="451"/>
                    <a:pt x="697" y="451"/>
                  </a:cubicBezTo>
                  <a:cubicBezTo>
                    <a:pt x="697" y="451"/>
                    <a:pt x="697" y="451"/>
                    <a:pt x="697" y="451"/>
                  </a:cubicBezTo>
                  <a:cubicBezTo>
                    <a:pt x="697" y="451"/>
                    <a:pt x="697" y="451"/>
                    <a:pt x="697" y="450"/>
                  </a:cubicBezTo>
                  <a:cubicBezTo>
                    <a:pt x="698" y="450"/>
                    <a:pt x="697" y="450"/>
                    <a:pt x="697" y="450"/>
                  </a:cubicBezTo>
                  <a:cubicBezTo>
                    <a:pt x="697" y="450"/>
                    <a:pt x="696" y="450"/>
                    <a:pt x="696" y="450"/>
                  </a:cubicBezTo>
                  <a:cubicBezTo>
                    <a:pt x="695" y="449"/>
                    <a:pt x="695" y="450"/>
                    <a:pt x="694" y="449"/>
                  </a:cubicBezTo>
                  <a:cubicBezTo>
                    <a:pt x="694" y="449"/>
                    <a:pt x="694" y="449"/>
                    <a:pt x="694" y="449"/>
                  </a:cubicBezTo>
                  <a:cubicBezTo>
                    <a:pt x="693" y="450"/>
                    <a:pt x="694" y="450"/>
                    <a:pt x="694" y="450"/>
                  </a:cubicBezTo>
                  <a:cubicBezTo>
                    <a:pt x="694" y="450"/>
                    <a:pt x="693" y="450"/>
                    <a:pt x="693" y="450"/>
                  </a:cubicBezTo>
                  <a:cubicBezTo>
                    <a:pt x="693" y="450"/>
                    <a:pt x="693" y="450"/>
                    <a:pt x="693" y="451"/>
                  </a:cubicBezTo>
                  <a:cubicBezTo>
                    <a:pt x="693" y="451"/>
                    <a:pt x="693" y="451"/>
                    <a:pt x="693" y="451"/>
                  </a:cubicBezTo>
                  <a:cubicBezTo>
                    <a:pt x="693" y="451"/>
                    <a:pt x="693" y="452"/>
                    <a:pt x="693" y="452"/>
                  </a:cubicBezTo>
                  <a:cubicBezTo>
                    <a:pt x="693" y="453"/>
                    <a:pt x="694" y="453"/>
                    <a:pt x="695" y="453"/>
                  </a:cubicBezTo>
                  <a:cubicBezTo>
                    <a:pt x="695" y="453"/>
                    <a:pt x="695" y="453"/>
                    <a:pt x="695" y="453"/>
                  </a:cubicBezTo>
                  <a:cubicBezTo>
                    <a:pt x="695" y="454"/>
                    <a:pt x="696" y="454"/>
                    <a:pt x="696" y="454"/>
                  </a:cubicBezTo>
                  <a:cubicBezTo>
                    <a:pt x="696" y="454"/>
                    <a:pt x="696" y="454"/>
                    <a:pt x="695" y="454"/>
                  </a:cubicBezTo>
                  <a:cubicBezTo>
                    <a:pt x="695" y="455"/>
                    <a:pt x="695" y="455"/>
                    <a:pt x="694" y="454"/>
                  </a:cubicBezTo>
                  <a:cubicBezTo>
                    <a:pt x="694" y="454"/>
                    <a:pt x="694" y="454"/>
                    <a:pt x="694" y="455"/>
                  </a:cubicBezTo>
                  <a:cubicBezTo>
                    <a:pt x="694" y="455"/>
                    <a:pt x="694" y="455"/>
                    <a:pt x="694" y="455"/>
                  </a:cubicBezTo>
                  <a:cubicBezTo>
                    <a:pt x="694" y="455"/>
                    <a:pt x="694" y="455"/>
                    <a:pt x="695" y="455"/>
                  </a:cubicBezTo>
                  <a:cubicBezTo>
                    <a:pt x="695" y="455"/>
                    <a:pt x="695" y="455"/>
                    <a:pt x="695" y="456"/>
                  </a:cubicBezTo>
                  <a:cubicBezTo>
                    <a:pt x="695" y="456"/>
                    <a:pt x="695" y="456"/>
                    <a:pt x="695" y="456"/>
                  </a:cubicBezTo>
                  <a:cubicBezTo>
                    <a:pt x="694" y="456"/>
                    <a:pt x="694" y="456"/>
                    <a:pt x="694" y="456"/>
                  </a:cubicBezTo>
                  <a:cubicBezTo>
                    <a:pt x="693" y="456"/>
                    <a:pt x="693" y="455"/>
                    <a:pt x="693" y="456"/>
                  </a:cubicBezTo>
                  <a:cubicBezTo>
                    <a:pt x="692" y="457"/>
                    <a:pt x="692" y="457"/>
                    <a:pt x="692" y="457"/>
                  </a:cubicBezTo>
                  <a:cubicBezTo>
                    <a:pt x="692" y="458"/>
                    <a:pt x="691" y="458"/>
                    <a:pt x="691" y="459"/>
                  </a:cubicBezTo>
                  <a:cubicBezTo>
                    <a:pt x="691" y="459"/>
                    <a:pt x="692" y="459"/>
                    <a:pt x="692" y="459"/>
                  </a:cubicBezTo>
                  <a:cubicBezTo>
                    <a:pt x="693" y="460"/>
                    <a:pt x="693" y="459"/>
                    <a:pt x="693" y="459"/>
                  </a:cubicBezTo>
                  <a:cubicBezTo>
                    <a:pt x="693" y="458"/>
                    <a:pt x="694" y="458"/>
                    <a:pt x="694" y="458"/>
                  </a:cubicBezTo>
                  <a:cubicBezTo>
                    <a:pt x="694" y="458"/>
                    <a:pt x="695" y="458"/>
                    <a:pt x="695" y="457"/>
                  </a:cubicBezTo>
                  <a:cubicBezTo>
                    <a:pt x="695" y="457"/>
                    <a:pt x="695" y="457"/>
                    <a:pt x="695" y="457"/>
                  </a:cubicBezTo>
                  <a:cubicBezTo>
                    <a:pt x="696" y="457"/>
                    <a:pt x="696" y="457"/>
                    <a:pt x="696" y="457"/>
                  </a:cubicBezTo>
                  <a:cubicBezTo>
                    <a:pt x="697" y="457"/>
                    <a:pt x="697" y="457"/>
                    <a:pt x="697" y="457"/>
                  </a:cubicBezTo>
                  <a:cubicBezTo>
                    <a:pt x="697" y="458"/>
                    <a:pt x="696" y="458"/>
                    <a:pt x="696" y="458"/>
                  </a:cubicBezTo>
                  <a:cubicBezTo>
                    <a:pt x="696" y="458"/>
                    <a:pt x="696" y="458"/>
                    <a:pt x="696" y="458"/>
                  </a:cubicBezTo>
                  <a:cubicBezTo>
                    <a:pt x="696" y="458"/>
                    <a:pt x="695" y="458"/>
                    <a:pt x="696" y="458"/>
                  </a:cubicBezTo>
                  <a:cubicBezTo>
                    <a:pt x="696" y="458"/>
                    <a:pt x="695" y="459"/>
                    <a:pt x="696" y="459"/>
                  </a:cubicBezTo>
                  <a:cubicBezTo>
                    <a:pt x="696" y="459"/>
                    <a:pt x="696" y="459"/>
                    <a:pt x="696" y="459"/>
                  </a:cubicBezTo>
                  <a:cubicBezTo>
                    <a:pt x="696" y="459"/>
                    <a:pt x="696" y="459"/>
                    <a:pt x="697" y="460"/>
                  </a:cubicBezTo>
                  <a:cubicBezTo>
                    <a:pt x="697" y="459"/>
                    <a:pt x="696" y="459"/>
                    <a:pt x="697" y="458"/>
                  </a:cubicBezTo>
                  <a:cubicBezTo>
                    <a:pt x="698" y="458"/>
                    <a:pt x="698" y="457"/>
                    <a:pt x="698" y="456"/>
                  </a:cubicBezTo>
                  <a:cubicBezTo>
                    <a:pt x="698" y="456"/>
                    <a:pt x="698" y="455"/>
                    <a:pt x="698" y="455"/>
                  </a:cubicBezTo>
                  <a:cubicBezTo>
                    <a:pt x="698" y="454"/>
                    <a:pt x="698" y="454"/>
                    <a:pt x="697" y="454"/>
                  </a:cubicBezTo>
                  <a:cubicBezTo>
                    <a:pt x="697" y="454"/>
                    <a:pt x="697" y="454"/>
                    <a:pt x="697" y="454"/>
                  </a:cubicBezTo>
                  <a:cubicBezTo>
                    <a:pt x="698" y="454"/>
                    <a:pt x="698" y="454"/>
                    <a:pt x="698" y="454"/>
                  </a:cubicBezTo>
                  <a:cubicBezTo>
                    <a:pt x="698" y="455"/>
                    <a:pt x="698" y="456"/>
                    <a:pt x="698" y="457"/>
                  </a:cubicBezTo>
                  <a:cubicBezTo>
                    <a:pt x="698" y="457"/>
                    <a:pt x="698" y="457"/>
                    <a:pt x="698" y="457"/>
                  </a:cubicBezTo>
                  <a:cubicBezTo>
                    <a:pt x="698" y="458"/>
                    <a:pt x="698" y="459"/>
                    <a:pt x="698" y="460"/>
                  </a:cubicBezTo>
                  <a:cubicBezTo>
                    <a:pt x="698" y="460"/>
                    <a:pt x="699" y="460"/>
                    <a:pt x="699" y="461"/>
                  </a:cubicBezTo>
                  <a:cubicBezTo>
                    <a:pt x="699" y="461"/>
                    <a:pt x="699" y="460"/>
                    <a:pt x="699" y="460"/>
                  </a:cubicBezTo>
                  <a:cubicBezTo>
                    <a:pt x="699" y="460"/>
                    <a:pt x="699" y="460"/>
                    <a:pt x="700" y="460"/>
                  </a:cubicBezTo>
                  <a:cubicBezTo>
                    <a:pt x="700" y="460"/>
                    <a:pt x="700" y="460"/>
                    <a:pt x="700" y="460"/>
                  </a:cubicBezTo>
                  <a:cubicBezTo>
                    <a:pt x="700" y="461"/>
                    <a:pt x="699" y="461"/>
                    <a:pt x="699" y="461"/>
                  </a:cubicBezTo>
                  <a:cubicBezTo>
                    <a:pt x="700" y="461"/>
                    <a:pt x="699" y="462"/>
                    <a:pt x="699" y="462"/>
                  </a:cubicBezTo>
                  <a:cubicBezTo>
                    <a:pt x="699" y="462"/>
                    <a:pt x="699" y="462"/>
                    <a:pt x="699" y="462"/>
                  </a:cubicBezTo>
                  <a:cubicBezTo>
                    <a:pt x="699" y="463"/>
                    <a:pt x="698" y="463"/>
                    <a:pt x="698" y="463"/>
                  </a:cubicBezTo>
                  <a:cubicBezTo>
                    <a:pt x="698" y="463"/>
                    <a:pt x="697" y="464"/>
                    <a:pt x="697" y="464"/>
                  </a:cubicBezTo>
                  <a:cubicBezTo>
                    <a:pt x="697" y="464"/>
                    <a:pt x="697" y="464"/>
                    <a:pt x="697" y="464"/>
                  </a:cubicBezTo>
                  <a:cubicBezTo>
                    <a:pt x="696" y="465"/>
                    <a:pt x="697" y="466"/>
                    <a:pt x="698" y="467"/>
                  </a:cubicBezTo>
                  <a:cubicBezTo>
                    <a:pt x="698" y="467"/>
                    <a:pt x="698" y="467"/>
                    <a:pt x="698" y="467"/>
                  </a:cubicBezTo>
                  <a:cubicBezTo>
                    <a:pt x="699" y="467"/>
                    <a:pt x="699" y="467"/>
                    <a:pt x="700" y="466"/>
                  </a:cubicBezTo>
                  <a:cubicBezTo>
                    <a:pt x="700" y="466"/>
                    <a:pt x="700" y="466"/>
                    <a:pt x="701" y="466"/>
                  </a:cubicBezTo>
                  <a:cubicBezTo>
                    <a:pt x="701" y="466"/>
                    <a:pt x="701" y="466"/>
                    <a:pt x="701" y="466"/>
                  </a:cubicBezTo>
                  <a:cubicBezTo>
                    <a:pt x="701" y="466"/>
                    <a:pt x="701" y="466"/>
                    <a:pt x="701" y="466"/>
                  </a:cubicBezTo>
                  <a:cubicBezTo>
                    <a:pt x="700" y="467"/>
                    <a:pt x="701" y="467"/>
                    <a:pt x="700" y="468"/>
                  </a:cubicBezTo>
                  <a:cubicBezTo>
                    <a:pt x="700" y="468"/>
                    <a:pt x="700" y="469"/>
                    <a:pt x="700" y="469"/>
                  </a:cubicBezTo>
                  <a:cubicBezTo>
                    <a:pt x="700" y="470"/>
                    <a:pt x="700" y="470"/>
                    <a:pt x="701" y="470"/>
                  </a:cubicBezTo>
                  <a:cubicBezTo>
                    <a:pt x="701" y="470"/>
                    <a:pt x="701" y="470"/>
                    <a:pt x="702" y="470"/>
                  </a:cubicBezTo>
                  <a:cubicBezTo>
                    <a:pt x="701" y="470"/>
                    <a:pt x="701" y="470"/>
                    <a:pt x="701" y="470"/>
                  </a:cubicBezTo>
                  <a:cubicBezTo>
                    <a:pt x="701" y="471"/>
                    <a:pt x="701" y="471"/>
                    <a:pt x="701" y="471"/>
                  </a:cubicBezTo>
                  <a:cubicBezTo>
                    <a:pt x="701" y="471"/>
                    <a:pt x="702" y="472"/>
                    <a:pt x="702" y="472"/>
                  </a:cubicBezTo>
                  <a:cubicBezTo>
                    <a:pt x="702" y="472"/>
                    <a:pt x="703" y="472"/>
                    <a:pt x="703" y="472"/>
                  </a:cubicBezTo>
                  <a:cubicBezTo>
                    <a:pt x="702" y="472"/>
                    <a:pt x="701" y="472"/>
                    <a:pt x="701" y="472"/>
                  </a:cubicBezTo>
                  <a:cubicBezTo>
                    <a:pt x="700" y="472"/>
                    <a:pt x="700" y="471"/>
                    <a:pt x="700" y="472"/>
                  </a:cubicBezTo>
                  <a:cubicBezTo>
                    <a:pt x="700" y="472"/>
                    <a:pt x="700" y="472"/>
                    <a:pt x="699" y="472"/>
                  </a:cubicBezTo>
                  <a:cubicBezTo>
                    <a:pt x="699" y="471"/>
                    <a:pt x="698" y="472"/>
                    <a:pt x="698" y="472"/>
                  </a:cubicBezTo>
                  <a:cubicBezTo>
                    <a:pt x="698" y="473"/>
                    <a:pt x="699" y="474"/>
                    <a:pt x="699" y="474"/>
                  </a:cubicBezTo>
                  <a:cubicBezTo>
                    <a:pt x="700" y="474"/>
                    <a:pt x="701" y="474"/>
                    <a:pt x="702" y="474"/>
                  </a:cubicBezTo>
                  <a:cubicBezTo>
                    <a:pt x="702" y="474"/>
                    <a:pt x="702" y="474"/>
                    <a:pt x="702" y="474"/>
                  </a:cubicBezTo>
                  <a:cubicBezTo>
                    <a:pt x="702" y="474"/>
                    <a:pt x="702" y="474"/>
                    <a:pt x="702" y="474"/>
                  </a:cubicBezTo>
                  <a:cubicBezTo>
                    <a:pt x="702" y="474"/>
                    <a:pt x="701" y="475"/>
                    <a:pt x="701" y="475"/>
                  </a:cubicBezTo>
                  <a:cubicBezTo>
                    <a:pt x="701" y="475"/>
                    <a:pt x="701" y="475"/>
                    <a:pt x="701" y="475"/>
                  </a:cubicBezTo>
                  <a:cubicBezTo>
                    <a:pt x="701" y="475"/>
                    <a:pt x="701" y="475"/>
                    <a:pt x="702" y="475"/>
                  </a:cubicBezTo>
                  <a:cubicBezTo>
                    <a:pt x="702" y="475"/>
                    <a:pt x="702" y="475"/>
                    <a:pt x="702" y="476"/>
                  </a:cubicBezTo>
                  <a:cubicBezTo>
                    <a:pt x="702" y="476"/>
                    <a:pt x="702" y="476"/>
                    <a:pt x="703" y="476"/>
                  </a:cubicBezTo>
                  <a:cubicBezTo>
                    <a:pt x="703" y="476"/>
                    <a:pt x="703" y="476"/>
                    <a:pt x="703" y="476"/>
                  </a:cubicBezTo>
                  <a:cubicBezTo>
                    <a:pt x="703" y="475"/>
                    <a:pt x="703" y="475"/>
                    <a:pt x="703" y="475"/>
                  </a:cubicBezTo>
                  <a:cubicBezTo>
                    <a:pt x="703" y="475"/>
                    <a:pt x="703" y="475"/>
                    <a:pt x="703" y="475"/>
                  </a:cubicBezTo>
                  <a:cubicBezTo>
                    <a:pt x="703" y="475"/>
                    <a:pt x="703" y="474"/>
                    <a:pt x="703" y="474"/>
                  </a:cubicBezTo>
                  <a:cubicBezTo>
                    <a:pt x="704" y="474"/>
                    <a:pt x="704" y="475"/>
                    <a:pt x="704" y="475"/>
                  </a:cubicBezTo>
                  <a:cubicBezTo>
                    <a:pt x="704" y="475"/>
                    <a:pt x="704" y="475"/>
                    <a:pt x="704" y="475"/>
                  </a:cubicBezTo>
                  <a:cubicBezTo>
                    <a:pt x="704" y="476"/>
                    <a:pt x="705" y="476"/>
                    <a:pt x="705" y="476"/>
                  </a:cubicBezTo>
                  <a:cubicBezTo>
                    <a:pt x="705" y="477"/>
                    <a:pt x="706" y="477"/>
                    <a:pt x="706" y="477"/>
                  </a:cubicBezTo>
                  <a:cubicBezTo>
                    <a:pt x="706" y="476"/>
                    <a:pt x="706" y="476"/>
                    <a:pt x="706" y="476"/>
                  </a:cubicBezTo>
                  <a:cubicBezTo>
                    <a:pt x="706" y="475"/>
                    <a:pt x="706" y="475"/>
                    <a:pt x="706" y="474"/>
                  </a:cubicBezTo>
                  <a:cubicBezTo>
                    <a:pt x="706" y="474"/>
                    <a:pt x="706" y="474"/>
                    <a:pt x="706" y="474"/>
                  </a:cubicBezTo>
                  <a:cubicBezTo>
                    <a:pt x="706" y="474"/>
                    <a:pt x="706" y="475"/>
                    <a:pt x="706" y="475"/>
                  </a:cubicBezTo>
                  <a:cubicBezTo>
                    <a:pt x="707" y="476"/>
                    <a:pt x="707" y="476"/>
                    <a:pt x="707" y="477"/>
                  </a:cubicBezTo>
                  <a:cubicBezTo>
                    <a:pt x="706" y="477"/>
                    <a:pt x="706" y="478"/>
                    <a:pt x="706" y="478"/>
                  </a:cubicBezTo>
                  <a:cubicBezTo>
                    <a:pt x="707" y="478"/>
                    <a:pt x="707" y="478"/>
                    <a:pt x="707" y="477"/>
                  </a:cubicBezTo>
                  <a:cubicBezTo>
                    <a:pt x="707" y="478"/>
                    <a:pt x="707" y="478"/>
                    <a:pt x="707" y="478"/>
                  </a:cubicBezTo>
                  <a:cubicBezTo>
                    <a:pt x="707" y="478"/>
                    <a:pt x="707" y="479"/>
                    <a:pt x="707" y="479"/>
                  </a:cubicBezTo>
                  <a:cubicBezTo>
                    <a:pt x="708" y="479"/>
                    <a:pt x="708" y="479"/>
                    <a:pt x="708" y="479"/>
                  </a:cubicBezTo>
                  <a:cubicBezTo>
                    <a:pt x="708" y="479"/>
                    <a:pt x="708" y="479"/>
                    <a:pt x="707" y="479"/>
                  </a:cubicBezTo>
                  <a:cubicBezTo>
                    <a:pt x="707" y="479"/>
                    <a:pt x="707" y="479"/>
                    <a:pt x="707" y="479"/>
                  </a:cubicBezTo>
                  <a:cubicBezTo>
                    <a:pt x="707" y="480"/>
                    <a:pt x="707" y="480"/>
                    <a:pt x="707" y="480"/>
                  </a:cubicBezTo>
                  <a:cubicBezTo>
                    <a:pt x="707" y="480"/>
                    <a:pt x="707" y="480"/>
                    <a:pt x="707" y="480"/>
                  </a:cubicBezTo>
                  <a:cubicBezTo>
                    <a:pt x="707" y="481"/>
                    <a:pt x="707" y="481"/>
                    <a:pt x="707" y="481"/>
                  </a:cubicBezTo>
                  <a:cubicBezTo>
                    <a:pt x="707" y="481"/>
                    <a:pt x="707" y="481"/>
                    <a:pt x="707" y="481"/>
                  </a:cubicBezTo>
                  <a:cubicBezTo>
                    <a:pt x="708" y="481"/>
                    <a:pt x="708" y="481"/>
                    <a:pt x="708" y="480"/>
                  </a:cubicBezTo>
                  <a:cubicBezTo>
                    <a:pt x="709" y="481"/>
                    <a:pt x="709" y="481"/>
                    <a:pt x="708" y="482"/>
                  </a:cubicBezTo>
                  <a:cubicBezTo>
                    <a:pt x="708" y="482"/>
                    <a:pt x="708" y="482"/>
                    <a:pt x="708" y="482"/>
                  </a:cubicBezTo>
                  <a:cubicBezTo>
                    <a:pt x="708" y="482"/>
                    <a:pt x="708" y="482"/>
                    <a:pt x="708" y="482"/>
                  </a:cubicBezTo>
                  <a:cubicBezTo>
                    <a:pt x="709" y="482"/>
                    <a:pt x="709" y="482"/>
                    <a:pt x="709" y="481"/>
                  </a:cubicBezTo>
                  <a:cubicBezTo>
                    <a:pt x="709" y="481"/>
                    <a:pt x="709" y="479"/>
                    <a:pt x="709" y="479"/>
                  </a:cubicBezTo>
                  <a:cubicBezTo>
                    <a:pt x="709" y="479"/>
                    <a:pt x="709" y="479"/>
                    <a:pt x="709" y="479"/>
                  </a:cubicBezTo>
                  <a:cubicBezTo>
                    <a:pt x="709" y="480"/>
                    <a:pt x="709" y="481"/>
                    <a:pt x="710" y="481"/>
                  </a:cubicBezTo>
                  <a:cubicBezTo>
                    <a:pt x="710" y="481"/>
                    <a:pt x="710" y="481"/>
                    <a:pt x="710" y="482"/>
                  </a:cubicBezTo>
                  <a:cubicBezTo>
                    <a:pt x="710" y="481"/>
                    <a:pt x="709" y="481"/>
                    <a:pt x="709" y="481"/>
                  </a:cubicBezTo>
                  <a:cubicBezTo>
                    <a:pt x="709" y="482"/>
                    <a:pt x="709" y="482"/>
                    <a:pt x="709" y="482"/>
                  </a:cubicBezTo>
                  <a:cubicBezTo>
                    <a:pt x="710" y="482"/>
                    <a:pt x="710" y="482"/>
                    <a:pt x="710" y="483"/>
                  </a:cubicBezTo>
                  <a:cubicBezTo>
                    <a:pt x="710" y="483"/>
                    <a:pt x="710" y="484"/>
                    <a:pt x="710" y="484"/>
                  </a:cubicBezTo>
                  <a:cubicBezTo>
                    <a:pt x="710" y="484"/>
                    <a:pt x="711" y="485"/>
                    <a:pt x="710" y="486"/>
                  </a:cubicBezTo>
                  <a:cubicBezTo>
                    <a:pt x="710" y="486"/>
                    <a:pt x="710" y="486"/>
                    <a:pt x="711" y="486"/>
                  </a:cubicBezTo>
                  <a:cubicBezTo>
                    <a:pt x="711" y="486"/>
                    <a:pt x="711" y="486"/>
                    <a:pt x="711" y="486"/>
                  </a:cubicBezTo>
                  <a:cubicBezTo>
                    <a:pt x="711" y="486"/>
                    <a:pt x="712" y="486"/>
                    <a:pt x="712" y="487"/>
                  </a:cubicBezTo>
                  <a:cubicBezTo>
                    <a:pt x="712" y="487"/>
                    <a:pt x="712" y="487"/>
                    <a:pt x="712" y="487"/>
                  </a:cubicBezTo>
                  <a:cubicBezTo>
                    <a:pt x="713" y="487"/>
                    <a:pt x="713" y="486"/>
                    <a:pt x="712" y="486"/>
                  </a:cubicBezTo>
                  <a:cubicBezTo>
                    <a:pt x="713" y="486"/>
                    <a:pt x="713" y="486"/>
                    <a:pt x="713" y="486"/>
                  </a:cubicBezTo>
                  <a:cubicBezTo>
                    <a:pt x="713" y="487"/>
                    <a:pt x="714" y="487"/>
                    <a:pt x="714" y="487"/>
                  </a:cubicBezTo>
                  <a:cubicBezTo>
                    <a:pt x="714" y="486"/>
                    <a:pt x="714" y="486"/>
                    <a:pt x="714" y="486"/>
                  </a:cubicBezTo>
                  <a:cubicBezTo>
                    <a:pt x="714" y="485"/>
                    <a:pt x="714" y="485"/>
                    <a:pt x="714" y="485"/>
                  </a:cubicBezTo>
                  <a:cubicBezTo>
                    <a:pt x="714" y="485"/>
                    <a:pt x="714" y="485"/>
                    <a:pt x="714" y="485"/>
                  </a:cubicBezTo>
                  <a:cubicBezTo>
                    <a:pt x="714" y="484"/>
                    <a:pt x="714" y="484"/>
                    <a:pt x="714" y="484"/>
                  </a:cubicBezTo>
                  <a:cubicBezTo>
                    <a:pt x="714" y="485"/>
                    <a:pt x="714" y="484"/>
                    <a:pt x="715" y="484"/>
                  </a:cubicBezTo>
                  <a:cubicBezTo>
                    <a:pt x="715" y="484"/>
                    <a:pt x="715" y="484"/>
                    <a:pt x="714" y="484"/>
                  </a:cubicBezTo>
                  <a:close/>
                  <a:moveTo>
                    <a:pt x="698" y="471"/>
                  </a:moveTo>
                  <a:cubicBezTo>
                    <a:pt x="698" y="471"/>
                    <a:pt x="698" y="471"/>
                    <a:pt x="699" y="470"/>
                  </a:cubicBezTo>
                  <a:cubicBezTo>
                    <a:pt x="699" y="470"/>
                    <a:pt x="698" y="470"/>
                    <a:pt x="698" y="470"/>
                  </a:cubicBezTo>
                  <a:cubicBezTo>
                    <a:pt x="698" y="470"/>
                    <a:pt x="698" y="470"/>
                    <a:pt x="698" y="471"/>
                  </a:cubicBezTo>
                  <a:cubicBezTo>
                    <a:pt x="698" y="471"/>
                    <a:pt x="697" y="471"/>
                    <a:pt x="698" y="471"/>
                  </a:cubicBezTo>
                  <a:close/>
                  <a:moveTo>
                    <a:pt x="659" y="405"/>
                  </a:moveTo>
                  <a:cubicBezTo>
                    <a:pt x="659" y="405"/>
                    <a:pt x="660" y="405"/>
                    <a:pt x="659" y="405"/>
                  </a:cubicBezTo>
                  <a:cubicBezTo>
                    <a:pt x="659" y="404"/>
                    <a:pt x="659" y="404"/>
                    <a:pt x="659" y="404"/>
                  </a:cubicBezTo>
                  <a:cubicBezTo>
                    <a:pt x="659" y="404"/>
                    <a:pt x="659" y="404"/>
                    <a:pt x="659" y="404"/>
                  </a:cubicBezTo>
                  <a:cubicBezTo>
                    <a:pt x="659" y="405"/>
                    <a:pt x="659" y="405"/>
                    <a:pt x="659" y="405"/>
                  </a:cubicBezTo>
                  <a:close/>
                  <a:moveTo>
                    <a:pt x="702" y="453"/>
                  </a:moveTo>
                  <a:cubicBezTo>
                    <a:pt x="702" y="453"/>
                    <a:pt x="703" y="453"/>
                    <a:pt x="703" y="452"/>
                  </a:cubicBezTo>
                  <a:cubicBezTo>
                    <a:pt x="702" y="452"/>
                    <a:pt x="702" y="452"/>
                    <a:pt x="702" y="452"/>
                  </a:cubicBezTo>
                  <a:cubicBezTo>
                    <a:pt x="702" y="452"/>
                    <a:pt x="702" y="452"/>
                    <a:pt x="702" y="452"/>
                  </a:cubicBezTo>
                  <a:cubicBezTo>
                    <a:pt x="702" y="453"/>
                    <a:pt x="702" y="453"/>
                    <a:pt x="702" y="453"/>
                  </a:cubicBezTo>
                  <a:close/>
                  <a:moveTo>
                    <a:pt x="703" y="454"/>
                  </a:moveTo>
                  <a:cubicBezTo>
                    <a:pt x="703" y="455"/>
                    <a:pt x="703" y="455"/>
                    <a:pt x="703" y="455"/>
                  </a:cubicBezTo>
                  <a:cubicBezTo>
                    <a:pt x="703" y="455"/>
                    <a:pt x="703" y="455"/>
                    <a:pt x="703" y="455"/>
                  </a:cubicBezTo>
                  <a:cubicBezTo>
                    <a:pt x="703" y="454"/>
                    <a:pt x="703" y="454"/>
                    <a:pt x="703" y="454"/>
                  </a:cubicBezTo>
                  <a:cubicBezTo>
                    <a:pt x="703" y="454"/>
                    <a:pt x="703" y="454"/>
                    <a:pt x="703" y="454"/>
                  </a:cubicBezTo>
                  <a:close/>
                  <a:moveTo>
                    <a:pt x="694" y="466"/>
                  </a:moveTo>
                  <a:cubicBezTo>
                    <a:pt x="694" y="466"/>
                    <a:pt x="694" y="466"/>
                    <a:pt x="694" y="466"/>
                  </a:cubicBezTo>
                  <a:cubicBezTo>
                    <a:pt x="694" y="466"/>
                    <a:pt x="694" y="466"/>
                    <a:pt x="694" y="466"/>
                  </a:cubicBezTo>
                  <a:cubicBezTo>
                    <a:pt x="695" y="466"/>
                    <a:pt x="695" y="465"/>
                    <a:pt x="695" y="465"/>
                  </a:cubicBezTo>
                  <a:cubicBezTo>
                    <a:pt x="695" y="465"/>
                    <a:pt x="694" y="465"/>
                    <a:pt x="694" y="465"/>
                  </a:cubicBezTo>
                  <a:cubicBezTo>
                    <a:pt x="694" y="465"/>
                    <a:pt x="695" y="465"/>
                    <a:pt x="694" y="466"/>
                  </a:cubicBezTo>
                  <a:close/>
                  <a:moveTo>
                    <a:pt x="692" y="447"/>
                  </a:moveTo>
                  <a:cubicBezTo>
                    <a:pt x="692" y="446"/>
                    <a:pt x="691" y="446"/>
                    <a:pt x="691" y="446"/>
                  </a:cubicBezTo>
                  <a:cubicBezTo>
                    <a:pt x="691" y="446"/>
                    <a:pt x="691" y="447"/>
                    <a:pt x="691" y="447"/>
                  </a:cubicBezTo>
                  <a:cubicBezTo>
                    <a:pt x="692" y="447"/>
                    <a:pt x="692" y="447"/>
                    <a:pt x="692" y="447"/>
                  </a:cubicBezTo>
                  <a:close/>
                  <a:moveTo>
                    <a:pt x="696" y="471"/>
                  </a:moveTo>
                  <a:cubicBezTo>
                    <a:pt x="696" y="471"/>
                    <a:pt x="696" y="471"/>
                    <a:pt x="696" y="471"/>
                  </a:cubicBezTo>
                  <a:cubicBezTo>
                    <a:pt x="696" y="471"/>
                    <a:pt x="696" y="471"/>
                    <a:pt x="696" y="471"/>
                  </a:cubicBezTo>
                  <a:cubicBezTo>
                    <a:pt x="696" y="471"/>
                    <a:pt x="696" y="470"/>
                    <a:pt x="696" y="471"/>
                  </a:cubicBezTo>
                  <a:cubicBezTo>
                    <a:pt x="696" y="471"/>
                    <a:pt x="696" y="471"/>
                    <a:pt x="696" y="471"/>
                  </a:cubicBezTo>
                  <a:cubicBezTo>
                    <a:pt x="696" y="471"/>
                    <a:pt x="696" y="471"/>
                    <a:pt x="696" y="471"/>
                  </a:cubicBezTo>
                  <a:close/>
                  <a:moveTo>
                    <a:pt x="706" y="446"/>
                  </a:moveTo>
                  <a:cubicBezTo>
                    <a:pt x="706" y="447"/>
                    <a:pt x="706" y="447"/>
                    <a:pt x="707" y="447"/>
                  </a:cubicBezTo>
                  <a:cubicBezTo>
                    <a:pt x="707" y="447"/>
                    <a:pt x="707" y="447"/>
                    <a:pt x="707" y="447"/>
                  </a:cubicBezTo>
                  <a:cubicBezTo>
                    <a:pt x="707" y="447"/>
                    <a:pt x="707" y="446"/>
                    <a:pt x="706" y="446"/>
                  </a:cubicBezTo>
                  <a:cubicBezTo>
                    <a:pt x="706" y="446"/>
                    <a:pt x="706" y="446"/>
                    <a:pt x="706" y="446"/>
                  </a:cubicBezTo>
                  <a:close/>
                  <a:moveTo>
                    <a:pt x="708" y="445"/>
                  </a:moveTo>
                  <a:cubicBezTo>
                    <a:pt x="708" y="445"/>
                    <a:pt x="708" y="445"/>
                    <a:pt x="707" y="445"/>
                  </a:cubicBezTo>
                  <a:cubicBezTo>
                    <a:pt x="707" y="445"/>
                    <a:pt x="707" y="445"/>
                    <a:pt x="707" y="445"/>
                  </a:cubicBezTo>
                  <a:cubicBezTo>
                    <a:pt x="707" y="445"/>
                    <a:pt x="708" y="445"/>
                    <a:pt x="708" y="445"/>
                  </a:cubicBezTo>
                  <a:close/>
                  <a:moveTo>
                    <a:pt x="695" y="454"/>
                  </a:moveTo>
                  <a:cubicBezTo>
                    <a:pt x="695" y="454"/>
                    <a:pt x="695" y="454"/>
                    <a:pt x="695" y="454"/>
                  </a:cubicBezTo>
                  <a:cubicBezTo>
                    <a:pt x="695" y="454"/>
                    <a:pt x="695" y="454"/>
                    <a:pt x="694" y="454"/>
                  </a:cubicBezTo>
                  <a:cubicBezTo>
                    <a:pt x="695" y="454"/>
                    <a:pt x="695" y="455"/>
                    <a:pt x="695" y="454"/>
                  </a:cubicBezTo>
                  <a:close/>
                  <a:moveTo>
                    <a:pt x="697" y="459"/>
                  </a:moveTo>
                  <a:cubicBezTo>
                    <a:pt x="698" y="459"/>
                    <a:pt x="698" y="459"/>
                    <a:pt x="697" y="459"/>
                  </a:cubicBezTo>
                  <a:cubicBezTo>
                    <a:pt x="697" y="459"/>
                    <a:pt x="697" y="459"/>
                    <a:pt x="697" y="459"/>
                  </a:cubicBezTo>
                  <a:close/>
                  <a:moveTo>
                    <a:pt x="707" y="446"/>
                  </a:moveTo>
                  <a:cubicBezTo>
                    <a:pt x="707" y="446"/>
                    <a:pt x="707" y="446"/>
                    <a:pt x="707" y="446"/>
                  </a:cubicBezTo>
                  <a:cubicBezTo>
                    <a:pt x="707" y="446"/>
                    <a:pt x="707" y="446"/>
                    <a:pt x="707" y="446"/>
                  </a:cubicBezTo>
                  <a:cubicBezTo>
                    <a:pt x="707" y="446"/>
                    <a:pt x="707" y="446"/>
                    <a:pt x="707" y="446"/>
                  </a:cubicBezTo>
                  <a:cubicBezTo>
                    <a:pt x="707" y="446"/>
                    <a:pt x="707" y="446"/>
                    <a:pt x="707" y="446"/>
                  </a:cubicBezTo>
                  <a:close/>
                  <a:moveTo>
                    <a:pt x="702" y="451"/>
                  </a:moveTo>
                  <a:cubicBezTo>
                    <a:pt x="702" y="451"/>
                    <a:pt x="702" y="451"/>
                    <a:pt x="702" y="451"/>
                  </a:cubicBezTo>
                  <a:cubicBezTo>
                    <a:pt x="702" y="451"/>
                    <a:pt x="702" y="451"/>
                    <a:pt x="702" y="452"/>
                  </a:cubicBezTo>
                  <a:cubicBezTo>
                    <a:pt x="702" y="452"/>
                    <a:pt x="702" y="452"/>
                    <a:pt x="702" y="451"/>
                  </a:cubicBezTo>
                  <a:close/>
                  <a:moveTo>
                    <a:pt x="709" y="445"/>
                  </a:moveTo>
                  <a:cubicBezTo>
                    <a:pt x="709" y="445"/>
                    <a:pt x="709" y="445"/>
                    <a:pt x="709" y="445"/>
                  </a:cubicBezTo>
                  <a:cubicBezTo>
                    <a:pt x="709" y="445"/>
                    <a:pt x="708" y="445"/>
                    <a:pt x="708" y="445"/>
                  </a:cubicBezTo>
                  <a:cubicBezTo>
                    <a:pt x="708" y="445"/>
                    <a:pt x="708" y="445"/>
                    <a:pt x="709" y="445"/>
                  </a:cubicBezTo>
                  <a:close/>
                  <a:moveTo>
                    <a:pt x="701" y="474"/>
                  </a:moveTo>
                  <a:cubicBezTo>
                    <a:pt x="701" y="474"/>
                    <a:pt x="701" y="474"/>
                    <a:pt x="701" y="474"/>
                  </a:cubicBezTo>
                  <a:cubicBezTo>
                    <a:pt x="701" y="474"/>
                    <a:pt x="701" y="474"/>
                    <a:pt x="701" y="474"/>
                  </a:cubicBezTo>
                  <a:cubicBezTo>
                    <a:pt x="701" y="474"/>
                    <a:pt x="701" y="474"/>
                    <a:pt x="701" y="474"/>
                  </a:cubicBezTo>
                  <a:cubicBezTo>
                    <a:pt x="701" y="474"/>
                    <a:pt x="701" y="474"/>
                    <a:pt x="701" y="474"/>
                  </a:cubicBezTo>
                  <a:close/>
                  <a:moveTo>
                    <a:pt x="660" y="417"/>
                  </a:moveTo>
                  <a:cubicBezTo>
                    <a:pt x="660" y="417"/>
                    <a:pt x="660" y="417"/>
                    <a:pt x="660" y="418"/>
                  </a:cubicBezTo>
                  <a:cubicBezTo>
                    <a:pt x="660" y="418"/>
                    <a:pt x="660" y="418"/>
                    <a:pt x="660" y="418"/>
                  </a:cubicBezTo>
                  <a:cubicBezTo>
                    <a:pt x="660" y="418"/>
                    <a:pt x="660" y="418"/>
                    <a:pt x="660" y="418"/>
                  </a:cubicBezTo>
                  <a:cubicBezTo>
                    <a:pt x="660" y="417"/>
                    <a:pt x="660" y="417"/>
                    <a:pt x="660" y="417"/>
                  </a:cubicBezTo>
                  <a:close/>
                  <a:moveTo>
                    <a:pt x="700" y="467"/>
                  </a:moveTo>
                  <a:cubicBezTo>
                    <a:pt x="700" y="468"/>
                    <a:pt x="700" y="468"/>
                    <a:pt x="699" y="468"/>
                  </a:cubicBezTo>
                  <a:cubicBezTo>
                    <a:pt x="700" y="468"/>
                    <a:pt x="700" y="468"/>
                    <a:pt x="700" y="467"/>
                  </a:cubicBezTo>
                  <a:close/>
                  <a:moveTo>
                    <a:pt x="691" y="420"/>
                  </a:moveTo>
                  <a:cubicBezTo>
                    <a:pt x="691" y="420"/>
                    <a:pt x="691" y="420"/>
                    <a:pt x="691" y="420"/>
                  </a:cubicBezTo>
                  <a:cubicBezTo>
                    <a:pt x="691" y="420"/>
                    <a:pt x="691" y="420"/>
                    <a:pt x="691" y="420"/>
                  </a:cubicBezTo>
                  <a:cubicBezTo>
                    <a:pt x="691" y="419"/>
                    <a:pt x="690" y="418"/>
                    <a:pt x="689" y="418"/>
                  </a:cubicBezTo>
                  <a:cubicBezTo>
                    <a:pt x="689" y="417"/>
                    <a:pt x="689" y="416"/>
                    <a:pt x="689" y="415"/>
                  </a:cubicBezTo>
                  <a:cubicBezTo>
                    <a:pt x="689" y="415"/>
                    <a:pt x="689" y="415"/>
                    <a:pt x="688" y="414"/>
                  </a:cubicBezTo>
                  <a:cubicBezTo>
                    <a:pt x="687" y="414"/>
                    <a:pt x="687" y="413"/>
                    <a:pt x="687" y="412"/>
                  </a:cubicBezTo>
                  <a:cubicBezTo>
                    <a:pt x="687" y="412"/>
                    <a:pt x="687" y="411"/>
                    <a:pt x="687" y="411"/>
                  </a:cubicBezTo>
                  <a:cubicBezTo>
                    <a:pt x="686" y="411"/>
                    <a:pt x="686" y="410"/>
                    <a:pt x="686" y="410"/>
                  </a:cubicBezTo>
                  <a:cubicBezTo>
                    <a:pt x="686" y="409"/>
                    <a:pt x="686" y="409"/>
                    <a:pt x="685" y="409"/>
                  </a:cubicBezTo>
                  <a:cubicBezTo>
                    <a:pt x="685" y="409"/>
                    <a:pt x="686" y="410"/>
                    <a:pt x="685" y="410"/>
                  </a:cubicBezTo>
                  <a:cubicBezTo>
                    <a:pt x="685" y="410"/>
                    <a:pt x="685" y="410"/>
                    <a:pt x="686" y="410"/>
                  </a:cubicBezTo>
                  <a:cubicBezTo>
                    <a:pt x="686" y="411"/>
                    <a:pt x="686" y="411"/>
                    <a:pt x="686" y="411"/>
                  </a:cubicBezTo>
                  <a:cubicBezTo>
                    <a:pt x="686" y="411"/>
                    <a:pt x="685" y="411"/>
                    <a:pt x="685" y="411"/>
                  </a:cubicBezTo>
                  <a:cubicBezTo>
                    <a:pt x="685" y="411"/>
                    <a:pt x="685" y="411"/>
                    <a:pt x="685" y="412"/>
                  </a:cubicBezTo>
                  <a:cubicBezTo>
                    <a:pt x="685" y="412"/>
                    <a:pt x="685" y="412"/>
                    <a:pt x="685" y="412"/>
                  </a:cubicBezTo>
                  <a:cubicBezTo>
                    <a:pt x="686" y="412"/>
                    <a:pt x="686" y="413"/>
                    <a:pt x="685" y="413"/>
                  </a:cubicBezTo>
                  <a:cubicBezTo>
                    <a:pt x="685" y="414"/>
                    <a:pt x="685" y="414"/>
                    <a:pt x="685" y="414"/>
                  </a:cubicBezTo>
                  <a:cubicBezTo>
                    <a:pt x="685" y="414"/>
                    <a:pt x="685" y="414"/>
                    <a:pt x="685" y="414"/>
                  </a:cubicBezTo>
                  <a:cubicBezTo>
                    <a:pt x="686" y="414"/>
                    <a:pt x="686" y="413"/>
                    <a:pt x="686" y="414"/>
                  </a:cubicBezTo>
                  <a:cubicBezTo>
                    <a:pt x="687" y="415"/>
                    <a:pt x="687" y="416"/>
                    <a:pt x="688" y="418"/>
                  </a:cubicBezTo>
                  <a:cubicBezTo>
                    <a:pt x="688" y="418"/>
                    <a:pt x="688" y="418"/>
                    <a:pt x="689" y="419"/>
                  </a:cubicBezTo>
                  <a:cubicBezTo>
                    <a:pt x="689" y="419"/>
                    <a:pt x="689" y="419"/>
                    <a:pt x="689" y="419"/>
                  </a:cubicBezTo>
                  <a:cubicBezTo>
                    <a:pt x="690" y="419"/>
                    <a:pt x="690" y="419"/>
                    <a:pt x="690" y="420"/>
                  </a:cubicBezTo>
                  <a:cubicBezTo>
                    <a:pt x="689" y="421"/>
                    <a:pt x="690" y="421"/>
                    <a:pt x="690" y="422"/>
                  </a:cubicBezTo>
                  <a:cubicBezTo>
                    <a:pt x="690" y="422"/>
                    <a:pt x="690" y="422"/>
                    <a:pt x="690" y="423"/>
                  </a:cubicBezTo>
                  <a:cubicBezTo>
                    <a:pt x="690" y="422"/>
                    <a:pt x="690" y="422"/>
                    <a:pt x="690" y="422"/>
                  </a:cubicBezTo>
                  <a:cubicBezTo>
                    <a:pt x="689" y="423"/>
                    <a:pt x="689" y="422"/>
                    <a:pt x="689" y="422"/>
                  </a:cubicBezTo>
                  <a:cubicBezTo>
                    <a:pt x="688" y="422"/>
                    <a:pt x="688" y="422"/>
                    <a:pt x="688" y="423"/>
                  </a:cubicBezTo>
                  <a:cubicBezTo>
                    <a:pt x="688" y="423"/>
                    <a:pt x="688" y="423"/>
                    <a:pt x="688" y="423"/>
                  </a:cubicBezTo>
                  <a:cubicBezTo>
                    <a:pt x="688" y="423"/>
                    <a:pt x="688" y="423"/>
                    <a:pt x="688" y="423"/>
                  </a:cubicBezTo>
                  <a:cubicBezTo>
                    <a:pt x="689" y="423"/>
                    <a:pt x="689" y="423"/>
                    <a:pt x="689" y="424"/>
                  </a:cubicBezTo>
                  <a:cubicBezTo>
                    <a:pt x="689" y="424"/>
                    <a:pt x="689" y="424"/>
                    <a:pt x="690" y="424"/>
                  </a:cubicBezTo>
                  <a:cubicBezTo>
                    <a:pt x="690" y="424"/>
                    <a:pt x="690" y="424"/>
                    <a:pt x="690" y="424"/>
                  </a:cubicBezTo>
                  <a:cubicBezTo>
                    <a:pt x="691" y="425"/>
                    <a:pt x="691" y="425"/>
                    <a:pt x="690" y="426"/>
                  </a:cubicBezTo>
                  <a:cubicBezTo>
                    <a:pt x="690" y="426"/>
                    <a:pt x="690" y="426"/>
                    <a:pt x="689" y="426"/>
                  </a:cubicBezTo>
                  <a:cubicBezTo>
                    <a:pt x="689" y="427"/>
                    <a:pt x="689" y="427"/>
                    <a:pt x="689" y="426"/>
                  </a:cubicBezTo>
                  <a:cubicBezTo>
                    <a:pt x="689" y="426"/>
                    <a:pt x="688" y="426"/>
                    <a:pt x="688" y="425"/>
                  </a:cubicBezTo>
                  <a:cubicBezTo>
                    <a:pt x="688" y="425"/>
                    <a:pt x="688" y="426"/>
                    <a:pt x="688" y="426"/>
                  </a:cubicBezTo>
                  <a:cubicBezTo>
                    <a:pt x="688" y="426"/>
                    <a:pt x="688" y="426"/>
                    <a:pt x="688" y="426"/>
                  </a:cubicBezTo>
                  <a:cubicBezTo>
                    <a:pt x="687" y="425"/>
                    <a:pt x="687" y="425"/>
                    <a:pt x="687" y="425"/>
                  </a:cubicBezTo>
                  <a:cubicBezTo>
                    <a:pt x="687" y="425"/>
                    <a:pt x="687" y="425"/>
                    <a:pt x="687" y="425"/>
                  </a:cubicBezTo>
                  <a:cubicBezTo>
                    <a:pt x="687" y="425"/>
                    <a:pt x="687" y="425"/>
                    <a:pt x="687" y="425"/>
                  </a:cubicBezTo>
                  <a:cubicBezTo>
                    <a:pt x="687" y="426"/>
                    <a:pt x="687" y="426"/>
                    <a:pt x="687" y="427"/>
                  </a:cubicBezTo>
                  <a:cubicBezTo>
                    <a:pt x="688" y="427"/>
                    <a:pt x="688" y="427"/>
                    <a:pt x="688" y="428"/>
                  </a:cubicBezTo>
                  <a:cubicBezTo>
                    <a:pt x="688" y="428"/>
                    <a:pt x="688" y="428"/>
                    <a:pt x="687" y="428"/>
                  </a:cubicBezTo>
                  <a:cubicBezTo>
                    <a:pt x="687" y="427"/>
                    <a:pt x="687" y="428"/>
                    <a:pt x="687" y="428"/>
                  </a:cubicBezTo>
                  <a:cubicBezTo>
                    <a:pt x="687" y="428"/>
                    <a:pt x="687" y="429"/>
                    <a:pt x="687" y="429"/>
                  </a:cubicBezTo>
                  <a:cubicBezTo>
                    <a:pt x="687" y="429"/>
                    <a:pt x="687" y="429"/>
                    <a:pt x="686" y="429"/>
                  </a:cubicBezTo>
                  <a:cubicBezTo>
                    <a:pt x="686" y="430"/>
                    <a:pt x="686" y="429"/>
                    <a:pt x="686" y="429"/>
                  </a:cubicBezTo>
                  <a:cubicBezTo>
                    <a:pt x="685" y="430"/>
                    <a:pt x="685" y="429"/>
                    <a:pt x="685" y="429"/>
                  </a:cubicBezTo>
                  <a:cubicBezTo>
                    <a:pt x="685" y="429"/>
                    <a:pt x="686" y="428"/>
                    <a:pt x="685" y="428"/>
                  </a:cubicBezTo>
                  <a:cubicBezTo>
                    <a:pt x="685" y="429"/>
                    <a:pt x="685" y="429"/>
                    <a:pt x="685" y="430"/>
                  </a:cubicBezTo>
                  <a:cubicBezTo>
                    <a:pt x="685" y="430"/>
                    <a:pt x="685" y="430"/>
                    <a:pt x="685" y="430"/>
                  </a:cubicBezTo>
                  <a:cubicBezTo>
                    <a:pt x="685" y="430"/>
                    <a:pt x="685" y="431"/>
                    <a:pt x="684" y="431"/>
                  </a:cubicBezTo>
                  <a:cubicBezTo>
                    <a:pt x="684" y="431"/>
                    <a:pt x="684" y="431"/>
                    <a:pt x="684" y="431"/>
                  </a:cubicBezTo>
                  <a:cubicBezTo>
                    <a:pt x="684" y="432"/>
                    <a:pt x="684" y="432"/>
                    <a:pt x="684" y="432"/>
                  </a:cubicBezTo>
                  <a:cubicBezTo>
                    <a:pt x="683" y="432"/>
                    <a:pt x="683" y="432"/>
                    <a:pt x="683" y="433"/>
                  </a:cubicBezTo>
                  <a:cubicBezTo>
                    <a:pt x="683" y="433"/>
                    <a:pt x="683" y="433"/>
                    <a:pt x="683" y="433"/>
                  </a:cubicBezTo>
                  <a:cubicBezTo>
                    <a:pt x="682" y="433"/>
                    <a:pt x="682" y="433"/>
                    <a:pt x="681" y="433"/>
                  </a:cubicBezTo>
                  <a:cubicBezTo>
                    <a:pt x="681" y="432"/>
                    <a:pt x="681" y="432"/>
                    <a:pt x="681" y="431"/>
                  </a:cubicBezTo>
                  <a:cubicBezTo>
                    <a:pt x="681" y="431"/>
                    <a:pt x="681" y="431"/>
                    <a:pt x="681" y="431"/>
                  </a:cubicBezTo>
                  <a:cubicBezTo>
                    <a:pt x="681" y="430"/>
                    <a:pt x="681" y="430"/>
                    <a:pt x="681" y="429"/>
                  </a:cubicBezTo>
                  <a:cubicBezTo>
                    <a:pt x="681" y="429"/>
                    <a:pt x="681" y="428"/>
                    <a:pt x="681" y="428"/>
                  </a:cubicBezTo>
                  <a:cubicBezTo>
                    <a:pt x="681" y="428"/>
                    <a:pt x="681" y="428"/>
                    <a:pt x="681" y="428"/>
                  </a:cubicBezTo>
                  <a:cubicBezTo>
                    <a:pt x="682" y="428"/>
                    <a:pt x="682" y="428"/>
                    <a:pt x="682" y="428"/>
                  </a:cubicBezTo>
                  <a:cubicBezTo>
                    <a:pt x="682" y="428"/>
                    <a:pt x="682" y="428"/>
                    <a:pt x="682" y="428"/>
                  </a:cubicBezTo>
                  <a:cubicBezTo>
                    <a:pt x="681" y="427"/>
                    <a:pt x="681" y="427"/>
                    <a:pt x="682" y="427"/>
                  </a:cubicBezTo>
                  <a:cubicBezTo>
                    <a:pt x="682" y="427"/>
                    <a:pt x="682" y="427"/>
                    <a:pt x="682" y="426"/>
                  </a:cubicBezTo>
                  <a:cubicBezTo>
                    <a:pt x="683" y="426"/>
                    <a:pt x="683" y="426"/>
                    <a:pt x="683" y="426"/>
                  </a:cubicBezTo>
                  <a:cubicBezTo>
                    <a:pt x="683" y="426"/>
                    <a:pt x="683" y="426"/>
                    <a:pt x="682" y="426"/>
                  </a:cubicBezTo>
                  <a:cubicBezTo>
                    <a:pt x="682" y="426"/>
                    <a:pt x="682" y="425"/>
                    <a:pt x="682" y="425"/>
                  </a:cubicBezTo>
                  <a:cubicBezTo>
                    <a:pt x="682" y="424"/>
                    <a:pt x="682" y="424"/>
                    <a:pt x="682" y="425"/>
                  </a:cubicBezTo>
                  <a:cubicBezTo>
                    <a:pt x="683" y="425"/>
                    <a:pt x="683" y="425"/>
                    <a:pt x="684" y="425"/>
                  </a:cubicBezTo>
                  <a:cubicBezTo>
                    <a:pt x="684" y="425"/>
                    <a:pt x="684" y="425"/>
                    <a:pt x="684" y="426"/>
                  </a:cubicBezTo>
                  <a:cubicBezTo>
                    <a:pt x="684" y="426"/>
                    <a:pt x="684" y="426"/>
                    <a:pt x="685" y="426"/>
                  </a:cubicBezTo>
                  <a:cubicBezTo>
                    <a:pt x="685" y="426"/>
                    <a:pt x="685" y="425"/>
                    <a:pt x="684" y="425"/>
                  </a:cubicBezTo>
                  <a:cubicBezTo>
                    <a:pt x="684" y="425"/>
                    <a:pt x="684" y="425"/>
                    <a:pt x="683" y="425"/>
                  </a:cubicBezTo>
                  <a:cubicBezTo>
                    <a:pt x="683" y="425"/>
                    <a:pt x="683" y="425"/>
                    <a:pt x="683" y="425"/>
                  </a:cubicBezTo>
                  <a:cubicBezTo>
                    <a:pt x="683" y="424"/>
                    <a:pt x="683" y="424"/>
                    <a:pt x="683" y="424"/>
                  </a:cubicBezTo>
                  <a:cubicBezTo>
                    <a:pt x="682" y="424"/>
                    <a:pt x="682" y="423"/>
                    <a:pt x="682" y="423"/>
                  </a:cubicBezTo>
                  <a:cubicBezTo>
                    <a:pt x="682" y="423"/>
                    <a:pt x="682" y="423"/>
                    <a:pt x="682" y="422"/>
                  </a:cubicBezTo>
                  <a:cubicBezTo>
                    <a:pt x="682" y="421"/>
                    <a:pt x="681" y="421"/>
                    <a:pt x="681" y="420"/>
                  </a:cubicBezTo>
                  <a:cubicBezTo>
                    <a:pt x="680" y="419"/>
                    <a:pt x="680" y="419"/>
                    <a:pt x="680" y="418"/>
                  </a:cubicBezTo>
                  <a:cubicBezTo>
                    <a:pt x="680" y="418"/>
                    <a:pt x="680" y="418"/>
                    <a:pt x="680" y="418"/>
                  </a:cubicBezTo>
                  <a:cubicBezTo>
                    <a:pt x="679" y="417"/>
                    <a:pt x="681" y="415"/>
                    <a:pt x="680" y="414"/>
                  </a:cubicBezTo>
                  <a:cubicBezTo>
                    <a:pt x="679" y="412"/>
                    <a:pt x="680" y="411"/>
                    <a:pt x="679" y="410"/>
                  </a:cubicBezTo>
                  <a:cubicBezTo>
                    <a:pt x="679" y="409"/>
                    <a:pt x="679" y="409"/>
                    <a:pt x="679" y="409"/>
                  </a:cubicBezTo>
                  <a:cubicBezTo>
                    <a:pt x="679" y="408"/>
                    <a:pt x="679" y="408"/>
                    <a:pt x="679" y="407"/>
                  </a:cubicBezTo>
                  <a:cubicBezTo>
                    <a:pt x="679" y="408"/>
                    <a:pt x="679" y="408"/>
                    <a:pt x="679" y="408"/>
                  </a:cubicBezTo>
                  <a:cubicBezTo>
                    <a:pt x="679" y="408"/>
                    <a:pt x="679" y="407"/>
                    <a:pt x="679" y="407"/>
                  </a:cubicBezTo>
                  <a:cubicBezTo>
                    <a:pt x="678" y="407"/>
                    <a:pt x="678" y="406"/>
                    <a:pt x="678" y="406"/>
                  </a:cubicBezTo>
                  <a:cubicBezTo>
                    <a:pt x="678" y="405"/>
                    <a:pt x="677" y="405"/>
                    <a:pt x="678" y="405"/>
                  </a:cubicBezTo>
                  <a:cubicBezTo>
                    <a:pt x="678" y="405"/>
                    <a:pt x="678" y="405"/>
                    <a:pt x="678" y="404"/>
                  </a:cubicBezTo>
                  <a:cubicBezTo>
                    <a:pt x="678" y="405"/>
                    <a:pt x="677" y="405"/>
                    <a:pt x="677" y="404"/>
                  </a:cubicBezTo>
                  <a:cubicBezTo>
                    <a:pt x="677" y="403"/>
                    <a:pt x="677" y="402"/>
                    <a:pt x="677" y="401"/>
                  </a:cubicBezTo>
                  <a:cubicBezTo>
                    <a:pt x="677" y="401"/>
                    <a:pt x="677" y="401"/>
                    <a:pt x="677" y="401"/>
                  </a:cubicBezTo>
                  <a:cubicBezTo>
                    <a:pt x="677" y="401"/>
                    <a:pt x="677" y="401"/>
                    <a:pt x="677" y="401"/>
                  </a:cubicBezTo>
                  <a:cubicBezTo>
                    <a:pt x="678" y="402"/>
                    <a:pt x="678" y="402"/>
                    <a:pt x="679" y="403"/>
                  </a:cubicBezTo>
                  <a:cubicBezTo>
                    <a:pt x="679" y="403"/>
                    <a:pt x="679" y="404"/>
                    <a:pt x="680" y="404"/>
                  </a:cubicBezTo>
                  <a:cubicBezTo>
                    <a:pt x="680" y="405"/>
                    <a:pt x="680" y="405"/>
                    <a:pt x="680" y="406"/>
                  </a:cubicBezTo>
                  <a:cubicBezTo>
                    <a:pt x="680" y="407"/>
                    <a:pt x="680" y="407"/>
                    <a:pt x="681" y="407"/>
                  </a:cubicBezTo>
                  <a:cubicBezTo>
                    <a:pt x="681" y="406"/>
                    <a:pt x="681" y="406"/>
                    <a:pt x="682" y="406"/>
                  </a:cubicBezTo>
                  <a:cubicBezTo>
                    <a:pt x="682" y="406"/>
                    <a:pt x="682" y="406"/>
                    <a:pt x="682" y="406"/>
                  </a:cubicBezTo>
                  <a:cubicBezTo>
                    <a:pt x="683" y="407"/>
                    <a:pt x="683" y="406"/>
                    <a:pt x="684" y="407"/>
                  </a:cubicBezTo>
                  <a:cubicBezTo>
                    <a:pt x="684" y="407"/>
                    <a:pt x="685" y="407"/>
                    <a:pt x="686" y="407"/>
                  </a:cubicBezTo>
                  <a:cubicBezTo>
                    <a:pt x="686" y="407"/>
                    <a:pt x="686" y="407"/>
                    <a:pt x="687" y="407"/>
                  </a:cubicBezTo>
                  <a:cubicBezTo>
                    <a:pt x="687" y="407"/>
                    <a:pt x="687" y="407"/>
                    <a:pt x="686" y="408"/>
                  </a:cubicBezTo>
                  <a:cubicBezTo>
                    <a:pt x="686" y="408"/>
                    <a:pt x="686" y="408"/>
                    <a:pt x="687" y="409"/>
                  </a:cubicBezTo>
                  <a:cubicBezTo>
                    <a:pt x="687" y="409"/>
                    <a:pt x="688" y="410"/>
                    <a:pt x="688" y="411"/>
                  </a:cubicBezTo>
                  <a:cubicBezTo>
                    <a:pt x="688" y="411"/>
                    <a:pt x="688" y="411"/>
                    <a:pt x="688" y="411"/>
                  </a:cubicBezTo>
                  <a:cubicBezTo>
                    <a:pt x="689" y="412"/>
                    <a:pt x="689" y="412"/>
                    <a:pt x="689" y="413"/>
                  </a:cubicBezTo>
                  <a:cubicBezTo>
                    <a:pt x="689" y="414"/>
                    <a:pt x="690" y="414"/>
                    <a:pt x="690" y="414"/>
                  </a:cubicBezTo>
                  <a:cubicBezTo>
                    <a:pt x="690" y="415"/>
                    <a:pt x="690" y="415"/>
                    <a:pt x="690" y="415"/>
                  </a:cubicBezTo>
                  <a:cubicBezTo>
                    <a:pt x="690" y="416"/>
                    <a:pt x="690" y="416"/>
                    <a:pt x="690" y="416"/>
                  </a:cubicBezTo>
                  <a:cubicBezTo>
                    <a:pt x="690" y="417"/>
                    <a:pt x="690" y="417"/>
                    <a:pt x="690" y="417"/>
                  </a:cubicBezTo>
                  <a:cubicBezTo>
                    <a:pt x="690" y="418"/>
                    <a:pt x="690" y="418"/>
                    <a:pt x="691" y="419"/>
                  </a:cubicBezTo>
                  <a:cubicBezTo>
                    <a:pt x="691" y="419"/>
                    <a:pt x="691" y="420"/>
                    <a:pt x="691" y="420"/>
                  </a:cubicBezTo>
                  <a:close/>
                  <a:moveTo>
                    <a:pt x="687" y="415"/>
                  </a:moveTo>
                  <a:cubicBezTo>
                    <a:pt x="687" y="416"/>
                    <a:pt x="687" y="416"/>
                    <a:pt x="688" y="416"/>
                  </a:cubicBezTo>
                  <a:cubicBezTo>
                    <a:pt x="688" y="416"/>
                    <a:pt x="688" y="415"/>
                    <a:pt x="688" y="415"/>
                  </a:cubicBezTo>
                  <a:cubicBezTo>
                    <a:pt x="687" y="415"/>
                    <a:pt x="687" y="414"/>
                    <a:pt x="687" y="414"/>
                  </a:cubicBezTo>
                  <a:cubicBezTo>
                    <a:pt x="687" y="414"/>
                    <a:pt x="687" y="414"/>
                    <a:pt x="686" y="413"/>
                  </a:cubicBezTo>
                  <a:cubicBezTo>
                    <a:pt x="687" y="414"/>
                    <a:pt x="687" y="414"/>
                    <a:pt x="687" y="414"/>
                  </a:cubicBezTo>
                  <a:cubicBezTo>
                    <a:pt x="686" y="415"/>
                    <a:pt x="687" y="415"/>
                    <a:pt x="687" y="415"/>
                  </a:cubicBezTo>
                  <a:close/>
                  <a:moveTo>
                    <a:pt x="686" y="412"/>
                  </a:moveTo>
                  <a:cubicBezTo>
                    <a:pt x="686" y="412"/>
                    <a:pt x="686" y="412"/>
                    <a:pt x="686" y="412"/>
                  </a:cubicBezTo>
                  <a:cubicBezTo>
                    <a:pt x="686" y="412"/>
                    <a:pt x="686" y="412"/>
                    <a:pt x="685" y="412"/>
                  </a:cubicBezTo>
                  <a:cubicBezTo>
                    <a:pt x="686" y="412"/>
                    <a:pt x="686" y="412"/>
                    <a:pt x="686" y="412"/>
                  </a:cubicBezTo>
                  <a:cubicBezTo>
                    <a:pt x="686" y="412"/>
                    <a:pt x="686" y="412"/>
                    <a:pt x="686" y="413"/>
                  </a:cubicBezTo>
                  <a:cubicBezTo>
                    <a:pt x="686" y="413"/>
                    <a:pt x="686" y="412"/>
                    <a:pt x="686" y="412"/>
                  </a:cubicBezTo>
                  <a:close/>
                  <a:moveTo>
                    <a:pt x="686" y="413"/>
                  </a:moveTo>
                  <a:cubicBezTo>
                    <a:pt x="687" y="413"/>
                    <a:pt x="687" y="413"/>
                    <a:pt x="686" y="413"/>
                  </a:cubicBezTo>
                  <a:cubicBezTo>
                    <a:pt x="686" y="413"/>
                    <a:pt x="686" y="413"/>
                    <a:pt x="686" y="413"/>
                  </a:cubicBezTo>
                  <a:cubicBezTo>
                    <a:pt x="686" y="413"/>
                    <a:pt x="686" y="413"/>
                    <a:pt x="686" y="413"/>
                  </a:cubicBezTo>
                  <a:close/>
                  <a:moveTo>
                    <a:pt x="721" y="475"/>
                  </a:moveTo>
                  <a:cubicBezTo>
                    <a:pt x="721" y="475"/>
                    <a:pt x="721" y="475"/>
                    <a:pt x="721" y="475"/>
                  </a:cubicBezTo>
                  <a:cubicBezTo>
                    <a:pt x="720" y="475"/>
                    <a:pt x="720" y="475"/>
                    <a:pt x="720" y="476"/>
                  </a:cubicBezTo>
                  <a:cubicBezTo>
                    <a:pt x="720" y="476"/>
                    <a:pt x="720" y="476"/>
                    <a:pt x="720" y="476"/>
                  </a:cubicBezTo>
                  <a:cubicBezTo>
                    <a:pt x="720" y="477"/>
                    <a:pt x="720" y="477"/>
                    <a:pt x="720" y="478"/>
                  </a:cubicBezTo>
                  <a:cubicBezTo>
                    <a:pt x="720" y="478"/>
                    <a:pt x="719" y="478"/>
                    <a:pt x="719" y="479"/>
                  </a:cubicBezTo>
                  <a:cubicBezTo>
                    <a:pt x="719" y="479"/>
                    <a:pt x="719" y="480"/>
                    <a:pt x="720" y="480"/>
                  </a:cubicBezTo>
                  <a:cubicBezTo>
                    <a:pt x="720" y="480"/>
                    <a:pt x="720" y="480"/>
                    <a:pt x="720" y="480"/>
                  </a:cubicBezTo>
                  <a:cubicBezTo>
                    <a:pt x="720" y="480"/>
                    <a:pt x="720" y="480"/>
                    <a:pt x="720" y="480"/>
                  </a:cubicBezTo>
                  <a:cubicBezTo>
                    <a:pt x="720" y="480"/>
                    <a:pt x="720" y="479"/>
                    <a:pt x="721" y="479"/>
                  </a:cubicBezTo>
                  <a:cubicBezTo>
                    <a:pt x="721" y="479"/>
                    <a:pt x="721" y="479"/>
                    <a:pt x="721" y="479"/>
                  </a:cubicBezTo>
                  <a:cubicBezTo>
                    <a:pt x="721" y="480"/>
                    <a:pt x="722" y="480"/>
                    <a:pt x="722" y="480"/>
                  </a:cubicBezTo>
                  <a:cubicBezTo>
                    <a:pt x="722" y="479"/>
                    <a:pt x="723" y="479"/>
                    <a:pt x="723" y="479"/>
                  </a:cubicBezTo>
                  <a:cubicBezTo>
                    <a:pt x="723" y="479"/>
                    <a:pt x="722" y="479"/>
                    <a:pt x="722" y="479"/>
                  </a:cubicBezTo>
                  <a:cubicBezTo>
                    <a:pt x="722" y="479"/>
                    <a:pt x="723" y="478"/>
                    <a:pt x="723" y="478"/>
                  </a:cubicBezTo>
                  <a:cubicBezTo>
                    <a:pt x="723" y="478"/>
                    <a:pt x="722" y="478"/>
                    <a:pt x="722" y="478"/>
                  </a:cubicBezTo>
                  <a:cubicBezTo>
                    <a:pt x="722" y="477"/>
                    <a:pt x="722" y="477"/>
                    <a:pt x="722" y="477"/>
                  </a:cubicBezTo>
                  <a:cubicBezTo>
                    <a:pt x="722" y="476"/>
                    <a:pt x="722" y="476"/>
                    <a:pt x="722" y="476"/>
                  </a:cubicBezTo>
                  <a:cubicBezTo>
                    <a:pt x="722" y="476"/>
                    <a:pt x="722" y="476"/>
                    <a:pt x="722" y="476"/>
                  </a:cubicBezTo>
                  <a:cubicBezTo>
                    <a:pt x="722" y="476"/>
                    <a:pt x="721" y="476"/>
                    <a:pt x="721" y="475"/>
                  </a:cubicBezTo>
                  <a:cubicBezTo>
                    <a:pt x="721" y="475"/>
                    <a:pt x="721" y="475"/>
                    <a:pt x="721" y="475"/>
                  </a:cubicBezTo>
                  <a:close/>
                  <a:moveTo>
                    <a:pt x="722" y="483"/>
                  </a:moveTo>
                  <a:cubicBezTo>
                    <a:pt x="722" y="483"/>
                    <a:pt x="723" y="483"/>
                    <a:pt x="723" y="483"/>
                  </a:cubicBezTo>
                  <a:cubicBezTo>
                    <a:pt x="723" y="483"/>
                    <a:pt x="723" y="483"/>
                    <a:pt x="723" y="483"/>
                  </a:cubicBezTo>
                  <a:cubicBezTo>
                    <a:pt x="723" y="483"/>
                    <a:pt x="723" y="483"/>
                    <a:pt x="724" y="483"/>
                  </a:cubicBezTo>
                  <a:cubicBezTo>
                    <a:pt x="724" y="483"/>
                    <a:pt x="724" y="483"/>
                    <a:pt x="724" y="483"/>
                  </a:cubicBezTo>
                  <a:cubicBezTo>
                    <a:pt x="724" y="483"/>
                    <a:pt x="724" y="483"/>
                    <a:pt x="724" y="483"/>
                  </a:cubicBezTo>
                  <a:cubicBezTo>
                    <a:pt x="724" y="483"/>
                    <a:pt x="724" y="483"/>
                    <a:pt x="724" y="483"/>
                  </a:cubicBezTo>
                  <a:cubicBezTo>
                    <a:pt x="724" y="482"/>
                    <a:pt x="724" y="482"/>
                    <a:pt x="724" y="482"/>
                  </a:cubicBezTo>
                  <a:cubicBezTo>
                    <a:pt x="724" y="481"/>
                    <a:pt x="724" y="481"/>
                    <a:pt x="724" y="481"/>
                  </a:cubicBezTo>
                  <a:cubicBezTo>
                    <a:pt x="724" y="481"/>
                    <a:pt x="724" y="481"/>
                    <a:pt x="724" y="481"/>
                  </a:cubicBezTo>
                  <a:cubicBezTo>
                    <a:pt x="724" y="481"/>
                    <a:pt x="724" y="481"/>
                    <a:pt x="723" y="481"/>
                  </a:cubicBezTo>
                  <a:cubicBezTo>
                    <a:pt x="723" y="481"/>
                    <a:pt x="723" y="481"/>
                    <a:pt x="723" y="481"/>
                  </a:cubicBezTo>
                  <a:cubicBezTo>
                    <a:pt x="723" y="481"/>
                    <a:pt x="723" y="481"/>
                    <a:pt x="723" y="481"/>
                  </a:cubicBezTo>
                  <a:cubicBezTo>
                    <a:pt x="723" y="481"/>
                    <a:pt x="722" y="481"/>
                    <a:pt x="722" y="481"/>
                  </a:cubicBezTo>
                  <a:cubicBezTo>
                    <a:pt x="722" y="481"/>
                    <a:pt x="722" y="481"/>
                    <a:pt x="722" y="482"/>
                  </a:cubicBezTo>
                  <a:cubicBezTo>
                    <a:pt x="722" y="482"/>
                    <a:pt x="722" y="482"/>
                    <a:pt x="722" y="482"/>
                  </a:cubicBezTo>
                  <a:cubicBezTo>
                    <a:pt x="722" y="482"/>
                    <a:pt x="722" y="482"/>
                    <a:pt x="722" y="483"/>
                  </a:cubicBezTo>
                  <a:close/>
                  <a:moveTo>
                    <a:pt x="740" y="458"/>
                  </a:moveTo>
                  <a:cubicBezTo>
                    <a:pt x="740" y="458"/>
                    <a:pt x="739" y="455"/>
                    <a:pt x="739" y="455"/>
                  </a:cubicBezTo>
                  <a:cubicBezTo>
                    <a:pt x="738" y="455"/>
                    <a:pt x="738" y="455"/>
                    <a:pt x="738" y="455"/>
                  </a:cubicBezTo>
                  <a:cubicBezTo>
                    <a:pt x="736" y="455"/>
                    <a:pt x="736" y="455"/>
                    <a:pt x="736" y="455"/>
                  </a:cubicBezTo>
                  <a:cubicBezTo>
                    <a:pt x="735" y="454"/>
                    <a:pt x="735" y="454"/>
                    <a:pt x="735" y="454"/>
                  </a:cubicBezTo>
                  <a:cubicBezTo>
                    <a:pt x="734" y="452"/>
                    <a:pt x="734" y="452"/>
                    <a:pt x="734" y="452"/>
                  </a:cubicBezTo>
                  <a:cubicBezTo>
                    <a:pt x="734" y="452"/>
                    <a:pt x="733" y="451"/>
                    <a:pt x="733" y="451"/>
                  </a:cubicBezTo>
                  <a:cubicBezTo>
                    <a:pt x="732" y="451"/>
                    <a:pt x="730" y="449"/>
                    <a:pt x="730" y="449"/>
                  </a:cubicBezTo>
                  <a:cubicBezTo>
                    <a:pt x="728" y="448"/>
                    <a:pt x="728" y="448"/>
                    <a:pt x="728" y="448"/>
                  </a:cubicBezTo>
                  <a:cubicBezTo>
                    <a:pt x="726" y="448"/>
                    <a:pt x="726" y="448"/>
                    <a:pt x="726" y="448"/>
                  </a:cubicBezTo>
                  <a:cubicBezTo>
                    <a:pt x="726" y="448"/>
                    <a:pt x="720" y="443"/>
                    <a:pt x="720" y="443"/>
                  </a:cubicBezTo>
                  <a:cubicBezTo>
                    <a:pt x="720" y="443"/>
                    <a:pt x="716" y="443"/>
                    <a:pt x="716" y="443"/>
                  </a:cubicBezTo>
                  <a:cubicBezTo>
                    <a:pt x="716" y="439"/>
                    <a:pt x="716" y="439"/>
                    <a:pt x="716" y="439"/>
                  </a:cubicBezTo>
                  <a:cubicBezTo>
                    <a:pt x="713" y="437"/>
                    <a:pt x="713" y="437"/>
                    <a:pt x="713" y="437"/>
                  </a:cubicBezTo>
                  <a:cubicBezTo>
                    <a:pt x="713" y="435"/>
                    <a:pt x="713" y="435"/>
                    <a:pt x="713" y="435"/>
                  </a:cubicBezTo>
                  <a:cubicBezTo>
                    <a:pt x="714" y="434"/>
                    <a:pt x="714" y="434"/>
                    <a:pt x="714" y="434"/>
                  </a:cubicBezTo>
                  <a:cubicBezTo>
                    <a:pt x="714" y="432"/>
                    <a:pt x="714" y="432"/>
                    <a:pt x="714" y="432"/>
                  </a:cubicBezTo>
                  <a:cubicBezTo>
                    <a:pt x="710" y="432"/>
                    <a:pt x="710" y="432"/>
                    <a:pt x="710" y="432"/>
                  </a:cubicBezTo>
                  <a:cubicBezTo>
                    <a:pt x="710" y="432"/>
                    <a:pt x="710" y="430"/>
                    <a:pt x="710" y="430"/>
                  </a:cubicBezTo>
                  <a:cubicBezTo>
                    <a:pt x="711" y="430"/>
                    <a:pt x="711" y="429"/>
                    <a:pt x="711" y="429"/>
                  </a:cubicBezTo>
                  <a:cubicBezTo>
                    <a:pt x="696" y="401"/>
                    <a:pt x="696" y="401"/>
                    <a:pt x="696" y="401"/>
                  </a:cubicBezTo>
                  <a:cubicBezTo>
                    <a:pt x="697" y="399"/>
                    <a:pt x="697" y="399"/>
                    <a:pt x="697" y="399"/>
                  </a:cubicBezTo>
                  <a:cubicBezTo>
                    <a:pt x="691" y="392"/>
                    <a:pt x="691" y="392"/>
                    <a:pt x="691" y="392"/>
                  </a:cubicBezTo>
                  <a:cubicBezTo>
                    <a:pt x="686" y="389"/>
                    <a:pt x="686" y="389"/>
                    <a:pt x="686" y="389"/>
                  </a:cubicBezTo>
                  <a:cubicBezTo>
                    <a:pt x="685" y="388"/>
                    <a:pt x="685" y="388"/>
                    <a:pt x="685" y="388"/>
                  </a:cubicBezTo>
                  <a:cubicBezTo>
                    <a:pt x="684" y="386"/>
                    <a:pt x="684" y="386"/>
                    <a:pt x="684" y="386"/>
                  </a:cubicBezTo>
                  <a:cubicBezTo>
                    <a:pt x="684" y="384"/>
                    <a:pt x="684" y="384"/>
                    <a:pt x="684" y="384"/>
                  </a:cubicBezTo>
                  <a:cubicBezTo>
                    <a:pt x="680" y="380"/>
                    <a:pt x="680" y="380"/>
                    <a:pt x="680" y="380"/>
                  </a:cubicBezTo>
                  <a:cubicBezTo>
                    <a:pt x="680" y="379"/>
                    <a:pt x="680" y="379"/>
                    <a:pt x="680" y="379"/>
                  </a:cubicBezTo>
                  <a:cubicBezTo>
                    <a:pt x="676" y="377"/>
                    <a:pt x="676" y="377"/>
                    <a:pt x="676" y="377"/>
                  </a:cubicBezTo>
                  <a:cubicBezTo>
                    <a:pt x="676" y="375"/>
                    <a:pt x="676" y="375"/>
                    <a:pt x="676" y="375"/>
                  </a:cubicBezTo>
                  <a:cubicBezTo>
                    <a:pt x="675" y="375"/>
                    <a:pt x="675" y="375"/>
                    <a:pt x="675" y="375"/>
                  </a:cubicBezTo>
                  <a:cubicBezTo>
                    <a:pt x="675" y="373"/>
                    <a:pt x="675" y="373"/>
                    <a:pt x="675" y="373"/>
                  </a:cubicBezTo>
                  <a:cubicBezTo>
                    <a:pt x="675" y="373"/>
                    <a:pt x="675" y="373"/>
                    <a:pt x="675" y="373"/>
                  </a:cubicBezTo>
                  <a:cubicBezTo>
                    <a:pt x="675" y="371"/>
                    <a:pt x="675" y="371"/>
                    <a:pt x="675" y="371"/>
                  </a:cubicBezTo>
                  <a:cubicBezTo>
                    <a:pt x="670" y="365"/>
                    <a:pt x="670" y="365"/>
                    <a:pt x="670" y="365"/>
                  </a:cubicBezTo>
                  <a:cubicBezTo>
                    <a:pt x="669" y="365"/>
                    <a:pt x="669" y="365"/>
                    <a:pt x="669" y="365"/>
                  </a:cubicBezTo>
                  <a:cubicBezTo>
                    <a:pt x="662" y="369"/>
                    <a:pt x="662" y="369"/>
                    <a:pt x="662" y="369"/>
                  </a:cubicBezTo>
                  <a:cubicBezTo>
                    <a:pt x="658" y="370"/>
                    <a:pt x="658" y="370"/>
                    <a:pt x="658" y="370"/>
                  </a:cubicBezTo>
                  <a:cubicBezTo>
                    <a:pt x="659" y="370"/>
                    <a:pt x="659" y="370"/>
                    <a:pt x="659" y="370"/>
                  </a:cubicBezTo>
                  <a:cubicBezTo>
                    <a:pt x="660" y="371"/>
                    <a:pt x="660" y="371"/>
                    <a:pt x="660" y="371"/>
                  </a:cubicBezTo>
                  <a:cubicBezTo>
                    <a:pt x="660" y="371"/>
                    <a:pt x="660" y="372"/>
                    <a:pt x="660" y="372"/>
                  </a:cubicBezTo>
                  <a:cubicBezTo>
                    <a:pt x="660" y="372"/>
                    <a:pt x="659" y="374"/>
                    <a:pt x="659" y="374"/>
                  </a:cubicBezTo>
                  <a:cubicBezTo>
                    <a:pt x="657" y="374"/>
                    <a:pt x="657" y="374"/>
                    <a:pt x="657" y="374"/>
                  </a:cubicBezTo>
                  <a:cubicBezTo>
                    <a:pt x="657" y="378"/>
                    <a:pt x="657" y="378"/>
                    <a:pt x="657" y="378"/>
                  </a:cubicBezTo>
                  <a:cubicBezTo>
                    <a:pt x="656" y="381"/>
                    <a:pt x="656" y="381"/>
                    <a:pt x="656" y="381"/>
                  </a:cubicBezTo>
                  <a:cubicBezTo>
                    <a:pt x="652" y="381"/>
                    <a:pt x="652" y="381"/>
                    <a:pt x="652" y="381"/>
                  </a:cubicBezTo>
                  <a:cubicBezTo>
                    <a:pt x="643" y="388"/>
                    <a:pt x="643" y="388"/>
                    <a:pt x="643" y="388"/>
                  </a:cubicBezTo>
                  <a:cubicBezTo>
                    <a:pt x="642" y="379"/>
                    <a:pt x="642" y="379"/>
                    <a:pt x="642" y="379"/>
                  </a:cubicBezTo>
                  <a:cubicBezTo>
                    <a:pt x="629" y="365"/>
                    <a:pt x="629" y="365"/>
                    <a:pt x="629" y="365"/>
                  </a:cubicBezTo>
                  <a:cubicBezTo>
                    <a:pt x="629" y="364"/>
                    <a:pt x="629" y="364"/>
                    <a:pt x="629" y="364"/>
                  </a:cubicBezTo>
                  <a:cubicBezTo>
                    <a:pt x="628" y="362"/>
                    <a:pt x="628" y="362"/>
                    <a:pt x="628" y="362"/>
                  </a:cubicBezTo>
                  <a:cubicBezTo>
                    <a:pt x="624" y="360"/>
                    <a:pt x="624" y="360"/>
                    <a:pt x="624" y="360"/>
                  </a:cubicBezTo>
                  <a:cubicBezTo>
                    <a:pt x="622" y="358"/>
                    <a:pt x="622" y="358"/>
                    <a:pt x="622" y="358"/>
                  </a:cubicBezTo>
                  <a:cubicBezTo>
                    <a:pt x="622" y="358"/>
                    <a:pt x="622" y="356"/>
                    <a:pt x="622" y="356"/>
                  </a:cubicBezTo>
                  <a:cubicBezTo>
                    <a:pt x="622" y="356"/>
                    <a:pt x="623" y="353"/>
                    <a:pt x="623" y="353"/>
                  </a:cubicBezTo>
                  <a:cubicBezTo>
                    <a:pt x="623" y="353"/>
                    <a:pt x="623" y="351"/>
                    <a:pt x="623" y="351"/>
                  </a:cubicBezTo>
                  <a:cubicBezTo>
                    <a:pt x="615" y="351"/>
                    <a:pt x="615" y="351"/>
                    <a:pt x="615" y="351"/>
                  </a:cubicBezTo>
                  <a:cubicBezTo>
                    <a:pt x="612" y="355"/>
                    <a:pt x="612" y="355"/>
                    <a:pt x="612" y="355"/>
                  </a:cubicBezTo>
                  <a:cubicBezTo>
                    <a:pt x="612" y="355"/>
                    <a:pt x="606" y="351"/>
                    <a:pt x="606" y="352"/>
                  </a:cubicBezTo>
                  <a:cubicBezTo>
                    <a:pt x="606" y="352"/>
                    <a:pt x="605" y="354"/>
                    <a:pt x="605" y="354"/>
                  </a:cubicBezTo>
                  <a:cubicBezTo>
                    <a:pt x="599" y="352"/>
                    <a:pt x="599" y="352"/>
                    <a:pt x="599" y="352"/>
                  </a:cubicBezTo>
                  <a:cubicBezTo>
                    <a:pt x="599" y="64"/>
                    <a:pt x="599" y="64"/>
                    <a:pt x="599" y="64"/>
                  </a:cubicBezTo>
                  <a:cubicBezTo>
                    <a:pt x="598" y="64"/>
                    <a:pt x="598" y="64"/>
                    <a:pt x="598" y="64"/>
                  </a:cubicBezTo>
                  <a:cubicBezTo>
                    <a:pt x="597" y="64"/>
                    <a:pt x="597" y="63"/>
                    <a:pt x="597" y="64"/>
                  </a:cubicBezTo>
                  <a:cubicBezTo>
                    <a:pt x="596" y="64"/>
                    <a:pt x="596" y="65"/>
                    <a:pt x="595" y="65"/>
                  </a:cubicBezTo>
                  <a:cubicBezTo>
                    <a:pt x="595" y="65"/>
                    <a:pt x="594" y="65"/>
                    <a:pt x="594" y="64"/>
                  </a:cubicBezTo>
                  <a:cubicBezTo>
                    <a:pt x="593" y="63"/>
                    <a:pt x="592" y="63"/>
                    <a:pt x="591" y="62"/>
                  </a:cubicBezTo>
                  <a:cubicBezTo>
                    <a:pt x="591" y="62"/>
                    <a:pt x="591" y="61"/>
                    <a:pt x="590" y="60"/>
                  </a:cubicBezTo>
                  <a:cubicBezTo>
                    <a:pt x="590" y="61"/>
                    <a:pt x="589" y="61"/>
                    <a:pt x="588" y="61"/>
                  </a:cubicBezTo>
                  <a:cubicBezTo>
                    <a:pt x="589" y="61"/>
                    <a:pt x="589" y="60"/>
                    <a:pt x="590" y="60"/>
                  </a:cubicBezTo>
                  <a:cubicBezTo>
                    <a:pt x="588" y="60"/>
                    <a:pt x="587" y="59"/>
                    <a:pt x="586" y="59"/>
                  </a:cubicBezTo>
                  <a:cubicBezTo>
                    <a:pt x="586" y="59"/>
                    <a:pt x="585" y="59"/>
                    <a:pt x="585" y="59"/>
                  </a:cubicBezTo>
                  <a:cubicBezTo>
                    <a:pt x="585" y="58"/>
                    <a:pt x="585" y="58"/>
                    <a:pt x="585" y="58"/>
                  </a:cubicBezTo>
                  <a:cubicBezTo>
                    <a:pt x="586" y="58"/>
                    <a:pt x="585" y="57"/>
                    <a:pt x="584" y="57"/>
                  </a:cubicBezTo>
                  <a:cubicBezTo>
                    <a:pt x="584" y="57"/>
                    <a:pt x="583" y="57"/>
                    <a:pt x="583" y="57"/>
                  </a:cubicBezTo>
                  <a:cubicBezTo>
                    <a:pt x="583" y="57"/>
                    <a:pt x="583" y="56"/>
                    <a:pt x="583" y="56"/>
                  </a:cubicBezTo>
                  <a:cubicBezTo>
                    <a:pt x="583" y="56"/>
                    <a:pt x="582" y="56"/>
                    <a:pt x="582" y="55"/>
                  </a:cubicBezTo>
                  <a:cubicBezTo>
                    <a:pt x="581" y="55"/>
                    <a:pt x="581" y="54"/>
                    <a:pt x="581" y="54"/>
                  </a:cubicBezTo>
                  <a:cubicBezTo>
                    <a:pt x="581" y="54"/>
                    <a:pt x="580" y="54"/>
                    <a:pt x="580" y="54"/>
                  </a:cubicBezTo>
                  <a:cubicBezTo>
                    <a:pt x="579" y="53"/>
                    <a:pt x="579" y="53"/>
                    <a:pt x="579" y="53"/>
                  </a:cubicBezTo>
                  <a:cubicBezTo>
                    <a:pt x="579" y="52"/>
                    <a:pt x="579" y="52"/>
                    <a:pt x="579" y="51"/>
                  </a:cubicBezTo>
                  <a:cubicBezTo>
                    <a:pt x="579" y="51"/>
                    <a:pt x="579" y="51"/>
                    <a:pt x="578" y="51"/>
                  </a:cubicBezTo>
                  <a:cubicBezTo>
                    <a:pt x="578" y="51"/>
                    <a:pt x="577" y="50"/>
                    <a:pt x="576" y="50"/>
                  </a:cubicBezTo>
                  <a:cubicBezTo>
                    <a:pt x="576" y="49"/>
                    <a:pt x="576" y="49"/>
                    <a:pt x="575" y="49"/>
                  </a:cubicBezTo>
                  <a:cubicBezTo>
                    <a:pt x="574" y="49"/>
                    <a:pt x="573" y="49"/>
                    <a:pt x="573" y="48"/>
                  </a:cubicBezTo>
                  <a:cubicBezTo>
                    <a:pt x="572" y="48"/>
                    <a:pt x="572" y="48"/>
                    <a:pt x="572" y="48"/>
                  </a:cubicBezTo>
                  <a:cubicBezTo>
                    <a:pt x="571" y="48"/>
                    <a:pt x="571" y="48"/>
                    <a:pt x="571" y="48"/>
                  </a:cubicBezTo>
                  <a:cubicBezTo>
                    <a:pt x="570" y="48"/>
                    <a:pt x="570" y="48"/>
                    <a:pt x="570" y="48"/>
                  </a:cubicBezTo>
                  <a:cubicBezTo>
                    <a:pt x="569" y="49"/>
                    <a:pt x="568" y="48"/>
                    <a:pt x="568" y="48"/>
                  </a:cubicBezTo>
                  <a:cubicBezTo>
                    <a:pt x="567" y="48"/>
                    <a:pt x="566" y="49"/>
                    <a:pt x="565" y="48"/>
                  </a:cubicBezTo>
                  <a:cubicBezTo>
                    <a:pt x="565" y="48"/>
                    <a:pt x="565" y="47"/>
                    <a:pt x="565" y="46"/>
                  </a:cubicBezTo>
                  <a:cubicBezTo>
                    <a:pt x="565" y="46"/>
                    <a:pt x="564" y="46"/>
                    <a:pt x="564" y="47"/>
                  </a:cubicBezTo>
                  <a:cubicBezTo>
                    <a:pt x="564" y="47"/>
                    <a:pt x="564" y="48"/>
                    <a:pt x="564" y="48"/>
                  </a:cubicBezTo>
                  <a:cubicBezTo>
                    <a:pt x="564" y="48"/>
                    <a:pt x="563" y="48"/>
                    <a:pt x="563" y="49"/>
                  </a:cubicBezTo>
                  <a:cubicBezTo>
                    <a:pt x="562" y="49"/>
                    <a:pt x="561" y="49"/>
                    <a:pt x="561" y="49"/>
                  </a:cubicBezTo>
                  <a:cubicBezTo>
                    <a:pt x="560" y="49"/>
                    <a:pt x="560" y="50"/>
                    <a:pt x="559" y="50"/>
                  </a:cubicBezTo>
                  <a:cubicBezTo>
                    <a:pt x="558" y="50"/>
                    <a:pt x="557" y="50"/>
                    <a:pt x="557" y="51"/>
                  </a:cubicBezTo>
                  <a:cubicBezTo>
                    <a:pt x="556" y="51"/>
                    <a:pt x="556" y="52"/>
                    <a:pt x="555" y="52"/>
                  </a:cubicBezTo>
                  <a:cubicBezTo>
                    <a:pt x="555" y="52"/>
                    <a:pt x="555" y="51"/>
                    <a:pt x="555" y="51"/>
                  </a:cubicBezTo>
                  <a:cubicBezTo>
                    <a:pt x="554" y="51"/>
                    <a:pt x="554" y="51"/>
                    <a:pt x="554" y="52"/>
                  </a:cubicBezTo>
                  <a:cubicBezTo>
                    <a:pt x="552" y="52"/>
                    <a:pt x="551" y="52"/>
                    <a:pt x="549" y="53"/>
                  </a:cubicBezTo>
                  <a:cubicBezTo>
                    <a:pt x="549" y="53"/>
                    <a:pt x="548" y="53"/>
                    <a:pt x="548" y="53"/>
                  </a:cubicBezTo>
                  <a:cubicBezTo>
                    <a:pt x="548" y="53"/>
                    <a:pt x="548" y="52"/>
                    <a:pt x="548" y="52"/>
                  </a:cubicBezTo>
                  <a:cubicBezTo>
                    <a:pt x="546" y="52"/>
                    <a:pt x="545" y="52"/>
                    <a:pt x="543" y="51"/>
                  </a:cubicBezTo>
                  <a:cubicBezTo>
                    <a:pt x="543" y="51"/>
                    <a:pt x="543" y="50"/>
                    <a:pt x="542" y="50"/>
                  </a:cubicBezTo>
                  <a:cubicBezTo>
                    <a:pt x="541" y="50"/>
                    <a:pt x="541" y="50"/>
                    <a:pt x="540" y="50"/>
                  </a:cubicBezTo>
                  <a:cubicBezTo>
                    <a:pt x="540" y="49"/>
                    <a:pt x="540" y="49"/>
                    <a:pt x="540" y="49"/>
                  </a:cubicBezTo>
                  <a:cubicBezTo>
                    <a:pt x="539" y="48"/>
                    <a:pt x="539" y="48"/>
                    <a:pt x="538" y="47"/>
                  </a:cubicBezTo>
                  <a:cubicBezTo>
                    <a:pt x="538" y="47"/>
                    <a:pt x="538" y="47"/>
                    <a:pt x="538" y="47"/>
                  </a:cubicBezTo>
                  <a:cubicBezTo>
                    <a:pt x="538" y="47"/>
                    <a:pt x="538" y="47"/>
                    <a:pt x="537" y="47"/>
                  </a:cubicBezTo>
                  <a:cubicBezTo>
                    <a:pt x="536" y="48"/>
                    <a:pt x="535" y="48"/>
                    <a:pt x="534" y="49"/>
                  </a:cubicBezTo>
                  <a:cubicBezTo>
                    <a:pt x="534" y="48"/>
                    <a:pt x="535" y="48"/>
                    <a:pt x="535" y="48"/>
                  </a:cubicBezTo>
                  <a:cubicBezTo>
                    <a:pt x="535" y="48"/>
                    <a:pt x="535" y="48"/>
                    <a:pt x="536" y="47"/>
                  </a:cubicBezTo>
                  <a:cubicBezTo>
                    <a:pt x="536" y="47"/>
                    <a:pt x="535" y="47"/>
                    <a:pt x="535" y="47"/>
                  </a:cubicBezTo>
                  <a:cubicBezTo>
                    <a:pt x="533" y="45"/>
                    <a:pt x="532" y="45"/>
                    <a:pt x="530" y="45"/>
                  </a:cubicBezTo>
                  <a:cubicBezTo>
                    <a:pt x="528" y="45"/>
                    <a:pt x="526" y="45"/>
                    <a:pt x="523" y="45"/>
                  </a:cubicBezTo>
                  <a:cubicBezTo>
                    <a:pt x="522" y="46"/>
                    <a:pt x="521" y="46"/>
                    <a:pt x="520" y="46"/>
                  </a:cubicBezTo>
                  <a:cubicBezTo>
                    <a:pt x="519" y="46"/>
                    <a:pt x="519" y="45"/>
                    <a:pt x="518" y="45"/>
                  </a:cubicBezTo>
                  <a:cubicBezTo>
                    <a:pt x="518" y="46"/>
                    <a:pt x="518" y="47"/>
                    <a:pt x="518" y="48"/>
                  </a:cubicBezTo>
                  <a:cubicBezTo>
                    <a:pt x="518" y="48"/>
                    <a:pt x="518" y="47"/>
                    <a:pt x="518" y="46"/>
                  </a:cubicBezTo>
                  <a:cubicBezTo>
                    <a:pt x="518" y="45"/>
                    <a:pt x="517" y="45"/>
                    <a:pt x="516" y="45"/>
                  </a:cubicBezTo>
                  <a:cubicBezTo>
                    <a:pt x="515" y="45"/>
                    <a:pt x="514" y="45"/>
                    <a:pt x="514" y="44"/>
                  </a:cubicBezTo>
                  <a:cubicBezTo>
                    <a:pt x="513" y="44"/>
                    <a:pt x="512" y="43"/>
                    <a:pt x="510" y="43"/>
                  </a:cubicBezTo>
                  <a:cubicBezTo>
                    <a:pt x="510" y="43"/>
                    <a:pt x="509" y="44"/>
                    <a:pt x="509" y="44"/>
                  </a:cubicBezTo>
                  <a:cubicBezTo>
                    <a:pt x="508" y="46"/>
                    <a:pt x="507" y="47"/>
                    <a:pt x="505" y="49"/>
                  </a:cubicBezTo>
                  <a:cubicBezTo>
                    <a:pt x="504" y="50"/>
                    <a:pt x="503" y="51"/>
                    <a:pt x="502" y="52"/>
                  </a:cubicBezTo>
                  <a:cubicBezTo>
                    <a:pt x="502" y="52"/>
                    <a:pt x="501" y="53"/>
                    <a:pt x="500" y="54"/>
                  </a:cubicBezTo>
                  <a:cubicBezTo>
                    <a:pt x="499" y="55"/>
                    <a:pt x="500" y="57"/>
                    <a:pt x="500" y="59"/>
                  </a:cubicBezTo>
                  <a:cubicBezTo>
                    <a:pt x="500" y="60"/>
                    <a:pt x="500" y="61"/>
                    <a:pt x="501" y="62"/>
                  </a:cubicBezTo>
                  <a:cubicBezTo>
                    <a:pt x="501" y="65"/>
                    <a:pt x="502" y="67"/>
                    <a:pt x="503" y="70"/>
                  </a:cubicBezTo>
                  <a:cubicBezTo>
                    <a:pt x="503" y="70"/>
                    <a:pt x="504" y="71"/>
                    <a:pt x="504" y="72"/>
                  </a:cubicBezTo>
                  <a:cubicBezTo>
                    <a:pt x="504" y="72"/>
                    <a:pt x="504" y="72"/>
                    <a:pt x="504" y="73"/>
                  </a:cubicBezTo>
                  <a:cubicBezTo>
                    <a:pt x="504" y="73"/>
                    <a:pt x="505" y="73"/>
                    <a:pt x="505" y="74"/>
                  </a:cubicBezTo>
                  <a:cubicBezTo>
                    <a:pt x="505" y="74"/>
                    <a:pt x="505" y="74"/>
                    <a:pt x="504" y="73"/>
                  </a:cubicBezTo>
                  <a:cubicBezTo>
                    <a:pt x="504" y="73"/>
                    <a:pt x="504" y="73"/>
                    <a:pt x="504" y="72"/>
                  </a:cubicBezTo>
                  <a:cubicBezTo>
                    <a:pt x="504" y="72"/>
                    <a:pt x="503" y="71"/>
                    <a:pt x="503" y="71"/>
                  </a:cubicBezTo>
                  <a:cubicBezTo>
                    <a:pt x="502" y="70"/>
                    <a:pt x="502" y="70"/>
                    <a:pt x="502" y="69"/>
                  </a:cubicBezTo>
                  <a:cubicBezTo>
                    <a:pt x="502" y="68"/>
                    <a:pt x="501" y="68"/>
                    <a:pt x="501" y="67"/>
                  </a:cubicBezTo>
                  <a:cubicBezTo>
                    <a:pt x="500" y="63"/>
                    <a:pt x="499" y="60"/>
                    <a:pt x="499" y="56"/>
                  </a:cubicBezTo>
                  <a:cubicBezTo>
                    <a:pt x="499" y="55"/>
                    <a:pt x="500" y="53"/>
                    <a:pt x="500" y="51"/>
                  </a:cubicBezTo>
                  <a:cubicBezTo>
                    <a:pt x="501" y="50"/>
                    <a:pt x="502" y="48"/>
                    <a:pt x="502" y="47"/>
                  </a:cubicBezTo>
                  <a:cubicBezTo>
                    <a:pt x="503" y="46"/>
                    <a:pt x="503" y="44"/>
                    <a:pt x="504" y="44"/>
                  </a:cubicBezTo>
                  <a:cubicBezTo>
                    <a:pt x="504" y="43"/>
                    <a:pt x="505" y="43"/>
                    <a:pt x="505" y="43"/>
                  </a:cubicBezTo>
                  <a:cubicBezTo>
                    <a:pt x="505" y="42"/>
                    <a:pt x="506" y="41"/>
                    <a:pt x="506" y="40"/>
                  </a:cubicBezTo>
                  <a:cubicBezTo>
                    <a:pt x="506" y="40"/>
                    <a:pt x="506" y="39"/>
                    <a:pt x="505" y="39"/>
                  </a:cubicBezTo>
                  <a:cubicBezTo>
                    <a:pt x="505" y="40"/>
                    <a:pt x="505" y="40"/>
                    <a:pt x="504" y="40"/>
                  </a:cubicBezTo>
                  <a:cubicBezTo>
                    <a:pt x="504" y="40"/>
                    <a:pt x="504" y="40"/>
                    <a:pt x="503" y="40"/>
                  </a:cubicBezTo>
                  <a:cubicBezTo>
                    <a:pt x="503" y="40"/>
                    <a:pt x="502" y="40"/>
                    <a:pt x="502" y="40"/>
                  </a:cubicBezTo>
                  <a:cubicBezTo>
                    <a:pt x="502" y="40"/>
                    <a:pt x="503" y="39"/>
                    <a:pt x="503" y="39"/>
                  </a:cubicBezTo>
                  <a:cubicBezTo>
                    <a:pt x="503" y="38"/>
                    <a:pt x="503" y="38"/>
                    <a:pt x="503" y="38"/>
                  </a:cubicBezTo>
                  <a:cubicBezTo>
                    <a:pt x="503" y="37"/>
                    <a:pt x="503" y="37"/>
                    <a:pt x="502" y="37"/>
                  </a:cubicBezTo>
                  <a:cubicBezTo>
                    <a:pt x="502" y="37"/>
                    <a:pt x="502" y="37"/>
                    <a:pt x="501" y="37"/>
                  </a:cubicBezTo>
                  <a:cubicBezTo>
                    <a:pt x="501" y="36"/>
                    <a:pt x="500" y="36"/>
                    <a:pt x="500" y="36"/>
                  </a:cubicBezTo>
                  <a:cubicBezTo>
                    <a:pt x="499" y="36"/>
                    <a:pt x="499" y="36"/>
                    <a:pt x="498" y="37"/>
                  </a:cubicBezTo>
                  <a:cubicBezTo>
                    <a:pt x="498" y="37"/>
                    <a:pt x="498" y="37"/>
                    <a:pt x="497" y="37"/>
                  </a:cubicBezTo>
                  <a:cubicBezTo>
                    <a:pt x="497" y="38"/>
                    <a:pt x="497" y="39"/>
                    <a:pt x="497" y="41"/>
                  </a:cubicBezTo>
                  <a:cubicBezTo>
                    <a:pt x="497" y="42"/>
                    <a:pt x="496" y="43"/>
                    <a:pt x="496" y="44"/>
                  </a:cubicBezTo>
                  <a:cubicBezTo>
                    <a:pt x="496" y="45"/>
                    <a:pt x="496" y="46"/>
                    <a:pt x="495" y="47"/>
                  </a:cubicBezTo>
                  <a:cubicBezTo>
                    <a:pt x="494" y="48"/>
                    <a:pt x="494" y="48"/>
                    <a:pt x="493" y="49"/>
                  </a:cubicBezTo>
                  <a:cubicBezTo>
                    <a:pt x="493" y="49"/>
                    <a:pt x="493" y="50"/>
                    <a:pt x="492" y="50"/>
                  </a:cubicBezTo>
                  <a:cubicBezTo>
                    <a:pt x="492" y="50"/>
                    <a:pt x="491" y="50"/>
                    <a:pt x="491" y="50"/>
                  </a:cubicBezTo>
                  <a:cubicBezTo>
                    <a:pt x="491" y="50"/>
                    <a:pt x="491" y="50"/>
                    <a:pt x="491" y="50"/>
                  </a:cubicBezTo>
                  <a:cubicBezTo>
                    <a:pt x="492" y="49"/>
                    <a:pt x="493" y="48"/>
                    <a:pt x="493" y="47"/>
                  </a:cubicBezTo>
                  <a:cubicBezTo>
                    <a:pt x="494" y="46"/>
                    <a:pt x="495" y="45"/>
                    <a:pt x="495" y="44"/>
                  </a:cubicBezTo>
                  <a:cubicBezTo>
                    <a:pt x="495" y="43"/>
                    <a:pt x="496" y="42"/>
                    <a:pt x="496" y="41"/>
                  </a:cubicBezTo>
                  <a:cubicBezTo>
                    <a:pt x="496" y="40"/>
                    <a:pt x="495" y="39"/>
                    <a:pt x="496" y="39"/>
                  </a:cubicBezTo>
                  <a:cubicBezTo>
                    <a:pt x="496" y="38"/>
                    <a:pt x="496" y="38"/>
                    <a:pt x="496" y="38"/>
                  </a:cubicBezTo>
                  <a:cubicBezTo>
                    <a:pt x="496" y="37"/>
                    <a:pt x="496" y="36"/>
                    <a:pt x="496" y="36"/>
                  </a:cubicBezTo>
                  <a:cubicBezTo>
                    <a:pt x="496" y="35"/>
                    <a:pt x="496" y="35"/>
                    <a:pt x="496" y="35"/>
                  </a:cubicBezTo>
                  <a:cubicBezTo>
                    <a:pt x="496" y="35"/>
                    <a:pt x="496" y="35"/>
                    <a:pt x="496" y="35"/>
                  </a:cubicBezTo>
                  <a:cubicBezTo>
                    <a:pt x="495" y="34"/>
                    <a:pt x="495" y="34"/>
                    <a:pt x="494" y="33"/>
                  </a:cubicBezTo>
                  <a:cubicBezTo>
                    <a:pt x="492" y="33"/>
                    <a:pt x="489" y="32"/>
                    <a:pt x="487" y="33"/>
                  </a:cubicBezTo>
                  <a:cubicBezTo>
                    <a:pt x="486" y="33"/>
                    <a:pt x="486" y="33"/>
                    <a:pt x="485" y="32"/>
                  </a:cubicBezTo>
                  <a:cubicBezTo>
                    <a:pt x="485" y="32"/>
                    <a:pt x="485" y="32"/>
                    <a:pt x="485" y="32"/>
                  </a:cubicBezTo>
                  <a:cubicBezTo>
                    <a:pt x="485" y="32"/>
                    <a:pt x="485" y="32"/>
                    <a:pt x="484" y="32"/>
                  </a:cubicBezTo>
                  <a:cubicBezTo>
                    <a:pt x="484" y="33"/>
                    <a:pt x="483" y="33"/>
                    <a:pt x="483" y="34"/>
                  </a:cubicBezTo>
                  <a:cubicBezTo>
                    <a:pt x="483" y="34"/>
                    <a:pt x="482" y="35"/>
                    <a:pt x="482" y="35"/>
                  </a:cubicBezTo>
                  <a:cubicBezTo>
                    <a:pt x="481" y="35"/>
                    <a:pt x="481" y="35"/>
                    <a:pt x="480" y="35"/>
                  </a:cubicBezTo>
                  <a:cubicBezTo>
                    <a:pt x="479" y="36"/>
                    <a:pt x="478" y="37"/>
                    <a:pt x="477" y="37"/>
                  </a:cubicBezTo>
                  <a:cubicBezTo>
                    <a:pt x="476" y="38"/>
                    <a:pt x="475" y="38"/>
                    <a:pt x="475" y="39"/>
                  </a:cubicBezTo>
                  <a:cubicBezTo>
                    <a:pt x="474" y="39"/>
                    <a:pt x="474" y="40"/>
                    <a:pt x="474" y="40"/>
                  </a:cubicBezTo>
                  <a:cubicBezTo>
                    <a:pt x="474" y="41"/>
                    <a:pt x="474" y="41"/>
                    <a:pt x="473" y="42"/>
                  </a:cubicBezTo>
                  <a:cubicBezTo>
                    <a:pt x="473" y="42"/>
                    <a:pt x="472" y="42"/>
                    <a:pt x="472" y="41"/>
                  </a:cubicBezTo>
                  <a:cubicBezTo>
                    <a:pt x="472" y="41"/>
                    <a:pt x="472" y="40"/>
                    <a:pt x="472" y="40"/>
                  </a:cubicBezTo>
                  <a:cubicBezTo>
                    <a:pt x="472" y="40"/>
                    <a:pt x="473" y="39"/>
                    <a:pt x="473" y="39"/>
                  </a:cubicBezTo>
                  <a:cubicBezTo>
                    <a:pt x="473" y="38"/>
                    <a:pt x="473" y="38"/>
                    <a:pt x="473" y="37"/>
                  </a:cubicBezTo>
                  <a:cubicBezTo>
                    <a:pt x="473" y="37"/>
                    <a:pt x="474" y="36"/>
                    <a:pt x="474" y="36"/>
                  </a:cubicBezTo>
                  <a:cubicBezTo>
                    <a:pt x="475" y="35"/>
                    <a:pt x="474" y="34"/>
                    <a:pt x="474" y="34"/>
                  </a:cubicBezTo>
                  <a:cubicBezTo>
                    <a:pt x="475" y="34"/>
                    <a:pt x="475" y="34"/>
                    <a:pt x="476" y="33"/>
                  </a:cubicBezTo>
                  <a:cubicBezTo>
                    <a:pt x="476" y="33"/>
                    <a:pt x="476" y="33"/>
                    <a:pt x="475" y="32"/>
                  </a:cubicBezTo>
                  <a:cubicBezTo>
                    <a:pt x="475" y="32"/>
                    <a:pt x="475" y="32"/>
                    <a:pt x="475" y="32"/>
                  </a:cubicBezTo>
                  <a:cubicBezTo>
                    <a:pt x="474" y="33"/>
                    <a:pt x="474" y="33"/>
                    <a:pt x="473" y="33"/>
                  </a:cubicBezTo>
                  <a:cubicBezTo>
                    <a:pt x="473" y="34"/>
                    <a:pt x="472" y="34"/>
                    <a:pt x="472" y="34"/>
                  </a:cubicBezTo>
                  <a:cubicBezTo>
                    <a:pt x="471" y="34"/>
                    <a:pt x="470" y="35"/>
                    <a:pt x="470" y="36"/>
                  </a:cubicBezTo>
                  <a:cubicBezTo>
                    <a:pt x="470" y="36"/>
                    <a:pt x="470" y="36"/>
                    <a:pt x="470" y="37"/>
                  </a:cubicBezTo>
                  <a:cubicBezTo>
                    <a:pt x="469" y="37"/>
                    <a:pt x="469" y="37"/>
                    <a:pt x="468" y="37"/>
                  </a:cubicBezTo>
                  <a:cubicBezTo>
                    <a:pt x="468" y="37"/>
                    <a:pt x="468" y="37"/>
                    <a:pt x="468" y="37"/>
                  </a:cubicBezTo>
                  <a:cubicBezTo>
                    <a:pt x="468" y="37"/>
                    <a:pt x="467" y="37"/>
                    <a:pt x="467" y="37"/>
                  </a:cubicBezTo>
                  <a:cubicBezTo>
                    <a:pt x="466" y="36"/>
                    <a:pt x="466" y="36"/>
                    <a:pt x="465" y="36"/>
                  </a:cubicBezTo>
                  <a:cubicBezTo>
                    <a:pt x="464" y="35"/>
                    <a:pt x="463" y="35"/>
                    <a:pt x="462" y="35"/>
                  </a:cubicBezTo>
                  <a:cubicBezTo>
                    <a:pt x="461" y="35"/>
                    <a:pt x="460" y="35"/>
                    <a:pt x="458" y="35"/>
                  </a:cubicBezTo>
                  <a:cubicBezTo>
                    <a:pt x="458" y="34"/>
                    <a:pt x="459" y="34"/>
                    <a:pt x="459" y="34"/>
                  </a:cubicBezTo>
                  <a:cubicBezTo>
                    <a:pt x="460" y="33"/>
                    <a:pt x="461" y="32"/>
                    <a:pt x="460" y="31"/>
                  </a:cubicBezTo>
                  <a:cubicBezTo>
                    <a:pt x="460" y="30"/>
                    <a:pt x="459" y="30"/>
                    <a:pt x="458" y="30"/>
                  </a:cubicBezTo>
                  <a:cubicBezTo>
                    <a:pt x="457" y="30"/>
                    <a:pt x="456" y="31"/>
                    <a:pt x="455" y="31"/>
                  </a:cubicBezTo>
                  <a:cubicBezTo>
                    <a:pt x="453" y="31"/>
                    <a:pt x="452" y="31"/>
                    <a:pt x="450" y="30"/>
                  </a:cubicBezTo>
                  <a:cubicBezTo>
                    <a:pt x="451" y="30"/>
                    <a:pt x="452" y="30"/>
                    <a:pt x="453" y="30"/>
                  </a:cubicBezTo>
                  <a:cubicBezTo>
                    <a:pt x="454" y="30"/>
                    <a:pt x="454" y="30"/>
                    <a:pt x="455" y="30"/>
                  </a:cubicBezTo>
                  <a:cubicBezTo>
                    <a:pt x="456" y="30"/>
                    <a:pt x="456" y="30"/>
                    <a:pt x="456" y="29"/>
                  </a:cubicBezTo>
                  <a:cubicBezTo>
                    <a:pt x="455" y="29"/>
                    <a:pt x="455" y="29"/>
                    <a:pt x="454" y="29"/>
                  </a:cubicBezTo>
                  <a:cubicBezTo>
                    <a:pt x="454" y="28"/>
                    <a:pt x="454" y="28"/>
                    <a:pt x="453" y="28"/>
                  </a:cubicBezTo>
                  <a:cubicBezTo>
                    <a:pt x="452" y="28"/>
                    <a:pt x="451" y="27"/>
                    <a:pt x="451" y="26"/>
                  </a:cubicBezTo>
                  <a:cubicBezTo>
                    <a:pt x="451" y="26"/>
                    <a:pt x="452" y="25"/>
                    <a:pt x="452" y="24"/>
                  </a:cubicBezTo>
                  <a:cubicBezTo>
                    <a:pt x="453" y="23"/>
                    <a:pt x="453" y="22"/>
                    <a:pt x="454" y="21"/>
                  </a:cubicBezTo>
                  <a:cubicBezTo>
                    <a:pt x="454" y="21"/>
                    <a:pt x="455" y="20"/>
                    <a:pt x="454" y="20"/>
                  </a:cubicBezTo>
                  <a:cubicBezTo>
                    <a:pt x="454" y="20"/>
                    <a:pt x="454" y="20"/>
                    <a:pt x="454" y="20"/>
                  </a:cubicBezTo>
                  <a:cubicBezTo>
                    <a:pt x="452" y="19"/>
                    <a:pt x="450" y="18"/>
                    <a:pt x="448" y="18"/>
                  </a:cubicBezTo>
                  <a:cubicBezTo>
                    <a:pt x="449" y="18"/>
                    <a:pt x="449" y="19"/>
                    <a:pt x="448" y="20"/>
                  </a:cubicBezTo>
                  <a:cubicBezTo>
                    <a:pt x="448" y="20"/>
                    <a:pt x="447" y="19"/>
                    <a:pt x="448" y="18"/>
                  </a:cubicBezTo>
                  <a:cubicBezTo>
                    <a:pt x="447" y="19"/>
                    <a:pt x="446" y="18"/>
                    <a:pt x="445" y="17"/>
                  </a:cubicBezTo>
                  <a:cubicBezTo>
                    <a:pt x="444" y="16"/>
                    <a:pt x="443" y="16"/>
                    <a:pt x="441" y="16"/>
                  </a:cubicBezTo>
                  <a:cubicBezTo>
                    <a:pt x="441" y="16"/>
                    <a:pt x="440" y="17"/>
                    <a:pt x="439" y="17"/>
                  </a:cubicBezTo>
                  <a:cubicBezTo>
                    <a:pt x="437" y="18"/>
                    <a:pt x="434" y="17"/>
                    <a:pt x="432" y="18"/>
                  </a:cubicBezTo>
                  <a:cubicBezTo>
                    <a:pt x="433" y="19"/>
                    <a:pt x="432" y="20"/>
                    <a:pt x="431" y="21"/>
                  </a:cubicBezTo>
                  <a:cubicBezTo>
                    <a:pt x="430" y="21"/>
                    <a:pt x="430" y="21"/>
                    <a:pt x="430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29" y="22"/>
                    <a:pt x="429" y="22"/>
                    <a:pt x="429" y="22"/>
                  </a:cubicBezTo>
                  <a:cubicBezTo>
                    <a:pt x="429" y="21"/>
                    <a:pt x="428" y="21"/>
                    <a:pt x="427" y="22"/>
                  </a:cubicBezTo>
                  <a:cubicBezTo>
                    <a:pt x="427" y="22"/>
                    <a:pt x="427" y="23"/>
                    <a:pt x="426" y="24"/>
                  </a:cubicBezTo>
                  <a:cubicBezTo>
                    <a:pt x="426" y="24"/>
                    <a:pt x="425" y="24"/>
                    <a:pt x="425" y="24"/>
                  </a:cubicBezTo>
                  <a:cubicBezTo>
                    <a:pt x="424" y="24"/>
                    <a:pt x="424" y="23"/>
                    <a:pt x="425" y="23"/>
                  </a:cubicBezTo>
                  <a:cubicBezTo>
                    <a:pt x="424" y="23"/>
                    <a:pt x="424" y="23"/>
                    <a:pt x="423" y="22"/>
                  </a:cubicBezTo>
                  <a:cubicBezTo>
                    <a:pt x="423" y="22"/>
                    <a:pt x="424" y="22"/>
                    <a:pt x="424" y="21"/>
                  </a:cubicBezTo>
                  <a:cubicBezTo>
                    <a:pt x="424" y="21"/>
                    <a:pt x="425" y="21"/>
                    <a:pt x="424" y="2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3" y="19"/>
                    <a:pt x="423" y="18"/>
                    <a:pt x="424" y="18"/>
                  </a:cubicBezTo>
                  <a:cubicBezTo>
                    <a:pt x="423" y="18"/>
                    <a:pt x="423" y="18"/>
                    <a:pt x="423" y="17"/>
                  </a:cubicBezTo>
                  <a:cubicBezTo>
                    <a:pt x="423" y="17"/>
                    <a:pt x="424" y="16"/>
                    <a:pt x="424" y="15"/>
                  </a:cubicBezTo>
                  <a:cubicBezTo>
                    <a:pt x="424" y="14"/>
                    <a:pt x="424" y="12"/>
                    <a:pt x="423" y="12"/>
                  </a:cubicBezTo>
                  <a:cubicBezTo>
                    <a:pt x="423" y="12"/>
                    <a:pt x="423" y="12"/>
                    <a:pt x="423" y="11"/>
                  </a:cubicBezTo>
                  <a:cubicBezTo>
                    <a:pt x="422" y="11"/>
                    <a:pt x="422" y="11"/>
                    <a:pt x="422" y="11"/>
                  </a:cubicBezTo>
                  <a:cubicBezTo>
                    <a:pt x="422" y="10"/>
                    <a:pt x="421" y="10"/>
                    <a:pt x="420" y="9"/>
                  </a:cubicBezTo>
                  <a:cubicBezTo>
                    <a:pt x="419" y="9"/>
                    <a:pt x="418" y="8"/>
                    <a:pt x="418" y="8"/>
                  </a:cubicBezTo>
                  <a:cubicBezTo>
                    <a:pt x="418" y="7"/>
                    <a:pt x="417" y="8"/>
                    <a:pt x="418" y="8"/>
                  </a:cubicBezTo>
                  <a:cubicBezTo>
                    <a:pt x="418" y="9"/>
                    <a:pt x="418" y="9"/>
                    <a:pt x="418" y="9"/>
                  </a:cubicBezTo>
                  <a:cubicBezTo>
                    <a:pt x="419" y="10"/>
                    <a:pt x="419" y="10"/>
                    <a:pt x="418" y="11"/>
                  </a:cubicBezTo>
                  <a:cubicBezTo>
                    <a:pt x="418" y="11"/>
                    <a:pt x="417" y="10"/>
                    <a:pt x="417" y="10"/>
                  </a:cubicBezTo>
                  <a:cubicBezTo>
                    <a:pt x="417" y="9"/>
                    <a:pt x="416" y="9"/>
                    <a:pt x="416" y="9"/>
                  </a:cubicBezTo>
                  <a:cubicBezTo>
                    <a:pt x="416" y="9"/>
                    <a:pt x="415" y="9"/>
                    <a:pt x="415" y="10"/>
                  </a:cubicBezTo>
                  <a:cubicBezTo>
                    <a:pt x="416" y="10"/>
                    <a:pt x="416" y="10"/>
                    <a:pt x="416" y="11"/>
                  </a:cubicBezTo>
                  <a:cubicBezTo>
                    <a:pt x="416" y="11"/>
                    <a:pt x="417" y="12"/>
                    <a:pt x="417" y="12"/>
                  </a:cubicBezTo>
                  <a:cubicBezTo>
                    <a:pt x="417" y="13"/>
                    <a:pt x="416" y="14"/>
                    <a:pt x="415" y="14"/>
                  </a:cubicBezTo>
                  <a:cubicBezTo>
                    <a:pt x="416" y="13"/>
                    <a:pt x="415" y="13"/>
                    <a:pt x="415" y="12"/>
                  </a:cubicBezTo>
                  <a:cubicBezTo>
                    <a:pt x="414" y="13"/>
                    <a:pt x="413" y="14"/>
                    <a:pt x="413" y="16"/>
                  </a:cubicBezTo>
                  <a:cubicBezTo>
                    <a:pt x="412" y="17"/>
                    <a:pt x="412" y="17"/>
                    <a:pt x="412" y="18"/>
                  </a:cubicBezTo>
                  <a:cubicBezTo>
                    <a:pt x="412" y="19"/>
                    <a:pt x="411" y="19"/>
                    <a:pt x="411" y="20"/>
                  </a:cubicBezTo>
                  <a:cubicBezTo>
                    <a:pt x="410" y="20"/>
                    <a:pt x="410" y="20"/>
                    <a:pt x="409" y="19"/>
                  </a:cubicBezTo>
                  <a:cubicBezTo>
                    <a:pt x="408" y="19"/>
                    <a:pt x="408" y="20"/>
                    <a:pt x="407" y="20"/>
                  </a:cubicBezTo>
                  <a:cubicBezTo>
                    <a:pt x="407" y="20"/>
                    <a:pt x="406" y="21"/>
                    <a:pt x="406" y="20"/>
                  </a:cubicBezTo>
                  <a:cubicBezTo>
                    <a:pt x="406" y="20"/>
                    <a:pt x="406" y="20"/>
                    <a:pt x="406" y="20"/>
                  </a:cubicBezTo>
                  <a:cubicBezTo>
                    <a:pt x="406" y="19"/>
                    <a:pt x="407" y="19"/>
                    <a:pt x="407" y="19"/>
                  </a:cubicBezTo>
                  <a:cubicBezTo>
                    <a:pt x="406" y="19"/>
                    <a:pt x="406" y="19"/>
                    <a:pt x="406" y="19"/>
                  </a:cubicBezTo>
                  <a:cubicBezTo>
                    <a:pt x="405" y="19"/>
                    <a:pt x="404" y="19"/>
                    <a:pt x="404" y="18"/>
                  </a:cubicBezTo>
                  <a:cubicBezTo>
                    <a:pt x="404" y="18"/>
                    <a:pt x="404" y="18"/>
                    <a:pt x="404" y="18"/>
                  </a:cubicBezTo>
                  <a:cubicBezTo>
                    <a:pt x="404" y="18"/>
                    <a:pt x="404" y="18"/>
                    <a:pt x="404" y="18"/>
                  </a:cubicBezTo>
                  <a:cubicBezTo>
                    <a:pt x="404" y="18"/>
                    <a:pt x="404" y="18"/>
                    <a:pt x="405" y="18"/>
                  </a:cubicBezTo>
                  <a:cubicBezTo>
                    <a:pt x="405" y="18"/>
                    <a:pt x="406" y="18"/>
                    <a:pt x="406" y="17"/>
                  </a:cubicBezTo>
                  <a:cubicBezTo>
                    <a:pt x="406" y="17"/>
                    <a:pt x="406" y="17"/>
                    <a:pt x="406" y="17"/>
                  </a:cubicBezTo>
                  <a:cubicBezTo>
                    <a:pt x="406" y="17"/>
                    <a:pt x="406" y="17"/>
                    <a:pt x="406" y="17"/>
                  </a:cubicBezTo>
                  <a:cubicBezTo>
                    <a:pt x="406" y="16"/>
                    <a:pt x="405" y="17"/>
                    <a:pt x="405" y="17"/>
                  </a:cubicBezTo>
                  <a:cubicBezTo>
                    <a:pt x="405" y="17"/>
                    <a:pt x="404" y="16"/>
                    <a:pt x="404" y="16"/>
                  </a:cubicBezTo>
                  <a:cubicBezTo>
                    <a:pt x="404" y="16"/>
                    <a:pt x="404" y="16"/>
                    <a:pt x="404" y="16"/>
                  </a:cubicBezTo>
                  <a:cubicBezTo>
                    <a:pt x="405" y="16"/>
                    <a:pt x="405" y="16"/>
                    <a:pt x="405" y="16"/>
                  </a:cubicBezTo>
                  <a:cubicBezTo>
                    <a:pt x="406" y="16"/>
                    <a:pt x="406" y="15"/>
                    <a:pt x="406" y="15"/>
                  </a:cubicBezTo>
                  <a:cubicBezTo>
                    <a:pt x="406" y="15"/>
                    <a:pt x="407" y="15"/>
                    <a:pt x="408" y="14"/>
                  </a:cubicBezTo>
                  <a:cubicBezTo>
                    <a:pt x="408" y="14"/>
                    <a:pt x="409" y="14"/>
                    <a:pt x="409" y="14"/>
                  </a:cubicBezTo>
                  <a:cubicBezTo>
                    <a:pt x="409" y="13"/>
                    <a:pt x="409" y="13"/>
                    <a:pt x="409" y="13"/>
                  </a:cubicBezTo>
                  <a:cubicBezTo>
                    <a:pt x="410" y="12"/>
                    <a:pt x="410" y="12"/>
                    <a:pt x="410" y="12"/>
                  </a:cubicBezTo>
                  <a:cubicBezTo>
                    <a:pt x="410" y="12"/>
                    <a:pt x="411" y="11"/>
                    <a:pt x="411" y="11"/>
                  </a:cubicBezTo>
                  <a:cubicBezTo>
                    <a:pt x="411" y="10"/>
                    <a:pt x="412" y="10"/>
                    <a:pt x="412" y="10"/>
                  </a:cubicBezTo>
                  <a:cubicBezTo>
                    <a:pt x="412" y="10"/>
                    <a:pt x="412" y="10"/>
                    <a:pt x="412" y="9"/>
                  </a:cubicBezTo>
                  <a:cubicBezTo>
                    <a:pt x="412" y="9"/>
                    <a:pt x="412" y="9"/>
                    <a:pt x="412" y="9"/>
                  </a:cubicBezTo>
                  <a:cubicBezTo>
                    <a:pt x="412" y="9"/>
                    <a:pt x="411" y="8"/>
                    <a:pt x="411" y="7"/>
                  </a:cubicBezTo>
                  <a:cubicBezTo>
                    <a:pt x="411" y="7"/>
                    <a:pt x="411" y="7"/>
                    <a:pt x="411" y="7"/>
                  </a:cubicBezTo>
                  <a:cubicBezTo>
                    <a:pt x="411" y="6"/>
                    <a:pt x="411" y="6"/>
                    <a:pt x="411" y="6"/>
                  </a:cubicBezTo>
                  <a:cubicBezTo>
                    <a:pt x="410" y="6"/>
                    <a:pt x="410" y="6"/>
                    <a:pt x="410" y="6"/>
                  </a:cubicBezTo>
                  <a:cubicBezTo>
                    <a:pt x="409" y="5"/>
                    <a:pt x="408" y="5"/>
                    <a:pt x="407" y="5"/>
                  </a:cubicBezTo>
                  <a:cubicBezTo>
                    <a:pt x="407" y="5"/>
                    <a:pt x="407" y="5"/>
                    <a:pt x="406" y="6"/>
                  </a:cubicBezTo>
                  <a:cubicBezTo>
                    <a:pt x="406" y="6"/>
                    <a:pt x="405" y="6"/>
                    <a:pt x="405" y="6"/>
                  </a:cubicBezTo>
                  <a:cubicBezTo>
                    <a:pt x="405" y="5"/>
                    <a:pt x="405" y="5"/>
                    <a:pt x="405" y="5"/>
                  </a:cubicBezTo>
                  <a:cubicBezTo>
                    <a:pt x="406" y="5"/>
                    <a:pt x="405" y="4"/>
                    <a:pt x="405" y="4"/>
                  </a:cubicBezTo>
                  <a:cubicBezTo>
                    <a:pt x="405" y="4"/>
                    <a:pt x="404" y="3"/>
                    <a:pt x="404" y="3"/>
                  </a:cubicBezTo>
                  <a:cubicBezTo>
                    <a:pt x="404" y="3"/>
                    <a:pt x="404" y="3"/>
                    <a:pt x="404" y="3"/>
                  </a:cubicBezTo>
                  <a:cubicBezTo>
                    <a:pt x="403" y="2"/>
                    <a:pt x="403" y="2"/>
                    <a:pt x="403" y="2"/>
                  </a:cubicBezTo>
                  <a:cubicBezTo>
                    <a:pt x="402" y="2"/>
                    <a:pt x="401" y="2"/>
                    <a:pt x="400" y="2"/>
                  </a:cubicBezTo>
                  <a:cubicBezTo>
                    <a:pt x="399" y="2"/>
                    <a:pt x="399" y="1"/>
                    <a:pt x="398" y="1"/>
                  </a:cubicBezTo>
                  <a:cubicBezTo>
                    <a:pt x="398" y="1"/>
                    <a:pt x="397" y="0"/>
                    <a:pt x="398" y="0"/>
                  </a:cubicBezTo>
                  <a:cubicBezTo>
                    <a:pt x="394" y="3"/>
                    <a:pt x="393" y="7"/>
                    <a:pt x="390" y="11"/>
                  </a:cubicBezTo>
                  <a:cubicBezTo>
                    <a:pt x="388" y="14"/>
                    <a:pt x="385" y="18"/>
                    <a:pt x="380" y="19"/>
                  </a:cubicBezTo>
                  <a:cubicBezTo>
                    <a:pt x="379" y="19"/>
                    <a:pt x="378" y="19"/>
                    <a:pt x="376" y="20"/>
                  </a:cubicBezTo>
                  <a:cubicBezTo>
                    <a:pt x="376" y="20"/>
                    <a:pt x="375" y="21"/>
                    <a:pt x="375" y="21"/>
                  </a:cubicBezTo>
                  <a:cubicBezTo>
                    <a:pt x="375" y="21"/>
                    <a:pt x="374" y="21"/>
                    <a:pt x="374" y="21"/>
                  </a:cubicBezTo>
                  <a:cubicBezTo>
                    <a:pt x="373" y="20"/>
                    <a:pt x="372" y="22"/>
                    <a:pt x="371" y="22"/>
                  </a:cubicBezTo>
                  <a:cubicBezTo>
                    <a:pt x="370" y="22"/>
                    <a:pt x="369" y="21"/>
                    <a:pt x="368" y="21"/>
                  </a:cubicBezTo>
                  <a:cubicBezTo>
                    <a:pt x="368" y="21"/>
                    <a:pt x="368" y="22"/>
                    <a:pt x="367" y="22"/>
                  </a:cubicBezTo>
                  <a:cubicBezTo>
                    <a:pt x="367" y="22"/>
                    <a:pt x="366" y="22"/>
                    <a:pt x="366" y="22"/>
                  </a:cubicBezTo>
                  <a:cubicBezTo>
                    <a:pt x="365" y="22"/>
                    <a:pt x="364" y="22"/>
                    <a:pt x="364" y="23"/>
                  </a:cubicBezTo>
                  <a:cubicBezTo>
                    <a:pt x="364" y="23"/>
                    <a:pt x="364" y="24"/>
                    <a:pt x="365" y="24"/>
                  </a:cubicBezTo>
                  <a:cubicBezTo>
                    <a:pt x="365" y="25"/>
                    <a:pt x="365" y="25"/>
                    <a:pt x="365" y="26"/>
                  </a:cubicBezTo>
                  <a:cubicBezTo>
                    <a:pt x="364" y="25"/>
                    <a:pt x="363" y="24"/>
                    <a:pt x="363" y="23"/>
                  </a:cubicBezTo>
                  <a:cubicBezTo>
                    <a:pt x="363" y="22"/>
                    <a:pt x="363" y="21"/>
                    <a:pt x="362" y="21"/>
                  </a:cubicBezTo>
                  <a:cubicBezTo>
                    <a:pt x="364" y="21"/>
                    <a:pt x="365" y="20"/>
                    <a:pt x="365" y="19"/>
                  </a:cubicBezTo>
                  <a:cubicBezTo>
                    <a:pt x="364" y="19"/>
                    <a:pt x="362" y="19"/>
                    <a:pt x="360" y="20"/>
                  </a:cubicBezTo>
                  <a:cubicBezTo>
                    <a:pt x="359" y="21"/>
                    <a:pt x="358" y="23"/>
                    <a:pt x="356" y="24"/>
                  </a:cubicBezTo>
                  <a:cubicBezTo>
                    <a:pt x="356" y="24"/>
                    <a:pt x="355" y="25"/>
                    <a:pt x="355" y="26"/>
                  </a:cubicBezTo>
                  <a:cubicBezTo>
                    <a:pt x="354" y="26"/>
                    <a:pt x="354" y="26"/>
                    <a:pt x="354" y="27"/>
                  </a:cubicBezTo>
                  <a:cubicBezTo>
                    <a:pt x="354" y="27"/>
                    <a:pt x="354" y="28"/>
                    <a:pt x="354" y="28"/>
                  </a:cubicBezTo>
                  <a:cubicBezTo>
                    <a:pt x="354" y="28"/>
                    <a:pt x="355" y="28"/>
                    <a:pt x="356" y="29"/>
                  </a:cubicBezTo>
                  <a:cubicBezTo>
                    <a:pt x="356" y="30"/>
                    <a:pt x="356" y="31"/>
                    <a:pt x="357" y="32"/>
                  </a:cubicBezTo>
                  <a:cubicBezTo>
                    <a:pt x="357" y="32"/>
                    <a:pt x="358" y="33"/>
                    <a:pt x="359" y="33"/>
                  </a:cubicBezTo>
                  <a:cubicBezTo>
                    <a:pt x="359" y="33"/>
                    <a:pt x="360" y="33"/>
                    <a:pt x="360" y="32"/>
                  </a:cubicBezTo>
                  <a:cubicBezTo>
                    <a:pt x="361" y="32"/>
                    <a:pt x="362" y="32"/>
                    <a:pt x="364" y="32"/>
                  </a:cubicBezTo>
                  <a:cubicBezTo>
                    <a:pt x="363" y="33"/>
                    <a:pt x="362" y="33"/>
                    <a:pt x="361" y="33"/>
                  </a:cubicBezTo>
                  <a:cubicBezTo>
                    <a:pt x="360" y="33"/>
                    <a:pt x="360" y="33"/>
                    <a:pt x="359" y="34"/>
                  </a:cubicBezTo>
                  <a:cubicBezTo>
                    <a:pt x="359" y="34"/>
                    <a:pt x="358" y="34"/>
                    <a:pt x="357" y="34"/>
                  </a:cubicBezTo>
                  <a:cubicBezTo>
                    <a:pt x="357" y="34"/>
                    <a:pt x="356" y="35"/>
                    <a:pt x="356" y="36"/>
                  </a:cubicBezTo>
                  <a:cubicBezTo>
                    <a:pt x="356" y="37"/>
                    <a:pt x="356" y="38"/>
                    <a:pt x="356" y="39"/>
                  </a:cubicBezTo>
                  <a:cubicBezTo>
                    <a:pt x="357" y="40"/>
                    <a:pt x="357" y="41"/>
                    <a:pt x="356" y="42"/>
                  </a:cubicBezTo>
                  <a:cubicBezTo>
                    <a:pt x="355" y="41"/>
                    <a:pt x="355" y="39"/>
                    <a:pt x="355" y="37"/>
                  </a:cubicBezTo>
                  <a:cubicBezTo>
                    <a:pt x="354" y="38"/>
                    <a:pt x="353" y="39"/>
                    <a:pt x="352" y="39"/>
                  </a:cubicBezTo>
                  <a:cubicBezTo>
                    <a:pt x="354" y="37"/>
                    <a:pt x="355" y="35"/>
                    <a:pt x="355" y="33"/>
                  </a:cubicBezTo>
                  <a:cubicBezTo>
                    <a:pt x="355" y="33"/>
                    <a:pt x="354" y="34"/>
                    <a:pt x="353" y="33"/>
                  </a:cubicBezTo>
                  <a:cubicBezTo>
                    <a:pt x="354" y="33"/>
                    <a:pt x="354" y="33"/>
                    <a:pt x="355" y="32"/>
                  </a:cubicBezTo>
                  <a:cubicBezTo>
                    <a:pt x="356" y="31"/>
                    <a:pt x="356" y="30"/>
                    <a:pt x="355" y="30"/>
                  </a:cubicBezTo>
                  <a:cubicBezTo>
                    <a:pt x="354" y="30"/>
                    <a:pt x="354" y="30"/>
                    <a:pt x="354" y="30"/>
                  </a:cubicBezTo>
                  <a:cubicBezTo>
                    <a:pt x="353" y="30"/>
                    <a:pt x="353" y="30"/>
                    <a:pt x="352" y="30"/>
                  </a:cubicBezTo>
                  <a:cubicBezTo>
                    <a:pt x="352" y="30"/>
                    <a:pt x="352" y="30"/>
                    <a:pt x="351" y="30"/>
                  </a:cubicBezTo>
                  <a:cubicBezTo>
                    <a:pt x="349" y="32"/>
                    <a:pt x="347" y="36"/>
                    <a:pt x="345" y="38"/>
                  </a:cubicBezTo>
                  <a:cubicBezTo>
                    <a:pt x="343" y="39"/>
                    <a:pt x="342" y="39"/>
                    <a:pt x="340" y="40"/>
                  </a:cubicBezTo>
                  <a:cubicBezTo>
                    <a:pt x="339" y="41"/>
                    <a:pt x="338" y="42"/>
                    <a:pt x="336" y="43"/>
                  </a:cubicBezTo>
                  <a:cubicBezTo>
                    <a:pt x="335" y="43"/>
                    <a:pt x="333" y="42"/>
                    <a:pt x="333" y="43"/>
                  </a:cubicBezTo>
                  <a:cubicBezTo>
                    <a:pt x="332" y="44"/>
                    <a:pt x="332" y="45"/>
                    <a:pt x="331" y="44"/>
                  </a:cubicBezTo>
                  <a:cubicBezTo>
                    <a:pt x="330" y="44"/>
                    <a:pt x="330" y="44"/>
                    <a:pt x="330" y="43"/>
                  </a:cubicBezTo>
                  <a:cubicBezTo>
                    <a:pt x="331" y="43"/>
                    <a:pt x="331" y="42"/>
                    <a:pt x="332" y="42"/>
                  </a:cubicBezTo>
                  <a:cubicBezTo>
                    <a:pt x="332" y="42"/>
                    <a:pt x="332" y="42"/>
                    <a:pt x="332" y="42"/>
                  </a:cubicBezTo>
                  <a:cubicBezTo>
                    <a:pt x="333" y="42"/>
                    <a:pt x="333" y="42"/>
                    <a:pt x="333" y="42"/>
                  </a:cubicBezTo>
                  <a:cubicBezTo>
                    <a:pt x="332" y="42"/>
                    <a:pt x="330" y="41"/>
                    <a:pt x="330" y="40"/>
                  </a:cubicBezTo>
                  <a:cubicBezTo>
                    <a:pt x="329" y="43"/>
                    <a:pt x="327" y="45"/>
                    <a:pt x="325" y="46"/>
                  </a:cubicBezTo>
                  <a:cubicBezTo>
                    <a:pt x="325" y="47"/>
                    <a:pt x="324" y="48"/>
                    <a:pt x="324" y="49"/>
                  </a:cubicBezTo>
                  <a:cubicBezTo>
                    <a:pt x="324" y="49"/>
                    <a:pt x="325" y="49"/>
                    <a:pt x="325" y="50"/>
                  </a:cubicBezTo>
                  <a:cubicBezTo>
                    <a:pt x="327" y="51"/>
                    <a:pt x="328" y="52"/>
                    <a:pt x="329" y="54"/>
                  </a:cubicBezTo>
                  <a:cubicBezTo>
                    <a:pt x="327" y="53"/>
                    <a:pt x="326" y="51"/>
                    <a:pt x="324" y="50"/>
                  </a:cubicBezTo>
                  <a:cubicBezTo>
                    <a:pt x="324" y="50"/>
                    <a:pt x="324" y="50"/>
                    <a:pt x="324" y="50"/>
                  </a:cubicBezTo>
                  <a:cubicBezTo>
                    <a:pt x="323" y="50"/>
                    <a:pt x="323" y="50"/>
                    <a:pt x="323" y="50"/>
                  </a:cubicBezTo>
                  <a:cubicBezTo>
                    <a:pt x="323" y="52"/>
                    <a:pt x="321" y="54"/>
                    <a:pt x="320" y="56"/>
                  </a:cubicBezTo>
                  <a:cubicBezTo>
                    <a:pt x="320" y="56"/>
                    <a:pt x="320" y="56"/>
                    <a:pt x="319" y="57"/>
                  </a:cubicBezTo>
                  <a:cubicBezTo>
                    <a:pt x="319" y="57"/>
                    <a:pt x="319" y="58"/>
                    <a:pt x="318" y="58"/>
                  </a:cubicBezTo>
                  <a:cubicBezTo>
                    <a:pt x="318" y="59"/>
                    <a:pt x="317" y="60"/>
                    <a:pt x="316" y="60"/>
                  </a:cubicBezTo>
                  <a:cubicBezTo>
                    <a:pt x="316" y="61"/>
                    <a:pt x="316" y="61"/>
                    <a:pt x="315" y="61"/>
                  </a:cubicBezTo>
                  <a:cubicBezTo>
                    <a:pt x="315" y="61"/>
                    <a:pt x="315" y="61"/>
                    <a:pt x="316" y="62"/>
                  </a:cubicBezTo>
                  <a:cubicBezTo>
                    <a:pt x="316" y="62"/>
                    <a:pt x="316" y="62"/>
                    <a:pt x="316" y="62"/>
                  </a:cubicBezTo>
                  <a:cubicBezTo>
                    <a:pt x="316" y="62"/>
                    <a:pt x="316" y="62"/>
                    <a:pt x="317" y="63"/>
                  </a:cubicBezTo>
                  <a:cubicBezTo>
                    <a:pt x="317" y="63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5"/>
                  </a:cubicBezTo>
                  <a:cubicBezTo>
                    <a:pt x="316" y="65"/>
                    <a:pt x="316" y="65"/>
                    <a:pt x="316" y="65"/>
                  </a:cubicBezTo>
                  <a:cubicBezTo>
                    <a:pt x="316" y="65"/>
                    <a:pt x="315" y="65"/>
                    <a:pt x="315" y="65"/>
                  </a:cubicBezTo>
                  <a:cubicBezTo>
                    <a:pt x="315" y="65"/>
                    <a:pt x="315" y="65"/>
                    <a:pt x="315" y="66"/>
                  </a:cubicBezTo>
                  <a:cubicBezTo>
                    <a:pt x="315" y="66"/>
                    <a:pt x="315" y="66"/>
                    <a:pt x="315" y="67"/>
                  </a:cubicBezTo>
                  <a:cubicBezTo>
                    <a:pt x="315" y="67"/>
                    <a:pt x="315" y="67"/>
                    <a:pt x="315" y="67"/>
                  </a:cubicBezTo>
                  <a:cubicBezTo>
                    <a:pt x="315" y="67"/>
                    <a:pt x="315" y="67"/>
                    <a:pt x="315" y="68"/>
                  </a:cubicBezTo>
                  <a:cubicBezTo>
                    <a:pt x="316" y="68"/>
                    <a:pt x="315" y="69"/>
                    <a:pt x="315" y="69"/>
                  </a:cubicBezTo>
                  <a:cubicBezTo>
                    <a:pt x="316" y="70"/>
                    <a:pt x="316" y="70"/>
                    <a:pt x="316" y="70"/>
                  </a:cubicBezTo>
                  <a:cubicBezTo>
                    <a:pt x="315" y="70"/>
                    <a:pt x="315" y="70"/>
                    <a:pt x="315" y="71"/>
                  </a:cubicBezTo>
                  <a:cubicBezTo>
                    <a:pt x="315" y="71"/>
                    <a:pt x="315" y="71"/>
                    <a:pt x="315" y="71"/>
                  </a:cubicBezTo>
                  <a:cubicBezTo>
                    <a:pt x="315" y="71"/>
                    <a:pt x="315" y="71"/>
                    <a:pt x="315" y="71"/>
                  </a:cubicBezTo>
                  <a:cubicBezTo>
                    <a:pt x="315" y="71"/>
                    <a:pt x="315" y="71"/>
                    <a:pt x="315" y="71"/>
                  </a:cubicBezTo>
                  <a:cubicBezTo>
                    <a:pt x="315" y="71"/>
                    <a:pt x="315" y="72"/>
                    <a:pt x="315" y="72"/>
                  </a:cubicBezTo>
                  <a:cubicBezTo>
                    <a:pt x="315" y="73"/>
                    <a:pt x="314" y="75"/>
                    <a:pt x="314" y="76"/>
                  </a:cubicBezTo>
                  <a:cubicBezTo>
                    <a:pt x="313" y="77"/>
                    <a:pt x="313" y="78"/>
                    <a:pt x="312" y="79"/>
                  </a:cubicBezTo>
                  <a:cubicBezTo>
                    <a:pt x="310" y="82"/>
                    <a:pt x="308" y="85"/>
                    <a:pt x="305" y="87"/>
                  </a:cubicBezTo>
                  <a:cubicBezTo>
                    <a:pt x="302" y="89"/>
                    <a:pt x="299" y="91"/>
                    <a:pt x="295" y="91"/>
                  </a:cubicBezTo>
                  <a:cubicBezTo>
                    <a:pt x="296" y="92"/>
                    <a:pt x="296" y="92"/>
                    <a:pt x="296" y="93"/>
                  </a:cubicBezTo>
                  <a:cubicBezTo>
                    <a:pt x="293" y="91"/>
                    <a:pt x="290" y="92"/>
                    <a:pt x="287" y="93"/>
                  </a:cubicBezTo>
                  <a:cubicBezTo>
                    <a:pt x="283" y="94"/>
                    <a:pt x="279" y="94"/>
                    <a:pt x="275" y="93"/>
                  </a:cubicBezTo>
                  <a:cubicBezTo>
                    <a:pt x="275" y="92"/>
                    <a:pt x="274" y="92"/>
                    <a:pt x="274" y="93"/>
                  </a:cubicBezTo>
                  <a:cubicBezTo>
                    <a:pt x="274" y="93"/>
                    <a:pt x="274" y="93"/>
                    <a:pt x="274" y="94"/>
                  </a:cubicBezTo>
                  <a:cubicBezTo>
                    <a:pt x="275" y="97"/>
                    <a:pt x="275" y="100"/>
                    <a:pt x="274" y="103"/>
                  </a:cubicBezTo>
                  <a:cubicBezTo>
                    <a:pt x="273" y="106"/>
                    <a:pt x="272" y="109"/>
                    <a:pt x="270" y="111"/>
                  </a:cubicBezTo>
                  <a:cubicBezTo>
                    <a:pt x="270" y="111"/>
                    <a:pt x="269" y="111"/>
                    <a:pt x="268" y="112"/>
                  </a:cubicBezTo>
                  <a:cubicBezTo>
                    <a:pt x="271" y="111"/>
                    <a:pt x="273" y="112"/>
                    <a:pt x="275" y="114"/>
                  </a:cubicBezTo>
                  <a:cubicBezTo>
                    <a:pt x="276" y="116"/>
                    <a:pt x="277" y="119"/>
                    <a:pt x="279" y="120"/>
                  </a:cubicBezTo>
                  <a:cubicBezTo>
                    <a:pt x="280" y="121"/>
                    <a:pt x="281" y="121"/>
                    <a:pt x="283" y="121"/>
                  </a:cubicBezTo>
                  <a:cubicBezTo>
                    <a:pt x="285" y="122"/>
                    <a:pt x="287" y="124"/>
                    <a:pt x="289" y="126"/>
                  </a:cubicBezTo>
                  <a:cubicBezTo>
                    <a:pt x="290" y="127"/>
                    <a:pt x="292" y="129"/>
                    <a:pt x="294" y="130"/>
                  </a:cubicBezTo>
                  <a:cubicBezTo>
                    <a:pt x="294" y="131"/>
                    <a:pt x="295" y="131"/>
                    <a:pt x="295" y="131"/>
                  </a:cubicBezTo>
                  <a:cubicBezTo>
                    <a:pt x="296" y="132"/>
                    <a:pt x="296" y="132"/>
                    <a:pt x="296" y="133"/>
                  </a:cubicBezTo>
                  <a:cubicBezTo>
                    <a:pt x="297" y="134"/>
                    <a:pt x="300" y="134"/>
                    <a:pt x="301" y="136"/>
                  </a:cubicBezTo>
                  <a:cubicBezTo>
                    <a:pt x="302" y="137"/>
                    <a:pt x="302" y="139"/>
                    <a:pt x="303" y="140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4" y="141"/>
                    <a:pt x="303" y="141"/>
                    <a:pt x="303" y="142"/>
                  </a:cubicBezTo>
                  <a:cubicBezTo>
                    <a:pt x="303" y="142"/>
                    <a:pt x="304" y="143"/>
                    <a:pt x="304" y="143"/>
                  </a:cubicBezTo>
                  <a:cubicBezTo>
                    <a:pt x="305" y="143"/>
                    <a:pt x="306" y="143"/>
                    <a:pt x="306" y="144"/>
                  </a:cubicBezTo>
                  <a:cubicBezTo>
                    <a:pt x="306" y="144"/>
                    <a:pt x="306" y="144"/>
                    <a:pt x="305" y="145"/>
                  </a:cubicBezTo>
                  <a:cubicBezTo>
                    <a:pt x="305" y="146"/>
                    <a:pt x="306" y="148"/>
                    <a:pt x="306" y="149"/>
                  </a:cubicBezTo>
                  <a:cubicBezTo>
                    <a:pt x="306" y="149"/>
                    <a:pt x="306" y="150"/>
                    <a:pt x="306" y="150"/>
                  </a:cubicBezTo>
                  <a:cubicBezTo>
                    <a:pt x="306" y="151"/>
                    <a:pt x="306" y="151"/>
                    <a:pt x="306" y="151"/>
                  </a:cubicBezTo>
                  <a:cubicBezTo>
                    <a:pt x="306" y="151"/>
                    <a:pt x="306" y="151"/>
                    <a:pt x="307" y="151"/>
                  </a:cubicBezTo>
                  <a:cubicBezTo>
                    <a:pt x="307" y="151"/>
                    <a:pt x="308" y="152"/>
                    <a:pt x="308" y="152"/>
                  </a:cubicBezTo>
                  <a:cubicBezTo>
                    <a:pt x="309" y="152"/>
                    <a:pt x="309" y="152"/>
                    <a:pt x="309" y="152"/>
                  </a:cubicBezTo>
                  <a:cubicBezTo>
                    <a:pt x="310" y="153"/>
                    <a:pt x="309" y="153"/>
                    <a:pt x="309" y="153"/>
                  </a:cubicBezTo>
                  <a:cubicBezTo>
                    <a:pt x="309" y="153"/>
                    <a:pt x="309" y="153"/>
                    <a:pt x="308" y="153"/>
                  </a:cubicBezTo>
                  <a:cubicBezTo>
                    <a:pt x="308" y="153"/>
                    <a:pt x="307" y="153"/>
                    <a:pt x="307" y="153"/>
                  </a:cubicBezTo>
                  <a:cubicBezTo>
                    <a:pt x="307" y="153"/>
                    <a:pt x="307" y="154"/>
                    <a:pt x="307" y="154"/>
                  </a:cubicBezTo>
                  <a:cubicBezTo>
                    <a:pt x="308" y="154"/>
                    <a:pt x="308" y="154"/>
                    <a:pt x="309" y="154"/>
                  </a:cubicBezTo>
                  <a:cubicBezTo>
                    <a:pt x="309" y="155"/>
                    <a:pt x="310" y="154"/>
                    <a:pt x="311" y="155"/>
                  </a:cubicBezTo>
                  <a:cubicBezTo>
                    <a:pt x="312" y="155"/>
                    <a:pt x="313" y="156"/>
                    <a:pt x="313" y="156"/>
                  </a:cubicBezTo>
                  <a:cubicBezTo>
                    <a:pt x="314" y="156"/>
                    <a:pt x="314" y="156"/>
                    <a:pt x="315" y="156"/>
                  </a:cubicBezTo>
                  <a:cubicBezTo>
                    <a:pt x="315" y="156"/>
                    <a:pt x="315" y="156"/>
                    <a:pt x="316" y="156"/>
                  </a:cubicBezTo>
                  <a:cubicBezTo>
                    <a:pt x="316" y="156"/>
                    <a:pt x="317" y="156"/>
                    <a:pt x="317" y="156"/>
                  </a:cubicBezTo>
                  <a:cubicBezTo>
                    <a:pt x="318" y="155"/>
                    <a:pt x="319" y="155"/>
                    <a:pt x="319" y="156"/>
                  </a:cubicBezTo>
                  <a:cubicBezTo>
                    <a:pt x="320" y="156"/>
                    <a:pt x="320" y="157"/>
                    <a:pt x="321" y="157"/>
                  </a:cubicBezTo>
                  <a:cubicBezTo>
                    <a:pt x="321" y="156"/>
                    <a:pt x="322" y="156"/>
                    <a:pt x="322" y="155"/>
                  </a:cubicBezTo>
                  <a:cubicBezTo>
                    <a:pt x="323" y="155"/>
                    <a:pt x="323" y="154"/>
                    <a:pt x="323" y="153"/>
                  </a:cubicBezTo>
                  <a:cubicBezTo>
                    <a:pt x="322" y="152"/>
                    <a:pt x="321" y="153"/>
                    <a:pt x="320" y="152"/>
                  </a:cubicBezTo>
                  <a:cubicBezTo>
                    <a:pt x="320" y="151"/>
                    <a:pt x="321" y="151"/>
                    <a:pt x="322" y="150"/>
                  </a:cubicBezTo>
                  <a:cubicBezTo>
                    <a:pt x="322" y="151"/>
                    <a:pt x="321" y="151"/>
                    <a:pt x="321" y="152"/>
                  </a:cubicBezTo>
                  <a:cubicBezTo>
                    <a:pt x="321" y="152"/>
                    <a:pt x="321" y="152"/>
                    <a:pt x="322" y="152"/>
                  </a:cubicBezTo>
                  <a:cubicBezTo>
                    <a:pt x="322" y="152"/>
                    <a:pt x="323" y="152"/>
                    <a:pt x="324" y="153"/>
                  </a:cubicBezTo>
                  <a:cubicBezTo>
                    <a:pt x="324" y="154"/>
                    <a:pt x="323" y="154"/>
                    <a:pt x="323" y="155"/>
                  </a:cubicBezTo>
                  <a:cubicBezTo>
                    <a:pt x="322" y="156"/>
                    <a:pt x="322" y="157"/>
                    <a:pt x="323" y="158"/>
                  </a:cubicBezTo>
                  <a:cubicBezTo>
                    <a:pt x="325" y="158"/>
                    <a:pt x="328" y="156"/>
                    <a:pt x="330" y="156"/>
                  </a:cubicBezTo>
                  <a:cubicBezTo>
                    <a:pt x="331" y="156"/>
                    <a:pt x="332" y="156"/>
                    <a:pt x="332" y="157"/>
                  </a:cubicBezTo>
                  <a:cubicBezTo>
                    <a:pt x="333" y="157"/>
                    <a:pt x="334" y="157"/>
                    <a:pt x="334" y="158"/>
                  </a:cubicBezTo>
                  <a:cubicBezTo>
                    <a:pt x="335" y="159"/>
                    <a:pt x="335" y="160"/>
                    <a:pt x="334" y="160"/>
                  </a:cubicBezTo>
                  <a:cubicBezTo>
                    <a:pt x="333" y="160"/>
                    <a:pt x="333" y="159"/>
                    <a:pt x="333" y="159"/>
                  </a:cubicBezTo>
                  <a:cubicBezTo>
                    <a:pt x="332" y="160"/>
                    <a:pt x="332" y="161"/>
                    <a:pt x="331" y="162"/>
                  </a:cubicBezTo>
                  <a:cubicBezTo>
                    <a:pt x="331" y="163"/>
                    <a:pt x="331" y="164"/>
                    <a:pt x="331" y="165"/>
                  </a:cubicBezTo>
                  <a:cubicBezTo>
                    <a:pt x="330" y="165"/>
                    <a:pt x="330" y="166"/>
                    <a:pt x="330" y="166"/>
                  </a:cubicBezTo>
                  <a:cubicBezTo>
                    <a:pt x="330" y="166"/>
                    <a:pt x="331" y="167"/>
                    <a:pt x="331" y="167"/>
                  </a:cubicBezTo>
                  <a:cubicBezTo>
                    <a:pt x="332" y="169"/>
                    <a:pt x="333" y="170"/>
                    <a:pt x="335" y="170"/>
                  </a:cubicBezTo>
                  <a:cubicBezTo>
                    <a:pt x="335" y="170"/>
                    <a:pt x="334" y="170"/>
                    <a:pt x="334" y="171"/>
                  </a:cubicBezTo>
                  <a:cubicBezTo>
                    <a:pt x="335" y="171"/>
                    <a:pt x="335" y="171"/>
                    <a:pt x="336" y="171"/>
                  </a:cubicBezTo>
                  <a:cubicBezTo>
                    <a:pt x="336" y="172"/>
                    <a:pt x="336" y="172"/>
                    <a:pt x="335" y="173"/>
                  </a:cubicBezTo>
                  <a:cubicBezTo>
                    <a:pt x="336" y="173"/>
                    <a:pt x="336" y="173"/>
                    <a:pt x="337" y="173"/>
                  </a:cubicBezTo>
                  <a:cubicBezTo>
                    <a:pt x="337" y="173"/>
                    <a:pt x="338" y="172"/>
                    <a:pt x="338" y="171"/>
                  </a:cubicBezTo>
                  <a:cubicBezTo>
                    <a:pt x="338" y="170"/>
                    <a:pt x="339" y="169"/>
                    <a:pt x="341" y="169"/>
                  </a:cubicBezTo>
                  <a:cubicBezTo>
                    <a:pt x="341" y="169"/>
                    <a:pt x="342" y="169"/>
                    <a:pt x="342" y="168"/>
                  </a:cubicBezTo>
                  <a:cubicBezTo>
                    <a:pt x="343" y="168"/>
                    <a:pt x="343" y="168"/>
                    <a:pt x="343" y="168"/>
                  </a:cubicBezTo>
                  <a:cubicBezTo>
                    <a:pt x="343" y="168"/>
                    <a:pt x="344" y="169"/>
                    <a:pt x="344" y="169"/>
                  </a:cubicBezTo>
                  <a:cubicBezTo>
                    <a:pt x="345" y="170"/>
                    <a:pt x="347" y="170"/>
                    <a:pt x="348" y="170"/>
                  </a:cubicBezTo>
                  <a:cubicBezTo>
                    <a:pt x="349" y="170"/>
                    <a:pt x="351" y="169"/>
                    <a:pt x="352" y="168"/>
                  </a:cubicBezTo>
                  <a:cubicBezTo>
                    <a:pt x="353" y="168"/>
                    <a:pt x="355" y="168"/>
                    <a:pt x="355" y="169"/>
                  </a:cubicBezTo>
                  <a:cubicBezTo>
                    <a:pt x="355" y="169"/>
                    <a:pt x="356" y="168"/>
                    <a:pt x="356" y="168"/>
                  </a:cubicBezTo>
                  <a:cubicBezTo>
                    <a:pt x="357" y="168"/>
                    <a:pt x="358" y="168"/>
                    <a:pt x="358" y="168"/>
                  </a:cubicBezTo>
                  <a:cubicBezTo>
                    <a:pt x="358" y="169"/>
                    <a:pt x="358" y="170"/>
                    <a:pt x="357" y="169"/>
                  </a:cubicBezTo>
                  <a:cubicBezTo>
                    <a:pt x="357" y="169"/>
                    <a:pt x="357" y="169"/>
                    <a:pt x="357" y="169"/>
                  </a:cubicBezTo>
                  <a:cubicBezTo>
                    <a:pt x="356" y="169"/>
                    <a:pt x="356" y="170"/>
                    <a:pt x="356" y="170"/>
                  </a:cubicBezTo>
                  <a:cubicBezTo>
                    <a:pt x="355" y="171"/>
                    <a:pt x="355" y="171"/>
                    <a:pt x="354" y="170"/>
                  </a:cubicBezTo>
                  <a:cubicBezTo>
                    <a:pt x="354" y="170"/>
                    <a:pt x="354" y="169"/>
                    <a:pt x="354" y="169"/>
                  </a:cubicBezTo>
                  <a:cubicBezTo>
                    <a:pt x="352" y="169"/>
                    <a:pt x="351" y="170"/>
                    <a:pt x="351" y="171"/>
                  </a:cubicBezTo>
                  <a:cubicBezTo>
                    <a:pt x="352" y="172"/>
                    <a:pt x="352" y="173"/>
                    <a:pt x="352" y="174"/>
                  </a:cubicBezTo>
                  <a:cubicBezTo>
                    <a:pt x="352" y="175"/>
                    <a:pt x="351" y="176"/>
                    <a:pt x="351" y="177"/>
                  </a:cubicBezTo>
                  <a:cubicBezTo>
                    <a:pt x="350" y="177"/>
                    <a:pt x="350" y="177"/>
                    <a:pt x="349" y="178"/>
                  </a:cubicBezTo>
                  <a:cubicBezTo>
                    <a:pt x="347" y="178"/>
                    <a:pt x="344" y="178"/>
                    <a:pt x="343" y="176"/>
                  </a:cubicBezTo>
                  <a:cubicBezTo>
                    <a:pt x="342" y="175"/>
                    <a:pt x="341" y="173"/>
                    <a:pt x="339" y="173"/>
                  </a:cubicBezTo>
                  <a:cubicBezTo>
                    <a:pt x="338" y="173"/>
                    <a:pt x="337" y="174"/>
                    <a:pt x="336" y="174"/>
                  </a:cubicBezTo>
                  <a:cubicBezTo>
                    <a:pt x="336" y="175"/>
                    <a:pt x="335" y="175"/>
                    <a:pt x="334" y="175"/>
                  </a:cubicBezTo>
                  <a:cubicBezTo>
                    <a:pt x="332" y="175"/>
                    <a:pt x="332" y="174"/>
                    <a:pt x="331" y="173"/>
                  </a:cubicBezTo>
                  <a:cubicBezTo>
                    <a:pt x="330" y="172"/>
                    <a:pt x="330" y="172"/>
                    <a:pt x="330" y="172"/>
                  </a:cubicBezTo>
                  <a:cubicBezTo>
                    <a:pt x="330" y="172"/>
                    <a:pt x="330" y="171"/>
                    <a:pt x="330" y="171"/>
                  </a:cubicBezTo>
                  <a:cubicBezTo>
                    <a:pt x="329" y="170"/>
                    <a:pt x="329" y="170"/>
                    <a:pt x="328" y="169"/>
                  </a:cubicBezTo>
                  <a:cubicBezTo>
                    <a:pt x="328" y="169"/>
                    <a:pt x="328" y="169"/>
                    <a:pt x="327" y="169"/>
                  </a:cubicBezTo>
                  <a:cubicBezTo>
                    <a:pt x="327" y="168"/>
                    <a:pt x="327" y="168"/>
                    <a:pt x="327" y="167"/>
                  </a:cubicBezTo>
                  <a:cubicBezTo>
                    <a:pt x="328" y="167"/>
                    <a:pt x="328" y="166"/>
                    <a:pt x="328" y="166"/>
                  </a:cubicBezTo>
                  <a:cubicBezTo>
                    <a:pt x="329" y="166"/>
                    <a:pt x="329" y="165"/>
                    <a:pt x="329" y="165"/>
                  </a:cubicBezTo>
                  <a:cubicBezTo>
                    <a:pt x="328" y="164"/>
                    <a:pt x="328" y="164"/>
                    <a:pt x="327" y="164"/>
                  </a:cubicBezTo>
                  <a:cubicBezTo>
                    <a:pt x="327" y="164"/>
                    <a:pt x="327" y="163"/>
                    <a:pt x="326" y="163"/>
                  </a:cubicBezTo>
                  <a:cubicBezTo>
                    <a:pt x="326" y="162"/>
                    <a:pt x="325" y="161"/>
                    <a:pt x="325" y="160"/>
                  </a:cubicBezTo>
                  <a:cubicBezTo>
                    <a:pt x="325" y="160"/>
                    <a:pt x="325" y="159"/>
                    <a:pt x="324" y="159"/>
                  </a:cubicBezTo>
                  <a:cubicBezTo>
                    <a:pt x="324" y="159"/>
                    <a:pt x="324" y="159"/>
                    <a:pt x="324" y="159"/>
                  </a:cubicBezTo>
                  <a:cubicBezTo>
                    <a:pt x="324" y="159"/>
                    <a:pt x="323" y="159"/>
                    <a:pt x="323" y="159"/>
                  </a:cubicBezTo>
                  <a:cubicBezTo>
                    <a:pt x="322" y="159"/>
                    <a:pt x="322" y="159"/>
                    <a:pt x="322" y="159"/>
                  </a:cubicBezTo>
                  <a:cubicBezTo>
                    <a:pt x="322" y="159"/>
                    <a:pt x="322" y="160"/>
                    <a:pt x="322" y="160"/>
                  </a:cubicBezTo>
                  <a:cubicBezTo>
                    <a:pt x="322" y="160"/>
                    <a:pt x="321" y="161"/>
                    <a:pt x="321" y="161"/>
                  </a:cubicBezTo>
                  <a:cubicBezTo>
                    <a:pt x="321" y="161"/>
                    <a:pt x="321" y="162"/>
                    <a:pt x="321" y="162"/>
                  </a:cubicBezTo>
                  <a:cubicBezTo>
                    <a:pt x="321" y="162"/>
                    <a:pt x="321" y="162"/>
                    <a:pt x="321" y="163"/>
                  </a:cubicBezTo>
                  <a:cubicBezTo>
                    <a:pt x="321" y="163"/>
                    <a:pt x="322" y="164"/>
                    <a:pt x="322" y="164"/>
                  </a:cubicBezTo>
                  <a:cubicBezTo>
                    <a:pt x="322" y="165"/>
                    <a:pt x="322" y="165"/>
                    <a:pt x="322" y="165"/>
                  </a:cubicBezTo>
                  <a:cubicBezTo>
                    <a:pt x="323" y="165"/>
                    <a:pt x="323" y="166"/>
                    <a:pt x="323" y="166"/>
                  </a:cubicBezTo>
                  <a:cubicBezTo>
                    <a:pt x="324" y="166"/>
                    <a:pt x="326" y="167"/>
                    <a:pt x="326" y="168"/>
                  </a:cubicBezTo>
                  <a:cubicBezTo>
                    <a:pt x="327" y="168"/>
                    <a:pt x="327" y="169"/>
                    <a:pt x="328" y="170"/>
                  </a:cubicBezTo>
                  <a:cubicBezTo>
                    <a:pt x="328" y="170"/>
                    <a:pt x="329" y="171"/>
                    <a:pt x="329" y="171"/>
                  </a:cubicBezTo>
                  <a:cubicBezTo>
                    <a:pt x="329" y="172"/>
                    <a:pt x="330" y="173"/>
                    <a:pt x="330" y="173"/>
                  </a:cubicBezTo>
                  <a:cubicBezTo>
                    <a:pt x="330" y="174"/>
                    <a:pt x="330" y="175"/>
                    <a:pt x="330" y="176"/>
                  </a:cubicBezTo>
                  <a:cubicBezTo>
                    <a:pt x="330" y="176"/>
                    <a:pt x="330" y="178"/>
                    <a:pt x="330" y="178"/>
                  </a:cubicBezTo>
                  <a:cubicBezTo>
                    <a:pt x="331" y="178"/>
                    <a:pt x="331" y="177"/>
                    <a:pt x="332" y="177"/>
                  </a:cubicBezTo>
                  <a:cubicBezTo>
                    <a:pt x="332" y="177"/>
                    <a:pt x="333" y="176"/>
                    <a:pt x="334" y="177"/>
                  </a:cubicBezTo>
                  <a:cubicBezTo>
                    <a:pt x="337" y="177"/>
                    <a:pt x="340" y="179"/>
                    <a:pt x="341" y="181"/>
                  </a:cubicBezTo>
                  <a:cubicBezTo>
                    <a:pt x="341" y="181"/>
                    <a:pt x="341" y="182"/>
                    <a:pt x="341" y="182"/>
                  </a:cubicBezTo>
                  <a:cubicBezTo>
                    <a:pt x="341" y="182"/>
                    <a:pt x="341" y="182"/>
                    <a:pt x="341" y="183"/>
                  </a:cubicBezTo>
                  <a:cubicBezTo>
                    <a:pt x="341" y="183"/>
                    <a:pt x="341" y="184"/>
                    <a:pt x="340" y="185"/>
                  </a:cubicBezTo>
                  <a:cubicBezTo>
                    <a:pt x="339" y="185"/>
                    <a:pt x="340" y="184"/>
                    <a:pt x="340" y="183"/>
                  </a:cubicBezTo>
                  <a:cubicBezTo>
                    <a:pt x="340" y="183"/>
                    <a:pt x="340" y="182"/>
                    <a:pt x="340" y="182"/>
                  </a:cubicBezTo>
                  <a:cubicBezTo>
                    <a:pt x="340" y="183"/>
                    <a:pt x="339" y="183"/>
                    <a:pt x="338" y="183"/>
                  </a:cubicBezTo>
                  <a:cubicBezTo>
                    <a:pt x="338" y="182"/>
                    <a:pt x="338" y="182"/>
                    <a:pt x="337" y="182"/>
                  </a:cubicBezTo>
                  <a:cubicBezTo>
                    <a:pt x="337" y="181"/>
                    <a:pt x="336" y="181"/>
                    <a:pt x="336" y="181"/>
                  </a:cubicBezTo>
                  <a:cubicBezTo>
                    <a:pt x="335" y="181"/>
                    <a:pt x="335" y="182"/>
                    <a:pt x="335" y="182"/>
                  </a:cubicBezTo>
                  <a:cubicBezTo>
                    <a:pt x="333" y="185"/>
                    <a:pt x="332" y="187"/>
                    <a:pt x="331" y="190"/>
                  </a:cubicBezTo>
                  <a:cubicBezTo>
                    <a:pt x="330" y="190"/>
                    <a:pt x="330" y="190"/>
                    <a:pt x="330" y="190"/>
                  </a:cubicBezTo>
                  <a:cubicBezTo>
                    <a:pt x="330" y="189"/>
                    <a:pt x="330" y="189"/>
                    <a:pt x="330" y="189"/>
                  </a:cubicBezTo>
                  <a:cubicBezTo>
                    <a:pt x="329" y="189"/>
                    <a:pt x="329" y="187"/>
                    <a:pt x="328" y="187"/>
                  </a:cubicBezTo>
                  <a:cubicBezTo>
                    <a:pt x="327" y="187"/>
                    <a:pt x="326" y="188"/>
                    <a:pt x="324" y="188"/>
                  </a:cubicBezTo>
                  <a:cubicBezTo>
                    <a:pt x="323" y="189"/>
                    <a:pt x="321" y="187"/>
                    <a:pt x="320" y="188"/>
                  </a:cubicBezTo>
                  <a:cubicBezTo>
                    <a:pt x="320" y="188"/>
                    <a:pt x="320" y="187"/>
                    <a:pt x="319" y="187"/>
                  </a:cubicBezTo>
                  <a:cubicBezTo>
                    <a:pt x="318" y="187"/>
                    <a:pt x="318" y="187"/>
                    <a:pt x="317" y="187"/>
                  </a:cubicBezTo>
                  <a:cubicBezTo>
                    <a:pt x="316" y="187"/>
                    <a:pt x="315" y="187"/>
                    <a:pt x="313" y="187"/>
                  </a:cubicBezTo>
                  <a:cubicBezTo>
                    <a:pt x="311" y="187"/>
                    <a:pt x="308" y="187"/>
                    <a:pt x="305" y="188"/>
                  </a:cubicBezTo>
                  <a:cubicBezTo>
                    <a:pt x="305" y="187"/>
                    <a:pt x="305" y="187"/>
                    <a:pt x="305" y="186"/>
                  </a:cubicBezTo>
                  <a:cubicBezTo>
                    <a:pt x="305" y="186"/>
                    <a:pt x="305" y="185"/>
                    <a:pt x="305" y="184"/>
                  </a:cubicBezTo>
                  <a:cubicBezTo>
                    <a:pt x="304" y="184"/>
                    <a:pt x="304" y="183"/>
                    <a:pt x="303" y="183"/>
                  </a:cubicBezTo>
                  <a:cubicBezTo>
                    <a:pt x="303" y="184"/>
                    <a:pt x="302" y="184"/>
                    <a:pt x="302" y="183"/>
                  </a:cubicBezTo>
                  <a:cubicBezTo>
                    <a:pt x="302" y="182"/>
                    <a:pt x="304" y="182"/>
                    <a:pt x="304" y="182"/>
                  </a:cubicBezTo>
                  <a:cubicBezTo>
                    <a:pt x="305" y="181"/>
                    <a:pt x="305" y="179"/>
                    <a:pt x="305" y="178"/>
                  </a:cubicBezTo>
                  <a:cubicBezTo>
                    <a:pt x="305" y="177"/>
                    <a:pt x="305" y="175"/>
                    <a:pt x="307" y="174"/>
                  </a:cubicBezTo>
                  <a:cubicBezTo>
                    <a:pt x="306" y="174"/>
                    <a:pt x="306" y="173"/>
                    <a:pt x="306" y="172"/>
                  </a:cubicBezTo>
                  <a:cubicBezTo>
                    <a:pt x="305" y="171"/>
                    <a:pt x="305" y="171"/>
                    <a:pt x="304" y="171"/>
                  </a:cubicBezTo>
                  <a:cubicBezTo>
                    <a:pt x="305" y="171"/>
                    <a:pt x="305" y="171"/>
                    <a:pt x="306" y="170"/>
                  </a:cubicBezTo>
                  <a:cubicBezTo>
                    <a:pt x="304" y="170"/>
                    <a:pt x="302" y="170"/>
                    <a:pt x="300" y="170"/>
                  </a:cubicBezTo>
                  <a:cubicBezTo>
                    <a:pt x="298" y="170"/>
                    <a:pt x="297" y="171"/>
                    <a:pt x="295" y="171"/>
                  </a:cubicBezTo>
                  <a:cubicBezTo>
                    <a:pt x="294" y="172"/>
                    <a:pt x="293" y="173"/>
                    <a:pt x="292" y="174"/>
                  </a:cubicBezTo>
                  <a:cubicBezTo>
                    <a:pt x="291" y="175"/>
                    <a:pt x="291" y="175"/>
                    <a:pt x="291" y="176"/>
                  </a:cubicBezTo>
                  <a:cubicBezTo>
                    <a:pt x="290" y="176"/>
                    <a:pt x="290" y="176"/>
                    <a:pt x="290" y="177"/>
                  </a:cubicBezTo>
                  <a:cubicBezTo>
                    <a:pt x="290" y="177"/>
                    <a:pt x="290" y="177"/>
                    <a:pt x="289" y="177"/>
                  </a:cubicBezTo>
                  <a:cubicBezTo>
                    <a:pt x="289" y="177"/>
                    <a:pt x="289" y="176"/>
                    <a:pt x="289" y="175"/>
                  </a:cubicBezTo>
                  <a:cubicBezTo>
                    <a:pt x="288" y="176"/>
                    <a:pt x="288" y="176"/>
                    <a:pt x="287" y="176"/>
                  </a:cubicBezTo>
                  <a:cubicBezTo>
                    <a:pt x="288" y="175"/>
                    <a:pt x="288" y="175"/>
                    <a:pt x="288" y="175"/>
                  </a:cubicBezTo>
                  <a:cubicBezTo>
                    <a:pt x="288" y="174"/>
                    <a:pt x="287" y="174"/>
                    <a:pt x="287" y="175"/>
                  </a:cubicBezTo>
                  <a:cubicBezTo>
                    <a:pt x="286" y="175"/>
                    <a:pt x="285" y="177"/>
                    <a:pt x="283" y="177"/>
                  </a:cubicBezTo>
                  <a:cubicBezTo>
                    <a:pt x="282" y="177"/>
                    <a:pt x="282" y="177"/>
                    <a:pt x="281" y="178"/>
                  </a:cubicBezTo>
                  <a:cubicBezTo>
                    <a:pt x="281" y="178"/>
                    <a:pt x="281" y="178"/>
                    <a:pt x="281" y="179"/>
                  </a:cubicBezTo>
                  <a:cubicBezTo>
                    <a:pt x="281" y="179"/>
                    <a:pt x="280" y="179"/>
                    <a:pt x="280" y="180"/>
                  </a:cubicBezTo>
                  <a:cubicBezTo>
                    <a:pt x="279" y="180"/>
                    <a:pt x="279" y="180"/>
                    <a:pt x="279" y="181"/>
                  </a:cubicBezTo>
                  <a:cubicBezTo>
                    <a:pt x="279" y="181"/>
                    <a:pt x="279" y="182"/>
                    <a:pt x="279" y="182"/>
                  </a:cubicBezTo>
                  <a:cubicBezTo>
                    <a:pt x="279" y="182"/>
                    <a:pt x="279" y="182"/>
                    <a:pt x="279" y="182"/>
                  </a:cubicBezTo>
                  <a:cubicBezTo>
                    <a:pt x="279" y="182"/>
                    <a:pt x="279" y="183"/>
                    <a:pt x="280" y="183"/>
                  </a:cubicBezTo>
                  <a:cubicBezTo>
                    <a:pt x="280" y="183"/>
                    <a:pt x="280" y="183"/>
                    <a:pt x="280" y="183"/>
                  </a:cubicBezTo>
                  <a:cubicBezTo>
                    <a:pt x="281" y="183"/>
                    <a:pt x="282" y="184"/>
                    <a:pt x="283" y="184"/>
                  </a:cubicBezTo>
                  <a:cubicBezTo>
                    <a:pt x="283" y="185"/>
                    <a:pt x="283" y="185"/>
                    <a:pt x="283" y="185"/>
                  </a:cubicBezTo>
                  <a:cubicBezTo>
                    <a:pt x="283" y="185"/>
                    <a:pt x="283" y="185"/>
                    <a:pt x="283" y="185"/>
                  </a:cubicBezTo>
                  <a:cubicBezTo>
                    <a:pt x="282" y="186"/>
                    <a:pt x="281" y="186"/>
                    <a:pt x="280" y="186"/>
                  </a:cubicBezTo>
                  <a:cubicBezTo>
                    <a:pt x="279" y="186"/>
                    <a:pt x="278" y="186"/>
                    <a:pt x="277" y="186"/>
                  </a:cubicBezTo>
                  <a:cubicBezTo>
                    <a:pt x="276" y="186"/>
                    <a:pt x="276" y="185"/>
                    <a:pt x="275" y="185"/>
                  </a:cubicBezTo>
                  <a:cubicBezTo>
                    <a:pt x="275" y="185"/>
                    <a:pt x="275" y="184"/>
                    <a:pt x="275" y="184"/>
                  </a:cubicBezTo>
                  <a:cubicBezTo>
                    <a:pt x="272" y="185"/>
                    <a:pt x="271" y="186"/>
                    <a:pt x="268" y="187"/>
                  </a:cubicBezTo>
                  <a:cubicBezTo>
                    <a:pt x="268" y="187"/>
                    <a:pt x="268" y="188"/>
                    <a:pt x="267" y="188"/>
                  </a:cubicBezTo>
                  <a:cubicBezTo>
                    <a:pt x="267" y="188"/>
                    <a:pt x="267" y="188"/>
                    <a:pt x="267" y="189"/>
                  </a:cubicBezTo>
                  <a:cubicBezTo>
                    <a:pt x="267" y="189"/>
                    <a:pt x="267" y="189"/>
                    <a:pt x="267" y="189"/>
                  </a:cubicBezTo>
                  <a:cubicBezTo>
                    <a:pt x="267" y="190"/>
                    <a:pt x="266" y="190"/>
                    <a:pt x="266" y="190"/>
                  </a:cubicBezTo>
                  <a:cubicBezTo>
                    <a:pt x="266" y="190"/>
                    <a:pt x="265" y="190"/>
                    <a:pt x="265" y="190"/>
                  </a:cubicBezTo>
                  <a:cubicBezTo>
                    <a:pt x="264" y="190"/>
                    <a:pt x="265" y="190"/>
                    <a:pt x="265" y="191"/>
                  </a:cubicBezTo>
                  <a:cubicBezTo>
                    <a:pt x="265" y="191"/>
                    <a:pt x="265" y="191"/>
                    <a:pt x="265" y="192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64" y="193"/>
                    <a:pt x="263" y="194"/>
                    <a:pt x="262" y="194"/>
                  </a:cubicBezTo>
                  <a:cubicBezTo>
                    <a:pt x="261" y="194"/>
                    <a:pt x="261" y="194"/>
                    <a:pt x="261" y="193"/>
                  </a:cubicBezTo>
                  <a:cubicBezTo>
                    <a:pt x="260" y="194"/>
                    <a:pt x="259" y="194"/>
                    <a:pt x="258" y="195"/>
                  </a:cubicBezTo>
                  <a:cubicBezTo>
                    <a:pt x="257" y="195"/>
                    <a:pt x="257" y="195"/>
                    <a:pt x="257" y="195"/>
                  </a:cubicBezTo>
                  <a:cubicBezTo>
                    <a:pt x="257" y="195"/>
                    <a:pt x="258" y="195"/>
                    <a:pt x="258" y="195"/>
                  </a:cubicBezTo>
                  <a:cubicBezTo>
                    <a:pt x="257" y="196"/>
                    <a:pt x="257" y="196"/>
                    <a:pt x="257" y="196"/>
                  </a:cubicBezTo>
                  <a:cubicBezTo>
                    <a:pt x="257" y="196"/>
                    <a:pt x="258" y="196"/>
                    <a:pt x="258" y="197"/>
                  </a:cubicBezTo>
                  <a:cubicBezTo>
                    <a:pt x="258" y="197"/>
                    <a:pt x="258" y="197"/>
                    <a:pt x="258" y="198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56" y="198"/>
                    <a:pt x="256" y="199"/>
                    <a:pt x="256" y="199"/>
                  </a:cubicBezTo>
                  <a:cubicBezTo>
                    <a:pt x="255" y="199"/>
                    <a:pt x="255" y="199"/>
                    <a:pt x="254" y="199"/>
                  </a:cubicBezTo>
                  <a:cubicBezTo>
                    <a:pt x="253" y="199"/>
                    <a:pt x="253" y="201"/>
                    <a:pt x="252" y="201"/>
                  </a:cubicBezTo>
                  <a:cubicBezTo>
                    <a:pt x="252" y="201"/>
                    <a:pt x="251" y="201"/>
                    <a:pt x="251" y="200"/>
                  </a:cubicBezTo>
                  <a:cubicBezTo>
                    <a:pt x="251" y="200"/>
                    <a:pt x="251" y="200"/>
                    <a:pt x="251" y="200"/>
                  </a:cubicBezTo>
                  <a:cubicBezTo>
                    <a:pt x="251" y="200"/>
                    <a:pt x="251" y="199"/>
                    <a:pt x="251" y="199"/>
                  </a:cubicBezTo>
                  <a:cubicBezTo>
                    <a:pt x="252" y="198"/>
                    <a:pt x="253" y="198"/>
                    <a:pt x="253" y="198"/>
                  </a:cubicBezTo>
                  <a:cubicBezTo>
                    <a:pt x="254" y="197"/>
                    <a:pt x="255" y="197"/>
                    <a:pt x="255" y="196"/>
                  </a:cubicBezTo>
                  <a:cubicBezTo>
                    <a:pt x="255" y="196"/>
                    <a:pt x="255" y="196"/>
                    <a:pt x="255" y="196"/>
                  </a:cubicBezTo>
                  <a:cubicBezTo>
                    <a:pt x="255" y="196"/>
                    <a:pt x="255" y="196"/>
                    <a:pt x="255" y="196"/>
                  </a:cubicBezTo>
                  <a:cubicBezTo>
                    <a:pt x="254" y="196"/>
                    <a:pt x="253" y="197"/>
                    <a:pt x="252" y="198"/>
                  </a:cubicBezTo>
                  <a:cubicBezTo>
                    <a:pt x="251" y="198"/>
                    <a:pt x="251" y="198"/>
                    <a:pt x="250" y="199"/>
                  </a:cubicBezTo>
                  <a:cubicBezTo>
                    <a:pt x="250" y="200"/>
                    <a:pt x="250" y="200"/>
                    <a:pt x="250" y="201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4" y="205"/>
                    <a:pt x="255" y="206"/>
                    <a:pt x="256" y="207"/>
                  </a:cubicBezTo>
                  <a:cubicBezTo>
                    <a:pt x="257" y="208"/>
                    <a:pt x="259" y="208"/>
                    <a:pt x="260" y="208"/>
                  </a:cubicBezTo>
                  <a:cubicBezTo>
                    <a:pt x="262" y="209"/>
                    <a:pt x="263" y="209"/>
                    <a:pt x="265" y="209"/>
                  </a:cubicBezTo>
                  <a:cubicBezTo>
                    <a:pt x="266" y="209"/>
                    <a:pt x="268" y="209"/>
                    <a:pt x="269" y="210"/>
                  </a:cubicBezTo>
                  <a:cubicBezTo>
                    <a:pt x="271" y="211"/>
                    <a:pt x="273" y="211"/>
                    <a:pt x="275" y="212"/>
                  </a:cubicBezTo>
                  <a:cubicBezTo>
                    <a:pt x="275" y="212"/>
                    <a:pt x="276" y="213"/>
                    <a:pt x="277" y="213"/>
                  </a:cubicBezTo>
                  <a:cubicBezTo>
                    <a:pt x="277" y="214"/>
                    <a:pt x="277" y="214"/>
                    <a:pt x="277" y="215"/>
                  </a:cubicBezTo>
                  <a:cubicBezTo>
                    <a:pt x="278" y="215"/>
                    <a:pt x="278" y="215"/>
                    <a:pt x="279" y="215"/>
                  </a:cubicBezTo>
                  <a:cubicBezTo>
                    <a:pt x="280" y="215"/>
                    <a:pt x="280" y="215"/>
                    <a:pt x="280" y="215"/>
                  </a:cubicBezTo>
                  <a:cubicBezTo>
                    <a:pt x="281" y="215"/>
                    <a:pt x="281" y="214"/>
                    <a:pt x="280" y="214"/>
                  </a:cubicBezTo>
                  <a:cubicBezTo>
                    <a:pt x="280" y="213"/>
                    <a:pt x="279" y="213"/>
                    <a:pt x="279" y="212"/>
                  </a:cubicBezTo>
                  <a:cubicBezTo>
                    <a:pt x="279" y="212"/>
                    <a:pt x="280" y="211"/>
                    <a:pt x="280" y="211"/>
                  </a:cubicBezTo>
                  <a:cubicBezTo>
                    <a:pt x="280" y="212"/>
                    <a:pt x="280" y="213"/>
                    <a:pt x="281" y="213"/>
                  </a:cubicBezTo>
                  <a:cubicBezTo>
                    <a:pt x="281" y="214"/>
                    <a:pt x="282" y="214"/>
                    <a:pt x="282" y="215"/>
                  </a:cubicBezTo>
                  <a:cubicBezTo>
                    <a:pt x="283" y="215"/>
                    <a:pt x="284" y="215"/>
                    <a:pt x="284" y="215"/>
                  </a:cubicBezTo>
                  <a:cubicBezTo>
                    <a:pt x="284" y="215"/>
                    <a:pt x="284" y="214"/>
                    <a:pt x="284" y="214"/>
                  </a:cubicBezTo>
                  <a:cubicBezTo>
                    <a:pt x="285" y="214"/>
                    <a:pt x="285" y="214"/>
                    <a:pt x="285" y="215"/>
                  </a:cubicBezTo>
                  <a:cubicBezTo>
                    <a:pt x="285" y="215"/>
                    <a:pt x="285" y="216"/>
                    <a:pt x="285" y="216"/>
                  </a:cubicBezTo>
                  <a:cubicBezTo>
                    <a:pt x="284" y="217"/>
                    <a:pt x="283" y="218"/>
                    <a:pt x="282" y="219"/>
                  </a:cubicBezTo>
                  <a:cubicBezTo>
                    <a:pt x="281" y="219"/>
                    <a:pt x="281" y="219"/>
                    <a:pt x="281" y="219"/>
                  </a:cubicBezTo>
                  <a:cubicBezTo>
                    <a:pt x="281" y="219"/>
                    <a:pt x="281" y="219"/>
                    <a:pt x="281" y="219"/>
                  </a:cubicBezTo>
                  <a:cubicBezTo>
                    <a:pt x="280" y="218"/>
                    <a:pt x="279" y="217"/>
                    <a:pt x="278" y="217"/>
                  </a:cubicBezTo>
                  <a:cubicBezTo>
                    <a:pt x="278" y="216"/>
                    <a:pt x="277" y="215"/>
                    <a:pt x="276" y="215"/>
                  </a:cubicBezTo>
                  <a:cubicBezTo>
                    <a:pt x="276" y="215"/>
                    <a:pt x="276" y="214"/>
                    <a:pt x="276" y="214"/>
                  </a:cubicBezTo>
                  <a:cubicBezTo>
                    <a:pt x="276" y="213"/>
                    <a:pt x="275" y="213"/>
                    <a:pt x="274" y="213"/>
                  </a:cubicBezTo>
                  <a:cubicBezTo>
                    <a:pt x="273" y="212"/>
                    <a:pt x="272" y="212"/>
                    <a:pt x="272" y="213"/>
                  </a:cubicBezTo>
                  <a:cubicBezTo>
                    <a:pt x="271" y="214"/>
                    <a:pt x="271" y="215"/>
                    <a:pt x="270" y="216"/>
                  </a:cubicBezTo>
                  <a:cubicBezTo>
                    <a:pt x="269" y="217"/>
                    <a:pt x="267" y="217"/>
                    <a:pt x="266" y="216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66" y="216"/>
                    <a:pt x="265" y="217"/>
                    <a:pt x="266" y="217"/>
                  </a:cubicBezTo>
                  <a:cubicBezTo>
                    <a:pt x="266" y="217"/>
                    <a:pt x="266" y="218"/>
                    <a:pt x="266" y="218"/>
                  </a:cubicBezTo>
                  <a:cubicBezTo>
                    <a:pt x="267" y="218"/>
                    <a:pt x="268" y="219"/>
                    <a:pt x="268" y="219"/>
                  </a:cubicBezTo>
                  <a:cubicBezTo>
                    <a:pt x="268" y="220"/>
                    <a:pt x="268" y="220"/>
                    <a:pt x="268" y="221"/>
                  </a:cubicBezTo>
                  <a:cubicBezTo>
                    <a:pt x="269" y="222"/>
                    <a:pt x="271" y="222"/>
                    <a:pt x="272" y="224"/>
                  </a:cubicBezTo>
                  <a:cubicBezTo>
                    <a:pt x="272" y="225"/>
                    <a:pt x="272" y="225"/>
                    <a:pt x="272" y="225"/>
                  </a:cubicBezTo>
                  <a:cubicBezTo>
                    <a:pt x="272" y="226"/>
                    <a:pt x="272" y="226"/>
                    <a:pt x="273" y="226"/>
                  </a:cubicBezTo>
                  <a:cubicBezTo>
                    <a:pt x="272" y="227"/>
                    <a:pt x="271" y="226"/>
                    <a:pt x="271" y="227"/>
                  </a:cubicBezTo>
                  <a:cubicBezTo>
                    <a:pt x="270" y="227"/>
                    <a:pt x="270" y="227"/>
                    <a:pt x="271" y="227"/>
                  </a:cubicBezTo>
                  <a:cubicBezTo>
                    <a:pt x="271" y="230"/>
                    <a:pt x="272" y="232"/>
                    <a:pt x="274" y="233"/>
                  </a:cubicBezTo>
                  <a:cubicBezTo>
                    <a:pt x="275" y="233"/>
                    <a:pt x="277" y="234"/>
                    <a:pt x="278" y="234"/>
                  </a:cubicBezTo>
                  <a:cubicBezTo>
                    <a:pt x="282" y="235"/>
                    <a:pt x="286" y="235"/>
                    <a:pt x="289" y="238"/>
                  </a:cubicBezTo>
                  <a:cubicBezTo>
                    <a:pt x="290" y="238"/>
                    <a:pt x="291" y="237"/>
                    <a:pt x="291" y="236"/>
                  </a:cubicBezTo>
                  <a:cubicBezTo>
                    <a:pt x="292" y="236"/>
                    <a:pt x="293" y="235"/>
                    <a:pt x="293" y="235"/>
                  </a:cubicBezTo>
                  <a:cubicBezTo>
                    <a:pt x="294" y="235"/>
                    <a:pt x="294" y="235"/>
                    <a:pt x="294" y="235"/>
                  </a:cubicBezTo>
                  <a:cubicBezTo>
                    <a:pt x="295" y="236"/>
                    <a:pt x="296" y="235"/>
                    <a:pt x="297" y="235"/>
                  </a:cubicBezTo>
                  <a:cubicBezTo>
                    <a:pt x="297" y="234"/>
                    <a:pt x="298" y="233"/>
                    <a:pt x="299" y="233"/>
                  </a:cubicBezTo>
                  <a:cubicBezTo>
                    <a:pt x="300" y="233"/>
                    <a:pt x="301" y="234"/>
                    <a:pt x="302" y="234"/>
                  </a:cubicBezTo>
                  <a:cubicBezTo>
                    <a:pt x="304" y="234"/>
                    <a:pt x="305" y="233"/>
                    <a:pt x="307" y="233"/>
                  </a:cubicBezTo>
                  <a:cubicBezTo>
                    <a:pt x="309" y="233"/>
                    <a:pt x="311" y="235"/>
                    <a:pt x="313" y="237"/>
                  </a:cubicBezTo>
                  <a:cubicBezTo>
                    <a:pt x="313" y="238"/>
                    <a:pt x="313" y="238"/>
                    <a:pt x="313" y="238"/>
                  </a:cubicBezTo>
                  <a:cubicBezTo>
                    <a:pt x="314" y="238"/>
                    <a:pt x="315" y="237"/>
                    <a:pt x="315" y="236"/>
                  </a:cubicBezTo>
                  <a:cubicBezTo>
                    <a:pt x="315" y="236"/>
                    <a:pt x="314" y="235"/>
                    <a:pt x="313" y="235"/>
                  </a:cubicBezTo>
                  <a:cubicBezTo>
                    <a:pt x="312" y="234"/>
                    <a:pt x="311" y="234"/>
                    <a:pt x="311" y="233"/>
                  </a:cubicBezTo>
                  <a:cubicBezTo>
                    <a:pt x="311" y="233"/>
                    <a:pt x="311" y="232"/>
                    <a:pt x="311" y="232"/>
                  </a:cubicBezTo>
                  <a:cubicBezTo>
                    <a:pt x="311" y="231"/>
                    <a:pt x="312" y="231"/>
                    <a:pt x="313" y="231"/>
                  </a:cubicBezTo>
                  <a:cubicBezTo>
                    <a:pt x="313" y="231"/>
                    <a:pt x="314" y="232"/>
                    <a:pt x="314" y="232"/>
                  </a:cubicBezTo>
                  <a:cubicBezTo>
                    <a:pt x="315" y="233"/>
                    <a:pt x="316" y="234"/>
                    <a:pt x="317" y="235"/>
                  </a:cubicBezTo>
                  <a:cubicBezTo>
                    <a:pt x="317" y="237"/>
                    <a:pt x="318" y="238"/>
                    <a:pt x="318" y="239"/>
                  </a:cubicBezTo>
                  <a:cubicBezTo>
                    <a:pt x="318" y="239"/>
                    <a:pt x="318" y="240"/>
                    <a:pt x="318" y="240"/>
                  </a:cubicBezTo>
                  <a:cubicBezTo>
                    <a:pt x="319" y="241"/>
                    <a:pt x="320" y="240"/>
                    <a:pt x="320" y="240"/>
                  </a:cubicBezTo>
                  <a:cubicBezTo>
                    <a:pt x="321" y="239"/>
                    <a:pt x="321" y="239"/>
                    <a:pt x="321" y="238"/>
                  </a:cubicBezTo>
                  <a:cubicBezTo>
                    <a:pt x="321" y="237"/>
                    <a:pt x="321" y="237"/>
                    <a:pt x="321" y="236"/>
                  </a:cubicBezTo>
                  <a:cubicBezTo>
                    <a:pt x="321" y="236"/>
                    <a:pt x="322" y="235"/>
                    <a:pt x="322" y="235"/>
                  </a:cubicBezTo>
                  <a:cubicBezTo>
                    <a:pt x="323" y="234"/>
                    <a:pt x="324" y="233"/>
                    <a:pt x="325" y="232"/>
                  </a:cubicBezTo>
                  <a:cubicBezTo>
                    <a:pt x="326" y="231"/>
                    <a:pt x="327" y="230"/>
                    <a:pt x="328" y="229"/>
                  </a:cubicBezTo>
                  <a:cubicBezTo>
                    <a:pt x="327" y="229"/>
                    <a:pt x="327" y="229"/>
                    <a:pt x="327" y="228"/>
                  </a:cubicBezTo>
                  <a:cubicBezTo>
                    <a:pt x="327" y="228"/>
                    <a:pt x="327" y="227"/>
                    <a:pt x="328" y="228"/>
                  </a:cubicBezTo>
                  <a:cubicBezTo>
                    <a:pt x="328" y="228"/>
                    <a:pt x="328" y="228"/>
                    <a:pt x="328" y="228"/>
                  </a:cubicBezTo>
                  <a:cubicBezTo>
                    <a:pt x="328" y="228"/>
                    <a:pt x="328" y="229"/>
                    <a:pt x="329" y="229"/>
                  </a:cubicBezTo>
                  <a:cubicBezTo>
                    <a:pt x="330" y="229"/>
                    <a:pt x="330" y="228"/>
                    <a:pt x="331" y="228"/>
                  </a:cubicBezTo>
                  <a:cubicBezTo>
                    <a:pt x="331" y="228"/>
                    <a:pt x="332" y="227"/>
                    <a:pt x="332" y="227"/>
                  </a:cubicBezTo>
                  <a:cubicBezTo>
                    <a:pt x="332" y="227"/>
                    <a:pt x="332" y="227"/>
                    <a:pt x="331" y="227"/>
                  </a:cubicBezTo>
                  <a:cubicBezTo>
                    <a:pt x="331" y="226"/>
                    <a:pt x="332" y="226"/>
                    <a:pt x="332" y="226"/>
                  </a:cubicBezTo>
                  <a:cubicBezTo>
                    <a:pt x="332" y="226"/>
                    <a:pt x="332" y="226"/>
                    <a:pt x="333" y="227"/>
                  </a:cubicBezTo>
                  <a:cubicBezTo>
                    <a:pt x="333" y="228"/>
                    <a:pt x="335" y="228"/>
                    <a:pt x="336" y="227"/>
                  </a:cubicBezTo>
                  <a:cubicBezTo>
                    <a:pt x="336" y="227"/>
                    <a:pt x="337" y="226"/>
                    <a:pt x="337" y="226"/>
                  </a:cubicBezTo>
                  <a:cubicBezTo>
                    <a:pt x="338" y="225"/>
                    <a:pt x="338" y="224"/>
                    <a:pt x="339" y="222"/>
                  </a:cubicBezTo>
                  <a:cubicBezTo>
                    <a:pt x="340" y="225"/>
                    <a:pt x="342" y="227"/>
                    <a:pt x="344" y="229"/>
                  </a:cubicBezTo>
                  <a:cubicBezTo>
                    <a:pt x="345" y="230"/>
                    <a:pt x="345" y="231"/>
                    <a:pt x="344" y="232"/>
                  </a:cubicBezTo>
                  <a:cubicBezTo>
                    <a:pt x="343" y="233"/>
                    <a:pt x="342" y="233"/>
                    <a:pt x="342" y="234"/>
                  </a:cubicBezTo>
                  <a:cubicBezTo>
                    <a:pt x="342" y="234"/>
                    <a:pt x="342" y="235"/>
                    <a:pt x="342" y="235"/>
                  </a:cubicBezTo>
                  <a:cubicBezTo>
                    <a:pt x="341" y="235"/>
                    <a:pt x="341" y="235"/>
                    <a:pt x="341" y="235"/>
                  </a:cubicBezTo>
                  <a:cubicBezTo>
                    <a:pt x="340" y="235"/>
                    <a:pt x="339" y="235"/>
                    <a:pt x="338" y="235"/>
                  </a:cubicBezTo>
                  <a:cubicBezTo>
                    <a:pt x="338" y="235"/>
                    <a:pt x="337" y="235"/>
                    <a:pt x="337" y="235"/>
                  </a:cubicBezTo>
                  <a:cubicBezTo>
                    <a:pt x="337" y="235"/>
                    <a:pt x="337" y="234"/>
                    <a:pt x="337" y="234"/>
                  </a:cubicBezTo>
                  <a:cubicBezTo>
                    <a:pt x="337" y="234"/>
                    <a:pt x="337" y="234"/>
                    <a:pt x="336" y="234"/>
                  </a:cubicBezTo>
                  <a:cubicBezTo>
                    <a:pt x="336" y="235"/>
                    <a:pt x="336" y="235"/>
                    <a:pt x="335" y="236"/>
                  </a:cubicBezTo>
                  <a:cubicBezTo>
                    <a:pt x="335" y="236"/>
                    <a:pt x="336" y="237"/>
                    <a:pt x="335" y="238"/>
                  </a:cubicBezTo>
                  <a:cubicBezTo>
                    <a:pt x="335" y="238"/>
                    <a:pt x="334" y="238"/>
                    <a:pt x="334" y="238"/>
                  </a:cubicBezTo>
                  <a:cubicBezTo>
                    <a:pt x="335" y="239"/>
                    <a:pt x="335" y="238"/>
                    <a:pt x="336" y="238"/>
                  </a:cubicBezTo>
                  <a:cubicBezTo>
                    <a:pt x="336" y="238"/>
                    <a:pt x="336" y="237"/>
                    <a:pt x="337" y="237"/>
                  </a:cubicBezTo>
                  <a:cubicBezTo>
                    <a:pt x="337" y="237"/>
                    <a:pt x="337" y="237"/>
                    <a:pt x="337" y="237"/>
                  </a:cubicBezTo>
                  <a:cubicBezTo>
                    <a:pt x="337" y="237"/>
                    <a:pt x="337" y="237"/>
                    <a:pt x="337" y="237"/>
                  </a:cubicBezTo>
                  <a:cubicBezTo>
                    <a:pt x="337" y="238"/>
                    <a:pt x="338" y="239"/>
                    <a:pt x="338" y="239"/>
                  </a:cubicBezTo>
                  <a:cubicBezTo>
                    <a:pt x="339" y="240"/>
                    <a:pt x="340" y="242"/>
                    <a:pt x="341" y="243"/>
                  </a:cubicBezTo>
                  <a:cubicBezTo>
                    <a:pt x="341" y="243"/>
                    <a:pt x="342" y="244"/>
                    <a:pt x="342" y="244"/>
                  </a:cubicBezTo>
                  <a:cubicBezTo>
                    <a:pt x="342" y="245"/>
                    <a:pt x="342" y="246"/>
                    <a:pt x="342" y="247"/>
                  </a:cubicBezTo>
                  <a:cubicBezTo>
                    <a:pt x="342" y="248"/>
                    <a:pt x="342" y="249"/>
                    <a:pt x="342" y="249"/>
                  </a:cubicBezTo>
                  <a:cubicBezTo>
                    <a:pt x="343" y="249"/>
                    <a:pt x="343" y="250"/>
                    <a:pt x="343" y="250"/>
                  </a:cubicBezTo>
                  <a:cubicBezTo>
                    <a:pt x="343" y="251"/>
                    <a:pt x="344" y="252"/>
                    <a:pt x="344" y="253"/>
                  </a:cubicBezTo>
                  <a:cubicBezTo>
                    <a:pt x="344" y="253"/>
                    <a:pt x="344" y="254"/>
                    <a:pt x="345" y="254"/>
                  </a:cubicBezTo>
                  <a:cubicBezTo>
                    <a:pt x="345" y="254"/>
                    <a:pt x="345" y="254"/>
                    <a:pt x="345" y="254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44" y="255"/>
                    <a:pt x="345" y="256"/>
                    <a:pt x="345" y="256"/>
                  </a:cubicBezTo>
                  <a:cubicBezTo>
                    <a:pt x="345" y="257"/>
                    <a:pt x="344" y="257"/>
                    <a:pt x="344" y="258"/>
                  </a:cubicBezTo>
                  <a:cubicBezTo>
                    <a:pt x="344" y="259"/>
                    <a:pt x="343" y="260"/>
                    <a:pt x="342" y="261"/>
                  </a:cubicBezTo>
                  <a:cubicBezTo>
                    <a:pt x="342" y="262"/>
                    <a:pt x="341" y="263"/>
                    <a:pt x="340" y="264"/>
                  </a:cubicBezTo>
                  <a:cubicBezTo>
                    <a:pt x="339" y="265"/>
                    <a:pt x="338" y="266"/>
                    <a:pt x="336" y="266"/>
                  </a:cubicBezTo>
                  <a:cubicBezTo>
                    <a:pt x="336" y="266"/>
                    <a:pt x="335" y="266"/>
                    <a:pt x="335" y="266"/>
                  </a:cubicBezTo>
                  <a:cubicBezTo>
                    <a:pt x="334" y="266"/>
                    <a:pt x="334" y="267"/>
                    <a:pt x="333" y="266"/>
                  </a:cubicBezTo>
                  <a:cubicBezTo>
                    <a:pt x="333" y="266"/>
                    <a:pt x="333" y="266"/>
                    <a:pt x="333" y="266"/>
                  </a:cubicBezTo>
                  <a:cubicBezTo>
                    <a:pt x="333" y="266"/>
                    <a:pt x="332" y="266"/>
                    <a:pt x="332" y="266"/>
                  </a:cubicBezTo>
                  <a:cubicBezTo>
                    <a:pt x="330" y="267"/>
                    <a:pt x="329" y="267"/>
                    <a:pt x="328" y="266"/>
                  </a:cubicBezTo>
                  <a:cubicBezTo>
                    <a:pt x="328" y="266"/>
                    <a:pt x="328" y="265"/>
                    <a:pt x="329" y="265"/>
                  </a:cubicBezTo>
                  <a:cubicBezTo>
                    <a:pt x="328" y="265"/>
                    <a:pt x="327" y="265"/>
                    <a:pt x="327" y="265"/>
                  </a:cubicBezTo>
                  <a:cubicBezTo>
                    <a:pt x="326" y="264"/>
                    <a:pt x="326" y="264"/>
                    <a:pt x="325" y="265"/>
                  </a:cubicBezTo>
                  <a:cubicBezTo>
                    <a:pt x="325" y="265"/>
                    <a:pt x="325" y="265"/>
                    <a:pt x="325" y="265"/>
                  </a:cubicBezTo>
                  <a:cubicBezTo>
                    <a:pt x="325" y="266"/>
                    <a:pt x="324" y="267"/>
                    <a:pt x="324" y="267"/>
                  </a:cubicBezTo>
                  <a:cubicBezTo>
                    <a:pt x="323" y="267"/>
                    <a:pt x="323" y="268"/>
                    <a:pt x="323" y="268"/>
                  </a:cubicBezTo>
                  <a:cubicBezTo>
                    <a:pt x="323" y="268"/>
                    <a:pt x="323" y="269"/>
                    <a:pt x="323" y="269"/>
                  </a:cubicBezTo>
                  <a:cubicBezTo>
                    <a:pt x="323" y="269"/>
                    <a:pt x="323" y="269"/>
                    <a:pt x="323" y="269"/>
                  </a:cubicBezTo>
                  <a:cubicBezTo>
                    <a:pt x="323" y="269"/>
                    <a:pt x="323" y="270"/>
                    <a:pt x="322" y="270"/>
                  </a:cubicBezTo>
                  <a:cubicBezTo>
                    <a:pt x="322" y="270"/>
                    <a:pt x="322" y="270"/>
                    <a:pt x="321" y="271"/>
                  </a:cubicBezTo>
                  <a:cubicBezTo>
                    <a:pt x="319" y="273"/>
                    <a:pt x="318" y="275"/>
                    <a:pt x="316" y="276"/>
                  </a:cubicBezTo>
                  <a:cubicBezTo>
                    <a:pt x="316" y="277"/>
                    <a:pt x="315" y="277"/>
                    <a:pt x="315" y="277"/>
                  </a:cubicBezTo>
                  <a:cubicBezTo>
                    <a:pt x="315" y="277"/>
                    <a:pt x="314" y="278"/>
                    <a:pt x="314" y="278"/>
                  </a:cubicBezTo>
                  <a:cubicBezTo>
                    <a:pt x="313" y="278"/>
                    <a:pt x="312" y="278"/>
                    <a:pt x="311" y="278"/>
                  </a:cubicBezTo>
                  <a:cubicBezTo>
                    <a:pt x="311" y="277"/>
                    <a:pt x="311" y="277"/>
                    <a:pt x="311" y="277"/>
                  </a:cubicBezTo>
                  <a:cubicBezTo>
                    <a:pt x="310" y="277"/>
                    <a:pt x="310" y="277"/>
                    <a:pt x="310" y="277"/>
                  </a:cubicBezTo>
                  <a:cubicBezTo>
                    <a:pt x="310" y="278"/>
                    <a:pt x="310" y="278"/>
                    <a:pt x="310" y="278"/>
                  </a:cubicBezTo>
                  <a:cubicBezTo>
                    <a:pt x="309" y="278"/>
                    <a:pt x="309" y="278"/>
                    <a:pt x="309" y="278"/>
                  </a:cubicBezTo>
                  <a:cubicBezTo>
                    <a:pt x="309" y="278"/>
                    <a:pt x="308" y="278"/>
                    <a:pt x="307" y="278"/>
                  </a:cubicBezTo>
                  <a:cubicBezTo>
                    <a:pt x="307" y="278"/>
                    <a:pt x="307" y="278"/>
                    <a:pt x="307" y="278"/>
                  </a:cubicBezTo>
                  <a:cubicBezTo>
                    <a:pt x="307" y="277"/>
                    <a:pt x="308" y="277"/>
                    <a:pt x="308" y="277"/>
                  </a:cubicBezTo>
                  <a:cubicBezTo>
                    <a:pt x="308" y="276"/>
                    <a:pt x="309" y="276"/>
                    <a:pt x="309" y="275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5"/>
                    <a:pt x="308" y="275"/>
                    <a:pt x="308" y="275"/>
                  </a:cubicBezTo>
                  <a:cubicBezTo>
                    <a:pt x="308" y="275"/>
                    <a:pt x="307" y="275"/>
                    <a:pt x="307" y="275"/>
                  </a:cubicBezTo>
                  <a:cubicBezTo>
                    <a:pt x="306" y="275"/>
                    <a:pt x="306" y="274"/>
                    <a:pt x="306" y="274"/>
                  </a:cubicBezTo>
                  <a:cubicBezTo>
                    <a:pt x="306" y="274"/>
                    <a:pt x="306" y="275"/>
                    <a:pt x="306" y="275"/>
                  </a:cubicBezTo>
                  <a:cubicBezTo>
                    <a:pt x="306" y="275"/>
                    <a:pt x="306" y="275"/>
                    <a:pt x="306" y="275"/>
                  </a:cubicBezTo>
                  <a:cubicBezTo>
                    <a:pt x="306" y="276"/>
                    <a:pt x="306" y="276"/>
                    <a:pt x="306" y="276"/>
                  </a:cubicBezTo>
                  <a:cubicBezTo>
                    <a:pt x="306" y="277"/>
                    <a:pt x="305" y="277"/>
                    <a:pt x="305" y="277"/>
                  </a:cubicBezTo>
                  <a:cubicBezTo>
                    <a:pt x="304" y="277"/>
                    <a:pt x="304" y="277"/>
                    <a:pt x="304" y="276"/>
                  </a:cubicBezTo>
                  <a:cubicBezTo>
                    <a:pt x="304" y="276"/>
                    <a:pt x="304" y="276"/>
                    <a:pt x="304" y="276"/>
                  </a:cubicBezTo>
                  <a:cubicBezTo>
                    <a:pt x="304" y="276"/>
                    <a:pt x="305" y="275"/>
                    <a:pt x="305" y="275"/>
                  </a:cubicBezTo>
                  <a:cubicBezTo>
                    <a:pt x="305" y="275"/>
                    <a:pt x="305" y="274"/>
                    <a:pt x="305" y="274"/>
                  </a:cubicBezTo>
                  <a:cubicBezTo>
                    <a:pt x="304" y="273"/>
                    <a:pt x="303" y="272"/>
                    <a:pt x="302" y="272"/>
                  </a:cubicBezTo>
                  <a:cubicBezTo>
                    <a:pt x="302" y="272"/>
                    <a:pt x="301" y="272"/>
                    <a:pt x="301" y="272"/>
                  </a:cubicBezTo>
                  <a:cubicBezTo>
                    <a:pt x="299" y="272"/>
                    <a:pt x="297" y="273"/>
                    <a:pt x="295" y="275"/>
                  </a:cubicBezTo>
                  <a:cubicBezTo>
                    <a:pt x="296" y="275"/>
                    <a:pt x="296" y="275"/>
                    <a:pt x="297" y="275"/>
                  </a:cubicBezTo>
                  <a:cubicBezTo>
                    <a:pt x="297" y="275"/>
                    <a:pt x="296" y="276"/>
                    <a:pt x="296" y="276"/>
                  </a:cubicBezTo>
                  <a:cubicBezTo>
                    <a:pt x="296" y="277"/>
                    <a:pt x="297" y="276"/>
                    <a:pt x="297" y="276"/>
                  </a:cubicBezTo>
                  <a:cubicBezTo>
                    <a:pt x="297" y="277"/>
                    <a:pt x="297" y="277"/>
                    <a:pt x="298" y="277"/>
                  </a:cubicBezTo>
                  <a:cubicBezTo>
                    <a:pt x="298" y="278"/>
                    <a:pt x="299" y="278"/>
                    <a:pt x="300" y="278"/>
                  </a:cubicBezTo>
                  <a:cubicBezTo>
                    <a:pt x="301" y="278"/>
                    <a:pt x="302" y="279"/>
                    <a:pt x="302" y="280"/>
                  </a:cubicBezTo>
                  <a:cubicBezTo>
                    <a:pt x="302" y="281"/>
                    <a:pt x="302" y="281"/>
                    <a:pt x="302" y="281"/>
                  </a:cubicBezTo>
                  <a:cubicBezTo>
                    <a:pt x="302" y="281"/>
                    <a:pt x="303" y="281"/>
                    <a:pt x="303" y="281"/>
                  </a:cubicBezTo>
                  <a:cubicBezTo>
                    <a:pt x="304" y="281"/>
                    <a:pt x="304" y="281"/>
                    <a:pt x="305" y="281"/>
                  </a:cubicBezTo>
                  <a:cubicBezTo>
                    <a:pt x="305" y="282"/>
                    <a:pt x="304" y="283"/>
                    <a:pt x="304" y="283"/>
                  </a:cubicBezTo>
                  <a:cubicBezTo>
                    <a:pt x="304" y="283"/>
                    <a:pt x="303" y="283"/>
                    <a:pt x="303" y="283"/>
                  </a:cubicBezTo>
                  <a:cubicBezTo>
                    <a:pt x="303" y="284"/>
                    <a:pt x="302" y="284"/>
                    <a:pt x="302" y="284"/>
                  </a:cubicBezTo>
                  <a:cubicBezTo>
                    <a:pt x="301" y="284"/>
                    <a:pt x="301" y="283"/>
                    <a:pt x="301" y="283"/>
                  </a:cubicBezTo>
                  <a:cubicBezTo>
                    <a:pt x="301" y="282"/>
                    <a:pt x="301" y="281"/>
                    <a:pt x="300" y="281"/>
                  </a:cubicBezTo>
                  <a:cubicBezTo>
                    <a:pt x="300" y="281"/>
                    <a:pt x="300" y="281"/>
                    <a:pt x="299" y="281"/>
                  </a:cubicBezTo>
                  <a:cubicBezTo>
                    <a:pt x="299" y="281"/>
                    <a:pt x="298" y="281"/>
                    <a:pt x="298" y="280"/>
                  </a:cubicBezTo>
                  <a:cubicBezTo>
                    <a:pt x="298" y="280"/>
                    <a:pt x="298" y="280"/>
                    <a:pt x="298" y="279"/>
                  </a:cubicBezTo>
                  <a:cubicBezTo>
                    <a:pt x="297" y="280"/>
                    <a:pt x="296" y="279"/>
                    <a:pt x="295" y="278"/>
                  </a:cubicBezTo>
                  <a:cubicBezTo>
                    <a:pt x="294" y="278"/>
                    <a:pt x="294" y="279"/>
                    <a:pt x="293" y="280"/>
                  </a:cubicBezTo>
                  <a:cubicBezTo>
                    <a:pt x="293" y="281"/>
                    <a:pt x="292" y="281"/>
                    <a:pt x="292" y="282"/>
                  </a:cubicBezTo>
                  <a:cubicBezTo>
                    <a:pt x="292" y="283"/>
                    <a:pt x="293" y="283"/>
                    <a:pt x="293" y="284"/>
                  </a:cubicBezTo>
                  <a:cubicBezTo>
                    <a:pt x="293" y="285"/>
                    <a:pt x="293" y="286"/>
                    <a:pt x="292" y="286"/>
                  </a:cubicBezTo>
                  <a:cubicBezTo>
                    <a:pt x="292" y="286"/>
                    <a:pt x="292" y="287"/>
                    <a:pt x="292" y="287"/>
                  </a:cubicBezTo>
                  <a:cubicBezTo>
                    <a:pt x="291" y="287"/>
                    <a:pt x="291" y="287"/>
                    <a:pt x="291" y="288"/>
                  </a:cubicBezTo>
                  <a:cubicBezTo>
                    <a:pt x="292" y="288"/>
                    <a:pt x="292" y="288"/>
                    <a:pt x="292" y="288"/>
                  </a:cubicBezTo>
                  <a:cubicBezTo>
                    <a:pt x="292" y="288"/>
                    <a:pt x="292" y="289"/>
                    <a:pt x="292" y="289"/>
                  </a:cubicBezTo>
                  <a:cubicBezTo>
                    <a:pt x="291" y="289"/>
                    <a:pt x="291" y="290"/>
                    <a:pt x="291" y="290"/>
                  </a:cubicBezTo>
                  <a:cubicBezTo>
                    <a:pt x="291" y="290"/>
                    <a:pt x="292" y="290"/>
                    <a:pt x="293" y="290"/>
                  </a:cubicBezTo>
                  <a:cubicBezTo>
                    <a:pt x="294" y="289"/>
                    <a:pt x="295" y="288"/>
                    <a:pt x="296" y="288"/>
                  </a:cubicBezTo>
                  <a:cubicBezTo>
                    <a:pt x="296" y="288"/>
                    <a:pt x="295" y="289"/>
                    <a:pt x="294" y="290"/>
                  </a:cubicBezTo>
                  <a:cubicBezTo>
                    <a:pt x="294" y="290"/>
                    <a:pt x="293" y="290"/>
                    <a:pt x="293" y="291"/>
                  </a:cubicBezTo>
                  <a:cubicBezTo>
                    <a:pt x="292" y="292"/>
                    <a:pt x="293" y="293"/>
                    <a:pt x="293" y="293"/>
                  </a:cubicBezTo>
                  <a:cubicBezTo>
                    <a:pt x="293" y="294"/>
                    <a:pt x="293" y="294"/>
                    <a:pt x="293" y="294"/>
                  </a:cubicBezTo>
                  <a:cubicBezTo>
                    <a:pt x="293" y="294"/>
                    <a:pt x="293" y="294"/>
                    <a:pt x="293" y="294"/>
                  </a:cubicBezTo>
                  <a:cubicBezTo>
                    <a:pt x="292" y="294"/>
                    <a:pt x="291" y="293"/>
                    <a:pt x="291" y="292"/>
                  </a:cubicBezTo>
                  <a:cubicBezTo>
                    <a:pt x="290" y="292"/>
                    <a:pt x="289" y="292"/>
                    <a:pt x="288" y="293"/>
                  </a:cubicBezTo>
                  <a:cubicBezTo>
                    <a:pt x="288" y="294"/>
                    <a:pt x="287" y="294"/>
                    <a:pt x="287" y="295"/>
                  </a:cubicBezTo>
                  <a:cubicBezTo>
                    <a:pt x="286" y="296"/>
                    <a:pt x="286" y="296"/>
                    <a:pt x="286" y="296"/>
                  </a:cubicBezTo>
                  <a:cubicBezTo>
                    <a:pt x="286" y="297"/>
                    <a:pt x="286" y="297"/>
                    <a:pt x="286" y="297"/>
                  </a:cubicBezTo>
                  <a:cubicBezTo>
                    <a:pt x="283" y="300"/>
                    <a:pt x="281" y="303"/>
                    <a:pt x="280" y="306"/>
                  </a:cubicBezTo>
                  <a:cubicBezTo>
                    <a:pt x="280" y="307"/>
                    <a:pt x="280" y="307"/>
                    <a:pt x="280" y="308"/>
                  </a:cubicBezTo>
                  <a:cubicBezTo>
                    <a:pt x="281" y="309"/>
                    <a:pt x="281" y="310"/>
                    <a:pt x="282" y="310"/>
                  </a:cubicBezTo>
                  <a:cubicBezTo>
                    <a:pt x="282" y="311"/>
                    <a:pt x="282" y="311"/>
                    <a:pt x="282" y="311"/>
                  </a:cubicBezTo>
                  <a:cubicBezTo>
                    <a:pt x="282" y="311"/>
                    <a:pt x="281" y="311"/>
                    <a:pt x="281" y="311"/>
                  </a:cubicBezTo>
                  <a:cubicBezTo>
                    <a:pt x="281" y="311"/>
                    <a:pt x="280" y="311"/>
                    <a:pt x="280" y="311"/>
                  </a:cubicBezTo>
                  <a:cubicBezTo>
                    <a:pt x="280" y="312"/>
                    <a:pt x="280" y="312"/>
                    <a:pt x="280" y="312"/>
                  </a:cubicBezTo>
                  <a:cubicBezTo>
                    <a:pt x="280" y="312"/>
                    <a:pt x="279" y="312"/>
                    <a:pt x="279" y="312"/>
                  </a:cubicBezTo>
                  <a:cubicBezTo>
                    <a:pt x="278" y="312"/>
                    <a:pt x="277" y="312"/>
                    <a:pt x="276" y="312"/>
                  </a:cubicBezTo>
                  <a:cubicBezTo>
                    <a:pt x="276" y="312"/>
                    <a:pt x="276" y="313"/>
                    <a:pt x="276" y="313"/>
                  </a:cubicBezTo>
                  <a:cubicBezTo>
                    <a:pt x="276" y="313"/>
                    <a:pt x="277" y="313"/>
                    <a:pt x="277" y="313"/>
                  </a:cubicBezTo>
                  <a:cubicBezTo>
                    <a:pt x="277" y="313"/>
                    <a:pt x="277" y="314"/>
                    <a:pt x="277" y="314"/>
                  </a:cubicBezTo>
                  <a:cubicBezTo>
                    <a:pt x="277" y="314"/>
                    <a:pt x="278" y="315"/>
                    <a:pt x="278" y="315"/>
                  </a:cubicBezTo>
                  <a:cubicBezTo>
                    <a:pt x="279" y="316"/>
                    <a:pt x="279" y="316"/>
                    <a:pt x="279" y="316"/>
                  </a:cubicBezTo>
                  <a:cubicBezTo>
                    <a:pt x="279" y="316"/>
                    <a:pt x="279" y="316"/>
                    <a:pt x="278" y="316"/>
                  </a:cubicBezTo>
                  <a:cubicBezTo>
                    <a:pt x="278" y="316"/>
                    <a:pt x="277" y="317"/>
                    <a:pt x="276" y="317"/>
                  </a:cubicBezTo>
                  <a:cubicBezTo>
                    <a:pt x="276" y="317"/>
                    <a:pt x="276" y="316"/>
                    <a:pt x="275" y="317"/>
                  </a:cubicBezTo>
                  <a:cubicBezTo>
                    <a:pt x="275" y="317"/>
                    <a:pt x="275" y="317"/>
                    <a:pt x="275" y="318"/>
                  </a:cubicBezTo>
                  <a:cubicBezTo>
                    <a:pt x="275" y="318"/>
                    <a:pt x="275" y="318"/>
                    <a:pt x="275" y="319"/>
                  </a:cubicBezTo>
                  <a:cubicBezTo>
                    <a:pt x="275" y="319"/>
                    <a:pt x="275" y="319"/>
                    <a:pt x="275" y="319"/>
                  </a:cubicBezTo>
                  <a:cubicBezTo>
                    <a:pt x="275" y="319"/>
                    <a:pt x="275" y="320"/>
                    <a:pt x="275" y="320"/>
                  </a:cubicBezTo>
                  <a:cubicBezTo>
                    <a:pt x="275" y="320"/>
                    <a:pt x="275" y="320"/>
                    <a:pt x="276" y="320"/>
                  </a:cubicBezTo>
                  <a:cubicBezTo>
                    <a:pt x="276" y="320"/>
                    <a:pt x="276" y="320"/>
                    <a:pt x="276" y="320"/>
                  </a:cubicBezTo>
                  <a:cubicBezTo>
                    <a:pt x="276" y="320"/>
                    <a:pt x="277" y="320"/>
                    <a:pt x="277" y="319"/>
                  </a:cubicBezTo>
                  <a:cubicBezTo>
                    <a:pt x="277" y="319"/>
                    <a:pt x="278" y="319"/>
                    <a:pt x="278" y="319"/>
                  </a:cubicBezTo>
                  <a:cubicBezTo>
                    <a:pt x="278" y="319"/>
                    <a:pt x="278" y="319"/>
                    <a:pt x="278" y="320"/>
                  </a:cubicBezTo>
                  <a:cubicBezTo>
                    <a:pt x="278" y="320"/>
                    <a:pt x="279" y="320"/>
                    <a:pt x="279" y="320"/>
                  </a:cubicBezTo>
                  <a:cubicBezTo>
                    <a:pt x="279" y="320"/>
                    <a:pt x="280" y="320"/>
                    <a:pt x="280" y="320"/>
                  </a:cubicBezTo>
                  <a:cubicBezTo>
                    <a:pt x="280" y="321"/>
                    <a:pt x="280" y="321"/>
                    <a:pt x="280" y="321"/>
                  </a:cubicBezTo>
                  <a:cubicBezTo>
                    <a:pt x="280" y="322"/>
                    <a:pt x="279" y="322"/>
                    <a:pt x="279" y="323"/>
                  </a:cubicBezTo>
                  <a:cubicBezTo>
                    <a:pt x="278" y="323"/>
                    <a:pt x="278" y="323"/>
                    <a:pt x="278" y="324"/>
                  </a:cubicBezTo>
                  <a:cubicBezTo>
                    <a:pt x="278" y="324"/>
                    <a:pt x="278" y="324"/>
                    <a:pt x="278" y="324"/>
                  </a:cubicBezTo>
                  <a:cubicBezTo>
                    <a:pt x="278" y="325"/>
                    <a:pt x="278" y="325"/>
                    <a:pt x="278" y="325"/>
                  </a:cubicBezTo>
                  <a:cubicBezTo>
                    <a:pt x="278" y="325"/>
                    <a:pt x="278" y="325"/>
                    <a:pt x="279" y="325"/>
                  </a:cubicBezTo>
                  <a:cubicBezTo>
                    <a:pt x="279" y="326"/>
                    <a:pt x="279" y="326"/>
                    <a:pt x="279" y="326"/>
                  </a:cubicBezTo>
                  <a:cubicBezTo>
                    <a:pt x="279" y="326"/>
                    <a:pt x="280" y="326"/>
                    <a:pt x="280" y="326"/>
                  </a:cubicBezTo>
                  <a:cubicBezTo>
                    <a:pt x="280" y="326"/>
                    <a:pt x="281" y="326"/>
                    <a:pt x="281" y="327"/>
                  </a:cubicBezTo>
                  <a:cubicBezTo>
                    <a:pt x="282" y="328"/>
                    <a:pt x="281" y="330"/>
                    <a:pt x="282" y="331"/>
                  </a:cubicBezTo>
                  <a:cubicBezTo>
                    <a:pt x="283" y="331"/>
                    <a:pt x="283" y="331"/>
                    <a:pt x="283" y="332"/>
                  </a:cubicBezTo>
                  <a:cubicBezTo>
                    <a:pt x="284" y="332"/>
                    <a:pt x="285" y="332"/>
                    <a:pt x="285" y="331"/>
                  </a:cubicBezTo>
                  <a:cubicBezTo>
                    <a:pt x="286" y="331"/>
                    <a:pt x="285" y="330"/>
                    <a:pt x="285" y="328"/>
                  </a:cubicBezTo>
                  <a:cubicBezTo>
                    <a:pt x="284" y="327"/>
                    <a:pt x="286" y="327"/>
                    <a:pt x="287" y="327"/>
                  </a:cubicBezTo>
                  <a:cubicBezTo>
                    <a:pt x="286" y="328"/>
                    <a:pt x="286" y="328"/>
                    <a:pt x="286" y="328"/>
                  </a:cubicBezTo>
                  <a:cubicBezTo>
                    <a:pt x="286" y="329"/>
                    <a:pt x="286" y="329"/>
                    <a:pt x="286" y="329"/>
                  </a:cubicBezTo>
                  <a:cubicBezTo>
                    <a:pt x="286" y="329"/>
                    <a:pt x="286" y="329"/>
                    <a:pt x="286" y="329"/>
                  </a:cubicBezTo>
                  <a:cubicBezTo>
                    <a:pt x="286" y="329"/>
                    <a:pt x="287" y="330"/>
                    <a:pt x="286" y="330"/>
                  </a:cubicBezTo>
                  <a:cubicBezTo>
                    <a:pt x="287" y="330"/>
                    <a:pt x="288" y="330"/>
                    <a:pt x="288" y="330"/>
                  </a:cubicBezTo>
                  <a:cubicBezTo>
                    <a:pt x="288" y="330"/>
                    <a:pt x="288" y="331"/>
                    <a:pt x="288" y="332"/>
                  </a:cubicBezTo>
                  <a:cubicBezTo>
                    <a:pt x="288" y="332"/>
                    <a:pt x="289" y="333"/>
                    <a:pt x="290" y="332"/>
                  </a:cubicBezTo>
                  <a:cubicBezTo>
                    <a:pt x="290" y="332"/>
                    <a:pt x="290" y="331"/>
                    <a:pt x="291" y="331"/>
                  </a:cubicBezTo>
                  <a:cubicBezTo>
                    <a:pt x="291" y="331"/>
                    <a:pt x="291" y="331"/>
                    <a:pt x="291" y="331"/>
                  </a:cubicBezTo>
                  <a:cubicBezTo>
                    <a:pt x="292" y="331"/>
                    <a:pt x="292" y="331"/>
                    <a:pt x="292" y="331"/>
                  </a:cubicBezTo>
                  <a:cubicBezTo>
                    <a:pt x="292" y="332"/>
                    <a:pt x="293" y="332"/>
                    <a:pt x="294" y="333"/>
                  </a:cubicBezTo>
                  <a:cubicBezTo>
                    <a:pt x="293" y="333"/>
                    <a:pt x="293" y="333"/>
                    <a:pt x="292" y="333"/>
                  </a:cubicBezTo>
                  <a:cubicBezTo>
                    <a:pt x="291" y="333"/>
                    <a:pt x="291" y="333"/>
                    <a:pt x="290" y="333"/>
                  </a:cubicBezTo>
                  <a:cubicBezTo>
                    <a:pt x="290" y="333"/>
                    <a:pt x="290" y="333"/>
                    <a:pt x="289" y="334"/>
                  </a:cubicBezTo>
                  <a:cubicBezTo>
                    <a:pt x="289" y="334"/>
                    <a:pt x="290" y="334"/>
                    <a:pt x="290" y="335"/>
                  </a:cubicBezTo>
                  <a:cubicBezTo>
                    <a:pt x="290" y="335"/>
                    <a:pt x="289" y="335"/>
                    <a:pt x="289" y="335"/>
                  </a:cubicBezTo>
                  <a:cubicBezTo>
                    <a:pt x="289" y="334"/>
                    <a:pt x="288" y="334"/>
                    <a:pt x="288" y="334"/>
                  </a:cubicBezTo>
                  <a:cubicBezTo>
                    <a:pt x="287" y="334"/>
                    <a:pt x="288" y="335"/>
                    <a:pt x="288" y="335"/>
                  </a:cubicBezTo>
                  <a:cubicBezTo>
                    <a:pt x="288" y="335"/>
                    <a:pt x="288" y="336"/>
                    <a:pt x="288" y="336"/>
                  </a:cubicBezTo>
                  <a:cubicBezTo>
                    <a:pt x="289" y="337"/>
                    <a:pt x="290" y="335"/>
                    <a:pt x="291" y="336"/>
                  </a:cubicBezTo>
                  <a:cubicBezTo>
                    <a:pt x="292" y="336"/>
                    <a:pt x="292" y="336"/>
                    <a:pt x="292" y="336"/>
                  </a:cubicBezTo>
                  <a:cubicBezTo>
                    <a:pt x="293" y="336"/>
                    <a:pt x="293" y="336"/>
                    <a:pt x="294" y="336"/>
                  </a:cubicBezTo>
                  <a:cubicBezTo>
                    <a:pt x="294" y="336"/>
                    <a:pt x="294" y="336"/>
                    <a:pt x="295" y="337"/>
                  </a:cubicBezTo>
                  <a:cubicBezTo>
                    <a:pt x="295" y="337"/>
                    <a:pt x="295" y="337"/>
                    <a:pt x="295" y="337"/>
                  </a:cubicBezTo>
                  <a:cubicBezTo>
                    <a:pt x="295" y="338"/>
                    <a:pt x="296" y="338"/>
                    <a:pt x="296" y="338"/>
                  </a:cubicBezTo>
                  <a:cubicBezTo>
                    <a:pt x="297" y="338"/>
                    <a:pt x="297" y="337"/>
                    <a:pt x="298" y="337"/>
                  </a:cubicBezTo>
                  <a:cubicBezTo>
                    <a:pt x="298" y="337"/>
                    <a:pt x="299" y="338"/>
                    <a:pt x="299" y="338"/>
                  </a:cubicBezTo>
                  <a:cubicBezTo>
                    <a:pt x="300" y="338"/>
                    <a:pt x="301" y="338"/>
                    <a:pt x="301" y="337"/>
                  </a:cubicBezTo>
                  <a:cubicBezTo>
                    <a:pt x="301" y="337"/>
                    <a:pt x="301" y="336"/>
                    <a:pt x="301" y="336"/>
                  </a:cubicBezTo>
                  <a:cubicBezTo>
                    <a:pt x="301" y="335"/>
                    <a:pt x="302" y="335"/>
                    <a:pt x="302" y="334"/>
                  </a:cubicBezTo>
                  <a:cubicBezTo>
                    <a:pt x="302" y="334"/>
                    <a:pt x="302" y="334"/>
                    <a:pt x="302" y="333"/>
                  </a:cubicBezTo>
                  <a:cubicBezTo>
                    <a:pt x="302" y="333"/>
                    <a:pt x="302" y="333"/>
                    <a:pt x="302" y="333"/>
                  </a:cubicBezTo>
                  <a:cubicBezTo>
                    <a:pt x="303" y="333"/>
                    <a:pt x="303" y="333"/>
                    <a:pt x="303" y="334"/>
                  </a:cubicBezTo>
                  <a:cubicBezTo>
                    <a:pt x="303" y="334"/>
                    <a:pt x="303" y="334"/>
                    <a:pt x="303" y="335"/>
                  </a:cubicBezTo>
                  <a:cubicBezTo>
                    <a:pt x="303" y="335"/>
                    <a:pt x="304" y="336"/>
                    <a:pt x="304" y="336"/>
                  </a:cubicBezTo>
                  <a:cubicBezTo>
                    <a:pt x="303" y="337"/>
                    <a:pt x="302" y="337"/>
                    <a:pt x="302" y="337"/>
                  </a:cubicBezTo>
                  <a:cubicBezTo>
                    <a:pt x="302" y="338"/>
                    <a:pt x="303" y="338"/>
                    <a:pt x="303" y="338"/>
                  </a:cubicBezTo>
                  <a:cubicBezTo>
                    <a:pt x="304" y="338"/>
                    <a:pt x="304" y="337"/>
                    <a:pt x="304" y="337"/>
                  </a:cubicBezTo>
                  <a:cubicBezTo>
                    <a:pt x="305" y="336"/>
                    <a:pt x="306" y="335"/>
                    <a:pt x="307" y="334"/>
                  </a:cubicBezTo>
                  <a:cubicBezTo>
                    <a:pt x="307" y="335"/>
                    <a:pt x="307" y="335"/>
                    <a:pt x="306" y="336"/>
                  </a:cubicBezTo>
                  <a:cubicBezTo>
                    <a:pt x="306" y="336"/>
                    <a:pt x="305" y="337"/>
                    <a:pt x="305" y="337"/>
                  </a:cubicBezTo>
                  <a:cubicBezTo>
                    <a:pt x="306" y="338"/>
                    <a:pt x="306" y="338"/>
                    <a:pt x="307" y="338"/>
                  </a:cubicBezTo>
                  <a:cubicBezTo>
                    <a:pt x="308" y="339"/>
                    <a:pt x="308" y="339"/>
                    <a:pt x="308" y="339"/>
                  </a:cubicBezTo>
                  <a:cubicBezTo>
                    <a:pt x="308" y="338"/>
                    <a:pt x="308" y="338"/>
                    <a:pt x="308" y="338"/>
                  </a:cubicBezTo>
                  <a:cubicBezTo>
                    <a:pt x="309" y="338"/>
                    <a:pt x="309" y="337"/>
                    <a:pt x="309" y="337"/>
                  </a:cubicBezTo>
                  <a:cubicBezTo>
                    <a:pt x="310" y="337"/>
                    <a:pt x="310" y="337"/>
                    <a:pt x="310" y="338"/>
                  </a:cubicBezTo>
                  <a:cubicBezTo>
                    <a:pt x="311" y="338"/>
                    <a:pt x="311" y="338"/>
                    <a:pt x="311" y="338"/>
                  </a:cubicBezTo>
                  <a:cubicBezTo>
                    <a:pt x="311" y="339"/>
                    <a:pt x="310" y="339"/>
                    <a:pt x="310" y="339"/>
                  </a:cubicBezTo>
                  <a:cubicBezTo>
                    <a:pt x="309" y="339"/>
                    <a:pt x="309" y="340"/>
                    <a:pt x="309" y="340"/>
                  </a:cubicBezTo>
                  <a:cubicBezTo>
                    <a:pt x="310" y="340"/>
                    <a:pt x="310" y="340"/>
                    <a:pt x="310" y="341"/>
                  </a:cubicBezTo>
                  <a:cubicBezTo>
                    <a:pt x="310" y="341"/>
                    <a:pt x="310" y="341"/>
                    <a:pt x="310" y="342"/>
                  </a:cubicBezTo>
                  <a:cubicBezTo>
                    <a:pt x="310" y="342"/>
                    <a:pt x="310" y="343"/>
                    <a:pt x="309" y="343"/>
                  </a:cubicBezTo>
                  <a:cubicBezTo>
                    <a:pt x="309" y="344"/>
                    <a:pt x="308" y="344"/>
                    <a:pt x="308" y="345"/>
                  </a:cubicBezTo>
                  <a:cubicBezTo>
                    <a:pt x="307" y="345"/>
                    <a:pt x="307" y="345"/>
                    <a:pt x="307" y="345"/>
                  </a:cubicBezTo>
                  <a:cubicBezTo>
                    <a:pt x="306" y="345"/>
                    <a:pt x="305" y="345"/>
                    <a:pt x="305" y="344"/>
                  </a:cubicBezTo>
                  <a:cubicBezTo>
                    <a:pt x="305" y="344"/>
                    <a:pt x="305" y="343"/>
                    <a:pt x="305" y="342"/>
                  </a:cubicBezTo>
                  <a:cubicBezTo>
                    <a:pt x="306" y="342"/>
                    <a:pt x="306" y="342"/>
                    <a:pt x="306" y="342"/>
                  </a:cubicBezTo>
                  <a:cubicBezTo>
                    <a:pt x="306" y="342"/>
                    <a:pt x="306" y="341"/>
                    <a:pt x="305" y="341"/>
                  </a:cubicBezTo>
                  <a:cubicBezTo>
                    <a:pt x="305" y="341"/>
                    <a:pt x="305" y="340"/>
                    <a:pt x="304" y="340"/>
                  </a:cubicBezTo>
                  <a:cubicBezTo>
                    <a:pt x="303" y="340"/>
                    <a:pt x="302" y="341"/>
                    <a:pt x="302" y="341"/>
                  </a:cubicBezTo>
                  <a:cubicBezTo>
                    <a:pt x="302" y="342"/>
                    <a:pt x="301" y="342"/>
                    <a:pt x="301" y="342"/>
                  </a:cubicBezTo>
                  <a:cubicBezTo>
                    <a:pt x="301" y="343"/>
                    <a:pt x="301" y="343"/>
                    <a:pt x="301" y="343"/>
                  </a:cubicBezTo>
                  <a:cubicBezTo>
                    <a:pt x="300" y="343"/>
                    <a:pt x="300" y="343"/>
                    <a:pt x="300" y="343"/>
                  </a:cubicBezTo>
                  <a:cubicBezTo>
                    <a:pt x="299" y="344"/>
                    <a:pt x="299" y="345"/>
                    <a:pt x="298" y="345"/>
                  </a:cubicBezTo>
                  <a:cubicBezTo>
                    <a:pt x="298" y="344"/>
                    <a:pt x="299" y="344"/>
                    <a:pt x="299" y="343"/>
                  </a:cubicBezTo>
                  <a:cubicBezTo>
                    <a:pt x="300" y="342"/>
                    <a:pt x="300" y="341"/>
                    <a:pt x="299" y="340"/>
                  </a:cubicBezTo>
                  <a:cubicBezTo>
                    <a:pt x="299" y="340"/>
                    <a:pt x="299" y="340"/>
                    <a:pt x="299" y="340"/>
                  </a:cubicBezTo>
                  <a:cubicBezTo>
                    <a:pt x="299" y="340"/>
                    <a:pt x="299" y="340"/>
                    <a:pt x="299" y="340"/>
                  </a:cubicBezTo>
                  <a:cubicBezTo>
                    <a:pt x="297" y="339"/>
                    <a:pt x="295" y="339"/>
                    <a:pt x="294" y="338"/>
                  </a:cubicBezTo>
                  <a:cubicBezTo>
                    <a:pt x="294" y="338"/>
                    <a:pt x="294" y="337"/>
                    <a:pt x="294" y="337"/>
                  </a:cubicBezTo>
                  <a:cubicBezTo>
                    <a:pt x="293" y="337"/>
                    <a:pt x="293" y="337"/>
                    <a:pt x="292" y="337"/>
                  </a:cubicBezTo>
                  <a:cubicBezTo>
                    <a:pt x="292" y="337"/>
                    <a:pt x="292" y="337"/>
                    <a:pt x="291" y="337"/>
                  </a:cubicBezTo>
                  <a:cubicBezTo>
                    <a:pt x="291" y="338"/>
                    <a:pt x="291" y="338"/>
                    <a:pt x="290" y="339"/>
                  </a:cubicBezTo>
                  <a:cubicBezTo>
                    <a:pt x="291" y="338"/>
                    <a:pt x="291" y="338"/>
                    <a:pt x="292" y="338"/>
                  </a:cubicBezTo>
                  <a:cubicBezTo>
                    <a:pt x="292" y="339"/>
                    <a:pt x="290" y="339"/>
                    <a:pt x="290" y="340"/>
                  </a:cubicBezTo>
                  <a:cubicBezTo>
                    <a:pt x="290" y="341"/>
                    <a:pt x="290" y="341"/>
                    <a:pt x="290" y="342"/>
                  </a:cubicBezTo>
                  <a:cubicBezTo>
                    <a:pt x="290" y="342"/>
                    <a:pt x="289" y="342"/>
                    <a:pt x="289" y="343"/>
                  </a:cubicBezTo>
                  <a:cubicBezTo>
                    <a:pt x="288" y="343"/>
                    <a:pt x="288" y="343"/>
                    <a:pt x="287" y="344"/>
                  </a:cubicBezTo>
                  <a:cubicBezTo>
                    <a:pt x="287" y="344"/>
                    <a:pt x="287" y="345"/>
                    <a:pt x="286" y="345"/>
                  </a:cubicBezTo>
                  <a:cubicBezTo>
                    <a:pt x="286" y="345"/>
                    <a:pt x="286" y="345"/>
                    <a:pt x="285" y="345"/>
                  </a:cubicBezTo>
                  <a:cubicBezTo>
                    <a:pt x="285" y="345"/>
                    <a:pt x="285" y="346"/>
                    <a:pt x="285" y="346"/>
                  </a:cubicBezTo>
                  <a:cubicBezTo>
                    <a:pt x="285" y="347"/>
                    <a:pt x="286" y="347"/>
                    <a:pt x="286" y="347"/>
                  </a:cubicBezTo>
                  <a:cubicBezTo>
                    <a:pt x="287" y="348"/>
                    <a:pt x="288" y="347"/>
                    <a:pt x="288" y="347"/>
                  </a:cubicBezTo>
                  <a:cubicBezTo>
                    <a:pt x="289" y="346"/>
                    <a:pt x="290" y="346"/>
                    <a:pt x="290" y="347"/>
                  </a:cubicBezTo>
                  <a:cubicBezTo>
                    <a:pt x="291" y="347"/>
                    <a:pt x="290" y="347"/>
                    <a:pt x="290" y="348"/>
                  </a:cubicBezTo>
                  <a:cubicBezTo>
                    <a:pt x="289" y="348"/>
                    <a:pt x="289" y="348"/>
                    <a:pt x="289" y="349"/>
                  </a:cubicBezTo>
                  <a:cubicBezTo>
                    <a:pt x="289" y="349"/>
                    <a:pt x="289" y="350"/>
                    <a:pt x="289" y="350"/>
                  </a:cubicBezTo>
                  <a:cubicBezTo>
                    <a:pt x="292" y="353"/>
                    <a:pt x="296" y="354"/>
                    <a:pt x="297" y="357"/>
                  </a:cubicBezTo>
                  <a:cubicBezTo>
                    <a:pt x="298" y="358"/>
                    <a:pt x="298" y="359"/>
                    <a:pt x="298" y="359"/>
                  </a:cubicBezTo>
                  <a:cubicBezTo>
                    <a:pt x="299" y="359"/>
                    <a:pt x="299" y="359"/>
                    <a:pt x="299" y="359"/>
                  </a:cubicBezTo>
                  <a:cubicBezTo>
                    <a:pt x="300" y="359"/>
                    <a:pt x="300" y="360"/>
                    <a:pt x="301" y="360"/>
                  </a:cubicBezTo>
                  <a:cubicBezTo>
                    <a:pt x="301" y="360"/>
                    <a:pt x="301" y="361"/>
                    <a:pt x="301" y="361"/>
                  </a:cubicBezTo>
                  <a:cubicBezTo>
                    <a:pt x="301" y="361"/>
                    <a:pt x="301" y="361"/>
                    <a:pt x="300" y="361"/>
                  </a:cubicBezTo>
                  <a:cubicBezTo>
                    <a:pt x="300" y="361"/>
                    <a:pt x="300" y="362"/>
                    <a:pt x="300" y="362"/>
                  </a:cubicBezTo>
                  <a:cubicBezTo>
                    <a:pt x="301" y="362"/>
                    <a:pt x="301" y="363"/>
                    <a:pt x="301" y="363"/>
                  </a:cubicBezTo>
                  <a:cubicBezTo>
                    <a:pt x="301" y="364"/>
                    <a:pt x="301" y="364"/>
                    <a:pt x="301" y="364"/>
                  </a:cubicBezTo>
                  <a:cubicBezTo>
                    <a:pt x="302" y="364"/>
                    <a:pt x="302" y="365"/>
                    <a:pt x="302" y="365"/>
                  </a:cubicBezTo>
                  <a:cubicBezTo>
                    <a:pt x="308" y="367"/>
                    <a:pt x="315" y="365"/>
                    <a:pt x="319" y="360"/>
                  </a:cubicBezTo>
                  <a:cubicBezTo>
                    <a:pt x="319" y="361"/>
                    <a:pt x="320" y="361"/>
                    <a:pt x="321" y="361"/>
                  </a:cubicBezTo>
                  <a:cubicBezTo>
                    <a:pt x="322" y="360"/>
                    <a:pt x="322" y="359"/>
                    <a:pt x="322" y="359"/>
                  </a:cubicBezTo>
                  <a:cubicBezTo>
                    <a:pt x="323" y="357"/>
                    <a:pt x="323" y="356"/>
                    <a:pt x="322" y="355"/>
                  </a:cubicBezTo>
                  <a:cubicBezTo>
                    <a:pt x="321" y="354"/>
                    <a:pt x="320" y="354"/>
                    <a:pt x="320" y="354"/>
                  </a:cubicBezTo>
                  <a:cubicBezTo>
                    <a:pt x="320" y="352"/>
                    <a:pt x="322" y="351"/>
                    <a:pt x="322" y="350"/>
                  </a:cubicBezTo>
                  <a:cubicBezTo>
                    <a:pt x="323" y="349"/>
                    <a:pt x="323" y="348"/>
                    <a:pt x="323" y="347"/>
                  </a:cubicBezTo>
                  <a:cubicBezTo>
                    <a:pt x="324" y="347"/>
                    <a:pt x="324" y="346"/>
                    <a:pt x="324" y="345"/>
                  </a:cubicBezTo>
                  <a:cubicBezTo>
                    <a:pt x="324" y="345"/>
                    <a:pt x="324" y="344"/>
                    <a:pt x="325" y="344"/>
                  </a:cubicBezTo>
                  <a:cubicBezTo>
                    <a:pt x="325" y="344"/>
                    <a:pt x="326" y="344"/>
                    <a:pt x="326" y="343"/>
                  </a:cubicBezTo>
                  <a:cubicBezTo>
                    <a:pt x="326" y="343"/>
                    <a:pt x="327" y="343"/>
                    <a:pt x="327" y="342"/>
                  </a:cubicBezTo>
                  <a:cubicBezTo>
                    <a:pt x="327" y="342"/>
                    <a:pt x="327" y="342"/>
                    <a:pt x="327" y="342"/>
                  </a:cubicBezTo>
                  <a:cubicBezTo>
                    <a:pt x="327" y="342"/>
                    <a:pt x="328" y="343"/>
                    <a:pt x="328" y="342"/>
                  </a:cubicBezTo>
                  <a:cubicBezTo>
                    <a:pt x="329" y="342"/>
                    <a:pt x="329" y="342"/>
                    <a:pt x="330" y="342"/>
                  </a:cubicBezTo>
                  <a:cubicBezTo>
                    <a:pt x="329" y="344"/>
                    <a:pt x="327" y="345"/>
                    <a:pt x="326" y="346"/>
                  </a:cubicBezTo>
                  <a:cubicBezTo>
                    <a:pt x="325" y="348"/>
                    <a:pt x="325" y="349"/>
                    <a:pt x="324" y="350"/>
                  </a:cubicBezTo>
                  <a:cubicBezTo>
                    <a:pt x="324" y="351"/>
                    <a:pt x="323" y="352"/>
                    <a:pt x="323" y="353"/>
                  </a:cubicBezTo>
                  <a:cubicBezTo>
                    <a:pt x="324" y="354"/>
                    <a:pt x="325" y="354"/>
                    <a:pt x="326" y="355"/>
                  </a:cubicBezTo>
                  <a:cubicBezTo>
                    <a:pt x="327" y="357"/>
                    <a:pt x="325" y="359"/>
                    <a:pt x="326" y="361"/>
                  </a:cubicBezTo>
                  <a:cubicBezTo>
                    <a:pt x="326" y="361"/>
                    <a:pt x="327" y="361"/>
                    <a:pt x="327" y="362"/>
                  </a:cubicBezTo>
                  <a:cubicBezTo>
                    <a:pt x="327" y="362"/>
                    <a:pt x="327" y="362"/>
                    <a:pt x="327" y="363"/>
                  </a:cubicBezTo>
                  <a:cubicBezTo>
                    <a:pt x="329" y="366"/>
                    <a:pt x="330" y="369"/>
                    <a:pt x="332" y="372"/>
                  </a:cubicBezTo>
                  <a:cubicBezTo>
                    <a:pt x="332" y="372"/>
                    <a:pt x="332" y="373"/>
                    <a:pt x="332" y="374"/>
                  </a:cubicBezTo>
                  <a:cubicBezTo>
                    <a:pt x="332" y="374"/>
                    <a:pt x="331" y="374"/>
                    <a:pt x="331" y="374"/>
                  </a:cubicBezTo>
                  <a:cubicBezTo>
                    <a:pt x="331" y="374"/>
                    <a:pt x="331" y="375"/>
                    <a:pt x="331" y="375"/>
                  </a:cubicBezTo>
                  <a:cubicBezTo>
                    <a:pt x="330" y="375"/>
                    <a:pt x="330" y="375"/>
                    <a:pt x="329" y="376"/>
                  </a:cubicBezTo>
                  <a:cubicBezTo>
                    <a:pt x="329" y="376"/>
                    <a:pt x="329" y="377"/>
                    <a:pt x="329" y="377"/>
                  </a:cubicBezTo>
                  <a:cubicBezTo>
                    <a:pt x="329" y="378"/>
                    <a:pt x="329" y="379"/>
                    <a:pt x="329" y="379"/>
                  </a:cubicBezTo>
                  <a:cubicBezTo>
                    <a:pt x="329" y="380"/>
                    <a:pt x="329" y="380"/>
                    <a:pt x="328" y="380"/>
                  </a:cubicBezTo>
                  <a:cubicBezTo>
                    <a:pt x="328" y="381"/>
                    <a:pt x="328" y="381"/>
                    <a:pt x="328" y="381"/>
                  </a:cubicBezTo>
                  <a:cubicBezTo>
                    <a:pt x="329" y="381"/>
                    <a:pt x="329" y="381"/>
                    <a:pt x="329" y="382"/>
                  </a:cubicBezTo>
                  <a:cubicBezTo>
                    <a:pt x="329" y="382"/>
                    <a:pt x="329" y="383"/>
                    <a:pt x="329" y="383"/>
                  </a:cubicBezTo>
                  <a:cubicBezTo>
                    <a:pt x="329" y="384"/>
                    <a:pt x="330" y="383"/>
                    <a:pt x="330" y="383"/>
                  </a:cubicBezTo>
                  <a:cubicBezTo>
                    <a:pt x="330" y="383"/>
                    <a:pt x="331" y="383"/>
                    <a:pt x="331" y="383"/>
                  </a:cubicBezTo>
                  <a:cubicBezTo>
                    <a:pt x="331" y="383"/>
                    <a:pt x="332" y="383"/>
                    <a:pt x="332" y="383"/>
                  </a:cubicBezTo>
                  <a:cubicBezTo>
                    <a:pt x="333" y="383"/>
                    <a:pt x="333" y="383"/>
                    <a:pt x="334" y="383"/>
                  </a:cubicBezTo>
                  <a:cubicBezTo>
                    <a:pt x="334" y="384"/>
                    <a:pt x="333" y="384"/>
                    <a:pt x="333" y="385"/>
                  </a:cubicBezTo>
                  <a:cubicBezTo>
                    <a:pt x="332" y="385"/>
                    <a:pt x="332" y="385"/>
                    <a:pt x="332" y="385"/>
                  </a:cubicBezTo>
                  <a:cubicBezTo>
                    <a:pt x="332" y="385"/>
                    <a:pt x="332" y="385"/>
                    <a:pt x="331" y="385"/>
                  </a:cubicBezTo>
                  <a:cubicBezTo>
                    <a:pt x="331" y="385"/>
                    <a:pt x="331" y="385"/>
                    <a:pt x="331" y="386"/>
                  </a:cubicBezTo>
                  <a:cubicBezTo>
                    <a:pt x="331" y="386"/>
                    <a:pt x="331" y="387"/>
                    <a:pt x="331" y="388"/>
                  </a:cubicBezTo>
                  <a:cubicBezTo>
                    <a:pt x="331" y="388"/>
                    <a:pt x="331" y="389"/>
                    <a:pt x="331" y="389"/>
                  </a:cubicBezTo>
                  <a:cubicBezTo>
                    <a:pt x="331" y="389"/>
                    <a:pt x="331" y="389"/>
                    <a:pt x="331" y="390"/>
                  </a:cubicBezTo>
                  <a:cubicBezTo>
                    <a:pt x="331" y="390"/>
                    <a:pt x="332" y="390"/>
                    <a:pt x="332" y="390"/>
                  </a:cubicBezTo>
                  <a:cubicBezTo>
                    <a:pt x="332" y="390"/>
                    <a:pt x="332" y="390"/>
                    <a:pt x="332" y="390"/>
                  </a:cubicBezTo>
                  <a:cubicBezTo>
                    <a:pt x="332" y="390"/>
                    <a:pt x="332" y="390"/>
                    <a:pt x="333" y="390"/>
                  </a:cubicBezTo>
                  <a:cubicBezTo>
                    <a:pt x="333" y="389"/>
                    <a:pt x="333" y="389"/>
                    <a:pt x="334" y="389"/>
                  </a:cubicBezTo>
                  <a:cubicBezTo>
                    <a:pt x="334" y="389"/>
                    <a:pt x="334" y="389"/>
                    <a:pt x="334" y="390"/>
                  </a:cubicBezTo>
                  <a:cubicBezTo>
                    <a:pt x="334" y="390"/>
                    <a:pt x="334" y="390"/>
                    <a:pt x="334" y="390"/>
                  </a:cubicBezTo>
                  <a:cubicBezTo>
                    <a:pt x="333" y="390"/>
                    <a:pt x="333" y="390"/>
                    <a:pt x="333" y="390"/>
                  </a:cubicBezTo>
                  <a:cubicBezTo>
                    <a:pt x="333" y="391"/>
                    <a:pt x="333" y="391"/>
                    <a:pt x="333" y="391"/>
                  </a:cubicBezTo>
                  <a:cubicBezTo>
                    <a:pt x="333" y="391"/>
                    <a:pt x="332" y="391"/>
                    <a:pt x="332" y="392"/>
                  </a:cubicBezTo>
                  <a:cubicBezTo>
                    <a:pt x="332" y="392"/>
                    <a:pt x="332" y="392"/>
                    <a:pt x="332" y="392"/>
                  </a:cubicBezTo>
                  <a:cubicBezTo>
                    <a:pt x="332" y="392"/>
                    <a:pt x="332" y="392"/>
                    <a:pt x="331" y="392"/>
                  </a:cubicBezTo>
                  <a:cubicBezTo>
                    <a:pt x="331" y="392"/>
                    <a:pt x="330" y="392"/>
                    <a:pt x="330" y="393"/>
                  </a:cubicBezTo>
                  <a:cubicBezTo>
                    <a:pt x="331" y="393"/>
                    <a:pt x="331" y="393"/>
                    <a:pt x="331" y="393"/>
                  </a:cubicBezTo>
                  <a:cubicBezTo>
                    <a:pt x="331" y="394"/>
                    <a:pt x="331" y="394"/>
                    <a:pt x="330" y="394"/>
                  </a:cubicBezTo>
                  <a:cubicBezTo>
                    <a:pt x="330" y="394"/>
                    <a:pt x="330" y="394"/>
                    <a:pt x="329" y="394"/>
                  </a:cubicBezTo>
                  <a:cubicBezTo>
                    <a:pt x="329" y="394"/>
                    <a:pt x="329" y="394"/>
                    <a:pt x="329" y="394"/>
                  </a:cubicBezTo>
                  <a:cubicBezTo>
                    <a:pt x="328" y="394"/>
                    <a:pt x="328" y="394"/>
                    <a:pt x="327" y="394"/>
                  </a:cubicBezTo>
                  <a:cubicBezTo>
                    <a:pt x="327" y="394"/>
                    <a:pt x="327" y="394"/>
                    <a:pt x="327" y="394"/>
                  </a:cubicBezTo>
                  <a:cubicBezTo>
                    <a:pt x="327" y="394"/>
                    <a:pt x="327" y="395"/>
                    <a:pt x="328" y="395"/>
                  </a:cubicBezTo>
                  <a:cubicBezTo>
                    <a:pt x="329" y="395"/>
                    <a:pt x="330" y="395"/>
                    <a:pt x="330" y="395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95"/>
                    <a:pt x="331" y="396"/>
                    <a:pt x="331" y="396"/>
                  </a:cubicBezTo>
                  <a:cubicBezTo>
                    <a:pt x="331" y="396"/>
                    <a:pt x="331" y="396"/>
                    <a:pt x="332" y="397"/>
                  </a:cubicBezTo>
                  <a:cubicBezTo>
                    <a:pt x="332" y="397"/>
                    <a:pt x="332" y="396"/>
                    <a:pt x="333" y="396"/>
                  </a:cubicBezTo>
                  <a:cubicBezTo>
                    <a:pt x="334" y="395"/>
                    <a:pt x="336" y="395"/>
                    <a:pt x="336" y="394"/>
                  </a:cubicBezTo>
                  <a:cubicBezTo>
                    <a:pt x="337" y="393"/>
                    <a:pt x="337" y="393"/>
                    <a:pt x="337" y="392"/>
                  </a:cubicBezTo>
                  <a:cubicBezTo>
                    <a:pt x="338" y="392"/>
                    <a:pt x="338" y="391"/>
                    <a:pt x="339" y="390"/>
                  </a:cubicBezTo>
                  <a:cubicBezTo>
                    <a:pt x="339" y="390"/>
                    <a:pt x="339" y="390"/>
                    <a:pt x="339" y="390"/>
                  </a:cubicBezTo>
                  <a:cubicBezTo>
                    <a:pt x="340" y="390"/>
                    <a:pt x="340" y="390"/>
                    <a:pt x="340" y="390"/>
                  </a:cubicBezTo>
                  <a:cubicBezTo>
                    <a:pt x="340" y="391"/>
                    <a:pt x="341" y="390"/>
                    <a:pt x="341" y="390"/>
                  </a:cubicBezTo>
                  <a:cubicBezTo>
                    <a:pt x="342" y="389"/>
                    <a:pt x="342" y="389"/>
                    <a:pt x="343" y="389"/>
                  </a:cubicBezTo>
                  <a:cubicBezTo>
                    <a:pt x="343" y="389"/>
                    <a:pt x="343" y="389"/>
                    <a:pt x="343" y="389"/>
                  </a:cubicBezTo>
                  <a:cubicBezTo>
                    <a:pt x="343" y="389"/>
                    <a:pt x="344" y="389"/>
                    <a:pt x="344" y="389"/>
                  </a:cubicBezTo>
                  <a:cubicBezTo>
                    <a:pt x="346" y="387"/>
                    <a:pt x="348" y="386"/>
                    <a:pt x="350" y="384"/>
                  </a:cubicBezTo>
                  <a:cubicBezTo>
                    <a:pt x="350" y="385"/>
                    <a:pt x="350" y="385"/>
                    <a:pt x="351" y="386"/>
                  </a:cubicBezTo>
                  <a:cubicBezTo>
                    <a:pt x="350" y="386"/>
                    <a:pt x="350" y="386"/>
                    <a:pt x="350" y="387"/>
                  </a:cubicBezTo>
                  <a:cubicBezTo>
                    <a:pt x="350" y="387"/>
                    <a:pt x="350" y="387"/>
                    <a:pt x="351" y="387"/>
                  </a:cubicBezTo>
                  <a:cubicBezTo>
                    <a:pt x="351" y="387"/>
                    <a:pt x="351" y="388"/>
                    <a:pt x="351" y="388"/>
                  </a:cubicBezTo>
                  <a:cubicBezTo>
                    <a:pt x="352" y="388"/>
                    <a:pt x="352" y="388"/>
                    <a:pt x="352" y="388"/>
                  </a:cubicBezTo>
                  <a:cubicBezTo>
                    <a:pt x="352" y="388"/>
                    <a:pt x="353" y="389"/>
                    <a:pt x="353" y="389"/>
                  </a:cubicBezTo>
                  <a:cubicBezTo>
                    <a:pt x="353" y="389"/>
                    <a:pt x="354" y="389"/>
                    <a:pt x="354" y="389"/>
                  </a:cubicBezTo>
                  <a:cubicBezTo>
                    <a:pt x="354" y="388"/>
                    <a:pt x="354" y="388"/>
                    <a:pt x="355" y="388"/>
                  </a:cubicBezTo>
                  <a:cubicBezTo>
                    <a:pt x="355" y="389"/>
                    <a:pt x="355" y="389"/>
                    <a:pt x="355" y="389"/>
                  </a:cubicBezTo>
                  <a:cubicBezTo>
                    <a:pt x="355" y="389"/>
                    <a:pt x="355" y="390"/>
                    <a:pt x="355" y="390"/>
                  </a:cubicBezTo>
                  <a:cubicBezTo>
                    <a:pt x="355" y="391"/>
                    <a:pt x="356" y="391"/>
                    <a:pt x="356" y="391"/>
                  </a:cubicBezTo>
                  <a:cubicBezTo>
                    <a:pt x="356" y="391"/>
                    <a:pt x="356" y="390"/>
                    <a:pt x="356" y="390"/>
                  </a:cubicBezTo>
                  <a:cubicBezTo>
                    <a:pt x="357" y="389"/>
                    <a:pt x="357" y="389"/>
                    <a:pt x="357" y="388"/>
                  </a:cubicBezTo>
                  <a:cubicBezTo>
                    <a:pt x="358" y="388"/>
                    <a:pt x="357" y="388"/>
                    <a:pt x="357" y="388"/>
                  </a:cubicBezTo>
                  <a:cubicBezTo>
                    <a:pt x="357" y="387"/>
                    <a:pt x="358" y="387"/>
                    <a:pt x="359" y="387"/>
                  </a:cubicBezTo>
                  <a:cubicBezTo>
                    <a:pt x="359" y="387"/>
                    <a:pt x="360" y="388"/>
                    <a:pt x="359" y="388"/>
                  </a:cubicBezTo>
                  <a:cubicBezTo>
                    <a:pt x="359" y="388"/>
                    <a:pt x="359" y="389"/>
                    <a:pt x="359" y="389"/>
                  </a:cubicBezTo>
                  <a:cubicBezTo>
                    <a:pt x="359" y="390"/>
                    <a:pt x="360" y="390"/>
                    <a:pt x="360" y="390"/>
                  </a:cubicBezTo>
                  <a:cubicBezTo>
                    <a:pt x="361" y="390"/>
                    <a:pt x="361" y="390"/>
                    <a:pt x="362" y="391"/>
                  </a:cubicBezTo>
                  <a:cubicBezTo>
                    <a:pt x="363" y="391"/>
                    <a:pt x="363" y="394"/>
                    <a:pt x="364" y="395"/>
                  </a:cubicBezTo>
                  <a:cubicBezTo>
                    <a:pt x="365" y="396"/>
                    <a:pt x="365" y="397"/>
                    <a:pt x="366" y="398"/>
                  </a:cubicBezTo>
                  <a:cubicBezTo>
                    <a:pt x="366" y="399"/>
                    <a:pt x="366" y="399"/>
                    <a:pt x="366" y="399"/>
                  </a:cubicBezTo>
                  <a:cubicBezTo>
                    <a:pt x="367" y="400"/>
                    <a:pt x="368" y="400"/>
                    <a:pt x="368" y="400"/>
                  </a:cubicBezTo>
                  <a:cubicBezTo>
                    <a:pt x="369" y="400"/>
                    <a:pt x="370" y="400"/>
                    <a:pt x="370" y="399"/>
                  </a:cubicBezTo>
                  <a:cubicBezTo>
                    <a:pt x="371" y="399"/>
                    <a:pt x="371" y="399"/>
                    <a:pt x="371" y="399"/>
                  </a:cubicBezTo>
                  <a:cubicBezTo>
                    <a:pt x="371" y="399"/>
                    <a:pt x="371" y="398"/>
                    <a:pt x="371" y="398"/>
                  </a:cubicBezTo>
                  <a:cubicBezTo>
                    <a:pt x="370" y="397"/>
                    <a:pt x="370" y="396"/>
                    <a:pt x="370" y="396"/>
                  </a:cubicBezTo>
                  <a:cubicBezTo>
                    <a:pt x="369" y="395"/>
                    <a:pt x="368" y="394"/>
                    <a:pt x="369" y="393"/>
                  </a:cubicBezTo>
                  <a:cubicBezTo>
                    <a:pt x="369" y="393"/>
                    <a:pt x="369" y="392"/>
                    <a:pt x="370" y="392"/>
                  </a:cubicBezTo>
                  <a:cubicBezTo>
                    <a:pt x="370" y="391"/>
                    <a:pt x="370" y="390"/>
                    <a:pt x="370" y="389"/>
                  </a:cubicBezTo>
                  <a:cubicBezTo>
                    <a:pt x="370" y="389"/>
                    <a:pt x="371" y="389"/>
                    <a:pt x="371" y="389"/>
                  </a:cubicBezTo>
                  <a:cubicBezTo>
                    <a:pt x="372" y="388"/>
                    <a:pt x="373" y="387"/>
                    <a:pt x="374" y="385"/>
                  </a:cubicBezTo>
                  <a:cubicBezTo>
                    <a:pt x="374" y="385"/>
                    <a:pt x="374" y="385"/>
                    <a:pt x="374" y="384"/>
                  </a:cubicBezTo>
                  <a:cubicBezTo>
                    <a:pt x="375" y="384"/>
                    <a:pt x="375" y="384"/>
                    <a:pt x="375" y="384"/>
                  </a:cubicBezTo>
                  <a:cubicBezTo>
                    <a:pt x="376" y="384"/>
                    <a:pt x="376" y="384"/>
                    <a:pt x="376" y="385"/>
                  </a:cubicBezTo>
                  <a:cubicBezTo>
                    <a:pt x="377" y="385"/>
                    <a:pt x="377" y="385"/>
                    <a:pt x="378" y="385"/>
                  </a:cubicBezTo>
                  <a:cubicBezTo>
                    <a:pt x="378" y="385"/>
                    <a:pt x="379" y="386"/>
                    <a:pt x="379" y="386"/>
                  </a:cubicBezTo>
                  <a:cubicBezTo>
                    <a:pt x="379" y="387"/>
                    <a:pt x="380" y="387"/>
                    <a:pt x="381" y="387"/>
                  </a:cubicBezTo>
                  <a:cubicBezTo>
                    <a:pt x="381" y="387"/>
                    <a:pt x="381" y="388"/>
                    <a:pt x="380" y="388"/>
                  </a:cubicBezTo>
                  <a:cubicBezTo>
                    <a:pt x="380" y="388"/>
                    <a:pt x="380" y="388"/>
                    <a:pt x="380" y="388"/>
                  </a:cubicBezTo>
                  <a:cubicBezTo>
                    <a:pt x="380" y="389"/>
                    <a:pt x="380" y="389"/>
                    <a:pt x="380" y="389"/>
                  </a:cubicBezTo>
                  <a:cubicBezTo>
                    <a:pt x="380" y="389"/>
                    <a:pt x="380" y="389"/>
                    <a:pt x="380" y="388"/>
                  </a:cubicBezTo>
                  <a:cubicBezTo>
                    <a:pt x="379" y="388"/>
                    <a:pt x="379" y="387"/>
                    <a:pt x="378" y="386"/>
                  </a:cubicBezTo>
                  <a:cubicBezTo>
                    <a:pt x="378" y="386"/>
                    <a:pt x="377" y="385"/>
                    <a:pt x="376" y="385"/>
                  </a:cubicBezTo>
                  <a:cubicBezTo>
                    <a:pt x="376" y="385"/>
                    <a:pt x="375" y="385"/>
                    <a:pt x="374" y="386"/>
                  </a:cubicBezTo>
                  <a:cubicBezTo>
                    <a:pt x="374" y="386"/>
                    <a:pt x="374" y="387"/>
                    <a:pt x="374" y="388"/>
                  </a:cubicBezTo>
                  <a:cubicBezTo>
                    <a:pt x="374" y="388"/>
                    <a:pt x="373" y="389"/>
                    <a:pt x="373" y="389"/>
                  </a:cubicBezTo>
                  <a:cubicBezTo>
                    <a:pt x="373" y="390"/>
                    <a:pt x="373" y="390"/>
                    <a:pt x="373" y="391"/>
                  </a:cubicBezTo>
                  <a:cubicBezTo>
                    <a:pt x="373" y="391"/>
                    <a:pt x="374" y="391"/>
                    <a:pt x="374" y="391"/>
                  </a:cubicBezTo>
                  <a:cubicBezTo>
                    <a:pt x="374" y="391"/>
                    <a:pt x="374" y="391"/>
                    <a:pt x="374" y="391"/>
                  </a:cubicBezTo>
                  <a:cubicBezTo>
                    <a:pt x="375" y="392"/>
                    <a:pt x="376" y="392"/>
                    <a:pt x="376" y="393"/>
                  </a:cubicBezTo>
                  <a:cubicBezTo>
                    <a:pt x="376" y="393"/>
                    <a:pt x="375" y="394"/>
                    <a:pt x="375" y="394"/>
                  </a:cubicBezTo>
                  <a:cubicBezTo>
                    <a:pt x="376" y="394"/>
                    <a:pt x="376" y="394"/>
                    <a:pt x="376" y="394"/>
                  </a:cubicBezTo>
                  <a:cubicBezTo>
                    <a:pt x="376" y="394"/>
                    <a:pt x="376" y="395"/>
                    <a:pt x="377" y="395"/>
                  </a:cubicBezTo>
                  <a:cubicBezTo>
                    <a:pt x="377" y="395"/>
                    <a:pt x="377" y="395"/>
                    <a:pt x="377" y="395"/>
                  </a:cubicBezTo>
                  <a:cubicBezTo>
                    <a:pt x="379" y="395"/>
                    <a:pt x="381" y="394"/>
                    <a:pt x="382" y="394"/>
                  </a:cubicBezTo>
                  <a:cubicBezTo>
                    <a:pt x="384" y="392"/>
                    <a:pt x="386" y="391"/>
                    <a:pt x="388" y="390"/>
                  </a:cubicBezTo>
                  <a:cubicBezTo>
                    <a:pt x="389" y="390"/>
                    <a:pt x="389" y="390"/>
                    <a:pt x="390" y="390"/>
                  </a:cubicBezTo>
                  <a:cubicBezTo>
                    <a:pt x="390" y="389"/>
                    <a:pt x="391" y="389"/>
                    <a:pt x="392" y="389"/>
                  </a:cubicBezTo>
                  <a:cubicBezTo>
                    <a:pt x="392" y="389"/>
                    <a:pt x="392" y="389"/>
                    <a:pt x="392" y="389"/>
                  </a:cubicBezTo>
                  <a:cubicBezTo>
                    <a:pt x="392" y="388"/>
                    <a:pt x="393" y="388"/>
                    <a:pt x="393" y="388"/>
                  </a:cubicBezTo>
                  <a:cubicBezTo>
                    <a:pt x="393" y="389"/>
                    <a:pt x="393" y="390"/>
                    <a:pt x="393" y="391"/>
                  </a:cubicBezTo>
                  <a:cubicBezTo>
                    <a:pt x="392" y="391"/>
                    <a:pt x="392" y="391"/>
                    <a:pt x="392" y="391"/>
                  </a:cubicBezTo>
                  <a:cubicBezTo>
                    <a:pt x="392" y="391"/>
                    <a:pt x="392" y="392"/>
                    <a:pt x="392" y="392"/>
                  </a:cubicBezTo>
                  <a:cubicBezTo>
                    <a:pt x="392" y="392"/>
                    <a:pt x="393" y="392"/>
                    <a:pt x="393" y="393"/>
                  </a:cubicBezTo>
                  <a:cubicBezTo>
                    <a:pt x="392" y="393"/>
                    <a:pt x="391" y="393"/>
                    <a:pt x="391" y="394"/>
                  </a:cubicBezTo>
                  <a:cubicBezTo>
                    <a:pt x="390" y="395"/>
                    <a:pt x="390" y="396"/>
                    <a:pt x="389" y="396"/>
                  </a:cubicBezTo>
                  <a:cubicBezTo>
                    <a:pt x="388" y="397"/>
                    <a:pt x="387" y="398"/>
                    <a:pt x="386" y="400"/>
                  </a:cubicBezTo>
                  <a:cubicBezTo>
                    <a:pt x="386" y="401"/>
                    <a:pt x="387" y="403"/>
                    <a:pt x="386" y="404"/>
                  </a:cubicBezTo>
                  <a:cubicBezTo>
                    <a:pt x="386" y="404"/>
                    <a:pt x="386" y="404"/>
                    <a:pt x="387" y="404"/>
                  </a:cubicBezTo>
                  <a:cubicBezTo>
                    <a:pt x="387" y="404"/>
                    <a:pt x="387" y="404"/>
                    <a:pt x="388" y="405"/>
                  </a:cubicBezTo>
                  <a:cubicBezTo>
                    <a:pt x="388" y="404"/>
                    <a:pt x="389" y="404"/>
                    <a:pt x="390" y="405"/>
                  </a:cubicBezTo>
                  <a:cubicBezTo>
                    <a:pt x="388" y="405"/>
                    <a:pt x="387" y="406"/>
                    <a:pt x="386" y="407"/>
                  </a:cubicBezTo>
                  <a:cubicBezTo>
                    <a:pt x="385" y="407"/>
                    <a:pt x="385" y="408"/>
                    <a:pt x="385" y="408"/>
                  </a:cubicBezTo>
                  <a:cubicBezTo>
                    <a:pt x="385" y="409"/>
                    <a:pt x="386" y="410"/>
                    <a:pt x="385" y="411"/>
                  </a:cubicBezTo>
                  <a:cubicBezTo>
                    <a:pt x="385" y="411"/>
                    <a:pt x="385" y="411"/>
                    <a:pt x="385" y="411"/>
                  </a:cubicBezTo>
                  <a:cubicBezTo>
                    <a:pt x="384" y="412"/>
                    <a:pt x="385" y="413"/>
                    <a:pt x="385" y="414"/>
                  </a:cubicBezTo>
                  <a:cubicBezTo>
                    <a:pt x="385" y="415"/>
                    <a:pt x="384" y="415"/>
                    <a:pt x="384" y="416"/>
                  </a:cubicBezTo>
                  <a:cubicBezTo>
                    <a:pt x="383" y="417"/>
                    <a:pt x="383" y="418"/>
                    <a:pt x="384" y="419"/>
                  </a:cubicBezTo>
                  <a:cubicBezTo>
                    <a:pt x="384" y="419"/>
                    <a:pt x="385" y="420"/>
                    <a:pt x="385" y="419"/>
                  </a:cubicBezTo>
                  <a:cubicBezTo>
                    <a:pt x="385" y="419"/>
                    <a:pt x="385" y="419"/>
                    <a:pt x="385" y="418"/>
                  </a:cubicBezTo>
                  <a:cubicBezTo>
                    <a:pt x="385" y="418"/>
                    <a:pt x="386" y="418"/>
                    <a:pt x="386" y="418"/>
                  </a:cubicBezTo>
                  <a:cubicBezTo>
                    <a:pt x="386" y="418"/>
                    <a:pt x="386" y="418"/>
                    <a:pt x="386" y="418"/>
                  </a:cubicBezTo>
                  <a:cubicBezTo>
                    <a:pt x="386" y="419"/>
                    <a:pt x="386" y="420"/>
                    <a:pt x="386" y="421"/>
                  </a:cubicBezTo>
                  <a:cubicBezTo>
                    <a:pt x="386" y="422"/>
                    <a:pt x="386" y="422"/>
                    <a:pt x="385" y="422"/>
                  </a:cubicBezTo>
                  <a:cubicBezTo>
                    <a:pt x="385" y="422"/>
                    <a:pt x="385" y="422"/>
                    <a:pt x="385" y="422"/>
                  </a:cubicBezTo>
                  <a:cubicBezTo>
                    <a:pt x="384" y="422"/>
                    <a:pt x="383" y="422"/>
                    <a:pt x="383" y="421"/>
                  </a:cubicBezTo>
                  <a:cubicBezTo>
                    <a:pt x="382" y="422"/>
                    <a:pt x="381" y="423"/>
                    <a:pt x="380" y="425"/>
                  </a:cubicBezTo>
                  <a:cubicBezTo>
                    <a:pt x="380" y="425"/>
                    <a:pt x="380" y="426"/>
                    <a:pt x="379" y="426"/>
                  </a:cubicBezTo>
                  <a:cubicBezTo>
                    <a:pt x="379" y="427"/>
                    <a:pt x="378" y="427"/>
                    <a:pt x="378" y="427"/>
                  </a:cubicBezTo>
                  <a:cubicBezTo>
                    <a:pt x="378" y="427"/>
                    <a:pt x="378" y="427"/>
                    <a:pt x="377" y="427"/>
                  </a:cubicBezTo>
                  <a:cubicBezTo>
                    <a:pt x="377" y="427"/>
                    <a:pt x="377" y="427"/>
                    <a:pt x="377" y="427"/>
                  </a:cubicBezTo>
                  <a:cubicBezTo>
                    <a:pt x="377" y="428"/>
                    <a:pt x="376" y="428"/>
                    <a:pt x="376" y="428"/>
                  </a:cubicBezTo>
                  <a:cubicBezTo>
                    <a:pt x="375" y="429"/>
                    <a:pt x="374" y="430"/>
                    <a:pt x="374" y="431"/>
                  </a:cubicBezTo>
                  <a:cubicBezTo>
                    <a:pt x="373" y="432"/>
                    <a:pt x="372" y="433"/>
                    <a:pt x="372" y="433"/>
                  </a:cubicBezTo>
                  <a:cubicBezTo>
                    <a:pt x="371" y="434"/>
                    <a:pt x="371" y="436"/>
                    <a:pt x="372" y="437"/>
                  </a:cubicBezTo>
                  <a:cubicBezTo>
                    <a:pt x="372" y="437"/>
                    <a:pt x="372" y="438"/>
                    <a:pt x="371" y="439"/>
                  </a:cubicBezTo>
                  <a:cubicBezTo>
                    <a:pt x="371" y="439"/>
                    <a:pt x="370" y="439"/>
                    <a:pt x="370" y="439"/>
                  </a:cubicBezTo>
                  <a:cubicBezTo>
                    <a:pt x="369" y="439"/>
                    <a:pt x="369" y="439"/>
                    <a:pt x="368" y="439"/>
                  </a:cubicBezTo>
                  <a:cubicBezTo>
                    <a:pt x="368" y="439"/>
                    <a:pt x="367" y="438"/>
                    <a:pt x="367" y="439"/>
                  </a:cubicBezTo>
                  <a:cubicBezTo>
                    <a:pt x="367" y="439"/>
                    <a:pt x="367" y="439"/>
                    <a:pt x="366" y="439"/>
                  </a:cubicBezTo>
                  <a:cubicBezTo>
                    <a:pt x="365" y="440"/>
                    <a:pt x="364" y="442"/>
                    <a:pt x="362" y="443"/>
                  </a:cubicBezTo>
                  <a:cubicBezTo>
                    <a:pt x="361" y="443"/>
                    <a:pt x="360" y="443"/>
                    <a:pt x="359" y="444"/>
                  </a:cubicBezTo>
                  <a:cubicBezTo>
                    <a:pt x="358" y="444"/>
                    <a:pt x="356" y="445"/>
                    <a:pt x="355" y="446"/>
                  </a:cubicBezTo>
                  <a:cubicBezTo>
                    <a:pt x="353" y="448"/>
                    <a:pt x="351" y="449"/>
                    <a:pt x="350" y="451"/>
                  </a:cubicBezTo>
                  <a:cubicBezTo>
                    <a:pt x="351" y="451"/>
                    <a:pt x="351" y="451"/>
                    <a:pt x="352" y="451"/>
                  </a:cubicBezTo>
                  <a:cubicBezTo>
                    <a:pt x="352" y="452"/>
                    <a:pt x="352" y="452"/>
                    <a:pt x="351" y="452"/>
                  </a:cubicBezTo>
                  <a:cubicBezTo>
                    <a:pt x="351" y="452"/>
                    <a:pt x="351" y="452"/>
                    <a:pt x="351" y="452"/>
                  </a:cubicBezTo>
                  <a:cubicBezTo>
                    <a:pt x="350" y="452"/>
                    <a:pt x="349" y="452"/>
                    <a:pt x="349" y="453"/>
                  </a:cubicBezTo>
                  <a:cubicBezTo>
                    <a:pt x="348" y="454"/>
                    <a:pt x="348" y="454"/>
                    <a:pt x="348" y="455"/>
                  </a:cubicBezTo>
                  <a:cubicBezTo>
                    <a:pt x="349" y="455"/>
                    <a:pt x="348" y="456"/>
                    <a:pt x="348" y="456"/>
                  </a:cubicBezTo>
                  <a:cubicBezTo>
                    <a:pt x="348" y="456"/>
                    <a:pt x="347" y="457"/>
                    <a:pt x="347" y="457"/>
                  </a:cubicBezTo>
                  <a:cubicBezTo>
                    <a:pt x="347" y="457"/>
                    <a:pt x="347" y="457"/>
                    <a:pt x="347" y="457"/>
                  </a:cubicBezTo>
                  <a:cubicBezTo>
                    <a:pt x="348" y="459"/>
                    <a:pt x="349" y="460"/>
                    <a:pt x="350" y="461"/>
                  </a:cubicBezTo>
                  <a:cubicBezTo>
                    <a:pt x="351" y="461"/>
                    <a:pt x="351" y="461"/>
                    <a:pt x="351" y="462"/>
                  </a:cubicBezTo>
                  <a:cubicBezTo>
                    <a:pt x="351" y="462"/>
                    <a:pt x="350" y="462"/>
                    <a:pt x="350" y="462"/>
                  </a:cubicBezTo>
                  <a:cubicBezTo>
                    <a:pt x="349" y="462"/>
                    <a:pt x="349" y="462"/>
                    <a:pt x="348" y="462"/>
                  </a:cubicBezTo>
                  <a:cubicBezTo>
                    <a:pt x="349" y="462"/>
                    <a:pt x="348" y="461"/>
                    <a:pt x="348" y="461"/>
                  </a:cubicBezTo>
                  <a:cubicBezTo>
                    <a:pt x="347" y="460"/>
                    <a:pt x="347" y="461"/>
                    <a:pt x="346" y="461"/>
                  </a:cubicBezTo>
                  <a:cubicBezTo>
                    <a:pt x="346" y="461"/>
                    <a:pt x="345" y="460"/>
                    <a:pt x="344" y="460"/>
                  </a:cubicBezTo>
                  <a:cubicBezTo>
                    <a:pt x="344" y="460"/>
                    <a:pt x="344" y="461"/>
                    <a:pt x="344" y="461"/>
                  </a:cubicBezTo>
                  <a:cubicBezTo>
                    <a:pt x="344" y="461"/>
                    <a:pt x="345" y="461"/>
                    <a:pt x="345" y="462"/>
                  </a:cubicBezTo>
                  <a:cubicBezTo>
                    <a:pt x="345" y="462"/>
                    <a:pt x="345" y="463"/>
                    <a:pt x="345" y="464"/>
                  </a:cubicBezTo>
                  <a:cubicBezTo>
                    <a:pt x="344" y="464"/>
                    <a:pt x="343" y="463"/>
                    <a:pt x="343" y="462"/>
                  </a:cubicBezTo>
                  <a:cubicBezTo>
                    <a:pt x="342" y="461"/>
                    <a:pt x="342" y="460"/>
                    <a:pt x="341" y="459"/>
                  </a:cubicBezTo>
                  <a:cubicBezTo>
                    <a:pt x="341" y="459"/>
                    <a:pt x="341" y="459"/>
                    <a:pt x="340" y="458"/>
                  </a:cubicBezTo>
                  <a:cubicBezTo>
                    <a:pt x="340" y="458"/>
                    <a:pt x="338" y="459"/>
                    <a:pt x="338" y="458"/>
                  </a:cubicBezTo>
                  <a:cubicBezTo>
                    <a:pt x="337" y="459"/>
                    <a:pt x="336" y="458"/>
                    <a:pt x="335" y="459"/>
                  </a:cubicBezTo>
                  <a:cubicBezTo>
                    <a:pt x="334" y="459"/>
                    <a:pt x="334" y="459"/>
                    <a:pt x="333" y="459"/>
                  </a:cubicBezTo>
                  <a:cubicBezTo>
                    <a:pt x="329" y="462"/>
                    <a:pt x="324" y="465"/>
                    <a:pt x="321" y="470"/>
                  </a:cubicBezTo>
                  <a:cubicBezTo>
                    <a:pt x="322" y="470"/>
                    <a:pt x="322" y="470"/>
                    <a:pt x="322" y="471"/>
                  </a:cubicBezTo>
                  <a:cubicBezTo>
                    <a:pt x="322" y="471"/>
                    <a:pt x="321" y="472"/>
                    <a:pt x="321" y="472"/>
                  </a:cubicBezTo>
                  <a:cubicBezTo>
                    <a:pt x="320" y="472"/>
                    <a:pt x="320" y="472"/>
                    <a:pt x="319" y="473"/>
                  </a:cubicBezTo>
                  <a:cubicBezTo>
                    <a:pt x="319" y="473"/>
                    <a:pt x="318" y="474"/>
                    <a:pt x="318" y="474"/>
                  </a:cubicBezTo>
                  <a:cubicBezTo>
                    <a:pt x="318" y="475"/>
                    <a:pt x="318" y="475"/>
                    <a:pt x="317" y="475"/>
                  </a:cubicBezTo>
                  <a:cubicBezTo>
                    <a:pt x="317" y="476"/>
                    <a:pt x="317" y="476"/>
                    <a:pt x="317" y="476"/>
                  </a:cubicBezTo>
                  <a:cubicBezTo>
                    <a:pt x="316" y="476"/>
                    <a:pt x="315" y="476"/>
                    <a:pt x="314" y="476"/>
                  </a:cubicBezTo>
                  <a:cubicBezTo>
                    <a:pt x="314" y="476"/>
                    <a:pt x="314" y="476"/>
                    <a:pt x="313" y="476"/>
                  </a:cubicBezTo>
                  <a:cubicBezTo>
                    <a:pt x="313" y="477"/>
                    <a:pt x="312" y="478"/>
                    <a:pt x="312" y="478"/>
                  </a:cubicBezTo>
                  <a:cubicBezTo>
                    <a:pt x="312" y="479"/>
                    <a:pt x="312" y="480"/>
                    <a:pt x="312" y="481"/>
                  </a:cubicBezTo>
                  <a:cubicBezTo>
                    <a:pt x="312" y="482"/>
                    <a:pt x="311" y="482"/>
                    <a:pt x="311" y="483"/>
                  </a:cubicBezTo>
                  <a:cubicBezTo>
                    <a:pt x="311" y="483"/>
                    <a:pt x="311" y="484"/>
                    <a:pt x="311" y="485"/>
                  </a:cubicBezTo>
                  <a:cubicBezTo>
                    <a:pt x="312" y="484"/>
                    <a:pt x="313" y="483"/>
                    <a:pt x="314" y="482"/>
                  </a:cubicBezTo>
                  <a:cubicBezTo>
                    <a:pt x="314" y="482"/>
                    <a:pt x="314" y="482"/>
                    <a:pt x="315" y="482"/>
                  </a:cubicBezTo>
                  <a:cubicBezTo>
                    <a:pt x="315" y="481"/>
                    <a:pt x="314" y="480"/>
                    <a:pt x="313" y="480"/>
                  </a:cubicBezTo>
                  <a:cubicBezTo>
                    <a:pt x="313" y="479"/>
                    <a:pt x="314" y="478"/>
                    <a:pt x="315" y="478"/>
                  </a:cubicBezTo>
                  <a:cubicBezTo>
                    <a:pt x="315" y="478"/>
                    <a:pt x="316" y="479"/>
                    <a:pt x="316" y="479"/>
                  </a:cubicBezTo>
                  <a:cubicBezTo>
                    <a:pt x="316" y="480"/>
                    <a:pt x="316" y="480"/>
                    <a:pt x="316" y="481"/>
                  </a:cubicBezTo>
                  <a:cubicBezTo>
                    <a:pt x="317" y="481"/>
                    <a:pt x="318" y="482"/>
                    <a:pt x="318" y="481"/>
                  </a:cubicBezTo>
                  <a:cubicBezTo>
                    <a:pt x="319" y="481"/>
                    <a:pt x="320" y="481"/>
                    <a:pt x="320" y="480"/>
                  </a:cubicBezTo>
                  <a:cubicBezTo>
                    <a:pt x="321" y="480"/>
                    <a:pt x="321" y="480"/>
                    <a:pt x="321" y="479"/>
                  </a:cubicBezTo>
                  <a:cubicBezTo>
                    <a:pt x="321" y="478"/>
                    <a:pt x="320" y="478"/>
                    <a:pt x="321" y="477"/>
                  </a:cubicBezTo>
                  <a:cubicBezTo>
                    <a:pt x="321" y="477"/>
                    <a:pt x="320" y="476"/>
                    <a:pt x="320" y="475"/>
                  </a:cubicBezTo>
                  <a:cubicBezTo>
                    <a:pt x="320" y="475"/>
                    <a:pt x="320" y="475"/>
                    <a:pt x="320" y="475"/>
                  </a:cubicBezTo>
                  <a:cubicBezTo>
                    <a:pt x="319" y="475"/>
                    <a:pt x="320" y="474"/>
                    <a:pt x="320" y="474"/>
                  </a:cubicBezTo>
                  <a:cubicBezTo>
                    <a:pt x="321" y="474"/>
                    <a:pt x="322" y="475"/>
                    <a:pt x="322" y="476"/>
                  </a:cubicBezTo>
                  <a:cubicBezTo>
                    <a:pt x="322" y="476"/>
                    <a:pt x="322" y="476"/>
                    <a:pt x="322" y="476"/>
                  </a:cubicBezTo>
                  <a:cubicBezTo>
                    <a:pt x="322" y="477"/>
                    <a:pt x="322" y="477"/>
                    <a:pt x="323" y="477"/>
                  </a:cubicBezTo>
                  <a:cubicBezTo>
                    <a:pt x="322" y="477"/>
                    <a:pt x="322" y="477"/>
                    <a:pt x="322" y="478"/>
                  </a:cubicBezTo>
                  <a:cubicBezTo>
                    <a:pt x="322" y="478"/>
                    <a:pt x="322" y="478"/>
                    <a:pt x="322" y="478"/>
                  </a:cubicBezTo>
                  <a:cubicBezTo>
                    <a:pt x="322" y="478"/>
                    <a:pt x="322" y="478"/>
                    <a:pt x="323" y="479"/>
                  </a:cubicBezTo>
                  <a:cubicBezTo>
                    <a:pt x="323" y="479"/>
                    <a:pt x="323" y="479"/>
                    <a:pt x="323" y="479"/>
                  </a:cubicBezTo>
                  <a:cubicBezTo>
                    <a:pt x="323" y="479"/>
                    <a:pt x="323" y="479"/>
                    <a:pt x="323" y="479"/>
                  </a:cubicBezTo>
                  <a:cubicBezTo>
                    <a:pt x="324" y="479"/>
                    <a:pt x="325" y="479"/>
                    <a:pt x="325" y="479"/>
                  </a:cubicBezTo>
                  <a:cubicBezTo>
                    <a:pt x="325" y="478"/>
                    <a:pt x="326" y="477"/>
                    <a:pt x="327" y="477"/>
                  </a:cubicBezTo>
                  <a:cubicBezTo>
                    <a:pt x="327" y="477"/>
                    <a:pt x="327" y="476"/>
                    <a:pt x="327" y="477"/>
                  </a:cubicBezTo>
                  <a:cubicBezTo>
                    <a:pt x="327" y="477"/>
                    <a:pt x="327" y="477"/>
                    <a:pt x="327" y="477"/>
                  </a:cubicBezTo>
                  <a:cubicBezTo>
                    <a:pt x="327" y="478"/>
                    <a:pt x="327" y="478"/>
                    <a:pt x="328" y="479"/>
                  </a:cubicBezTo>
                  <a:cubicBezTo>
                    <a:pt x="328" y="479"/>
                    <a:pt x="329" y="478"/>
                    <a:pt x="329" y="478"/>
                  </a:cubicBezTo>
                  <a:cubicBezTo>
                    <a:pt x="329" y="477"/>
                    <a:pt x="329" y="476"/>
                    <a:pt x="329" y="476"/>
                  </a:cubicBezTo>
                  <a:cubicBezTo>
                    <a:pt x="328" y="476"/>
                    <a:pt x="328" y="475"/>
                    <a:pt x="329" y="475"/>
                  </a:cubicBezTo>
                  <a:cubicBezTo>
                    <a:pt x="329" y="475"/>
                    <a:pt x="329" y="475"/>
                    <a:pt x="329" y="475"/>
                  </a:cubicBezTo>
                  <a:cubicBezTo>
                    <a:pt x="329" y="475"/>
                    <a:pt x="330" y="475"/>
                    <a:pt x="330" y="475"/>
                  </a:cubicBezTo>
                  <a:cubicBezTo>
                    <a:pt x="330" y="475"/>
                    <a:pt x="330" y="475"/>
                    <a:pt x="330" y="475"/>
                  </a:cubicBezTo>
                  <a:cubicBezTo>
                    <a:pt x="331" y="474"/>
                    <a:pt x="331" y="474"/>
                    <a:pt x="331" y="473"/>
                  </a:cubicBezTo>
                  <a:cubicBezTo>
                    <a:pt x="332" y="472"/>
                    <a:pt x="332" y="471"/>
                    <a:pt x="332" y="470"/>
                  </a:cubicBezTo>
                  <a:cubicBezTo>
                    <a:pt x="333" y="469"/>
                    <a:pt x="333" y="469"/>
                    <a:pt x="333" y="468"/>
                  </a:cubicBezTo>
                  <a:cubicBezTo>
                    <a:pt x="333" y="468"/>
                    <a:pt x="334" y="467"/>
                    <a:pt x="334" y="466"/>
                  </a:cubicBezTo>
                  <a:cubicBezTo>
                    <a:pt x="335" y="466"/>
                    <a:pt x="335" y="466"/>
                    <a:pt x="336" y="466"/>
                  </a:cubicBezTo>
                  <a:cubicBezTo>
                    <a:pt x="336" y="466"/>
                    <a:pt x="336" y="466"/>
                    <a:pt x="337" y="466"/>
                  </a:cubicBezTo>
                  <a:cubicBezTo>
                    <a:pt x="338" y="467"/>
                    <a:pt x="338" y="468"/>
                    <a:pt x="339" y="468"/>
                  </a:cubicBezTo>
                  <a:cubicBezTo>
                    <a:pt x="339" y="469"/>
                    <a:pt x="338" y="469"/>
                    <a:pt x="338" y="468"/>
                  </a:cubicBezTo>
                  <a:cubicBezTo>
                    <a:pt x="338" y="468"/>
                    <a:pt x="337" y="468"/>
                    <a:pt x="337" y="468"/>
                  </a:cubicBezTo>
                  <a:cubicBezTo>
                    <a:pt x="337" y="468"/>
                    <a:pt x="337" y="468"/>
                    <a:pt x="336" y="468"/>
                  </a:cubicBezTo>
                  <a:cubicBezTo>
                    <a:pt x="336" y="468"/>
                    <a:pt x="336" y="469"/>
                    <a:pt x="336" y="469"/>
                  </a:cubicBezTo>
                  <a:cubicBezTo>
                    <a:pt x="335" y="470"/>
                    <a:pt x="335" y="471"/>
                    <a:pt x="335" y="472"/>
                  </a:cubicBezTo>
                  <a:cubicBezTo>
                    <a:pt x="338" y="472"/>
                    <a:pt x="340" y="472"/>
                    <a:pt x="342" y="470"/>
                  </a:cubicBezTo>
                  <a:cubicBezTo>
                    <a:pt x="342" y="469"/>
                    <a:pt x="343" y="468"/>
                    <a:pt x="344" y="469"/>
                  </a:cubicBezTo>
                  <a:cubicBezTo>
                    <a:pt x="344" y="469"/>
                    <a:pt x="344" y="470"/>
                    <a:pt x="345" y="470"/>
                  </a:cubicBezTo>
                  <a:cubicBezTo>
                    <a:pt x="345" y="470"/>
                    <a:pt x="346" y="470"/>
                    <a:pt x="346" y="469"/>
                  </a:cubicBezTo>
                  <a:cubicBezTo>
                    <a:pt x="346" y="469"/>
                    <a:pt x="345" y="469"/>
                    <a:pt x="345" y="469"/>
                  </a:cubicBezTo>
                  <a:cubicBezTo>
                    <a:pt x="345" y="468"/>
                    <a:pt x="345" y="468"/>
                    <a:pt x="345" y="468"/>
                  </a:cubicBezTo>
                  <a:cubicBezTo>
                    <a:pt x="345" y="468"/>
                    <a:pt x="345" y="468"/>
                    <a:pt x="345" y="468"/>
                  </a:cubicBezTo>
                  <a:cubicBezTo>
                    <a:pt x="345" y="467"/>
                    <a:pt x="346" y="467"/>
                    <a:pt x="347" y="468"/>
                  </a:cubicBezTo>
                  <a:cubicBezTo>
                    <a:pt x="347" y="468"/>
                    <a:pt x="347" y="468"/>
                    <a:pt x="347" y="469"/>
                  </a:cubicBezTo>
                  <a:cubicBezTo>
                    <a:pt x="347" y="469"/>
                    <a:pt x="347" y="469"/>
                    <a:pt x="348" y="469"/>
                  </a:cubicBezTo>
                  <a:cubicBezTo>
                    <a:pt x="348" y="469"/>
                    <a:pt x="348" y="469"/>
                    <a:pt x="348" y="469"/>
                  </a:cubicBezTo>
                  <a:cubicBezTo>
                    <a:pt x="348" y="468"/>
                    <a:pt x="348" y="468"/>
                    <a:pt x="349" y="467"/>
                  </a:cubicBezTo>
                  <a:cubicBezTo>
                    <a:pt x="349" y="467"/>
                    <a:pt x="349" y="466"/>
                    <a:pt x="350" y="46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66"/>
                    <a:pt x="351" y="466"/>
                    <a:pt x="351" y="466"/>
                  </a:cubicBezTo>
                  <a:cubicBezTo>
                    <a:pt x="351" y="465"/>
                    <a:pt x="352" y="465"/>
                    <a:pt x="352" y="465"/>
                  </a:cubicBezTo>
                  <a:cubicBezTo>
                    <a:pt x="352" y="465"/>
                    <a:pt x="353" y="465"/>
                    <a:pt x="353" y="465"/>
                  </a:cubicBezTo>
                  <a:cubicBezTo>
                    <a:pt x="354" y="464"/>
                    <a:pt x="354" y="463"/>
                    <a:pt x="355" y="462"/>
                  </a:cubicBezTo>
                  <a:cubicBezTo>
                    <a:pt x="356" y="462"/>
                    <a:pt x="357" y="462"/>
                    <a:pt x="357" y="461"/>
                  </a:cubicBezTo>
                  <a:cubicBezTo>
                    <a:pt x="358" y="461"/>
                    <a:pt x="358" y="461"/>
                    <a:pt x="359" y="462"/>
                  </a:cubicBezTo>
                  <a:cubicBezTo>
                    <a:pt x="359" y="462"/>
                    <a:pt x="359" y="462"/>
                    <a:pt x="359" y="462"/>
                  </a:cubicBezTo>
                  <a:cubicBezTo>
                    <a:pt x="359" y="462"/>
                    <a:pt x="359" y="462"/>
                    <a:pt x="359" y="462"/>
                  </a:cubicBezTo>
                  <a:cubicBezTo>
                    <a:pt x="358" y="463"/>
                    <a:pt x="358" y="465"/>
                    <a:pt x="359" y="466"/>
                  </a:cubicBezTo>
                  <a:cubicBezTo>
                    <a:pt x="359" y="466"/>
                    <a:pt x="359" y="466"/>
                    <a:pt x="359" y="466"/>
                  </a:cubicBezTo>
                  <a:cubicBezTo>
                    <a:pt x="359" y="466"/>
                    <a:pt x="359" y="467"/>
                    <a:pt x="358" y="467"/>
                  </a:cubicBezTo>
                  <a:cubicBezTo>
                    <a:pt x="358" y="467"/>
                    <a:pt x="358" y="467"/>
                    <a:pt x="358" y="467"/>
                  </a:cubicBezTo>
                  <a:cubicBezTo>
                    <a:pt x="359" y="467"/>
                    <a:pt x="360" y="466"/>
                    <a:pt x="360" y="465"/>
                  </a:cubicBezTo>
                  <a:cubicBezTo>
                    <a:pt x="360" y="464"/>
                    <a:pt x="360" y="462"/>
                    <a:pt x="361" y="462"/>
                  </a:cubicBezTo>
                  <a:cubicBezTo>
                    <a:pt x="361" y="462"/>
                    <a:pt x="362" y="462"/>
                    <a:pt x="362" y="462"/>
                  </a:cubicBezTo>
                  <a:cubicBezTo>
                    <a:pt x="362" y="461"/>
                    <a:pt x="362" y="461"/>
                    <a:pt x="363" y="461"/>
                  </a:cubicBezTo>
                  <a:cubicBezTo>
                    <a:pt x="364" y="460"/>
                    <a:pt x="366" y="459"/>
                    <a:pt x="367" y="459"/>
                  </a:cubicBezTo>
                  <a:cubicBezTo>
                    <a:pt x="367" y="459"/>
                    <a:pt x="368" y="459"/>
                    <a:pt x="368" y="459"/>
                  </a:cubicBezTo>
                  <a:cubicBezTo>
                    <a:pt x="368" y="459"/>
                    <a:pt x="369" y="458"/>
                    <a:pt x="369" y="458"/>
                  </a:cubicBezTo>
                  <a:cubicBezTo>
                    <a:pt x="369" y="458"/>
                    <a:pt x="370" y="458"/>
                    <a:pt x="371" y="458"/>
                  </a:cubicBezTo>
                  <a:cubicBezTo>
                    <a:pt x="371" y="457"/>
                    <a:pt x="372" y="456"/>
                    <a:pt x="372" y="455"/>
                  </a:cubicBezTo>
                  <a:cubicBezTo>
                    <a:pt x="372" y="454"/>
                    <a:pt x="372" y="454"/>
                    <a:pt x="373" y="453"/>
                  </a:cubicBezTo>
                  <a:cubicBezTo>
                    <a:pt x="373" y="453"/>
                    <a:pt x="374" y="453"/>
                    <a:pt x="374" y="453"/>
                  </a:cubicBezTo>
                  <a:cubicBezTo>
                    <a:pt x="373" y="454"/>
                    <a:pt x="373" y="455"/>
                    <a:pt x="373" y="457"/>
                  </a:cubicBezTo>
                  <a:cubicBezTo>
                    <a:pt x="373" y="457"/>
                    <a:pt x="373" y="457"/>
                    <a:pt x="373" y="457"/>
                  </a:cubicBezTo>
                  <a:cubicBezTo>
                    <a:pt x="373" y="458"/>
                    <a:pt x="374" y="457"/>
                    <a:pt x="374" y="457"/>
                  </a:cubicBezTo>
                  <a:cubicBezTo>
                    <a:pt x="374" y="456"/>
                    <a:pt x="374" y="456"/>
                    <a:pt x="374" y="455"/>
                  </a:cubicBezTo>
                  <a:cubicBezTo>
                    <a:pt x="375" y="455"/>
                    <a:pt x="375" y="454"/>
                    <a:pt x="376" y="453"/>
                  </a:cubicBezTo>
                  <a:cubicBezTo>
                    <a:pt x="376" y="453"/>
                    <a:pt x="376" y="451"/>
                    <a:pt x="377" y="451"/>
                  </a:cubicBezTo>
                  <a:cubicBezTo>
                    <a:pt x="377" y="451"/>
                    <a:pt x="377" y="450"/>
                    <a:pt x="377" y="450"/>
                  </a:cubicBezTo>
                  <a:cubicBezTo>
                    <a:pt x="376" y="450"/>
                    <a:pt x="376" y="450"/>
                    <a:pt x="376" y="450"/>
                  </a:cubicBezTo>
                  <a:cubicBezTo>
                    <a:pt x="376" y="450"/>
                    <a:pt x="376" y="450"/>
                    <a:pt x="375" y="450"/>
                  </a:cubicBezTo>
                  <a:cubicBezTo>
                    <a:pt x="375" y="451"/>
                    <a:pt x="374" y="450"/>
                    <a:pt x="374" y="450"/>
                  </a:cubicBezTo>
                  <a:cubicBezTo>
                    <a:pt x="373" y="450"/>
                    <a:pt x="373" y="451"/>
                    <a:pt x="373" y="451"/>
                  </a:cubicBezTo>
                  <a:cubicBezTo>
                    <a:pt x="373" y="451"/>
                    <a:pt x="372" y="452"/>
                    <a:pt x="372" y="451"/>
                  </a:cubicBezTo>
                  <a:cubicBezTo>
                    <a:pt x="372" y="451"/>
                    <a:pt x="372" y="451"/>
                    <a:pt x="372" y="451"/>
                  </a:cubicBezTo>
                  <a:cubicBezTo>
                    <a:pt x="373" y="450"/>
                    <a:pt x="374" y="449"/>
                    <a:pt x="375" y="448"/>
                  </a:cubicBezTo>
                  <a:cubicBezTo>
                    <a:pt x="375" y="448"/>
                    <a:pt x="376" y="447"/>
                    <a:pt x="376" y="447"/>
                  </a:cubicBezTo>
                  <a:cubicBezTo>
                    <a:pt x="377" y="447"/>
                    <a:pt x="377" y="447"/>
                    <a:pt x="378" y="446"/>
                  </a:cubicBezTo>
                  <a:cubicBezTo>
                    <a:pt x="378" y="446"/>
                    <a:pt x="378" y="446"/>
                    <a:pt x="379" y="446"/>
                  </a:cubicBezTo>
                  <a:cubicBezTo>
                    <a:pt x="380" y="444"/>
                    <a:pt x="381" y="443"/>
                    <a:pt x="383" y="442"/>
                  </a:cubicBezTo>
                  <a:cubicBezTo>
                    <a:pt x="384" y="443"/>
                    <a:pt x="385" y="444"/>
                    <a:pt x="386" y="443"/>
                  </a:cubicBezTo>
                  <a:cubicBezTo>
                    <a:pt x="386" y="443"/>
                    <a:pt x="387" y="442"/>
                    <a:pt x="387" y="442"/>
                  </a:cubicBezTo>
                  <a:cubicBezTo>
                    <a:pt x="386" y="442"/>
                    <a:pt x="386" y="442"/>
                    <a:pt x="385" y="442"/>
                  </a:cubicBezTo>
                  <a:cubicBezTo>
                    <a:pt x="386" y="441"/>
                    <a:pt x="386" y="440"/>
                    <a:pt x="387" y="440"/>
                  </a:cubicBezTo>
                  <a:cubicBezTo>
                    <a:pt x="387" y="439"/>
                    <a:pt x="387" y="439"/>
                    <a:pt x="387" y="439"/>
                  </a:cubicBezTo>
                  <a:cubicBezTo>
                    <a:pt x="387" y="439"/>
                    <a:pt x="387" y="438"/>
                    <a:pt x="387" y="438"/>
                  </a:cubicBezTo>
                  <a:cubicBezTo>
                    <a:pt x="388" y="437"/>
                    <a:pt x="388" y="438"/>
                    <a:pt x="389" y="438"/>
                  </a:cubicBezTo>
                  <a:cubicBezTo>
                    <a:pt x="389" y="438"/>
                    <a:pt x="389" y="439"/>
                    <a:pt x="389" y="439"/>
                  </a:cubicBezTo>
                  <a:cubicBezTo>
                    <a:pt x="390" y="439"/>
                    <a:pt x="391" y="439"/>
                    <a:pt x="392" y="438"/>
                  </a:cubicBezTo>
                  <a:cubicBezTo>
                    <a:pt x="392" y="437"/>
                    <a:pt x="393" y="436"/>
                    <a:pt x="394" y="436"/>
                  </a:cubicBezTo>
                  <a:cubicBezTo>
                    <a:pt x="395" y="436"/>
                    <a:pt x="395" y="436"/>
                    <a:pt x="395" y="436"/>
                  </a:cubicBezTo>
                  <a:cubicBezTo>
                    <a:pt x="395" y="436"/>
                    <a:pt x="396" y="436"/>
                    <a:pt x="396" y="435"/>
                  </a:cubicBezTo>
                  <a:cubicBezTo>
                    <a:pt x="396" y="435"/>
                    <a:pt x="396" y="434"/>
                    <a:pt x="396" y="434"/>
                  </a:cubicBezTo>
                  <a:cubicBezTo>
                    <a:pt x="396" y="434"/>
                    <a:pt x="397" y="433"/>
                    <a:pt x="397" y="434"/>
                  </a:cubicBezTo>
                  <a:cubicBezTo>
                    <a:pt x="397" y="434"/>
                    <a:pt x="397" y="435"/>
                    <a:pt x="398" y="435"/>
                  </a:cubicBezTo>
                  <a:cubicBezTo>
                    <a:pt x="398" y="435"/>
                    <a:pt x="399" y="434"/>
                    <a:pt x="399" y="434"/>
                  </a:cubicBezTo>
                  <a:cubicBezTo>
                    <a:pt x="399" y="433"/>
                    <a:pt x="399" y="433"/>
                    <a:pt x="399" y="433"/>
                  </a:cubicBezTo>
                  <a:cubicBezTo>
                    <a:pt x="400" y="432"/>
                    <a:pt x="400" y="431"/>
                    <a:pt x="401" y="431"/>
                  </a:cubicBezTo>
                  <a:cubicBezTo>
                    <a:pt x="401" y="431"/>
                    <a:pt x="401" y="430"/>
                    <a:pt x="401" y="430"/>
                  </a:cubicBezTo>
                  <a:cubicBezTo>
                    <a:pt x="402" y="430"/>
                    <a:pt x="402" y="430"/>
                    <a:pt x="401" y="429"/>
                  </a:cubicBezTo>
                  <a:cubicBezTo>
                    <a:pt x="401" y="429"/>
                    <a:pt x="401" y="429"/>
                    <a:pt x="401" y="429"/>
                  </a:cubicBezTo>
                  <a:cubicBezTo>
                    <a:pt x="401" y="429"/>
                    <a:pt x="401" y="429"/>
                    <a:pt x="401" y="428"/>
                  </a:cubicBezTo>
                  <a:cubicBezTo>
                    <a:pt x="401" y="428"/>
                    <a:pt x="402" y="428"/>
                    <a:pt x="402" y="427"/>
                  </a:cubicBezTo>
                  <a:cubicBezTo>
                    <a:pt x="402" y="427"/>
                    <a:pt x="401" y="427"/>
                    <a:pt x="401" y="426"/>
                  </a:cubicBezTo>
                  <a:cubicBezTo>
                    <a:pt x="401" y="426"/>
                    <a:pt x="400" y="427"/>
                    <a:pt x="400" y="427"/>
                  </a:cubicBezTo>
                  <a:cubicBezTo>
                    <a:pt x="400" y="427"/>
                    <a:pt x="399" y="427"/>
                    <a:pt x="399" y="427"/>
                  </a:cubicBezTo>
                  <a:cubicBezTo>
                    <a:pt x="399" y="427"/>
                    <a:pt x="399" y="426"/>
                    <a:pt x="399" y="426"/>
                  </a:cubicBezTo>
                  <a:cubicBezTo>
                    <a:pt x="400" y="425"/>
                    <a:pt x="401" y="425"/>
                    <a:pt x="402" y="424"/>
                  </a:cubicBezTo>
                  <a:cubicBezTo>
                    <a:pt x="402" y="424"/>
                    <a:pt x="403" y="424"/>
                    <a:pt x="403" y="424"/>
                  </a:cubicBezTo>
                  <a:cubicBezTo>
                    <a:pt x="403" y="424"/>
                    <a:pt x="403" y="423"/>
                    <a:pt x="404" y="423"/>
                  </a:cubicBezTo>
                  <a:cubicBezTo>
                    <a:pt x="404" y="423"/>
                    <a:pt x="404" y="423"/>
                    <a:pt x="404" y="423"/>
                  </a:cubicBezTo>
                  <a:cubicBezTo>
                    <a:pt x="405" y="423"/>
                    <a:pt x="405" y="424"/>
                    <a:pt x="405" y="424"/>
                  </a:cubicBezTo>
                  <a:cubicBezTo>
                    <a:pt x="405" y="424"/>
                    <a:pt x="405" y="423"/>
                    <a:pt x="405" y="423"/>
                  </a:cubicBezTo>
                  <a:cubicBezTo>
                    <a:pt x="405" y="422"/>
                    <a:pt x="406" y="421"/>
                    <a:pt x="407" y="421"/>
                  </a:cubicBezTo>
                  <a:cubicBezTo>
                    <a:pt x="408" y="421"/>
                    <a:pt x="408" y="421"/>
                    <a:pt x="409" y="421"/>
                  </a:cubicBezTo>
                  <a:cubicBezTo>
                    <a:pt x="409" y="421"/>
                    <a:pt x="409" y="420"/>
                    <a:pt x="410" y="419"/>
                  </a:cubicBezTo>
                  <a:cubicBezTo>
                    <a:pt x="410" y="419"/>
                    <a:pt x="410" y="419"/>
                    <a:pt x="411" y="419"/>
                  </a:cubicBezTo>
                  <a:cubicBezTo>
                    <a:pt x="411" y="419"/>
                    <a:pt x="411" y="418"/>
                    <a:pt x="411" y="418"/>
                  </a:cubicBezTo>
                  <a:cubicBezTo>
                    <a:pt x="411" y="418"/>
                    <a:pt x="411" y="418"/>
                    <a:pt x="410" y="418"/>
                  </a:cubicBezTo>
                  <a:cubicBezTo>
                    <a:pt x="410" y="418"/>
                    <a:pt x="410" y="417"/>
                    <a:pt x="410" y="417"/>
                  </a:cubicBezTo>
                  <a:cubicBezTo>
                    <a:pt x="410" y="417"/>
                    <a:pt x="410" y="416"/>
                    <a:pt x="411" y="415"/>
                  </a:cubicBezTo>
                  <a:cubicBezTo>
                    <a:pt x="411" y="415"/>
                    <a:pt x="412" y="415"/>
                    <a:pt x="412" y="416"/>
                  </a:cubicBezTo>
                  <a:cubicBezTo>
                    <a:pt x="412" y="416"/>
                    <a:pt x="412" y="416"/>
                    <a:pt x="412" y="416"/>
                  </a:cubicBezTo>
                  <a:cubicBezTo>
                    <a:pt x="412" y="417"/>
                    <a:pt x="413" y="417"/>
                    <a:pt x="413" y="417"/>
                  </a:cubicBezTo>
                  <a:cubicBezTo>
                    <a:pt x="413" y="417"/>
                    <a:pt x="414" y="417"/>
                    <a:pt x="414" y="417"/>
                  </a:cubicBezTo>
                  <a:cubicBezTo>
                    <a:pt x="414" y="417"/>
                    <a:pt x="414" y="417"/>
                    <a:pt x="414" y="417"/>
                  </a:cubicBezTo>
                  <a:cubicBezTo>
                    <a:pt x="415" y="416"/>
                    <a:pt x="415" y="415"/>
                    <a:pt x="416" y="414"/>
                  </a:cubicBezTo>
                  <a:cubicBezTo>
                    <a:pt x="416" y="414"/>
                    <a:pt x="417" y="414"/>
                    <a:pt x="417" y="414"/>
                  </a:cubicBezTo>
                  <a:cubicBezTo>
                    <a:pt x="417" y="413"/>
                    <a:pt x="418" y="413"/>
                    <a:pt x="418" y="412"/>
                  </a:cubicBezTo>
                  <a:cubicBezTo>
                    <a:pt x="418" y="412"/>
                    <a:pt x="417" y="412"/>
                    <a:pt x="417" y="412"/>
                  </a:cubicBezTo>
                  <a:cubicBezTo>
                    <a:pt x="417" y="412"/>
                    <a:pt x="418" y="411"/>
                    <a:pt x="418" y="411"/>
                  </a:cubicBezTo>
                  <a:cubicBezTo>
                    <a:pt x="418" y="411"/>
                    <a:pt x="418" y="411"/>
                    <a:pt x="418" y="410"/>
                  </a:cubicBezTo>
                  <a:cubicBezTo>
                    <a:pt x="418" y="410"/>
                    <a:pt x="418" y="410"/>
                    <a:pt x="418" y="410"/>
                  </a:cubicBezTo>
                  <a:cubicBezTo>
                    <a:pt x="417" y="410"/>
                    <a:pt x="417" y="410"/>
                    <a:pt x="417" y="410"/>
                  </a:cubicBezTo>
                  <a:cubicBezTo>
                    <a:pt x="418" y="409"/>
                    <a:pt x="418" y="408"/>
                    <a:pt x="418" y="407"/>
                  </a:cubicBezTo>
                  <a:cubicBezTo>
                    <a:pt x="418" y="407"/>
                    <a:pt x="418" y="406"/>
                    <a:pt x="418" y="406"/>
                  </a:cubicBezTo>
                  <a:cubicBezTo>
                    <a:pt x="418" y="406"/>
                    <a:pt x="418" y="406"/>
                    <a:pt x="418" y="406"/>
                  </a:cubicBezTo>
                  <a:cubicBezTo>
                    <a:pt x="419" y="406"/>
                    <a:pt x="419" y="406"/>
                    <a:pt x="419" y="406"/>
                  </a:cubicBezTo>
                  <a:cubicBezTo>
                    <a:pt x="419" y="407"/>
                    <a:pt x="419" y="407"/>
                    <a:pt x="419" y="407"/>
                  </a:cubicBezTo>
                  <a:cubicBezTo>
                    <a:pt x="419" y="408"/>
                    <a:pt x="420" y="408"/>
                    <a:pt x="420" y="408"/>
                  </a:cubicBezTo>
                  <a:cubicBezTo>
                    <a:pt x="420" y="408"/>
                    <a:pt x="419" y="409"/>
                    <a:pt x="419" y="410"/>
                  </a:cubicBezTo>
                  <a:cubicBezTo>
                    <a:pt x="419" y="409"/>
                    <a:pt x="420" y="409"/>
                    <a:pt x="420" y="410"/>
                  </a:cubicBezTo>
                  <a:cubicBezTo>
                    <a:pt x="420" y="410"/>
                    <a:pt x="421" y="410"/>
                    <a:pt x="421" y="410"/>
                  </a:cubicBezTo>
                  <a:cubicBezTo>
                    <a:pt x="421" y="410"/>
                    <a:pt x="422" y="410"/>
                    <a:pt x="422" y="410"/>
                  </a:cubicBezTo>
                  <a:cubicBezTo>
                    <a:pt x="422" y="409"/>
                    <a:pt x="422" y="409"/>
                    <a:pt x="423" y="409"/>
                  </a:cubicBezTo>
                  <a:cubicBezTo>
                    <a:pt x="423" y="409"/>
                    <a:pt x="424" y="409"/>
                    <a:pt x="424" y="409"/>
                  </a:cubicBezTo>
                  <a:cubicBezTo>
                    <a:pt x="424" y="409"/>
                    <a:pt x="424" y="409"/>
                    <a:pt x="424" y="409"/>
                  </a:cubicBezTo>
                  <a:cubicBezTo>
                    <a:pt x="425" y="408"/>
                    <a:pt x="426" y="408"/>
                    <a:pt x="426" y="407"/>
                  </a:cubicBezTo>
                  <a:cubicBezTo>
                    <a:pt x="426" y="408"/>
                    <a:pt x="427" y="408"/>
                    <a:pt x="427" y="408"/>
                  </a:cubicBezTo>
                  <a:cubicBezTo>
                    <a:pt x="427" y="408"/>
                    <a:pt x="428" y="407"/>
                    <a:pt x="428" y="407"/>
                  </a:cubicBezTo>
                  <a:cubicBezTo>
                    <a:pt x="428" y="407"/>
                    <a:pt x="428" y="407"/>
                    <a:pt x="428" y="406"/>
                  </a:cubicBezTo>
                  <a:cubicBezTo>
                    <a:pt x="428" y="406"/>
                    <a:pt x="428" y="406"/>
                    <a:pt x="428" y="406"/>
                  </a:cubicBezTo>
                  <a:cubicBezTo>
                    <a:pt x="428" y="406"/>
                    <a:pt x="429" y="405"/>
                    <a:pt x="429" y="405"/>
                  </a:cubicBezTo>
                  <a:cubicBezTo>
                    <a:pt x="429" y="404"/>
                    <a:pt x="429" y="404"/>
                    <a:pt x="429" y="404"/>
                  </a:cubicBezTo>
                  <a:cubicBezTo>
                    <a:pt x="429" y="404"/>
                    <a:pt x="430" y="403"/>
                    <a:pt x="430" y="403"/>
                  </a:cubicBezTo>
                  <a:cubicBezTo>
                    <a:pt x="429" y="403"/>
                    <a:pt x="427" y="403"/>
                    <a:pt x="426" y="404"/>
                  </a:cubicBezTo>
                  <a:cubicBezTo>
                    <a:pt x="426" y="403"/>
                    <a:pt x="427" y="403"/>
                    <a:pt x="428" y="403"/>
                  </a:cubicBezTo>
                  <a:cubicBezTo>
                    <a:pt x="429" y="402"/>
                    <a:pt x="429" y="402"/>
                    <a:pt x="430" y="402"/>
                  </a:cubicBezTo>
                  <a:cubicBezTo>
                    <a:pt x="430" y="402"/>
                    <a:pt x="430" y="401"/>
                    <a:pt x="431" y="401"/>
                  </a:cubicBezTo>
                  <a:cubicBezTo>
                    <a:pt x="431" y="401"/>
                    <a:pt x="431" y="401"/>
                    <a:pt x="431" y="401"/>
                  </a:cubicBezTo>
                  <a:cubicBezTo>
                    <a:pt x="431" y="400"/>
                    <a:pt x="431" y="400"/>
                    <a:pt x="431" y="400"/>
                  </a:cubicBezTo>
                  <a:cubicBezTo>
                    <a:pt x="430" y="400"/>
                    <a:pt x="430" y="399"/>
                    <a:pt x="431" y="399"/>
                  </a:cubicBezTo>
                  <a:cubicBezTo>
                    <a:pt x="431" y="398"/>
                    <a:pt x="432" y="398"/>
                    <a:pt x="432" y="397"/>
                  </a:cubicBezTo>
                  <a:cubicBezTo>
                    <a:pt x="433" y="397"/>
                    <a:pt x="433" y="396"/>
                    <a:pt x="433" y="395"/>
                  </a:cubicBezTo>
                  <a:cubicBezTo>
                    <a:pt x="433" y="395"/>
                    <a:pt x="434" y="395"/>
                    <a:pt x="435" y="395"/>
                  </a:cubicBezTo>
                  <a:cubicBezTo>
                    <a:pt x="436" y="395"/>
                    <a:pt x="437" y="394"/>
                    <a:pt x="438" y="393"/>
                  </a:cubicBezTo>
                  <a:cubicBezTo>
                    <a:pt x="439" y="392"/>
                    <a:pt x="439" y="391"/>
                    <a:pt x="440" y="390"/>
                  </a:cubicBezTo>
                  <a:cubicBezTo>
                    <a:pt x="440" y="389"/>
                    <a:pt x="440" y="387"/>
                    <a:pt x="439" y="386"/>
                  </a:cubicBezTo>
                  <a:cubicBezTo>
                    <a:pt x="439" y="386"/>
                    <a:pt x="439" y="386"/>
                    <a:pt x="439" y="386"/>
                  </a:cubicBezTo>
                  <a:cubicBezTo>
                    <a:pt x="439" y="386"/>
                    <a:pt x="438" y="386"/>
                    <a:pt x="438" y="386"/>
                  </a:cubicBezTo>
                  <a:cubicBezTo>
                    <a:pt x="438" y="386"/>
                    <a:pt x="437" y="386"/>
                    <a:pt x="436" y="385"/>
                  </a:cubicBezTo>
                  <a:cubicBezTo>
                    <a:pt x="436" y="385"/>
                    <a:pt x="436" y="385"/>
                    <a:pt x="436" y="384"/>
                  </a:cubicBezTo>
                  <a:cubicBezTo>
                    <a:pt x="436" y="384"/>
                    <a:pt x="435" y="384"/>
                    <a:pt x="435" y="384"/>
                  </a:cubicBezTo>
                  <a:cubicBezTo>
                    <a:pt x="435" y="384"/>
                    <a:pt x="434" y="384"/>
                    <a:pt x="434" y="384"/>
                  </a:cubicBezTo>
                  <a:cubicBezTo>
                    <a:pt x="434" y="384"/>
                    <a:pt x="434" y="384"/>
                    <a:pt x="433" y="384"/>
                  </a:cubicBezTo>
                  <a:cubicBezTo>
                    <a:pt x="433" y="384"/>
                    <a:pt x="433" y="384"/>
                    <a:pt x="433" y="384"/>
                  </a:cubicBezTo>
                  <a:cubicBezTo>
                    <a:pt x="432" y="384"/>
                    <a:pt x="432" y="383"/>
                    <a:pt x="431" y="384"/>
                  </a:cubicBezTo>
                  <a:cubicBezTo>
                    <a:pt x="430" y="384"/>
                    <a:pt x="430" y="385"/>
                    <a:pt x="430" y="385"/>
                  </a:cubicBezTo>
                  <a:cubicBezTo>
                    <a:pt x="429" y="385"/>
                    <a:pt x="429" y="385"/>
                    <a:pt x="429" y="385"/>
                  </a:cubicBezTo>
                  <a:cubicBezTo>
                    <a:pt x="429" y="385"/>
                    <a:pt x="429" y="384"/>
                    <a:pt x="429" y="384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29" y="383"/>
                    <a:pt x="429" y="383"/>
                    <a:pt x="429" y="383"/>
                  </a:cubicBezTo>
                  <a:cubicBezTo>
                    <a:pt x="429" y="383"/>
                    <a:pt x="429" y="382"/>
                    <a:pt x="429" y="382"/>
                  </a:cubicBezTo>
                  <a:cubicBezTo>
                    <a:pt x="429" y="382"/>
                    <a:pt x="428" y="382"/>
                    <a:pt x="428" y="382"/>
                  </a:cubicBezTo>
                  <a:cubicBezTo>
                    <a:pt x="428" y="382"/>
                    <a:pt x="428" y="382"/>
                    <a:pt x="429" y="382"/>
                  </a:cubicBezTo>
                  <a:cubicBezTo>
                    <a:pt x="429" y="381"/>
                    <a:pt x="429" y="381"/>
                    <a:pt x="429" y="380"/>
                  </a:cubicBezTo>
                  <a:cubicBezTo>
                    <a:pt x="430" y="380"/>
                    <a:pt x="430" y="379"/>
                    <a:pt x="430" y="378"/>
                  </a:cubicBezTo>
                  <a:cubicBezTo>
                    <a:pt x="430" y="377"/>
                    <a:pt x="431" y="377"/>
                    <a:pt x="432" y="377"/>
                  </a:cubicBezTo>
                  <a:cubicBezTo>
                    <a:pt x="432" y="377"/>
                    <a:pt x="432" y="377"/>
                    <a:pt x="432" y="377"/>
                  </a:cubicBezTo>
                  <a:cubicBezTo>
                    <a:pt x="432" y="376"/>
                    <a:pt x="432" y="376"/>
                    <a:pt x="432" y="376"/>
                  </a:cubicBezTo>
                  <a:cubicBezTo>
                    <a:pt x="431" y="376"/>
                    <a:pt x="431" y="376"/>
                    <a:pt x="431" y="376"/>
                  </a:cubicBezTo>
                  <a:cubicBezTo>
                    <a:pt x="432" y="376"/>
                    <a:pt x="432" y="376"/>
                    <a:pt x="432" y="375"/>
                  </a:cubicBezTo>
                  <a:cubicBezTo>
                    <a:pt x="433" y="375"/>
                    <a:pt x="434" y="375"/>
                    <a:pt x="434" y="375"/>
                  </a:cubicBezTo>
                  <a:cubicBezTo>
                    <a:pt x="435" y="374"/>
                    <a:pt x="435" y="374"/>
                    <a:pt x="435" y="374"/>
                  </a:cubicBezTo>
                  <a:cubicBezTo>
                    <a:pt x="435" y="373"/>
                    <a:pt x="435" y="373"/>
                    <a:pt x="435" y="373"/>
                  </a:cubicBezTo>
                  <a:cubicBezTo>
                    <a:pt x="435" y="373"/>
                    <a:pt x="435" y="373"/>
                    <a:pt x="435" y="373"/>
                  </a:cubicBezTo>
                  <a:cubicBezTo>
                    <a:pt x="435" y="373"/>
                    <a:pt x="435" y="372"/>
                    <a:pt x="435" y="372"/>
                  </a:cubicBezTo>
                  <a:cubicBezTo>
                    <a:pt x="435" y="372"/>
                    <a:pt x="435" y="372"/>
                    <a:pt x="435" y="372"/>
                  </a:cubicBezTo>
                  <a:cubicBezTo>
                    <a:pt x="436" y="372"/>
                    <a:pt x="436" y="372"/>
                    <a:pt x="436" y="372"/>
                  </a:cubicBezTo>
                  <a:cubicBezTo>
                    <a:pt x="437" y="372"/>
                    <a:pt x="437" y="372"/>
                    <a:pt x="437" y="372"/>
                  </a:cubicBezTo>
                  <a:cubicBezTo>
                    <a:pt x="437" y="371"/>
                    <a:pt x="437" y="371"/>
                    <a:pt x="437" y="370"/>
                  </a:cubicBezTo>
                  <a:cubicBezTo>
                    <a:pt x="437" y="370"/>
                    <a:pt x="436" y="370"/>
                    <a:pt x="436" y="370"/>
                  </a:cubicBezTo>
                  <a:cubicBezTo>
                    <a:pt x="436" y="370"/>
                    <a:pt x="436" y="370"/>
                    <a:pt x="436" y="369"/>
                  </a:cubicBezTo>
                  <a:cubicBezTo>
                    <a:pt x="436" y="369"/>
                    <a:pt x="436" y="369"/>
                    <a:pt x="436" y="369"/>
                  </a:cubicBezTo>
                  <a:cubicBezTo>
                    <a:pt x="436" y="369"/>
                    <a:pt x="436" y="369"/>
                    <a:pt x="436" y="369"/>
                  </a:cubicBezTo>
                  <a:cubicBezTo>
                    <a:pt x="436" y="369"/>
                    <a:pt x="436" y="369"/>
                    <a:pt x="437" y="369"/>
                  </a:cubicBezTo>
                  <a:cubicBezTo>
                    <a:pt x="437" y="369"/>
                    <a:pt x="437" y="369"/>
                    <a:pt x="437" y="369"/>
                  </a:cubicBezTo>
                  <a:cubicBezTo>
                    <a:pt x="437" y="370"/>
                    <a:pt x="438" y="370"/>
                    <a:pt x="438" y="369"/>
                  </a:cubicBezTo>
                  <a:cubicBezTo>
                    <a:pt x="438" y="369"/>
                    <a:pt x="438" y="369"/>
                    <a:pt x="438" y="369"/>
                  </a:cubicBezTo>
                  <a:cubicBezTo>
                    <a:pt x="438" y="368"/>
                    <a:pt x="439" y="367"/>
                    <a:pt x="439" y="367"/>
                  </a:cubicBezTo>
                  <a:cubicBezTo>
                    <a:pt x="438" y="366"/>
                    <a:pt x="438" y="366"/>
                    <a:pt x="438" y="366"/>
                  </a:cubicBezTo>
                  <a:cubicBezTo>
                    <a:pt x="438" y="366"/>
                    <a:pt x="439" y="365"/>
                    <a:pt x="439" y="365"/>
                  </a:cubicBezTo>
                  <a:cubicBezTo>
                    <a:pt x="439" y="365"/>
                    <a:pt x="439" y="366"/>
                    <a:pt x="439" y="366"/>
                  </a:cubicBezTo>
                  <a:cubicBezTo>
                    <a:pt x="440" y="366"/>
                    <a:pt x="440" y="366"/>
                    <a:pt x="440" y="367"/>
                  </a:cubicBezTo>
                  <a:cubicBezTo>
                    <a:pt x="440" y="367"/>
                    <a:pt x="439" y="368"/>
                    <a:pt x="439" y="368"/>
                  </a:cubicBezTo>
                  <a:cubicBezTo>
                    <a:pt x="439" y="369"/>
                    <a:pt x="439" y="369"/>
                    <a:pt x="439" y="369"/>
                  </a:cubicBezTo>
                  <a:cubicBezTo>
                    <a:pt x="439" y="369"/>
                    <a:pt x="439" y="370"/>
                    <a:pt x="439" y="370"/>
                  </a:cubicBezTo>
                  <a:cubicBezTo>
                    <a:pt x="439" y="370"/>
                    <a:pt x="440" y="370"/>
                    <a:pt x="440" y="370"/>
                  </a:cubicBezTo>
                  <a:cubicBezTo>
                    <a:pt x="441" y="370"/>
                    <a:pt x="441" y="370"/>
                    <a:pt x="441" y="369"/>
                  </a:cubicBezTo>
                  <a:cubicBezTo>
                    <a:pt x="442" y="369"/>
                    <a:pt x="442" y="369"/>
                    <a:pt x="442" y="369"/>
                  </a:cubicBezTo>
                  <a:cubicBezTo>
                    <a:pt x="443" y="369"/>
                    <a:pt x="443" y="368"/>
                    <a:pt x="443" y="368"/>
                  </a:cubicBezTo>
                  <a:cubicBezTo>
                    <a:pt x="443" y="367"/>
                    <a:pt x="445" y="365"/>
                    <a:pt x="444" y="364"/>
                  </a:cubicBezTo>
                  <a:cubicBezTo>
                    <a:pt x="444" y="364"/>
                    <a:pt x="444" y="364"/>
                    <a:pt x="444" y="364"/>
                  </a:cubicBezTo>
                  <a:cubicBezTo>
                    <a:pt x="443" y="364"/>
                    <a:pt x="443" y="364"/>
                    <a:pt x="442" y="364"/>
                  </a:cubicBezTo>
                  <a:cubicBezTo>
                    <a:pt x="442" y="364"/>
                    <a:pt x="442" y="364"/>
                    <a:pt x="442" y="364"/>
                  </a:cubicBezTo>
                  <a:cubicBezTo>
                    <a:pt x="442" y="364"/>
                    <a:pt x="441" y="364"/>
                    <a:pt x="442" y="364"/>
                  </a:cubicBezTo>
                  <a:cubicBezTo>
                    <a:pt x="443" y="363"/>
                    <a:pt x="445" y="364"/>
                    <a:pt x="446" y="363"/>
                  </a:cubicBezTo>
                  <a:cubicBezTo>
                    <a:pt x="447" y="363"/>
                    <a:pt x="447" y="363"/>
                    <a:pt x="448" y="363"/>
                  </a:cubicBezTo>
                  <a:cubicBezTo>
                    <a:pt x="448" y="363"/>
                    <a:pt x="448" y="362"/>
                    <a:pt x="448" y="362"/>
                  </a:cubicBezTo>
                  <a:cubicBezTo>
                    <a:pt x="449" y="361"/>
                    <a:pt x="449" y="361"/>
                    <a:pt x="449" y="360"/>
                  </a:cubicBezTo>
                  <a:cubicBezTo>
                    <a:pt x="449" y="360"/>
                    <a:pt x="449" y="359"/>
                    <a:pt x="449" y="359"/>
                  </a:cubicBezTo>
                  <a:cubicBezTo>
                    <a:pt x="449" y="358"/>
                    <a:pt x="449" y="358"/>
                    <a:pt x="449" y="357"/>
                  </a:cubicBezTo>
                  <a:cubicBezTo>
                    <a:pt x="448" y="357"/>
                    <a:pt x="448" y="356"/>
                    <a:pt x="447" y="355"/>
                  </a:cubicBezTo>
                  <a:cubicBezTo>
                    <a:pt x="447" y="355"/>
                    <a:pt x="446" y="355"/>
                    <a:pt x="446" y="354"/>
                  </a:cubicBezTo>
                  <a:cubicBezTo>
                    <a:pt x="445" y="354"/>
                    <a:pt x="445" y="354"/>
                    <a:pt x="445" y="354"/>
                  </a:cubicBezTo>
                  <a:cubicBezTo>
                    <a:pt x="445" y="353"/>
                    <a:pt x="446" y="353"/>
                    <a:pt x="446" y="353"/>
                  </a:cubicBezTo>
                  <a:cubicBezTo>
                    <a:pt x="446" y="353"/>
                    <a:pt x="447" y="354"/>
                    <a:pt x="447" y="354"/>
                  </a:cubicBezTo>
                  <a:cubicBezTo>
                    <a:pt x="447" y="354"/>
                    <a:pt x="447" y="354"/>
                    <a:pt x="448" y="355"/>
                  </a:cubicBezTo>
                  <a:cubicBezTo>
                    <a:pt x="448" y="355"/>
                    <a:pt x="448" y="354"/>
                    <a:pt x="449" y="354"/>
                  </a:cubicBezTo>
                  <a:cubicBezTo>
                    <a:pt x="449" y="354"/>
                    <a:pt x="449" y="354"/>
                    <a:pt x="449" y="354"/>
                  </a:cubicBezTo>
                  <a:cubicBezTo>
                    <a:pt x="450" y="355"/>
                    <a:pt x="450" y="354"/>
                    <a:pt x="451" y="354"/>
                  </a:cubicBezTo>
                  <a:cubicBezTo>
                    <a:pt x="451" y="354"/>
                    <a:pt x="452" y="353"/>
                    <a:pt x="452" y="352"/>
                  </a:cubicBezTo>
                  <a:cubicBezTo>
                    <a:pt x="452" y="352"/>
                    <a:pt x="452" y="352"/>
                    <a:pt x="453" y="352"/>
                  </a:cubicBezTo>
                  <a:cubicBezTo>
                    <a:pt x="453" y="351"/>
                    <a:pt x="453" y="351"/>
                    <a:pt x="454" y="351"/>
                  </a:cubicBezTo>
                  <a:cubicBezTo>
                    <a:pt x="454" y="350"/>
                    <a:pt x="454" y="350"/>
                    <a:pt x="454" y="349"/>
                  </a:cubicBezTo>
                  <a:cubicBezTo>
                    <a:pt x="454" y="349"/>
                    <a:pt x="453" y="349"/>
                    <a:pt x="453" y="349"/>
                  </a:cubicBezTo>
                  <a:cubicBezTo>
                    <a:pt x="453" y="349"/>
                    <a:pt x="453" y="348"/>
                    <a:pt x="453" y="348"/>
                  </a:cubicBezTo>
                  <a:cubicBezTo>
                    <a:pt x="453" y="348"/>
                    <a:pt x="453" y="347"/>
                    <a:pt x="454" y="347"/>
                  </a:cubicBezTo>
                  <a:cubicBezTo>
                    <a:pt x="455" y="346"/>
                    <a:pt x="456" y="344"/>
                    <a:pt x="457" y="342"/>
                  </a:cubicBezTo>
                  <a:cubicBezTo>
                    <a:pt x="458" y="342"/>
                    <a:pt x="458" y="341"/>
                    <a:pt x="459" y="341"/>
                  </a:cubicBezTo>
                  <a:cubicBezTo>
                    <a:pt x="459" y="341"/>
                    <a:pt x="460" y="342"/>
                    <a:pt x="461" y="342"/>
                  </a:cubicBezTo>
                  <a:cubicBezTo>
                    <a:pt x="461" y="341"/>
                    <a:pt x="461" y="341"/>
                    <a:pt x="461" y="340"/>
                  </a:cubicBezTo>
                  <a:cubicBezTo>
                    <a:pt x="461" y="339"/>
                    <a:pt x="460" y="339"/>
                    <a:pt x="460" y="338"/>
                  </a:cubicBezTo>
                  <a:cubicBezTo>
                    <a:pt x="460" y="337"/>
                    <a:pt x="461" y="336"/>
                    <a:pt x="462" y="335"/>
                  </a:cubicBezTo>
                  <a:cubicBezTo>
                    <a:pt x="464" y="334"/>
                    <a:pt x="465" y="334"/>
                    <a:pt x="466" y="333"/>
                  </a:cubicBezTo>
                  <a:cubicBezTo>
                    <a:pt x="467" y="333"/>
                    <a:pt x="468" y="331"/>
                    <a:pt x="469" y="330"/>
                  </a:cubicBezTo>
                  <a:cubicBezTo>
                    <a:pt x="471" y="329"/>
                    <a:pt x="473" y="328"/>
                    <a:pt x="474" y="326"/>
                  </a:cubicBezTo>
                  <a:cubicBezTo>
                    <a:pt x="475" y="325"/>
                    <a:pt x="475" y="324"/>
                    <a:pt x="475" y="322"/>
                  </a:cubicBezTo>
                  <a:cubicBezTo>
                    <a:pt x="475" y="321"/>
                    <a:pt x="475" y="321"/>
                    <a:pt x="476" y="320"/>
                  </a:cubicBezTo>
                  <a:cubicBezTo>
                    <a:pt x="476" y="321"/>
                    <a:pt x="477" y="322"/>
                    <a:pt x="476" y="322"/>
                  </a:cubicBezTo>
                  <a:cubicBezTo>
                    <a:pt x="476" y="323"/>
                    <a:pt x="476" y="324"/>
                    <a:pt x="476" y="325"/>
                  </a:cubicBezTo>
                  <a:cubicBezTo>
                    <a:pt x="476" y="326"/>
                    <a:pt x="476" y="326"/>
                    <a:pt x="476" y="326"/>
                  </a:cubicBezTo>
                  <a:cubicBezTo>
                    <a:pt x="477" y="327"/>
                    <a:pt x="477" y="327"/>
                    <a:pt x="478" y="327"/>
                  </a:cubicBezTo>
                  <a:cubicBezTo>
                    <a:pt x="479" y="327"/>
                    <a:pt x="479" y="327"/>
                    <a:pt x="480" y="327"/>
                  </a:cubicBezTo>
                  <a:cubicBezTo>
                    <a:pt x="481" y="327"/>
                    <a:pt x="482" y="328"/>
                    <a:pt x="483" y="328"/>
                  </a:cubicBezTo>
                  <a:cubicBezTo>
                    <a:pt x="484" y="327"/>
                    <a:pt x="484" y="326"/>
                    <a:pt x="484" y="326"/>
                  </a:cubicBezTo>
                  <a:cubicBezTo>
                    <a:pt x="484" y="324"/>
                    <a:pt x="485" y="323"/>
                    <a:pt x="486" y="322"/>
                  </a:cubicBezTo>
                  <a:cubicBezTo>
                    <a:pt x="487" y="321"/>
                    <a:pt x="488" y="321"/>
                    <a:pt x="489" y="321"/>
                  </a:cubicBezTo>
                  <a:cubicBezTo>
                    <a:pt x="490" y="321"/>
                    <a:pt x="491" y="321"/>
                    <a:pt x="492" y="320"/>
                  </a:cubicBezTo>
                  <a:cubicBezTo>
                    <a:pt x="493" y="320"/>
                    <a:pt x="494" y="320"/>
                    <a:pt x="494" y="320"/>
                  </a:cubicBezTo>
                  <a:cubicBezTo>
                    <a:pt x="492" y="322"/>
                    <a:pt x="488" y="323"/>
                    <a:pt x="486" y="325"/>
                  </a:cubicBezTo>
                  <a:cubicBezTo>
                    <a:pt x="485" y="326"/>
                    <a:pt x="485" y="327"/>
                    <a:pt x="484" y="328"/>
                  </a:cubicBezTo>
                  <a:cubicBezTo>
                    <a:pt x="483" y="329"/>
                    <a:pt x="483" y="329"/>
                    <a:pt x="482" y="330"/>
                  </a:cubicBezTo>
                  <a:cubicBezTo>
                    <a:pt x="483" y="330"/>
                    <a:pt x="484" y="331"/>
                    <a:pt x="485" y="332"/>
                  </a:cubicBezTo>
                  <a:cubicBezTo>
                    <a:pt x="485" y="332"/>
                    <a:pt x="485" y="333"/>
                    <a:pt x="486" y="333"/>
                  </a:cubicBezTo>
                  <a:cubicBezTo>
                    <a:pt x="487" y="333"/>
                    <a:pt x="487" y="333"/>
                    <a:pt x="488" y="334"/>
                  </a:cubicBezTo>
                  <a:cubicBezTo>
                    <a:pt x="489" y="334"/>
                    <a:pt x="491" y="335"/>
                    <a:pt x="492" y="336"/>
                  </a:cubicBezTo>
                  <a:cubicBezTo>
                    <a:pt x="493" y="335"/>
                    <a:pt x="495" y="336"/>
                    <a:pt x="496" y="338"/>
                  </a:cubicBezTo>
                  <a:cubicBezTo>
                    <a:pt x="492" y="337"/>
                    <a:pt x="489" y="335"/>
                    <a:pt x="486" y="335"/>
                  </a:cubicBezTo>
                  <a:cubicBezTo>
                    <a:pt x="485" y="335"/>
                    <a:pt x="483" y="336"/>
                    <a:pt x="482" y="336"/>
                  </a:cubicBezTo>
                  <a:cubicBezTo>
                    <a:pt x="481" y="336"/>
                    <a:pt x="480" y="336"/>
                    <a:pt x="479" y="335"/>
                  </a:cubicBezTo>
                  <a:cubicBezTo>
                    <a:pt x="479" y="334"/>
                    <a:pt x="479" y="334"/>
                    <a:pt x="478" y="333"/>
                  </a:cubicBezTo>
                  <a:cubicBezTo>
                    <a:pt x="478" y="333"/>
                    <a:pt x="477" y="333"/>
                    <a:pt x="477" y="334"/>
                  </a:cubicBezTo>
                  <a:cubicBezTo>
                    <a:pt x="475" y="335"/>
                    <a:pt x="474" y="336"/>
                    <a:pt x="473" y="337"/>
                  </a:cubicBezTo>
                  <a:cubicBezTo>
                    <a:pt x="472" y="337"/>
                    <a:pt x="471" y="338"/>
                    <a:pt x="470" y="339"/>
                  </a:cubicBezTo>
                  <a:cubicBezTo>
                    <a:pt x="469" y="340"/>
                    <a:pt x="467" y="340"/>
                    <a:pt x="466" y="342"/>
                  </a:cubicBezTo>
                  <a:cubicBezTo>
                    <a:pt x="465" y="342"/>
                    <a:pt x="465" y="343"/>
                    <a:pt x="465" y="343"/>
                  </a:cubicBezTo>
                  <a:cubicBezTo>
                    <a:pt x="465" y="343"/>
                    <a:pt x="465" y="344"/>
                    <a:pt x="465" y="344"/>
                  </a:cubicBezTo>
                  <a:cubicBezTo>
                    <a:pt x="466" y="345"/>
                    <a:pt x="466" y="346"/>
                    <a:pt x="467" y="347"/>
                  </a:cubicBezTo>
                  <a:cubicBezTo>
                    <a:pt x="467" y="348"/>
                    <a:pt x="467" y="349"/>
                    <a:pt x="466" y="350"/>
                  </a:cubicBezTo>
                  <a:cubicBezTo>
                    <a:pt x="466" y="350"/>
                    <a:pt x="466" y="350"/>
                    <a:pt x="466" y="351"/>
                  </a:cubicBezTo>
                  <a:cubicBezTo>
                    <a:pt x="465" y="351"/>
                    <a:pt x="465" y="352"/>
                    <a:pt x="465" y="353"/>
                  </a:cubicBezTo>
                  <a:cubicBezTo>
                    <a:pt x="465" y="354"/>
                    <a:pt x="464" y="355"/>
                    <a:pt x="463" y="356"/>
                  </a:cubicBezTo>
                  <a:cubicBezTo>
                    <a:pt x="462" y="358"/>
                    <a:pt x="461" y="359"/>
                    <a:pt x="461" y="361"/>
                  </a:cubicBezTo>
                  <a:cubicBezTo>
                    <a:pt x="461" y="362"/>
                    <a:pt x="460" y="363"/>
                    <a:pt x="460" y="364"/>
                  </a:cubicBezTo>
                  <a:cubicBezTo>
                    <a:pt x="460" y="364"/>
                    <a:pt x="459" y="365"/>
                    <a:pt x="459" y="366"/>
                  </a:cubicBezTo>
                  <a:cubicBezTo>
                    <a:pt x="459" y="366"/>
                    <a:pt x="460" y="367"/>
                    <a:pt x="460" y="368"/>
                  </a:cubicBezTo>
                  <a:cubicBezTo>
                    <a:pt x="461" y="368"/>
                    <a:pt x="462" y="369"/>
                    <a:pt x="462" y="369"/>
                  </a:cubicBezTo>
                  <a:cubicBezTo>
                    <a:pt x="463" y="369"/>
                    <a:pt x="463" y="369"/>
                    <a:pt x="463" y="369"/>
                  </a:cubicBezTo>
                  <a:cubicBezTo>
                    <a:pt x="464" y="369"/>
                    <a:pt x="465" y="369"/>
                    <a:pt x="465" y="369"/>
                  </a:cubicBezTo>
                  <a:cubicBezTo>
                    <a:pt x="466" y="368"/>
                    <a:pt x="467" y="368"/>
                    <a:pt x="468" y="367"/>
                  </a:cubicBezTo>
                  <a:cubicBezTo>
                    <a:pt x="468" y="366"/>
                    <a:pt x="469" y="366"/>
                    <a:pt x="469" y="366"/>
                  </a:cubicBezTo>
                  <a:cubicBezTo>
                    <a:pt x="469" y="366"/>
                    <a:pt x="470" y="366"/>
                    <a:pt x="470" y="366"/>
                  </a:cubicBezTo>
                  <a:cubicBezTo>
                    <a:pt x="469" y="367"/>
                    <a:pt x="469" y="368"/>
                    <a:pt x="468" y="369"/>
                  </a:cubicBezTo>
                  <a:cubicBezTo>
                    <a:pt x="468" y="369"/>
                    <a:pt x="468" y="369"/>
                    <a:pt x="468" y="369"/>
                  </a:cubicBezTo>
                  <a:cubicBezTo>
                    <a:pt x="467" y="369"/>
                    <a:pt x="467" y="369"/>
                    <a:pt x="468" y="370"/>
                  </a:cubicBezTo>
                  <a:cubicBezTo>
                    <a:pt x="468" y="370"/>
                    <a:pt x="468" y="370"/>
                    <a:pt x="468" y="370"/>
                  </a:cubicBezTo>
                  <a:cubicBezTo>
                    <a:pt x="468" y="370"/>
                    <a:pt x="468" y="370"/>
                    <a:pt x="469" y="371"/>
                  </a:cubicBezTo>
                  <a:cubicBezTo>
                    <a:pt x="468" y="371"/>
                    <a:pt x="467" y="371"/>
                    <a:pt x="467" y="371"/>
                  </a:cubicBezTo>
                  <a:cubicBezTo>
                    <a:pt x="467" y="371"/>
                    <a:pt x="466" y="371"/>
                    <a:pt x="466" y="371"/>
                  </a:cubicBezTo>
                  <a:cubicBezTo>
                    <a:pt x="466" y="372"/>
                    <a:pt x="465" y="371"/>
                    <a:pt x="465" y="372"/>
                  </a:cubicBezTo>
                  <a:cubicBezTo>
                    <a:pt x="465" y="372"/>
                    <a:pt x="464" y="372"/>
                    <a:pt x="464" y="372"/>
                  </a:cubicBezTo>
                  <a:cubicBezTo>
                    <a:pt x="464" y="373"/>
                    <a:pt x="465" y="373"/>
                    <a:pt x="465" y="373"/>
                  </a:cubicBezTo>
                  <a:cubicBezTo>
                    <a:pt x="465" y="374"/>
                    <a:pt x="465" y="374"/>
                    <a:pt x="464" y="374"/>
                  </a:cubicBezTo>
                  <a:cubicBezTo>
                    <a:pt x="464" y="374"/>
                    <a:pt x="463" y="374"/>
                    <a:pt x="462" y="374"/>
                  </a:cubicBezTo>
                  <a:cubicBezTo>
                    <a:pt x="462" y="374"/>
                    <a:pt x="461" y="374"/>
                    <a:pt x="461" y="374"/>
                  </a:cubicBezTo>
                  <a:cubicBezTo>
                    <a:pt x="461" y="375"/>
                    <a:pt x="460" y="374"/>
                    <a:pt x="460" y="374"/>
                  </a:cubicBezTo>
                  <a:cubicBezTo>
                    <a:pt x="460" y="374"/>
                    <a:pt x="459" y="375"/>
                    <a:pt x="459" y="375"/>
                  </a:cubicBezTo>
                  <a:cubicBezTo>
                    <a:pt x="459" y="375"/>
                    <a:pt x="459" y="375"/>
                    <a:pt x="459" y="375"/>
                  </a:cubicBezTo>
                  <a:cubicBezTo>
                    <a:pt x="459" y="375"/>
                    <a:pt x="459" y="376"/>
                    <a:pt x="459" y="376"/>
                  </a:cubicBezTo>
                  <a:cubicBezTo>
                    <a:pt x="459" y="376"/>
                    <a:pt x="459" y="376"/>
                    <a:pt x="459" y="376"/>
                  </a:cubicBezTo>
                  <a:cubicBezTo>
                    <a:pt x="459" y="376"/>
                    <a:pt x="459" y="376"/>
                    <a:pt x="459" y="376"/>
                  </a:cubicBezTo>
                  <a:cubicBezTo>
                    <a:pt x="459" y="377"/>
                    <a:pt x="459" y="377"/>
                    <a:pt x="458" y="377"/>
                  </a:cubicBezTo>
                  <a:cubicBezTo>
                    <a:pt x="458" y="377"/>
                    <a:pt x="458" y="377"/>
                    <a:pt x="457" y="377"/>
                  </a:cubicBezTo>
                  <a:cubicBezTo>
                    <a:pt x="457" y="377"/>
                    <a:pt x="457" y="378"/>
                    <a:pt x="457" y="378"/>
                  </a:cubicBezTo>
                  <a:cubicBezTo>
                    <a:pt x="458" y="379"/>
                    <a:pt x="458" y="379"/>
                    <a:pt x="458" y="379"/>
                  </a:cubicBezTo>
                  <a:cubicBezTo>
                    <a:pt x="458" y="380"/>
                    <a:pt x="458" y="380"/>
                    <a:pt x="458" y="380"/>
                  </a:cubicBezTo>
                  <a:cubicBezTo>
                    <a:pt x="458" y="380"/>
                    <a:pt x="459" y="381"/>
                    <a:pt x="460" y="380"/>
                  </a:cubicBezTo>
                  <a:cubicBezTo>
                    <a:pt x="460" y="380"/>
                    <a:pt x="460" y="380"/>
                    <a:pt x="460" y="380"/>
                  </a:cubicBezTo>
                  <a:cubicBezTo>
                    <a:pt x="460" y="381"/>
                    <a:pt x="460" y="381"/>
                    <a:pt x="460" y="381"/>
                  </a:cubicBezTo>
                  <a:cubicBezTo>
                    <a:pt x="460" y="381"/>
                    <a:pt x="461" y="381"/>
                    <a:pt x="461" y="381"/>
                  </a:cubicBezTo>
                  <a:cubicBezTo>
                    <a:pt x="462" y="381"/>
                    <a:pt x="462" y="381"/>
                    <a:pt x="462" y="381"/>
                  </a:cubicBezTo>
                  <a:cubicBezTo>
                    <a:pt x="463" y="381"/>
                    <a:pt x="463" y="380"/>
                    <a:pt x="463" y="380"/>
                  </a:cubicBezTo>
                  <a:cubicBezTo>
                    <a:pt x="463" y="380"/>
                    <a:pt x="463" y="380"/>
                    <a:pt x="463" y="380"/>
                  </a:cubicBezTo>
                  <a:cubicBezTo>
                    <a:pt x="464" y="380"/>
                    <a:pt x="464" y="380"/>
                    <a:pt x="465" y="380"/>
                  </a:cubicBezTo>
                  <a:cubicBezTo>
                    <a:pt x="465" y="379"/>
                    <a:pt x="466" y="380"/>
                    <a:pt x="466" y="380"/>
                  </a:cubicBezTo>
                  <a:cubicBezTo>
                    <a:pt x="466" y="380"/>
                    <a:pt x="467" y="381"/>
                    <a:pt x="467" y="381"/>
                  </a:cubicBezTo>
                  <a:cubicBezTo>
                    <a:pt x="467" y="381"/>
                    <a:pt x="468" y="381"/>
                    <a:pt x="468" y="381"/>
                  </a:cubicBezTo>
                  <a:cubicBezTo>
                    <a:pt x="469" y="380"/>
                    <a:pt x="469" y="380"/>
                    <a:pt x="469" y="379"/>
                  </a:cubicBezTo>
                  <a:cubicBezTo>
                    <a:pt x="469" y="379"/>
                    <a:pt x="469" y="379"/>
                    <a:pt x="469" y="379"/>
                  </a:cubicBezTo>
                  <a:cubicBezTo>
                    <a:pt x="469" y="379"/>
                    <a:pt x="469" y="379"/>
                    <a:pt x="469" y="379"/>
                  </a:cubicBezTo>
                  <a:cubicBezTo>
                    <a:pt x="468" y="379"/>
                    <a:pt x="468" y="378"/>
                    <a:pt x="467" y="378"/>
                  </a:cubicBezTo>
                  <a:cubicBezTo>
                    <a:pt x="467" y="378"/>
                    <a:pt x="467" y="378"/>
                    <a:pt x="466" y="378"/>
                  </a:cubicBezTo>
                  <a:cubicBezTo>
                    <a:pt x="466" y="378"/>
                    <a:pt x="466" y="378"/>
                    <a:pt x="466" y="378"/>
                  </a:cubicBezTo>
                  <a:cubicBezTo>
                    <a:pt x="468" y="378"/>
                    <a:pt x="469" y="378"/>
                    <a:pt x="470" y="379"/>
                  </a:cubicBezTo>
                  <a:cubicBezTo>
                    <a:pt x="470" y="379"/>
                    <a:pt x="470" y="379"/>
                    <a:pt x="470" y="379"/>
                  </a:cubicBezTo>
                  <a:cubicBezTo>
                    <a:pt x="470" y="379"/>
                    <a:pt x="470" y="380"/>
                    <a:pt x="470" y="380"/>
                  </a:cubicBezTo>
                  <a:cubicBezTo>
                    <a:pt x="470" y="380"/>
                    <a:pt x="470" y="380"/>
                    <a:pt x="470" y="380"/>
                  </a:cubicBezTo>
                  <a:cubicBezTo>
                    <a:pt x="471" y="380"/>
                    <a:pt x="471" y="380"/>
                    <a:pt x="471" y="380"/>
                  </a:cubicBezTo>
                  <a:cubicBezTo>
                    <a:pt x="471" y="379"/>
                    <a:pt x="472" y="379"/>
                    <a:pt x="471" y="379"/>
                  </a:cubicBezTo>
                  <a:cubicBezTo>
                    <a:pt x="471" y="378"/>
                    <a:pt x="471" y="378"/>
                    <a:pt x="471" y="378"/>
                  </a:cubicBezTo>
                  <a:cubicBezTo>
                    <a:pt x="471" y="378"/>
                    <a:pt x="471" y="378"/>
                    <a:pt x="471" y="377"/>
                  </a:cubicBezTo>
                  <a:cubicBezTo>
                    <a:pt x="472" y="377"/>
                    <a:pt x="472" y="377"/>
                    <a:pt x="472" y="377"/>
                  </a:cubicBezTo>
                  <a:cubicBezTo>
                    <a:pt x="473" y="377"/>
                    <a:pt x="473" y="376"/>
                    <a:pt x="473" y="376"/>
                  </a:cubicBezTo>
                  <a:cubicBezTo>
                    <a:pt x="473" y="375"/>
                    <a:pt x="473" y="375"/>
                    <a:pt x="474" y="375"/>
                  </a:cubicBezTo>
                  <a:cubicBezTo>
                    <a:pt x="474" y="375"/>
                    <a:pt x="474" y="375"/>
                    <a:pt x="475" y="374"/>
                  </a:cubicBezTo>
                  <a:cubicBezTo>
                    <a:pt x="475" y="374"/>
                    <a:pt x="475" y="374"/>
                    <a:pt x="475" y="373"/>
                  </a:cubicBezTo>
                  <a:cubicBezTo>
                    <a:pt x="475" y="373"/>
                    <a:pt x="475" y="372"/>
                    <a:pt x="475" y="372"/>
                  </a:cubicBezTo>
                  <a:cubicBezTo>
                    <a:pt x="476" y="371"/>
                    <a:pt x="476" y="371"/>
                    <a:pt x="477" y="371"/>
                  </a:cubicBezTo>
                  <a:cubicBezTo>
                    <a:pt x="477" y="372"/>
                    <a:pt x="476" y="372"/>
                    <a:pt x="476" y="372"/>
                  </a:cubicBezTo>
                  <a:cubicBezTo>
                    <a:pt x="476" y="373"/>
                    <a:pt x="477" y="373"/>
                    <a:pt x="477" y="373"/>
                  </a:cubicBezTo>
                  <a:cubicBezTo>
                    <a:pt x="477" y="373"/>
                    <a:pt x="477" y="372"/>
                    <a:pt x="477" y="372"/>
                  </a:cubicBezTo>
                  <a:cubicBezTo>
                    <a:pt x="477" y="372"/>
                    <a:pt x="478" y="371"/>
                    <a:pt x="478" y="371"/>
                  </a:cubicBezTo>
                  <a:cubicBezTo>
                    <a:pt x="479" y="370"/>
                    <a:pt x="479" y="369"/>
                    <a:pt x="479" y="369"/>
                  </a:cubicBezTo>
                  <a:cubicBezTo>
                    <a:pt x="479" y="368"/>
                    <a:pt x="480" y="368"/>
                    <a:pt x="480" y="368"/>
                  </a:cubicBezTo>
                  <a:cubicBezTo>
                    <a:pt x="480" y="370"/>
                    <a:pt x="479" y="371"/>
                    <a:pt x="478" y="373"/>
                  </a:cubicBezTo>
                  <a:cubicBezTo>
                    <a:pt x="478" y="373"/>
                    <a:pt x="478" y="374"/>
                    <a:pt x="478" y="374"/>
                  </a:cubicBezTo>
                  <a:cubicBezTo>
                    <a:pt x="478" y="375"/>
                    <a:pt x="479" y="375"/>
                    <a:pt x="479" y="375"/>
                  </a:cubicBezTo>
                  <a:cubicBezTo>
                    <a:pt x="479" y="375"/>
                    <a:pt x="479" y="374"/>
                    <a:pt x="479" y="373"/>
                  </a:cubicBezTo>
                  <a:cubicBezTo>
                    <a:pt x="479" y="373"/>
                    <a:pt x="479" y="373"/>
                    <a:pt x="480" y="373"/>
                  </a:cubicBezTo>
                  <a:cubicBezTo>
                    <a:pt x="480" y="372"/>
                    <a:pt x="480" y="372"/>
                    <a:pt x="481" y="372"/>
                  </a:cubicBezTo>
                  <a:cubicBezTo>
                    <a:pt x="481" y="372"/>
                    <a:pt x="481" y="372"/>
                    <a:pt x="481" y="371"/>
                  </a:cubicBezTo>
                  <a:cubicBezTo>
                    <a:pt x="481" y="371"/>
                    <a:pt x="481" y="371"/>
                    <a:pt x="481" y="371"/>
                  </a:cubicBezTo>
                  <a:cubicBezTo>
                    <a:pt x="481" y="370"/>
                    <a:pt x="482" y="370"/>
                    <a:pt x="482" y="370"/>
                  </a:cubicBezTo>
                  <a:cubicBezTo>
                    <a:pt x="482" y="369"/>
                    <a:pt x="483" y="369"/>
                    <a:pt x="483" y="369"/>
                  </a:cubicBezTo>
                  <a:cubicBezTo>
                    <a:pt x="483" y="369"/>
                    <a:pt x="484" y="369"/>
                    <a:pt x="484" y="369"/>
                  </a:cubicBezTo>
                  <a:cubicBezTo>
                    <a:pt x="484" y="368"/>
                    <a:pt x="484" y="368"/>
                    <a:pt x="483" y="368"/>
                  </a:cubicBezTo>
                  <a:cubicBezTo>
                    <a:pt x="484" y="368"/>
                    <a:pt x="484" y="367"/>
                    <a:pt x="483" y="367"/>
                  </a:cubicBezTo>
                  <a:cubicBezTo>
                    <a:pt x="483" y="367"/>
                    <a:pt x="483" y="367"/>
                    <a:pt x="483" y="366"/>
                  </a:cubicBezTo>
                  <a:cubicBezTo>
                    <a:pt x="482" y="366"/>
                    <a:pt x="483" y="365"/>
                    <a:pt x="483" y="365"/>
                  </a:cubicBezTo>
                  <a:cubicBezTo>
                    <a:pt x="484" y="365"/>
                    <a:pt x="484" y="366"/>
                    <a:pt x="484" y="366"/>
                  </a:cubicBezTo>
                  <a:cubicBezTo>
                    <a:pt x="484" y="367"/>
                    <a:pt x="485" y="367"/>
                    <a:pt x="485" y="367"/>
                  </a:cubicBezTo>
                  <a:cubicBezTo>
                    <a:pt x="485" y="367"/>
                    <a:pt x="485" y="367"/>
                    <a:pt x="485" y="367"/>
                  </a:cubicBezTo>
                  <a:cubicBezTo>
                    <a:pt x="485" y="368"/>
                    <a:pt x="486" y="368"/>
                    <a:pt x="486" y="367"/>
                  </a:cubicBezTo>
                  <a:cubicBezTo>
                    <a:pt x="487" y="367"/>
                    <a:pt x="486" y="366"/>
                    <a:pt x="486" y="366"/>
                  </a:cubicBezTo>
                  <a:cubicBezTo>
                    <a:pt x="486" y="366"/>
                    <a:pt x="486" y="365"/>
                    <a:pt x="486" y="365"/>
                  </a:cubicBezTo>
                  <a:cubicBezTo>
                    <a:pt x="486" y="365"/>
                    <a:pt x="486" y="365"/>
                    <a:pt x="486" y="365"/>
                  </a:cubicBezTo>
                  <a:cubicBezTo>
                    <a:pt x="486" y="364"/>
                    <a:pt x="486" y="364"/>
                    <a:pt x="486" y="363"/>
                  </a:cubicBezTo>
                  <a:cubicBezTo>
                    <a:pt x="486" y="363"/>
                    <a:pt x="486" y="362"/>
                    <a:pt x="486" y="362"/>
                  </a:cubicBezTo>
                  <a:cubicBezTo>
                    <a:pt x="487" y="361"/>
                    <a:pt x="487" y="362"/>
                    <a:pt x="487" y="362"/>
                  </a:cubicBezTo>
                  <a:cubicBezTo>
                    <a:pt x="487" y="363"/>
                    <a:pt x="487" y="363"/>
                    <a:pt x="487" y="364"/>
                  </a:cubicBezTo>
                  <a:cubicBezTo>
                    <a:pt x="487" y="364"/>
                    <a:pt x="487" y="365"/>
                    <a:pt x="487" y="365"/>
                  </a:cubicBezTo>
                  <a:cubicBezTo>
                    <a:pt x="488" y="366"/>
                    <a:pt x="488" y="366"/>
                    <a:pt x="489" y="366"/>
                  </a:cubicBezTo>
                  <a:cubicBezTo>
                    <a:pt x="489" y="365"/>
                    <a:pt x="488" y="365"/>
                    <a:pt x="488" y="364"/>
                  </a:cubicBezTo>
                  <a:cubicBezTo>
                    <a:pt x="488" y="364"/>
                    <a:pt x="488" y="363"/>
                    <a:pt x="488" y="363"/>
                  </a:cubicBezTo>
                  <a:cubicBezTo>
                    <a:pt x="488" y="363"/>
                    <a:pt x="488" y="363"/>
                    <a:pt x="488" y="362"/>
                  </a:cubicBezTo>
                  <a:cubicBezTo>
                    <a:pt x="488" y="362"/>
                    <a:pt x="489" y="362"/>
                    <a:pt x="489" y="362"/>
                  </a:cubicBezTo>
                  <a:cubicBezTo>
                    <a:pt x="489" y="362"/>
                    <a:pt x="489" y="362"/>
                    <a:pt x="489" y="362"/>
                  </a:cubicBezTo>
                  <a:cubicBezTo>
                    <a:pt x="490" y="362"/>
                    <a:pt x="490" y="362"/>
                    <a:pt x="490" y="361"/>
                  </a:cubicBezTo>
                  <a:cubicBezTo>
                    <a:pt x="490" y="361"/>
                    <a:pt x="490" y="361"/>
                    <a:pt x="490" y="360"/>
                  </a:cubicBezTo>
                  <a:cubicBezTo>
                    <a:pt x="490" y="360"/>
                    <a:pt x="490" y="359"/>
                    <a:pt x="490" y="359"/>
                  </a:cubicBezTo>
                  <a:cubicBezTo>
                    <a:pt x="490" y="358"/>
                    <a:pt x="490" y="358"/>
                    <a:pt x="490" y="358"/>
                  </a:cubicBezTo>
                  <a:cubicBezTo>
                    <a:pt x="490" y="358"/>
                    <a:pt x="491" y="358"/>
                    <a:pt x="491" y="358"/>
                  </a:cubicBezTo>
                  <a:cubicBezTo>
                    <a:pt x="491" y="358"/>
                    <a:pt x="491" y="358"/>
                    <a:pt x="491" y="358"/>
                  </a:cubicBezTo>
                  <a:cubicBezTo>
                    <a:pt x="491" y="359"/>
                    <a:pt x="491" y="360"/>
                    <a:pt x="491" y="361"/>
                  </a:cubicBezTo>
                  <a:cubicBezTo>
                    <a:pt x="491" y="361"/>
                    <a:pt x="491" y="362"/>
                    <a:pt x="492" y="362"/>
                  </a:cubicBezTo>
                  <a:cubicBezTo>
                    <a:pt x="492" y="363"/>
                    <a:pt x="492" y="363"/>
                    <a:pt x="493" y="363"/>
                  </a:cubicBezTo>
                  <a:cubicBezTo>
                    <a:pt x="493" y="362"/>
                    <a:pt x="493" y="361"/>
                    <a:pt x="493" y="360"/>
                  </a:cubicBezTo>
                  <a:cubicBezTo>
                    <a:pt x="493" y="360"/>
                    <a:pt x="493" y="360"/>
                    <a:pt x="493" y="359"/>
                  </a:cubicBezTo>
                  <a:cubicBezTo>
                    <a:pt x="494" y="359"/>
                    <a:pt x="494" y="359"/>
                    <a:pt x="494" y="359"/>
                  </a:cubicBezTo>
                  <a:cubicBezTo>
                    <a:pt x="494" y="360"/>
                    <a:pt x="494" y="360"/>
                    <a:pt x="494" y="361"/>
                  </a:cubicBezTo>
                  <a:cubicBezTo>
                    <a:pt x="494" y="362"/>
                    <a:pt x="496" y="362"/>
                    <a:pt x="497" y="361"/>
                  </a:cubicBezTo>
                  <a:cubicBezTo>
                    <a:pt x="497" y="362"/>
                    <a:pt x="497" y="362"/>
                    <a:pt x="497" y="362"/>
                  </a:cubicBezTo>
                  <a:cubicBezTo>
                    <a:pt x="498" y="362"/>
                    <a:pt x="498" y="362"/>
                    <a:pt x="499" y="362"/>
                  </a:cubicBezTo>
                  <a:cubicBezTo>
                    <a:pt x="499" y="362"/>
                    <a:pt x="499" y="361"/>
                    <a:pt x="499" y="361"/>
                  </a:cubicBezTo>
                  <a:cubicBezTo>
                    <a:pt x="500" y="361"/>
                    <a:pt x="500" y="362"/>
                    <a:pt x="500" y="362"/>
                  </a:cubicBezTo>
                  <a:cubicBezTo>
                    <a:pt x="500" y="363"/>
                    <a:pt x="501" y="362"/>
                    <a:pt x="501" y="362"/>
                  </a:cubicBezTo>
                  <a:cubicBezTo>
                    <a:pt x="501" y="361"/>
                    <a:pt x="501" y="361"/>
                    <a:pt x="501" y="360"/>
                  </a:cubicBezTo>
                  <a:cubicBezTo>
                    <a:pt x="501" y="360"/>
                    <a:pt x="501" y="359"/>
                    <a:pt x="502" y="359"/>
                  </a:cubicBezTo>
                  <a:cubicBezTo>
                    <a:pt x="502" y="360"/>
                    <a:pt x="502" y="360"/>
                    <a:pt x="502" y="361"/>
                  </a:cubicBezTo>
                  <a:cubicBezTo>
                    <a:pt x="502" y="361"/>
                    <a:pt x="502" y="361"/>
                    <a:pt x="502" y="361"/>
                  </a:cubicBezTo>
                  <a:cubicBezTo>
                    <a:pt x="503" y="362"/>
                    <a:pt x="504" y="362"/>
                    <a:pt x="504" y="361"/>
                  </a:cubicBezTo>
                  <a:cubicBezTo>
                    <a:pt x="504" y="360"/>
                    <a:pt x="504" y="360"/>
                    <a:pt x="504" y="359"/>
                  </a:cubicBezTo>
                  <a:cubicBezTo>
                    <a:pt x="503" y="359"/>
                    <a:pt x="503" y="358"/>
                    <a:pt x="503" y="357"/>
                  </a:cubicBezTo>
                  <a:cubicBezTo>
                    <a:pt x="504" y="357"/>
                    <a:pt x="504" y="356"/>
                    <a:pt x="504" y="356"/>
                  </a:cubicBezTo>
                  <a:cubicBezTo>
                    <a:pt x="505" y="357"/>
                    <a:pt x="505" y="357"/>
                    <a:pt x="505" y="358"/>
                  </a:cubicBezTo>
                  <a:cubicBezTo>
                    <a:pt x="505" y="358"/>
                    <a:pt x="506" y="358"/>
                    <a:pt x="506" y="358"/>
                  </a:cubicBezTo>
                  <a:cubicBezTo>
                    <a:pt x="506" y="358"/>
                    <a:pt x="505" y="359"/>
                    <a:pt x="505" y="359"/>
                  </a:cubicBezTo>
                  <a:cubicBezTo>
                    <a:pt x="506" y="359"/>
                    <a:pt x="507" y="359"/>
                    <a:pt x="507" y="360"/>
                  </a:cubicBezTo>
                  <a:cubicBezTo>
                    <a:pt x="507" y="360"/>
                    <a:pt x="507" y="360"/>
                    <a:pt x="507" y="360"/>
                  </a:cubicBezTo>
                  <a:cubicBezTo>
                    <a:pt x="507" y="360"/>
                    <a:pt x="508" y="359"/>
                    <a:pt x="508" y="359"/>
                  </a:cubicBezTo>
                  <a:cubicBezTo>
                    <a:pt x="508" y="359"/>
                    <a:pt x="508" y="358"/>
                    <a:pt x="508" y="358"/>
                  </a:cubicBezTo>
                  <a:cubicBezTo>
                    <a:pt x="509" y="358"/>
                    <a:pt x="509" y="358"/>
                    <a:pt x="510" y="358"/>
                  </a:cubicBezTo>
                  <a:cubicBezTo>
                    <a:pt x="510" y="357"/>
                    <a:pt x="510" y="357"/>
                    <a:pt x="509" y="357"/>
                  </a:cubicBezTo>
                  <a:cubicBezTo>
                    <a:pt x="509" y="357"/>
                    <a:pt x="509" y="357"/>
                    <a:pt x="509" y="357"/>
                  </a:cubicBezTo>
                  <a:cubicBezTo>
                    <a:pt x="509" y="357"/>
                    <a:pt x="508" y="357"/>
                    <a:pt x="508" y="357"/>
                  </a:cubicBezTo>
                  <a:cubicBezTo>
                    <a:pt x="508" y="357"/>
                    <a:pt x="508" y="358"/>
                    <a:pt x="507" y="358"/>
                  </a:cubicBezTo>
                  <a:cubicBezTo>
                    <a:pt x="507" y="358"/>
                    <a:pt x="507" y="357"/>
                    <a:pt x="507" y="357"/>
                  </a:cubicBezTo>
                  <a:cubicBezTo>
                    <a:pt x="507" y="357"/>
                    <a:pt x="507" y="356"/>
                    <a:pt x="507" y="356"/>
                  </a:cubicBezTo>
                  <a:cubicBezTo>
                    <a:pt x="507" y="356"/>
                    <a:pt x="507" y="356"/>
                    <a:pt x="507" y="355"/>
                  </a:cubicBezTo>
                  <a:cubicBezTo>
                    <a:pt x="507" y="355"/>
                    <a:pt x="508" y="355"/>
                    <a:pt x="508" y="355"/>
                  </a:cubicBezTo>
                  <a:cubicBezTo>
                    <a:pt x="508" y="355"/>
                    <a:pt x="507" y="355"/>
                    <a:pt x="507" y="355"/>
                  </a:cubicBezTo>
                  <a:cubicBezTo>
                    <a:pt x="507" y="355"/>
                    <a:pt x="507" y="355"/>
                    <a:pt x="507" y="355"/>
                  </a:cubicBezTo>
                  <a:cubicBezTo>
                    <a:pt x="506" y="355"/>
                    <a:pt x="506" y="354"/>
                    <a:pt x="506" y="354"/>
                  </a:cubicBezTo>
                  <a:cubicBezTo>
                    <a:pt x="505" y="354"/>
                    <a:pt x="505" y="354"/>
                    <a:pt x="505" y="354"/>
                  </a:cubicBezTo>
                  <a:cubicBezTo>
                    <a:pt x="505" y="355"/>
                    <a:pt x="504" y="355"/>
                    <a:pt x="504" y="355"/>
                  </a:cubicBezTo>
                  <a:cubicBezTo>
                    <a:pt x="504" y="355"/>
                    <a:pt x="504" y="354"/>
                    <a:pt x="504" y="354"/>
                  </a:cubicBezTo>
                  <a:cubicBezTo>
                    <a:pt x="505" y="354"/>
                    <a:pt x="505" y="353"/>
                    <a:pt x="504" y="353"/>
                  </a:cubicBezTo>
                  <a:cubicBezTo>
                    <a:pt x="504" y="353"/>
                    <a:pt x="504" y="353"/>
                    <a:pt x="504" y="353"/>
                  </a:cubicBezTo>
                  <a:cubicBezTo>
                    <a:pt x="504" y="353"/>
                    <a:pt x="504" y="353"/>
                    <a:pt x="504" y="353"/>
                  </a:cubicBezTo>
                  <a:cubicBezTo>
                    <a:pt x="504" y="353"/>
                    <a:pt x="505" y="353"/>
                    <a:pt x="506" y="353"/>
                  </a:cubicBezTo>
                  <a:cubicBezTo>
                    <a:pt x="506" y="353"/>
                    <a:pt x="507" y="352"/>
                    <a:pt x="507" y="352"/>
                  </a:cubicBezTo>
                  <a:cubicBezTo>
                    <a:pt x="508" y="351"/>
                    <a:pt x="508" y="351"/>
                    <a:pt x="508" y="351"/>
                  </a:cubicBezTo>
                  <a:cubicBezTo>
                    <a:pt x="508" y="350"/>
                    <a:pt x="509" y="350"/>
                    <a:pt x="509" y="350"/>
                  </a:cubicBezTo>
                  <a:cubicBezTo>
                    <a:pt x="509" y="349"/>
                    <a:pt x="510" y="349"/>
                    <a:pt x="509" y="349"/>
                  </a:cubicBezTo>
                  <a:cubicBezTo>
                    <a:pt x="509" y="348"/>
                    <a:pt x="509" y="348"/>
                    <a:pt x="509" y="348"/>
                  </a:cubicBezTo>
                  <a:cubicBezTo>
                    <a:pt x="509" y="348"/>
                    <a:pt x="509" y="348"/>
                    <a:pt x="509" y="347"/>
                  </a:cubicBezTo>
                  <a:cubicBezTo>
                    <a:pt x="509" y="347"/>
                    <a:pt x="509" y="346"/>
                    <a:pt x="509" y="346"/>
                  </a:cubicBezTo>
                  <a:cubicBezTo>
                    <a:pt x="508" y="346"/>
                    <a:pt x="508" y="346"/>
                    <a:pt x="508" y="346"/>
                  </a:cubicBezTo>
                  <a:cubicBezTo>
                    <a:pt x="508" y="346"/>
                    <a:pt x="508" y="346"/>
                    <a:pt x="508" y="345"/>
                  </a:cubicBezTo>
                  <a:cubicBezTo>
                    <a:pt x="508" y="345"/>
                    <a:pt x="508" y="345"/>
                    <a:pt x="507" y="345"/>
                  </a:cubicBezTo>
                  <a:cubicBezTo>
                    <a:pt x="507" y="345"/>
                    <a:pt x="507" y="345"/>
                    <a:pt x="507" y="346"/>
                  </a:cubicBezTo>
                  <a:cubicBezTo>
                    <a:pt x="507" y="346"/>
                    <a:pt x="507" y="346"/>
                    <a:pt x="506" y="347"/>
                  </a:cubicBezTo>
                  <a:cubicBezTo>
                    <a:pt x="506" y="347"/>
                    <a:pt x="506" y="348"/>
                    <a:pt x="505" y="348"/>
                  </a:cubicBezTo>
                  <a:cubicBezTo>
                    <a:pt x="504" y="348"/>
                    <a:pt x="504" y="347"/>
                    <a:pt x="503" y="347"/>
                  </a:cubicBezTo>
                  <a:cubicBezTo>
                    <a:pt x="503" y="347"/>
                    <a:pt x="503" y="346"/>
                    <a:pt x="502" y="347"/>
                  </a:cubicBezTo>
                  <a:cubicBezTo>
                    <a:pt x="501" y="347"/>
                    <a:pt x="501" y="347"/>
                    <a:pt x="501" y="348"/>
                  </a:cubicBezTo>
                  <a:cubicBezTo>
                    <a:pt x="500" y="348"/>
                    <a:pt x="500" y="349"/>
                    <a:pt x="499" y="349"/>
                  </a:cubicBezTo>
                  <a:cubicBezTo>
                    <a:pt x="499" y="348"/>
                    <a:pt x="499" y="348"/>
                    <a:pt x="500" y="347"/>
                  </a:cubicBezTo>
                  <a:cubicBezTo>
                    <a:pt x="501" y="347"/>
                    <a:pt x="501" y="346"/>
                    <a:pt x="502" y="346"/>
                  </a:cubicBezTo>
                  <a:cubicBezTo>
                    <a:pt x="502" y="345"/>
                    <a:pt x="503" y="345"/>
                    <a:pt x="503" y="345"/>
                  </a:cubicBezTo>
                  <a:cubicBezTo>
                    <a:pt x="503" y="346"/>
                    <a:pt x="503" y="346"/>
                    <a:pt x="504" y="346"/>
                  </a:cubicBezTo>
                  <a:cubicBezTo>
                    <a:pt x="504" y="346"/>
                    <a:pt x="504" y="346"/>
                    <a:pt x="504" y="346"/>
                  </a:cubicBezTo>
                  <a:cubicBezTo>
                    <a:pt x="504" y="346"/>
                    <a:pt x="505" y="346"/>
                    <a:pt x="505" y="345"/>
                  </a:cubicBezTo>
                  <a:cubicBezTo>
                    <a:pt x="505" y="345"/>
                    <a:pt x="505" y="345"/>
                    <a:pt x="505" y="345"/>
                  </a:cubicBezTo>
                  <a:cubicBezTo>
                    <a:pt x="506" y="345"/>
                    <a:pt x="506" y="344"/>
                    <a:pt x="506" y="344"/>
                  </a:cubicBezTo>
                  <a:cubicBezTo>
                    <a:pt x="506" y="344"/>
                    <a:pt x="506" y="344"/>
                    <a:pt x="506" y="343"/>
                  </a:cubicBezTo>
                  <a:cubicBezTo>
                    <a:pt x="506" y="343"/>
                    <a:pt x="506" y="343"/>
                    <a:pt x="505" y="343"/>
                  </a:cubicBezTo>
                  <a:cubicBezTo>
                    <a:pt x="505" y="343"/>
                    <a:pt x="506" y="342"/>
                    <a:pt x="506" y="342"/>
                  </a:cubicBezTo>
                  <a:cubicBezTo>
                    <a:pt x="506" y="342"/>
                    <a:pt x="506" y="342"/>
                    <a:pt x="507" y="343"/>
                  </a:cubicBezTo>
                  <a:cubicBezTo>
                    <a:pt x="507" y="343"/>
                    <a:pt x="507" y="343"/>
                    <a:pt x="507" y="343"/>
                  </a:cubicBezTo>
                  <a:cubicBezTo>
                    <a:pt x="507" y="343"/>
                    <a:pt x="508" y="343"/>
                    <a:pt x="508" y="343"/>
                  </a:cubicBezTo>
                  <a:cubicBezTo>
                    <a:pt x="508" y="343"/>
                    <a:pt x="508" y="343"/>
                    <a:pt x="507" y="342"/>
                  </a:cubicBezTo>
                  <a:cubicBezTo>
                    <a:pt x="507" y="342"/>
                    <a:pt x="507" y="342"/>
                    <a:pt x="507" y="341"/>
                  </a:cubicBezTo>
                  <a:cubicBezTo>
                    <a:pt x="506" y="341"/>
                    <a:pt x="505" y="341"/>
                    <a:pt x="505" y="342"/>
                  </a:cubicBezTo>
                  <a:cubicBezTo>
                    <a:pt x="505" y="342"/>
                    <a:pt x="505" y="343"/>
                    <a:pt x="505" y="343"/>
                  </a:cubicBezTo>
                  <a:cubicBezTo>
                    <a:pt x="505" y="343"/>
                    <a:pt x="504" y="344"/>
                    <a:pt x="504" y="344"/>
                  </a:cubicBezTo>
                  <a:cubicBezTo>
                    <a:pt x="504" y="344"/>
                    <a:pt x="503" y="344"/>
                    <a:pt x="503" y="344"/>
                  </a:cubicBezTo>
                  <a:cubicBezTo>
                    <a:pt x="503" y="343"/>
                    <a:pt x="503" y="343"/>
                    <a:pt x="504" y="343"/>
                  </a:cubicBezTo>
                  <a:cubicBezTo>
                    <a:pt x="504" y="342"/>
                    <a:pt x="504" y="342"/>
                    <a:pt x="504" y="342"/>
                  </a:cubicBezTo>
                  <a:cubicBezTo>
                    <a:pt x="504" y="341"/>
                    <a:pt x="504" y="340"/>
                    <a:pt x="503" y="340"/>
                  </a:cubicBezTo>
                  <a:cubicBezTo>
                    <a:pt x="503" y="340"/>
                    <a:pt x="502" y="341"/>
                    <a:pt x="502" y="341"/>
                  </a:cubicBezTo>
                  <a:cubicBezTo>
                    <a:pt x="502" y="341"/>
                    <a:pt x="501" y="342"/>
                    <a:pt x="501" y="342"/>
                  </a:cubicBezTo>
                  <a:cubicBezTo>
                    <a:pt x="501" y="342"/>
                    <a:pt x="500" y="343"/>
                    <a:pt x="500" y="342"/>
                  </a:cubicBezTo>
                  <a:cubicBezTo>
                    <a:pt x="500" y="342"/>
                    <a:pt x="500" y="342"/>
                    <a:pt x="500" y="342"/>
                  </a:cubicBezTo>
                  <a:cubicBezTo>
                    <a:pt x="500" y="341"/>
                    <a:pt x="500" y="341"/>
                    <a:pt x="500" y="341"/>
                  </a:cubicBezTo>
                  <a:cubicBezTo>
                    <a:pt x="501" y="341"/>
                    <a:pt x="501" y="341"/>
                    <a:pt x="501" y="340"/>
                  </a:cubicBezTo>
                  <a:cubicBezTo>
                    <a:pt x="502" y="340"/>
                    <a:pt x="502" y="340"/>
                    <a:pt x="502" y="339"/>
                  </a:cubicBezTo>
                  <a:cubicBezTo>
                    <a:pt x="502" y="339"/>
                    <a:pt x="502" y="339"/>
                    <a:pt x="502" y="339"/>
                  </a:cubicBezTo>
                  <a:cubicBezTo>
                    <a:pt x="502" y="339"/>
                    <a:pt x="502" y="339"/>
                    <a:pt x="503" y="339"/>
                  </a:cubicBezTo>
                  <a:cubicBezTo>
                    <a:pt x="503" y="338"/>
                    <a:pt x="503" y="338"/>
                    <a:pt x="504" y="338"/>
                  </a:cubicBezTo>
                  <a:cubicBezTo>
                    <a:pt x="504" y="338"/>
                    <a:pt x="504" y="338"/>
                    <a:pt x="505" y="338"/>
                  </a:cubicBezTo>
                  <a:cubicBezTo>
                    <a:pt x="505" y="338"/>
                    <a:pt x="505" y="338"/>
                    <a:pt x="505" y="337"/>
                  </a:cubicBezTo>
                  <a:cubicBezTo>
                    <a:pt x="505" y="337"/>
                    <a:pt x="505" y="336"/>
                    <a:pt x="505" y="335"/>
                  </a:cubicBezTo>
                  <a:cubicBezTo>
                    <a:pt x="506" y="335"/>
                    <a:pt x="506" y="335"/>
                    <a:pt x="506" y="334"/>
                  </a:cubicBezTo>
                  <a:cubicBezTo>
                    <a:pt x="506" y="334"/>
                    <a:pt x="506" y="333"/>
                    <a:pt x="506" y="333"/>
                  </a:cubicBezTo>
                  <a:cubicBezTo>
                    <a:pt x="505" y="333"/>
                    <a:pt x="505" y="333"/>
                    <a:pt x="505" y="333"/>
                  </a:cubicBezTo>
                  <a:cubicBezTo>
                    <a:pt x="504" y="334"/>
                    <a:pt x="504" y="334"/>
                    <a:pt x="504" y="334"/>
                  </a:cubicBezTo>
                  <a:cubicBezTo>
                    <a:pt x="504" y="333"/>
                    <a:pt x="505" y="332"/>
                    <a:pt x="506" y="332"/>
                  </a:cubicBezTo>
                  <a:cubicBezTo>
                    <a:pt x="506" y="332"/>
                    <a:pt x="507" y="332"/>
                    <a:pt x="507" y="332"/>
                  </a:cubicBezTo>
                  <a:cubicBezTo>
                    <a:pt x="507" y="332"/>
                    <a:pt x="507" y="333"/>
                    <a:pt x="507" y="333"/>
                  </a:cubicBezTo>
                  <a:cubicBezTo>
                    <a:pt x="508" y="333"/>
                    <a:pt x="508" y="333"/>
                    <a:pt x="508" y="332"/>
                  </a:cubicBezTo>
                  <a:cubicBezTo>
                    <a:pt x="509" y="331"/>
                    <a:pt x="510" y="329"/>
                    <a:pt x="512" y="328"/>
                  </a:cubicBezTo>
                  <a:cubicBezTo>
                    <a:pt x="512" y="327"/>
                    <a:pt x="512" y="327"/>
                    <a:pt x="513" y="327"/>
                  </a:cubicBezTo>
                  <a:cubicBezTo>
                    <a:pt x="513" y="328"/>
                    <a:pt x="513" y="328"/>
                    <a:pt x="513" y="328"/>
                  </a:cubicBezTo>
                  <a:cubicBezTo>
                    <a:pt x="511" y="329"/>
                    <a:pt x="510" y="332"/>
                    <a:pt x="509" y="334"/>
                  </a:cubicBezTo>
                  <a:cubicBezTo>
                    <a:pt x="509" y="335"/>
                    <a:pt x="509" y="336"/>
                    <a:pt x="509" y="336"/>
                  </a:cubicBezTo>
                  <a:cubicBezTo>
                    <a:pt x="508" y="337"/>
                    <a:pt x="508" y="337"/>
                    <a:pt x="508" y="337"/>
                  </a:cubicBezTo>
                  <a:cubicBezTo>
                    <a:pt x="507" y="338"/>
                    <a:pt x="507" y="338"/>
                    <a:pt x="507" y="339"/>
                  </a:cubicBezTo>
                  <a:cubicBezTo>
                    <a:pt x="507" y="339"/>
                    <a:pt x="508" y="340"/>
                    <a:pt x="508" y="339"/>
                  </a:cubicBezTo>
                  <a:cubicBezTo>
                    <a:pt x="509" y="339"/>
                    <a:pt x="510" y="338"/>
                    <a:pt x="511" y="339"/>
                  </a:cubicBezTo>
                  <a:cubicBezTo>
                    <a:pt x="511" y="339"/>
                    <a:pt x="511" y="339"/>
                    <a:pt x="511" y="339"/>
                  </a:cubicBezTo>
                  <a:cubicBezTo>
                    <a:pt x="511" y="339"/>
                    <a:pt x="511" y="338"/>
                    <a:pt x="511" y="338"/>
                  </a:cubicBezTo>
                  <a:cubicBezTo>
                    <a:pt x="511" y="338"/>
                    <a:pt x="511" y="337"/>
                    <a:pt x="512" y="337"/>
                  </a:cubicBezTo>
                  <a:cubicBezTo>
                    <a:pt x="512" y="337"/>
                    <a:pt x="513" y="336"/>
                    <a:pt x="513" y="337"/>
                  </a:cubicBezTo>
                  <a:cubicBezTo>
                    <a:pt x="513" y="337"/>
                    <a:pt x="512" y="338"/>
                    <a:pt x="513" y="338"/>
                  </a:cubicBezTo>
                  <a:cubicBezTo>
                    <a:pt x="513" y="338"/>
                    <a:pt x="513" y="338"/>
                    <a:pt x="514" y="338"/>
                  </a:cubicBezTo>
                  <a:cubicBezTo>
                    <a:pt x="514" y="338"/>
                    <a:pt x="514" y="337"/>
                    <a:pt x="514" y="337"/>
                  </a:cubicBezTo>
                  <a:cubicBezTo>
                    <a:pt x="514" y="336"/>
                    <a:pt x="515" y="335"/>
                    <a:pt x="516" y="335"/>
                  </a:cubicBezTo>
                  <a:cubicBezTo>
                    <a:pt x="516" y="335"/>
                    <a:pt x="516" y="336"/>
                    <a:pt x="516" y="336"/>
                  </a:cubicBezTo>
                  <a:cubicBezTo>
                    <a:pt x="516" y="337"/>
                    <a:pt x="517" y="337"/>
                    <a:pt x="517" y="337"/>
                  </a:cubicBezTo>
                  <a:cubicBezTo>
                    <a:pt x="518" y="336"/>
                    <a:pt x="518" y="336"/>
                    <a:pt x="518" y="336"/>
                  </a:cubicBezTo>
                  <a:cubicBezTo>
                    <a:pt x="519" y="336"/>
                    <a:pt x="519" y="336"/>
                    <a:pt x="519" y="335"/>
                  </a:cubicBezTo>
                  <a:cubicBezTo>
                    <a:pt x="520" y="335"/>
                    <a:pt x="520" y="334"/>
                    <a:pt x="520" y="334"/>
                  </a:cubicBezTo>
                  <a:cubicBezTo>
                    <a:pt x="520" y="333"/>
                    <a:pt x="521" y="332"/>
                    <a:pt x="521" y="333"/>
                  </a:cubicBezTo>
                  <a:cubicBezTo>
                    <a:pt x="522" y="333"/>
                    <a:pt x="522" y="333"/>
                    <a:pt x="522" y="334"/>
                  </a:cubicBezTo>
                  <a:cubicBezTo>
                    <a:pt x="522" y="334"/>
                    <a:pt x="522" y="335"/>
                    <a:pt x="521" y="335"/>
                  </a:cubicBezTo>
                  <a:cubicBezTo>
                    <a:pt x="522" y="335"/>
                    <a:pt x="522" y="336"/>
                    <a:pt x="523" y="335"/>
                  </a:cubicBezTo>
                  <a:cubicBezTo>
                    <a:pt x="523" y="335"/>
                    <a:pt x="524" y="335"/>
                    <a:pt x="524" y="334"/>
                  </a:cubicBezTo>
                  <a:cubicBezTo>
                    <a:pt x="524" y="333"/>
                    <a:pt x="525" y="332"/>
                    <a:pt x="526" y="332"/>
                  </a:cubicBezTo>
                  <a:cubicBezTo>
                    <a:pt x="526" y="331"/>
                    <a:pt x="527" y="331"/>
                    <a:pt x="527" y="331"/>
                  </a:cubicBezTo>
                  <a:cubicBezTo>
                    <a:pt x="528" y="330"/>
                    <a:pt x="528" y="331"/>
                    <a:pt x="529" y="331"/>
                  </a:cubicBezTo>
                  <a:cubicBezTo>
                    <a:pt x="531" y="331"/>
                    <a:pt x="534" y="332"/>
                    <a:pt x="536" y="333"/>
                  </a:cubicBezTo>
                  <a:cubicBezTo>
                    <a:pt x="535" y="333"/>
                    <a:pt x="534" y="333"/>
                    <a:pt x="533" y="332"/>
                  </a:cubicBezTo>
                  <a:cubicBezTo>
                    <a:pt x="531" y="332"/>
                    <a:pt x="529" y="331"/>
                    <a:pt x="528" y="332"/>
                  </a:cubicBezTo>
                  <a:cubicBezTo>
                    <a:pt x="527" y="332"/>
                    <a:pt x="527" y="332"/>
                    <a:pt x="527" y="332"/>
                  </a:cubicBezTo>
                  <a:cubicBezTo>
                    <a:pt x="527" y="332"/>
                    <a:pt x="527" y="332"/>
                    <a:pt x="527" y="333"/>
                  </a:cubicBezTo>
                  <a:cubicBezTo>
                    <a:pt x="527" y="333"/>
                    <a:pt x="526" y="334"/>
                    <a:pt x="526" y="335"/>
                  </a:cubicBezTo>
                  <a:cubicBezTo>
                    <a:pt x="526" y="335"/>
                    <a:pt x="526" y="335"/>
                    <a:pt x="526" y="335"/>
                  </a:cubicBezTo>
                  <a:cubicBezTo>
                    <a:pt x="526" y="336"/>
                    <a:pt x="526" y="336"/>
                    <a:pt x="526" y="336"/>
                  </a:cubicBezTo>
                  <a:cubicBezTo>
                    <a:pt x="525" y="336"/>
                    <a:pt x="525" y="337"/>
                    <a:pt x="526" y="337"/>
                  </a:cubicBezTo>
                  <a:cubicBezTo>
                    <a:pt x="526" y="338"/>
                    <a:pt x="526" y="338"/>
                    <a:pt x="526" y="338"/>
                  </a:cubicBezTo>
                  <a:cubicBezTo>
                    <a:pt x="527" y="338"/>
                    <a:pt x="527" y="338"/>
                    <a:pt x="527" y="338"/>
                  </a:cubicBezTo>
                  <a:cubicBezTo>
                    <a:pt x="527" y="339"/>
                    <a:pt x="528" y="339"/>
                    <a:pt x="528" y="339"/>
                  </a:cubicBezTo>
                  <a:cubicBezTo>
                    <a:pt x="529" y="339"/>
                    <a:pt x="529" y="339"/>
                    <a:pt x="530" y="338"/>
                  </a:cubicBezTo>
                  <a:cubicBezTo>
                    <a:pt x="531" y="338"/>
                    <a:pt x="531" y="337"/>
                    <a:pt x="532" y="337"/>
                  </a:cubicBezTo>
                  <a:cubicBezTo>
                    <a:pt x="531" y="339"/>
                    <a:pt x="529" y="340"/>
                    <a:pt x="528" y="341"/>
                  </a:cubicBezTo>
                  <a:cubicBezTo>
                    <a:pt x="527" y="341"/>
                    <a:pt x="527" y="341"/>
                    <a:pt x="526" y="341"/>
                  </a:cubicBezTo>
                  <a:cubicBezTo>
                    <a:pt x="526" y="341"/>
                    <a:pt x="526" y="342"/>
                    <a:pt x="526" y="342"/>
                  </a:cubicBezTo>
                  <a:cubicBezTo>
                    <a:pt x="527" y="343"/>
                    <a:pt x="528" y="342"/>
                    <a:pt x="529" y="342"/>
                  </a:cubicBezTo>
                  <a:cubicBezTo>
                    <a:pt x="529" y="342"/>
                    <a:pt x="529" y="342"/>
                    <a:pt x="530" y="341"/>
                  </a:cubicBezTo>
                  <a:cubicBezTo>
                    <a:pt x="530" y="341"/>
                    <a:pt x="531" y="341"/>
                    <a:pt x="531" y="341"/>
                  </a:cubicBezTo>
                  <a:cubicBezTo>
                    <a:pt x="532" y="341"/>
                    <a:pt x="533" y="341"/>
                    <a:pt x="534" y="341"/>
                  </a:cubicBezTo>
                  <a:cubicBezTo>
                    <a:pt x="533" y="341"/>
                    <a:pt x="533" y="342"/>
                    <a:pt x="532" y="342"/>
                  </a:cubicBezTo>
                  <a:cubicBezTo>
                    <a:pt x="532" y="343"/>
                    <a:pt x="532" y="343"/>
                    <a:pt x="532" y="343"/>
                  </a:cubicBezTo>
                  <a:cubicBezTo>
                    <a:pt x="531" y="344"/>
                    <a:pt x="532" y="344"/>
                    <a:pt x="532" y="344"/>
                  </a:cubicBezTo>
                  <a:cubicBezTo>
                    <a:pt x="532" y="344"/>
                    <a:pt x="533" y="344"/>
                    <a:pt x="533" y="343"/>
                  </a:cubicBezTo>
                  <a:cubicBezTo>
                    <a:pt x="533" y="343"/>
                    <a:pt x="534" y="343"/>
                    <a:pt x="534" y="343"/>
                  </a:cubicBezTo>
                  <a:cubicBezTo>
                    <a:pt x="534" y="343"/>
                    <a:pt x="534" y="343"/>
                    <a:pt x="534" y="344"/>
                  </a:cubicBezTo>
                  <a:cubicBezTo>
                    <a:pt x="535" y="343"/>
                    <a:pt x="536" y="343"/>
                    <a:pt x="536" y="344"/>
                  </a:cubicBezTo>
                  <a:cubicBezTo>
                    <a:pt x="536" y="344"/>
                    <a:pt x="537" y="344"/>
                    <a:pt x="537" y="344"/>
                  </a:cubicBezTo>
                  <a:cubicBezTo>
                    <a:pt x="537" y="344"/>
                    <a:pt x="538" y="344"/>
                    <a:pt x="538" y="343"/>
                  </a:cubicBezTo>
                  <a:cubicBezTo>
                    <a:pt x="539" y="342"/>
                    <a:pt x="540" y="341"/>
                    <a:pt x="541" y="340"/>
                  </a:cubicBezTo>
                  <a:cubicBezTo>
                    <a:pt x="541" y="340"/>
                    <a:pt x="541" y="340"/>
                    <a:pt x="541" y="340"/>
                  </a:cubicBezTo>
                  <a:cubicBezTo>
                    <a:pt x="542" y="340"/>
                    <a:pt x="542" y="340"/>
                    <a:pt x="542" y="341"/>
                  </a:cubicBezTo>
                  <a:cubicBezTo>
                    <a:pt x="542" y="341"/>
                    <a:pt x="542" y="341"/>
                    <a:pt x="542" y="341"/>
                  </a:cubicBezTo>
                  <a:cubicBezTo>
                    <a:pt x="541" y="341"/>
                    <a:pt x="541" y="342"/>
                    <a:pt x="541" y="342"/>
                  </a:cubicBezTo>
                  <a:cubicBezTo>
                    <a:pt x="539" y="344"/>
                    <a:pt x="538" y="346"/>
                    <a:pt x="537" y="347"/>
                  </a:cubicBezTo>
                  <a:cubicBezTo>
                    <a:pt x="536" y="347"/>
                    <a:pt x="536" y="347"/>
                    <a:pt x="536" y="348"/>
                  </a:cubicBezTo>
                  <a:cubicBezTo>
                    <a:pt x="536" y="348"/>
                    <a:pt x="536" y="348"/>
                    <a:pt x="536" y="348"/>
                  </a:cubicBezTo>
                  <a:cubicBezTo>
                    <a:pt x="536" y="349"/>
                    <a:pt x="537" y="348"/>
                    <a:pt x="537" y="348"/>
                  </a:cubicBezTo>
                  <a:cubicBezTo>
                    <a:pt x="539" y="347"/>
                    <a:pt x="541" y="350"/>
                    <a:pt x="543" y="349"/>
                  </a:cubicBezTo>
                  <a:cubicBezTo>
                    <a:pt x="543" y="350"/>
                    <a:pt x="543" y="350"/>
                    <a:pt x="542" y="350"/>
                  </a:cubicBezTo>
                  <a:cubicBezTo>
                    <a:pt x="542" y="350"/>
                    <a:pt x="541" y="350"/>
                    <a:pt x="541" y="350"/>
                  </a:cubicBezTo>
                  <a:cubicBezTo>
                    <a:pt x="542" y="350"/>
                    <a:pt x="542" y="351"/>
                    <a:pt x="543" y="351"/>
                  </a:cubicBezTo>
                  <a:cubicBezTo>
                    <a:pt x="543" y="351"/>
                    <a:pt x="544" y="352"/>
                    <a:pt x="544" y="352"/>
                  </a:cubicBezTo>
                  <a:cubicBezTo>
                    <a:pt x="545" y="352"/>
                    <a:pt x="545" y="351"/>
                    <a:pt x="545" y="351"/>
                  </a:cubicBezTo>
                  <a:cubicBezTo>
                    <a:pt x="544" y="351"/>
                    <a:pt x="544" y="351"/>
                    <a:pt x="544" y="350"/>
                  </a:cubicBezTo>
                  <a:cubicBezTo>
                    <a:pt x="544" y="350"/>
                    <a:pt x="545" y="350"/>
                    <a:pt x="545" y="350"/>
                  </a:cubicBezTo>
                  <a:cubicBezTo>
                    <a:pt x="545" y="350"/>
                    <a:pt x="546" y="349"/>
                    <a:pt x="546" y="348"/>
                  </a:cubicBezTo>
                  <a:cubicBezTo>
                    <a:pt x="547" y="347"/>
                    <a:pt x="547" y="346"/>
                    <a:pt x="548" y="346"/>
                  </a:cubicBezTo>
                  <a:cubicBezTo>
                    <a:pt x="548" y="345"/>
                    <a:pt x="549" y="345"/>
                    <a:pt x="549" y="344"/>
                  </a:cubicBezTo>
                  <a:cubicBezTo>
                    <a:pt x="550" y="344"/>
                    <a:pt x="550" y="344"/>
                    <a:pt x="550" y="345"/>
                  </a:cubicBezTo>
                  <a:cubicBezTo>
                    <a:pt x="550" y="345"/>
                    <a:pt x="550" y="346"/>
                    <a:pt x="550" y="346"/>
                  </a:cubicBezTo>
                  <a:cubicBezTo>
                    <a:pt x="550" y="347"/>
                    <a:pt x="550" y="348"/>
                    <a:pt x="550" y="349"/>
                  </a:cubicBezTo>
                  <a:cubicBezTo>
                    <a:pt x="550" y="349"/>
                    <a:pt x="549" y="350"/>
                    <a:pt x="549" y="350"/>
                  </a:cubicBezTo>
                  <a:cubicBezTo>
                    <a:pt x="548" y="351"/>
                    <a:pt x="548" y="352"/>
                    <a:pt x="549" y="352"/>
                  </a:cubicBezTo>
                  <a:cubicBezTo>
                    <a:pt x="549" y="353"/>
                    <a:pt x="550" y="353"/>
                    <a:pt x="551" y="353"/>
                  </a:cubicBezTo>
                  <a:cubicBezTo>
                    <a:pt x="551" y="353"/>
                    <a:pt x="551" y="354"/>
                    <a:pt x="551" y="355"/>
                  </a:cubicBezTo>
                  <a:cubicBezTo>
                    <a:pt x="551" y="355"/>
                    <a:pt x="552" y="355"/>
                    <a:pt x="552" y="355"/>
                  </a:cubicBezTo>
                  <a:cubicBezTo>
                    <a:pt x="553" y="355"/>
                    <a:pt x="554" y="356"/>
                    <a:pt x="554" y="356"/>
                  </a:cubicBezTo>
                  <a:cubicBezTo>
                    <a:pt x="555" y="356"/>
                    <a:pt x="556" y="355"/>
                    <a:pt x="557" y="355"/>
                  </a:cubicBezTo>
                  <a:cubicBezTo>
                    <a:pt x="558" y="355"/>
                    <a:pt x="557" y="356"/>
                    <a:pt x="557" y="356"/>
                  </a:cubicBezTo>
                  <a:cubicBezTo>
                    <a:pt x="557" y="357"/>
                    <a:pt x="557" y="357"/>
                    <a:pt x="557" y="357"/>
                  </a:cubicBezTo>
                  <a:cubicBezTo>
                    <a:pt x="558" y="357"/>
                    <a:pt x="558" y="357"/>
                    <a:pt x="559" y="358"/>
                  </a:cubicBezTo>
                  <a:cubicBezTo>
                    <a:pt x="559" y="358"/>
                    <a:pt x="560" y="359"/>
                    <a:pt x="560" y="359"/>
                  </a:cubicBezTo>
                  <a:cubicBezTo>
                    <a:pt x="560" y="360"/>
                    <a:pt x="561" y="361"/>
                    <a:pt x="562" y="361"/>
                  </a:cubicBezTo>
                  <a:cubicBezTo>
                    <a:pt x="562" y="361"/>
                    <a:pt x="563" y="361"/>
                    <a:pt x="563" y="360"/>
                  </a:cubicBezTo>
                  <a:cubicBezTo>
                    <a:pt x="565" y="359"/>
                    <a:pt x="568" y="358"/>
                    <a:pt x="571" y="358"/>
                  </a:cubicBezTo>
                  <a:cubicBezTo>
                    <a:pt x="575" y="358"/>
                    <a:pt x="579" y="358"/>
                    <a:pt x="582" y="359"/>
                  </a:cubicBezTo>
                  <a:cubicBezTo>
                    <a:pt x="583" y="359"/>
                    <a:pt x="584" y="359"/>
                    <a:pt x="584" y="360"/>
                  </a:cubicBezTo>
                  <a:cubicBezTo>
                    <a:pt x="585" y="360"/>
                    <a:pt x="586" y="360"/>
                    <a:pt x="586" y="360"/>
                  </a:cubicBezTo>
                  <a:cubicBezTo>
                    <a:pt x="587" y="360"/>
                    <a:pt x="588" y="361"/>
                    <a:pt x="589" y="361"/>
                  </a:cubicBezTo>
                  <a:cubicBezTo>
                    <a:pt x="590" y="361"/>
                    <a:pt x="592" y="361"/>
                    <a:pt x="593" y="361"/>
                  </a:cubicBezTo>
                  <a:cubicBezTo>
                    <a:pt x="594" y="360"/>
                    <a:pt x="594" y="359"/>
                    <a:pt x="594" y="359"/>
                  </a:cubicBezTo>
                  <a:cubicBezTo>
                    <a:pt x="593" y="359"/>
                    <a:pt x="593" y="358"/>
                    <a:pt x="593" y="358"/>
                  </a:cubicBezTo>
                  <a:cubicBezTo>
                    <a:pt x="592" y="358"/>
                    <a:pt x="592" y="357"/>
                    <a:pt x="592" y="357"/>
                  </a:cubicBezTo>
                  <a:cubicBezTo>
                    <a:pt x="592" y="356"/>
                    <a:pt x="593" y="356"/>
                    <a:pt x="593" y="356"/>
                  </a:cubicBezTo>
                  <a:cubicBezTo>
                    <a:pt x="594" y="356"/>
                    <a:pt x="594" y="356"/>
                    <a:pt x="594" y="356"/>
                  </a:cubicBezTo>
                  <a:cubicBezTo>
                    <a:pt x="594" y="357"/>
                    <a:pt x="594" y="357"/>
                    <a:pt x="595" y="358"/>
                  </a:cubicBezTo>
                  <a:cubicBezTo>
                    <a:pt x="596" y="357"/>
                    <a:pt x="596" y="356"/>
                    <a:pt x="597" y="357"/>
                  </a:cubicBezTo>
                  <a:cubicBezTo>
                    <a:pt x="597" y="358"/>
                    <a:pt x="596" y="358"/>
                    <a:pt x="595" y="358"/>
                  </a:cubicBezTo>
                  <a:cubicBezTo>
                    <a:pt x="595" y="358"/>
                    <a:pt x="595" y="359"/>
                    <a:pt x="595" y="359"/>
                  </a:cubicBezTo>
                  <a:cubicBezTo>
                    <a:pt x="595" y="359"/>
                    <a:pt x="595" y="359"/>
                    <a:pt x="595" y="359"/>
                  </a:cubicBezTo>
                  <a:cubicBezTo>
                    <a:pt x="596" y="359"/>
                    <a:pt x="596" y="360"/>
                    <a:pt x="596" y="360"/>
                  </a:cubicBezTo>
                  <a:cubicBezTo>
                    <a:pt x="596" y="360"/>
                    <a:pt x="596" y="361"/>
                    <a:pt x="596" y="361"/>
                  </a:cubicBezTo>
                  <a:cubicBezTo>
                    <a:pt x="596" y="361"/>
                    <a:pt x="595" y="362"/>
                    <a:pt x="595" y="362"/>
                  </a:cubicBezTo>
                  <a:cubicBezTo>
                    <a:pt x="594" y="362"/>
                    <a:pt x="594" y="362"/>
                    <a:pt x="594" y="362"/>
                  </a:cubicBezTo>
                  <a:cubicBezTo>
                    <a:pt x="593" y="363"/>
                    <a:pt x="594" y="363"/>
                    <a:pt x="594" y="363"/>
                  </a:cubicBezTo>
                  <a:cubicBezTo>
                    <a:pt x="594" y="364"/>
                    <a:pt x="595" y="364"/>
                    <a:pt x="595" y="364"/>
                  </a:cubicBezTo>
                  <a:cubicBezTo>
                    <a:pt x="596" y="364"/>
                    <a:pt x="597" y="365"/>
                    <a:pt x="597" y="365"/>
                  </a:cubicBezTo>
                  <a:cubicBezTo>
                    <a:pt x="598" y="365"/>
                    <a:pt x="598" y="366"/>
                    <a:pt x="599" y="366"/>
                  </a:cubicBezTo>
                  <a:cubicBezTo>
                    <a:pt x="600" y="367"/>
                    <a:pt x="601" y="367"/>
                    <a:pt x="602" y="367"/>
                  </a:cubicBezTo>
                  <a:cubicBezTo>
                    <a:pt x="604" y="368"/>
                    <a:pt x="606" y="368"/>
                    <a:pt x="608" y="368"/>
                  </a:cubicBezTo>
                  <a:cubicBezTo>
                    <a:pt x="608" y="368"/>
                    <a:pt x="609" y="368"/>
                    <a:pt x="609" y="367"/>
                  </a:cubicBezTo>
                  <a:cubicBezTo>
                    <a:pt x="610" y="367"/>
                    <a:pt x="611" y="366"/>
                    <a:pt x="612" y="366"/>
                  </a:cubicBezTo>
                  <a:cubicBezTo>
                    <a:pt x="612" y="366"/>
                    <a:pt x="612" y="366"/>
                    <a:pt x="613" y="365"/>
                  </a:cubicBezTo>
                  <a:cubicBezTo>
                    <a:pt x="613" y="365"/>
                    <a:pt x="613" y="365"/>
                    <a:pt x="613" y="365"/>
                  </a:cubicBezTo>
                  <a:cubicBezTo>
                    <a:pt x="613" y="365"/>
                    <a:pt x="612" y="365"/>
                    <a:pt x="612" y="364"/>
                  </a:cubicBezTo>
                  <a:cubicBezTo>
                    <a:pt x="612" y="364"/>
                    <a:pt x="612" y="363"/>
                    <a:pt x="613" y="363"/>
                  </a:cubicBezTo>
                  <a:cubicBezTo>
                    <a:pt x="613" y="363"/>
                    <a:pt x="613" y="363"/>
                    <a:pt x="614" y="363"/>
                  </a:cubicBezTo>
                  <a:cubicBezTo>
                    <a:pt x="615" y="363"/>
                    <a:pt x="616" y="362"/>
                    <a:pt x="616" y="361"/>
                  </a:cubicBezTo>
                  <a:cubicBezTo>
                    <a:pt x="617" y="361"/>
                    <a:pt x="617" y="360"/>
                    <a:pt x="617" y="360"/>
                  </a:cubicBezTo>
                  <a:cubicBezTo>
                    <a:pt x="618" y="360"/>
                    <a:pt x="619" y="360"/>
                    <a:pt x="619" y="360"/>
                  </a:cubicBezTo>
                  <a:cubicBezTo>
                    <a:pt x="620" y="361"/>
                    <a:pt x="620" y="361"/>
                    <a:pt x="621" y="362"/>
                  </a:cubicBezTo>
                  <a:cubicBezTo>
                    <a:pt x="621" y="362"/>
                    <a:pt x="621" y="363"/>
                    <a:pt x="622" y="363"/>
                  </a:cubicBezTo>
                  <a:cubicBezTo>
                    <a:pt x="622" y="364"/>
                    <a:pt x="622" y="364"/>
                    <a:pt x="623" y="364"/>
                  </a:cubicBezTo>
                  <a:cubicBezTo>
                    <a:pt x="623" y="364"/>
                    <a:pt x="623" y="364"/>
                    <a:pt x="623" y="364"/>
                  </a:cubicBezTo>
                  <a:cubicBezTo>
                    <a:pt x="623" y="365"/>
                    <a:pt x="623" y="365"/>
                    <a:pt x="623" y="365"/>
                  </a:cubicBezTo>
                  <a:cubicBezTo>
                    <a:pt x="622" y="365"/>
                    <a:pt x="622" y="365"/>
                    <a:pt x="621" y="365"/>
                  </a:cubicBezTo>
                  <a:cubicBezTo>
                    <a:pt x="621" y="366"/>
                    <a:pt x="621" y="367"/>
                    <a:pt x="621" y="368"/>
                  </a:cubicBezTo>
                  <a:cubicBezTo>
                    <a:pt x="621" y="369"/>
                    <a:pt x="621" y="369"/>
                    <a:pt x="621" y="369"/>
                  </a:cubicBezTo>
                  <a:cubicBezTo>
                    <a:pt x="621" y="370"/>
                    <a:pt x="621" y="370"/>
                    <a:pt x="621" y="371"/>
                  </a:cubicBezTo>
                  <a:cubicBezTo>
                    <a:pt x="621" y="371"/>
                    <a:pt x="620" y="371"/>
                    <a:pt x="620" y="370"/>
                  </a:cubicBezTo>
                  <a:cubicBezTo>
                    <a:pt x="621" y="370"/>
                    <a:pt x="621" y="370"/>
                    <a:pt x="620" y="369"/>
                  </a:cubicBezTo>
                  <a:cubicBezTo>
                    <a:pt x="620" y="368"/>
                    <a:pt x="620" y="368"/>
                    <a:pt x="620" y="367"/>
                  </a:cubicBezTo>
                  <a:cubicBezTo>
                    <a:pt x="620" y="367"/>
                    <a:pt x="620" y="367"/>
                    <a:pt x="619" y="367"/>
                  </a:cubicBezTo>
                  <a:cubicBezTo>
                    <a:pt x="619" y="366"/>
                    <a:pt x="620" y="366"/>
                    <a:pt x="620" y="365"/>
                  </a:cubicBezTo>
                  <a:cubicBezTo>
                    <a:pt x="620" y="364"/>
                    <a:pt x="620" y="364"/>
                    <a:pt x="620" y="363"/>
                  </a:cubicBezTo>
                  <a:cubicBezTo>
                    <a:pt x="619" y="362"/>
                    <a:pt x="619" y="362"/>
                    <a:pt x="618" y="361"/>
                  </a:cubicBezTo>
                  <a:cubicBezTo>
                    <a:pt x="618" y="362"/>
                    <a:pt x="617" y="362"/>
                    <a:pt x="617" y="363"/>
                  </a:cubicBezTo>
                  <a:cubicBezTo>
                    <a:pt x="616" y="363"/>
                    <a:pt x="616" y="364"/>
                    <a:pt x="616" y="364"/>
                  </a:cubicBezTo>
                  <a:cubicBezTo>
                    <a:pt x="616" y="364"/>
                    <a:pt x="617" y="365"/>
                    <a:pt x="617" y="365"/>
                  </a:cubicBezTo>
                  <a:cubicBezTo>
                    <a:pt x="617" y="365"/>
                    <a:pt x="618" y="366"/>
                    <a:pt x="617" y="367"/>
                  </a:cubicBezTo>
                  <a:cubicBezTo>
                    <a:pt x="617" y="367"/>
                    <a:pt x="617" y="367"/>
                    <a:pt x="617" y="368"/>
                  </a:cubicBezTo>
                  <a:cubicBezTo>
                    <a:pt x="617" y="368"/>
                    <a:pt x="618" y="368"/>
                    <a:pt x="618" y="368"/>
                  </a:cubicBezTo>
                  <a:cubicBezTo>
                    <a:pt x="618" y="369"/>
                    <a:pt x="618" y="369"/>
                    <a:pt x="617" y="369"/>
                  </a:cubicBezTo>
                  <a:cubicBezTo>
                    <a:pt x="617" y="369"/>
                    <a:pt x="617" y="370"/>
                    <a:pt x="617" y="370"/>
                  </a:cubicBezTo>
                  <a:cubicBezTo>
                    <a:pt x="616" y="371"/>
                    <a:pt x="616" y="370"/>
                    <a:pt x="616" y="370"/>
                  </a:cubicBezTo>
                  <a:cubicBezTo>
                    <a:pt x="616" y="371"/>
                    <a:pt x="615" y="371"/>
                    <a:pt x="615" y="371"/>
                  </a:cubicBezTo>
                  <a:cubicBezTo>
                    <a:pt x="615" y="372"/>
                    <a:pt x="614" y="372"/>
                    <a:pt x="614" y="372"/>
                  </a:cubicBezTo>
                  <a:cubicBezTo>
                    <a:pt x="615" y="373"/>
                    <a:pt x="617" y="374"/>
                    <a:pt x="618" y="375"/>
                  </a:cubicBezTo>
                  <a:cubicBezTo>
                    <a:pt x="619" y="375"/>
                    <a:pt x="619" y="375"/>
                    <a:pt x="619" y="376"/>
                  </a:cubicBezTo>
                  <a:cubicBezTo>
                    <a:pt x="620" y="376"/>
                    <a:pt x="620" y="376"/>
                    <a:pt x="620" y="376"/>
                  </a:cubicBezTo>
                  <a:cubicBezTo>
                    <a:pt x="620" y="376"/>
                    <a:pt x="620" y="376"/>
                    <a:pt x="620" y="376"/>
                  </a:cubicBezTo>
                  <a:cubicBezTo>
                    <a:pt x="622" y="376"/>
                    <a:pt x="623" y="375"/>
                    <a:pt x="625" y="374"/>
                  </a:cubicBezTo>
                  <a:cubicBezTo>
                    <a:pt x="625" y="374"/>
                    <a:pt x="626" y="373"/>
                    <a:pt x="626" y="374"/>
                  </a:cubicBezTo>
                  <a:cubicBezTo>
                    <a:pt x="626" y="374"/>
                    <a:pt x="625" y="375"/>
                    <a:pt x="625" y="375"/>
                  </a:cubicBezTo>
                  <a:cubicBezTo>
                    <a:pt x="625" y="375"/>
                    <a:pt x="624" y="375"/>
                    <a:pt x="624" y="375"/>
                  </a:cubicBezTo>
                  <a:cubicBezTo>
                    <a:pt x="623" y="376"/>
                    <a:pt x="622" y="376"/>
                    <a:pt x="622" y="377"/>
                  </a:cubicBezTo>
                  <a:cubicBezTo>
                    <a:pt x="622" y="377"/>
                    <a:pt x="622" y="377"/>
                    <a:pt x="622" y="377"/>
                  </a:cubicBezTo>
                  <a:cubicBezTo>
                    <a:pt x="622" y="377"/>
                    <a:pt x="622" y="377"/>
                    <a:pt x="622" y="377"/>
                  </a:cubicBezTo>
                  <a:cubicBezTo>
                    <a:pt x="624" y="378"/>
                    <a:pt x="626" y="379"/>
                    <a:pt x="627" y="381"/>
                  </a:cubicBezTo>
                  <a:cubicBezTo>
                    <a:pt x="627" y="381"/>
                    <a:pt x="628" y="382"/>
                    <a:pt x="628" y="382"/>
                  </a:cubicBezTo>
                  <a:cubicBezTo>
                    <a:pt x="628" y="382"/>
                    <a:pt x="629" y="382"/>
                    <a:pt x="629" y="381"/>
                  </a:cubicBezTo>
                  <a:cubicBezTo>
                    <a:pt x="630" y="381"/>
                    <a:pt x="630" y="381"/>
                    <a:pt x="631" y="381"/>
                  </a:cubicBezTo>
                  <a:cubicBezTo>
                    <a:pt x="631" y="381"/>
                    <a:pt x="632" y="381"/>
                    <a:pt x="632" y="381"/>
                  </a:cubicBezTo>
                  <a:cubicBezTo>
                    <a:pt x="631" y="381"/>
                    <a:pt x="631" y="382"/>
                    <a:pt x="630" y="382"/>
                  </a:cubicBezTo>
                  <a:cubicBezTo>
                    <a:pt x="630" y="382"/>
                    <a:pt x="630" y="382"/>
                    <a:pt x="630" y="382"/>
                  </a:cubicBezTo>
                  <a:cubicBezTo>
                    <a:pt x="630" y="382"/>
                    <a:pt x="630" y="383"/>
                    <a:pt x="630" y="383"/>
                  </a:cubicBezTo>
                  <a:cubicBezTo>
                    <a:pt x="631" y="384"/>
                    <a:pt x="634" y="384"/>
                    <a:pt x="635" y="385"/>
                  </a:cubicBezTo>
                  <a:cubicBezTo>
                    <a:pt x="636" y="386"/>
                    <a:pt x="636" y="387"/>
                    <a:pt x="637" y="388"/>
                  </a:cubicBezTo>
                  <a:cubicBezTo>
                    <a:pt x="637" y="388"/>
                    <a:pt x="638" y="388"/>
                    <a:pt x="638" y="388"/>
                  </a:cubicBezTo>
                  <a:cubicBezTo>
                    <a:pt x="639" y="389"/>
                    <a:pt x="638" y="390"/>
                    <a:pt x="639" y="391"/>
                  </a:cubicBezTo>
                  <a:cubicBezTo>
                    <a:pt x="639" y="392"/>
                    <a:pt x="639" y="392"/>
                    <a:pt x="640" y="392"/>
                  </a:cubicBezTo>
                  <a:cubicBezTo>
                    <a:pt x="640" y="393"/>
                    <a:pt x="640" y="393"/>
                    <a:pt x="641" y="394"/>
                  </a:cubicBezTo>
                  <a:cubicBezTo>
                    <a:pt x="641" y="394"/>
                    <a:pt x="642" y="394"/>
                    <a:pt x="642" y="394"/>
                  </a:cubicBezTo>
                  <a:cubicBezTo>
                    <a:pt x="643" y="394"/>
                    <a:pt x="643" y="394"/>
                    <a:pt x="643" y="395"/>
                  </a:cubicBezTo>
                  <a:cubicBezTo>
                    <a:pt x="643" y="395"/>
                    <a:pt x="643" y="396"/>
                    <a:pt x="644" y="397"/>
                  </a:cubicBezTo>
                  <a:cubicBezTo>
                    <a:pt x="646" y="398"/>
                    <a:pt x="648" y="400"/>
                    <a:pt x="650" y="401"/>
                  </a:cubicBezTo>
                  <a:cubicBezTo>
                    <a:pt x="651" y="401"/>
                    <a:pt x="651" y="401"/>
                    <a:pt x="651" y="401"/>
                  </a:cubicBezTo>
                  <a:cubicBezTo>
                    <a:pt x="652" y="401"/>
                    <a:pt x="652" y="402"/>
                    <a:pt x="652" y="402"/>
                  </a:cubicBezTo>
                  <a:cubicBezTo>
                    <a:pt x="652" y="402"/>
                    <a:pt x="652" y="402"/>
                    <a:pt x="653" y="402"/>
                  </a:cubicBezTo>
                  <a:cubicBezTo>
                    <a:pt x="653" y="402"/>
                    <a:pt x="653" y="403"/>
                    <a:pt x="653" y="403"/>
                  </a:cubicBezTo>
                  <a:cubicBezTo>
                    <a:pt x="653" y="403"/>
                    <a:pt x="653" y="404"/>
                    <a:pt x="654" y="404"/>
                  </a:cubicBezTo>
                  <a:cubicBezTo>
                    <a:pt x="654" y="404"/>
                    <a:pt x="655" y="405"/>
                    <a:pt x="655" y="405"/>
                  </a:cubicBezTo>
                  <a:cubicBezTo>
                    <a:pt x="656" y="405"/>
                    <a:pt x="656" y="405"/>
                    <a:pt x="656" y="405"/>
                  </a:cubicBezTo>
                  <a:cubicBezTo>
                    <a:pt x="656" y="404"/>
                    <a:pt x="656" y="404"/>
                    <a:pt x="656" y="403"/>
                  </a:cubicBezTo>
                  <a:cubicBezTo>
                    <a:pt x="656" y="403"/>
                    <a:pt x="656" y="402"/>
                    <a:pt x="656" y="402"/>
                  </a:cubicBezTo>
                  <a:cubicBezTo>
                    <a:pt x="657" y="402"/>
                    <a:pt x="657" y="403"/>
                    <a:pt x="658" y="403"/>
                  </a:cubicBezTo>
                  <a:cubicBezTo>
                    <a:pt x="658" y="402"/>
                    <a:pt x="657" y="402"/>
                    <a:pt x="657" y="402"/>
                  </a:cubicBezTo>
                  <a:cubicBezTo>
                    <a:pt x="657" y="402"/>
                    <a:pt x="657" y="402"/>
                    <a:pt x="657" y="401"/>
                  </a:cubicBezTo>
                  <a:cubicBezTo>
                    <a:pt x="657" y="401"/>
                    <a:pt x="657" y="401"/>
                    <a:pt x="657" y="401"/>
                  </a:cubicBezTo>
                  <a:cubicBezTo>
                    <a:pt x="657" y="402"/>
                    <a:pt x="659" y="402"/>
                    <a:pt x="659" y="401"/>
                  </a:cubicBezTo>
                  <a:cubicBezTo>
                    <a:pt x="659" y="401"/>
                    <a:pt x="660" y="402"/>
                    <a:pt x="660" y="402"/>
                  </a:cubicBezTo>
                  <a:cubicBezTo>
                    <a:pt x="660" y="402"/>
                    <a:pt x="661" y="402"/>
                    <a:pt x="661" y="402"/>
                  </a:cubicBezTo>
                  <a:cubicBezTo>
                    <a:pt x="662" y="402"/>
                    <a:pt x="662" y="402"/>
                    <a:pt x="662" y="402"/>
                  </a:cubicBezTo>
                  <a:cubicBezTo>
                    <a:pt x="662" y="401"/>
                    <a:pt x="662" y="401"/>
                    <a:pt x="662" y="401"/>
                  </a:cubicBezTo>
                  <a:cubicBezTo>
                    <a:pt x="662" y="400"/>
                    <a:pt x="662" y="400"/>
                    <a:pt x="662" y="399"/>
                  </a:cubicBezTo>
                  <a:cubicBezTo>
                    <a:pt x="662" y="399"/>
                    <a:pt x="662" y="398"/>
                    <a:pt x="662" y="398"/>
                  </a:cubicBezTo>
                  <a:cubicBezTo>
                    <a:pt x="662" y="398"/>
                    <a:pt x="661" y="398"/>
                    <a:pt x="661" y="397"/>
                  </a:cubicBezTo>
                  <a:cubicBezTo>
                    <a:pt x="661" y="397"/>
                    <a:pt x="661" y="397"/>
                    <a:pt x="661" y="397"/>
                  </a:cubicBezTo>
                  <a:cubicBezTo>
                    <a:pt x="661" y="396"/>
                    <a:pt x="660" y="395"/>
                    <a:pt x="660" y="394"/>
                  </a:cubicBezTo>
                  <a:cubicBezTo>
                    <a:pt x="659" y="395"/>
                    <a:pt x="658" y="395"/>
                    <a:pt x="657" y="395"/>
                  </a:cubicBezTo>
                  <a:cubicBezTo>
                    <a:pt x="657" y="395"/>
                    <a:pt x="657" y="395"/>
                    <a:pt x="657" y="394"/>
                  </a:cubicBezTo>
                  <a:cubicBezTo>
                    <a:pt x="658" y="394"/>
                    <a:pt x="658" y="394"/>
                    <a:pt x="658" y="393"/>
                  </a:cubicBezTo>
                  <a:cubicBezTo>
                    <a:pt x="658" y="393"/>
                    <a:pt x="658" y="392"/>
                    <a:pt x="657" y="392"/>
                  </a:cubicBezTo>
                  <a:cubicBezTo>
                    <a:pt x="657" y="392"/>
                    <a:pt x="657" y="391"/>
                    <a:pt x="656" y="391"/>
                  </a:cubicBezTo>
                  <a:cubicBezTo>
                    <a:pt x="656" y="391"/>
                    <a:pt x="656" y="391"/>
                    <a:pt x="656" y="390"/>
                  </a:cubicBezTo>
                  <a:cubicBezTo>
                    <a:pt x="656" y="390"/>
                    <a:pt x="656" y="390"/>
                    <a:pt x="655" y="390"/>
                  </a:cubicBezTo>
                  <a:cubicBezTo>
                    <a:pt x="654" y="389"/>
                    <a:pt x="652" y="388"/>
                    <a:pt x="650" y="389"/>
                  </a:cubicBezTo>
                  <a:cubicBezTo>
                    <a:pt x="649" y="389"/>
                    <a:pt x="649" y="389"/>
                    <a:pt x="648" y="389"/>
                  </a:cubicBezTo>
                  <a:cubicBezTo>
                    <a:pt x="649" y="389"/>
                    <a:pt x="649" y="388"/>
                    <a:pt x="650" y="387"/>
                  </a:cubicBezTo>
                  <a:cubicBezTo>
                    <a:pt x="650" y="387"/>
                    <a:pt x="651" y="387"/>
                    <a:pt x="651" y="387"/>
                  </a:cubicBezTo>
                  <a:cubicBezTo>
                    <a:pt x="651" y="386"/>
                    <a:pt x="650" y="385"/>
                    <a:pt x="650" y="384"/>
                  </a:cubicBezTo>
                  <a:cubicBezTo>
                    <a:pt x="651" y="384"/>
                    <a:pt x="652" y="385"/>
                    <a:pt x="652" y="386"/>
                  </a:cubicBezTo>
                  <a:cubicBezTo>
                    <a:pt x="653" y="387"/>
                    <a:pt x="654" y="388"/>
                    <a:pt x="655" y="387"/>
                  </a:cubicBezTo>
                  <a:cubicBezTo>
                    <a:pt x="656" y="387"/>
                    <a:pt x="656" y="386"/>
                    <a:pt x="657" y="386"/>
                  </a:cubicBezTo>
                  <a:cubicBezTo>
                    <a:pt x="657" y="387"/>
                    <a:pt x="657" y="387"/>
                    <a:pt x="657" y="388"/>
                  </a:cubicBezTo>
                  <a:cubicBezTo>
                    <a:pt x="657" y="389"/>
                    <a:pt x="658" y="391"/>
                    <a:pt x="660" y="391"/>
                  </a:cubicBezTo>
                  <a:cubicBezTo>
                    <a:pt x="660" y="391"/>
                    <a:pt x="660" y="392"/>
                    <a:pt x="661" y="391"/>
                  </a:cubicBezTo>
                  <a:cubicBezTo>
                    <a:pt x="661" y="391"/>
                    <a:pt x="661" y="391"/>
                    <a:pt x="661" y="391"/>
                  </a:cubicBezTo>
                  <a:cubicBezTo>
                    <a:pt x="662" y="389"/>
                    <a:pt x="660" y="387"/>
                    <a:pt x="661" y="385"/>
                  </a:cubicBezTo>
                  <a:cubicBezTo>
                    <a:pt x="662" y="386"/>
                    <a:pt x="662" y="387"/>
                    <a:pt x="662" y="388"/>
                  </a:cubicBezTo>
                  <a:cubicBezTo>
                    <a:pt x="662" y="390"/>
                    <a:pt x="663" y="392"/>
                    <a:pt x="663" y="393"/>
                  </a:cubicBezTo>
                  <a:cubicBezTo>
                    <a:pt x="664" y="394"/>
                    <a:pt x="665" y="395"/>
                    <a:pt x="665" y="396"/>
                  </a:cubicBezTo>
                  <a:cubicBezTo>
                    <a:pt x="665" y="397"/>
                    <a:pt x="665" y="398"/>
                    <a:pt x="663" y="398"/>
                  </a:cubicBezTo>
                  <a:cubicBezTo>
                    <a:pt x="664" y="399"/>
                    <a:pt x="664" y="399"/>
                    <a:pt x="664" y="399"/>
                  </a:cubicBezTo>
                  <a:cubicBezTo>
                    <a:pt x="664" y="400"/>
                    <a:pt x="664" y="400"/>
                    <a:pt x="665" y="400"/>
                  </a:cubicBezTo>
                  <a:cubicBezTo>
                    <a:pt x="665" y="401"/>
                    <a:pt x="666" y="401"/>
                    <a:pt x="666" y="400"/>
                  </a:cubicBezTo>
                  <a:cubicBezTo>
                    <a:pt x="667" y="400"/>
                    <a:pt x="667" y="401"/>
                    <a:pt x="668" y="401"/>
                  </a:cubicBezTo>
                  <a:cubicBezTo>
                    <a:pt x="668" y="401"/>
                    <a:pt x="668" y="401"/>
                    <a:pt x="668" y="400"/>
                  </a:cubicBezTo>
                  <a:cubicBezTo>
                    <a:pt x="668" y="400"/>
                    <a:pt x="669" y="400"/>
                    <a:pt x="669" y="400"/>
                  </a:cubicBezTo>
                  <a:cubicBezTo>
                    <a:pt x="669" y="400"/>
                    <a:pt x="669" y="400"/>
                    <a:pt x="669" y="399"/>
                  </a:cubicBezTo>
                  <a:cubicBezTo>
                    <a:pt x="669" y="399"/>
                    <a:pt x="670" y="399"/>
                    <a:pt x="670" y="399"/>
                  </a:cubicBezTo>
                  <a:cubicBezTo>
                    <a:pt x="670" y="399"/>
                    <a:pt x="670" y="399"/>
                    <a:pt x="670" y="400"/>
                  </a:cubicBezTo>
                  <a:cubicBezTo>
                    <a:pt x="670" y="400"/>
                    <a:pt x="671" y="401"/>
                    <a:pt x="671" y="402"/>
                  </a:cubicBezTo>
                  <a:cubicBezTo>
                    <a:pt x="672" y="403"/>
                    <a:pt x="673" y="404"/>
                    <a:pt x="674" y="405"/>
                  </a:cubicBezTo>
                  <a:cubicBezTo>
                    <a:pt x="674" y="405"/>
                    <a:pt x="674" y="405"/>
                    <a:pt x="674" y="405"/>
                  </a:cubicBezTo>
                  <a:cubicBezTo>
                    <a:pt x="674" y="405"/>
                    <a:pt x="675" y="405"/>
                    <a:pt x="675" y="405"/>
                  </a:cubicBezTo>
                  <a:cubicBezTo>
                    <a:pt x="675" y="403"/>
                    <a:pt x="676" y="402"/>
                    <a:pt x="675" y="401"/>
                  </a:cubicBezTo>
                  <a:cubicBezTo>
                    <a:pt x="675" y="400"/>
                    <a:pt x="674" y="398"/>
                    <a:pt x="674" y="397"/>
                  </a:cubicBezTo>
                  <a:cubicBezTo>
                    <a:pt x="673" y="397"/>
                    <a:pt x="673" y="396"/>
                    <a:pt x="673" y="395"/>
                  </a:cubicBezTo>
                  <a:cubicBezTo>
                    <a:pt x="674" y="395"/>
                    <a:pt x="674" y="395"/>
                    <a:pt x="675" y="395"/>
                  </a:cubicBezTo>
                  <a:cubicBezTo>
                    <a:pt x="673" y="393"/>
                    <a:pt x="672" y="391"/>
                    <a:pt x="672" y="388"/>
                  </a:cubicBezTo>
                  <a:cubicBezTo>
                    <a:pt x="672" y="387"/>
                    <a:pt x="672" y="387"/>
                    <a:pt x="672" y="386"/>
                  </a:cubicBezTo>
                  <a:cubicBezTo>
                    <a:pt x="672" y="386"/>
                    <a:pt x="671" y="386"/>
                    <a:pt x="671" y="386"/>
                  </a:cubicBezTo>
                  <a:cubicBezTo>
                    <a:pt x="670" y="386"/>
                    <a:pt x="670" y="385"/>
                    <a:pt x="671" y="385"/>
                  </a:cubicBezTo>
                  <a:cubicBezTo>
                    <a:pt x="671" y="384"/>
                    <a:pt x="671" y="384"/>
                    <a:pt x="671" y="383"/>
                  </a:cubicBezTo>
                  <a:cubicBezTo>
                    <a:pt x="671" y="383"/>
                    <a:pt x="671" y="383"/>
                    <a:pt x="670" y="383"/>
                  </a:cubicBezTo>
                  <a:cubicBezTo>
                    <a:pt x="670" y="383"/>
                    <a:pt x="670" y="382"/>
                    <a:pt x="670" y="382"/>
                  </a:cubicBezTo>
                  <a:cubicBezTo>
                    <a:pt x="670" y="381"/>
                    <a:pt x="669" y="380"/>
                    <a:pt x="668" y="379"/>
                  </a:cubicBezTo>
                  <a:cubicBezTo>
                    <a:pt x="667" y="379"/>
                    <a:pt x="667" y="378"/>
                    <a:pt x="667" y="377"/>
                  </a:cubicBezTo>
                  <a:cubicBezTo>
                    <a:pt x="669" y="379"/>
                    <a:pt x="670" y="380"/>
                    <a:pt x="672" y="382"/>
                  </a:cubicBezTo>
                  <a:cubicBezTo>
                    <a:pt x="672" y="381"/>
                    <a:pt x="670" y="380"/>
                    <a:pt x="670" y="378"/>
                  </a:cubicBezTo>
                  <a:cubicBezTo>
                    <a:pt x="670" y="377"/>
                    <a:pt x="671" y="376"/>
                    <a:pt x="672" y="376"/>
                  </a:cubicBezTo>
                  <a:cubicBezTo>
                    <a:pt x="671" y="377"/>
                    <a:pt x="671" y="378"/>
                    <a:pt x="671" y="378"/>
                  </a:cubicBezTo>
                  <a:cubicBezTo>
                    <a:pt x="672" y="379"/>
                    <a:pt x="672" y="380"/>
                    <a:pt x="672" y="380"/>
                  </a:cubicBezTo>
                  <a:cubicBezTo>
                    <a:pt x="673" y="381"/>
                    <a:pt x="673" y="381"/>
                    <a:pt x="673" y="382"/>
                  </a:cubicBezTo>
                  <a:cubicBezTo>
                    <a:pt x="673" y="382"/>
                    <a:pt x="673" y="382"/>
                    <a:pt x="673" y="383"/>
                  </a:cubicBezTo>
                  <a:cubicBezTo>
                    <a:pt x="673" y="384"/>
                    <a:pt x="674" y="384"/>
                    <a:pt x="673" y="385"/>
                  </a:cubicBezTo>
                  <a:cubicBezTo>
                    <a:pt x="673" y="386"/>
                    <a:pt x="673" y="386"/>
                    <a:pt x="673" y="387"/>
                  </a:cubicBezTo>
                  <a:cubicBezTo>
                    <a:pt x="673" y="387"/>
                    <a:pt x="674" y="387"/>
                    <a:pt x="674" y="387"/>
                  </a:cubicBezTo>
                  <a:cubicBezTo>
                    <a:pt x="674" y="388"/>
                    <a:pt x="673" y="389"/>
                    <a:pt x="674" y="389"/>
                  </a:cubicBezTo>
                  <a:cubicBezTo>
                    <a:pt x="674" y="390"/>
                    <a:pt x="674" y="390"/>
                    <a:pt x="674" y="390"/>
                  </a:cubicBezTo>
                  <a:cubicBezTo>
                    <a:pt x="675" y="390"/>
                    <a:pt x="675" y="390"/>
                    <a:pt x="675" y="391"/>
                  </a:cubicBezTo>
                  <a:cubicBezTo>
                    <a:pt x="675" y="391"/>
                    <a:pt x="675" y="391"/>
                    <a:pt x="676" y="391"/>
                  </a:cubicBezTo>
                  <a:cubicBezTo>
                    <a:pt x="676" y="391"/>
                    <a:pt x="677" y="390"/>
                    <a:pt x="677" y="390"/>
                  </a:cubicBezTo>
                  <a:cubicBezTo>
                    <a:pt x="678" y="391"/>
                    <a:pt x="676" y="393"/>
                    <a:pt x="677" y="394"/>
                  </a:cubicBezTo>
                  <a:cubicBezTo>
                    <a:pt x="677" y="395"/>
                    <a:pt x="678" y="396"/>
                    <a:pt x="678" y="397"/>
                  </a:cubicBezTo>
                  <a:cubicBezTo>
                    <a:pt x="679" y="397"/>
                    <a:pt x="679" y="398"/>
                    <a:pt x="679" y="399"/>
                  </a:cubicBezTo>
                  <a:cubicBezTo>
                    <a:pt x="679" y="399"/>
                    <a:pt x="679" y="400"/>
                    <a:pt x="679" y="400"/>
                  </a:cubicBezTo>
                  <a:cubicBezTo>
                    <a:pt x="680" y="401"/>
                    <a:pt x="680" y="401"/>
                    <a:pt x="681" y="401"/>
                  </a:cubicBezTo>
                  <a:cubicBezTo>
                    <a:pt x="681" y="401"/>
                    <a:pt x="681" y="402"/>
                    <a:pt x="681" y="402"/>
                  </a:cubicBezTo>
                  <a:cubicBezTo>
                    <a:pt x="681" y="402"/>
                    <a:pt x="680" y="403"/>
                    <a:pt x="680" y="403"/>
                  </a:cubicBezTo>
                  <a:cubicBezTo>
                    <a:pt x="680" y="403"/>
                    <a:pt x="681" y="403"/>
                    <a:pt x="681" y="403"/>
                  </a:cubicBezTo>
                  <a:cubicBezTo>
                    <a:pt x="681" y="404"/>
                    <a:pt x="682" y="404"/>
                    <a:pt x="683" y="405"/>
                  </a:cubicBezTo>
                  <a:cubicBezTo>
                    <a:pt x="683" y="405"/>
                    <a:pt x="684" y="405"/>
                    <a:pt x="684" y="405"/>
                  </a:cubicBezTo>
                  <a:cubicBezTo>
                    <a:pt x="685" y="405"/>
                    <a:pt x="685" y="405"/>
                    <a:pt x="685" y="405"/>
                  </a:cubicBezTo>
                  <a:cubicBezTo>
                    <a:pt x="685" y="405"/>
                    <a:pt x="686" y="405"/>
                    <a:pt x="686" y="405"/>
                  </a:cubicBezTo>
                  <a:cubicBezTo>
                    <a:pt x="686" y="405"/>
                    <a:pt x="686" y="405"/>
                    <a:pt x="685" y="404"/>
                  </a:cubicBezTo>
                  <a:cubicBezTo>
                    <a:pt x="685" y="404"/>
                    <a:pt x="685" y="404"/>
                    <a:pt x="684" y="403"/>
                  </a:cubicBezTo>
                  <a:cubicBezTo>
                    <a:pt x="685" y="403"/>
                    <a:pt x="685" y="403"/>
                    <a:pt x="685" y="404"/>
                  </a:cubicBezTo>
                  <a:cubicBezTo>
                    <a:pt x="686" y="404"/>
                    <a:pt x="686" y="405"/>
                    <a:pt x="687" y="405"/>
                  </a:cubicBezTo>
                  <a:cubicBezTo>
                    <a:pt x="687" y="405"/>
                    <a:pt x="687" y="405"/>
                    <a:pt x="687" y="405"/>
                  </a:cubicBezTo>
                  <a:cubicBezTo>
                    <a:pt x="687" y="405"/>
                    <a:pt x="687" y="405"/>
                    <a:pt x="687" y="405"/>
                  </a:cubicBezTo>
                  <a:cubicBezTo>
                    <a:pt x="688" y="404"/>
                    <a:pt x="688" y="403"/>
                    <a:pt x="688" y="403"/>
                  </a:cubicBezTo>
                  <a:cubicBezTo>
                    <a:pt x="688" y="402"/>
                    <a:pt x="688" y="402"/>
                    <a:pt x="688" y="401"/>
                  </a:cubicBezTo>
                  <a:cubicBezTo>
                    <a:pt x="688" y="401"/>
                    <a:pt x="688" y="400"/>
                    <a:pt x="689" y="400"/>
                  </a:cubicBezTo>
                  <a:cubicBezTo>
                    <a:pt x="689" y="400"/>
                    <a:pt x="689" y="399"/>
                    <a:pt x="690" y="399"/>
                  </a:cubicBezTo>
                  <a:cubicBezTo>
                    <a:pt x="690" y="399"/>
                    <a:pt x="690" y="399"/>
                    <a:pt x="690" y="399"/>
                  </a:cubicBezTo>
                  <a:cubicBezTo>
                    <a:pt x="690" y="398"/>
                    <a:pt x="690" y="399"/>
                    <a:pt x="690" y="399"/>
                  </a:cubicBezTo>
                  <a:cubicBezTo>
                    <a:pt x="690" y="399"/>
                    <a:pt x="690" y="400"/>
                    <a:pt x="690" y="400"/>
                  </a:cubicBezTo>
                  <a:cubicBezTo>
                    <a:pt x="689" y="401"/>
                    <a:pt x="689" y="402"/>
                    <a:pt x="689" y="402"/>
                  </a:cubicBezTo>
                  <a:cubicBezTo>
                    <a:pt x="689" y="403"/>
                    <a:pt x="689" y="403"/>
                    <a:pt x="689" y="403"/>
                  </a:cubicBezTo>
                  <a:cubicBezTo>
                    <a:pt x="688" y="404"/>
                    <a:pt x="689" y="404"/>
                    <a:pt x="688" y="405"/>
                  </a:cubicBezTo>
                  <a:cubicBezTo>
                    <a:pt x="688" y="405"/>
                    <a:pt x="688" y="405"/>
                    <a:pt x="688" y="405"/>
                  </a:cubicBezTo>
                  <a:cubicBezTo>
                    <a:pt x="688" y="406"/>
                    <a:pt x="688" y="406"/>
                    <a:pt x="688" y="406"/>
                  </a:cubicBezTo>
                  <a:cubicBezTo>
                    <a:pt x="688" y="406"/>
                    <a:pt x="688" y="406"/>
                    <a:pt x="688" y="406"/>
                  </a:cubicBezTo>
                  <a:cubicBezTo>
                    <a:pt x="688" y="407"/>
                    <a:pt x="688" y="407"/>
                    <a:pt x="688" y="408"/>
                  </a:cubicBezTo>
                  <a:cubicBezTo>
                    <a:pt x="688" y="408"/>
                    <a:pt x="688" y="408"/>
                    <a:pt x="688" y="409"/>
                  </a:cubicBezTo>
                  <a:cubicBezTo>
                    <a:pt x="688" y="409"/>
                    <a:pt x="689" y="410"/>
                    <a:pt x="690" y="410"/>
                  </a:cubicBezTo>
                  <a:cubicBezTo>
                    <a:pt x="690" y="410"/>
                    <a:pt x="690" y="410"/>
                    <a:pt x="690" y="411"/>
                  </a:cubicBezTo>
                  <a:cubicBezTo>
                    <a:pt x="690" y="411"/>
                    <a:pt x="691" y="411"/>
                    <a:pt x="691" y="410"/>
                  </a:cubicBezTo>
                  <a:cubicBezTo>
                    <a:pt x="691" y="410"/>
                    <a:pt x="692" y="410"/>
                    <a:pt x="692" y="410"/>
                  </a:cubicBezTo>
                  <a:cubicBezTo>
                    <a:pt x="692" y="410"/>
                    <a:pt x="692" y="410"/>
                    <a:pt x="692" y="409"/>
                  </a:cubicBezTo>
                  <a:cubicBezTo>
                    <a:pt x="692" y="409"/>
                    <a:pt x="692" y="408"/>
                    <a:pt x="693" y="408"/>
                  </a:cubicBezTo>
                  <a:cubicBezTo>
                    <a:pt x="693" y="407"/>
                    <a:pt x="693" y="408"/>
                    <a:pt x="693" y="408"/>
                  </a:cubicBezTo>
                  <a:cubicBezTo>
                    <a:pt x="693" y="408"/>
                    <a:pt x="693" y="408"/>
                    <a:pt x="693" y="409"/>
                  </a:cubicBezTo>
                  <a:cubicBezTo>
                    <a:pt x="692" y="409"/>
                    <a:pt x="693" y="410"/>
                    <a:pt x="694" y="410"/>
                  </a:cubicBezTo>
                  <a:cubicBezTo>
                    <a:pt x="693" y="410"/>
                    <a:pt x="693" y="411"/>
                    <a:pt x="693" y="411"/>
                  </a:cubicBezTo>
                  <a:cubicBezTo>
                    <a:pt x="692" y="411"/>
                    <a:pt x="692" y="411"/>
                    <a:pt x="691" y="411"/>
                  </a:cubicBezTo>
                  <a:cubicBezTo>
                    <a:pt x="691" y="412"/>
                    <a:pt x="691" y="412"/>
                    <a:pt x="691" y="413"/>
                  </a:cubicBezTo>
                  <a:cubicBezTo>
                    <a:pt x="691" y="413"/>
                    <a:pt x="692" y="413"/>
                    <a:pt x="692" y="414"/>
                  </a:cubicBezTo>
                  <a:cubicBezTo>
                    <a:pt x="692" y="414"/>
                    <a:pt x="692" y="414"/>
                    <a:pt x="692" y="414"/>
                  </a:cubicBezTo>
                  <a:cubicBezTo>
                    <a:pt x="693" y="414"/>
                    <a:pt x="692" y="415"/>
                    <a:pt x="693" y="415"/>
                  </a:cubicBezTo>
                  <a:cubicBezTo>
                    <a:pt x="693" y="415"/>
                    <a:pt x="693" y="415"/>
                    <a:pt x="694" y="415"/>
                  </a:cubicBezTo>
                  <a:cubicBezTo>
                    <a:pt x="694" y="415"/>
                    <a:pt x="694" y="414"/>
                    <a:pt x="694" y="414"/>
                  </a:cubicBezTo>
                  <a:cubicBezTo>
                    <a:pt x="694" y="413"/>
                    <a:pt x="694" y="413"/>
                    <a:pt x="694" y="412"/>
                  </a:cubicBezTo>
                  <a:cubicBezTo>
                    <a:pt x="694" y="412"/>
                    <a:pt x="695" y="412"/>
                    <a:pt x="695" y="412"/>
                  </a:cubicBezTo>
                  <a:cubicBezTo>
                    <a:pt x="695" y="411"/>
                    <a:pt x="695" y="412"/>
                    <a:pt x="695" y="412"/>
                  </a:cubicBezTo>
                  <a:cubicBezTo>
                    <a:pt x="697" y="412"/>
                    <a:pt x="699" y="412"/>
                    <a:pt x="700" y="413"/>
                  </a:cubicBezTo>
                  <a:cubicBezTo>
                    <a:pt x="700" y="413"/>
                    <a:pt x="700" y="413"/>
                    <a:pt x="700" y="413"/>
                  </a:cubicBezTo>
                  <a:cubicBezTo>
                    <a:pt x="700" y="413"/>
                    <a:pt x="700" y="414"/>
                    <a:pt x="700" y="413"/>
                  </a:cubicBezTo>
                  <a:cubicBezTo>
                    <a:pt x="699" y="413"/>
                    <a:pt x="698" y="413"/>
                    <a:pt x="697" y="413"/>
                  </a:cubicBezTo>
                  <a:cubicBezTo>
                    <a:pt x="697" y="413"/>
                    <a:pt x="697" y="412"/>
                    <a:pt x="696" y="412"/>
                  </a:cubicBezTo>
                  <a:cubicBezTo>
                    <a:pt x="695" y="412"/>
                    <a:pt x="695" y="413"/>
                    <a:pt x="695" y="414"/>
                  </a:cubicBezTo>
                  <a:cubicBezTo>
                    <a:pt x="695" y="415"/>
                    <a:pt x="695" y="415"/>
                    <a:pt x="695" y="416"/>
                  </a:cubicBezTo>
                  <a:cubicBezTo>
                    <a:pt x="697" y="417"/>
                    <a:pt x="698" y="418"/>
                    <a:pt x="700" y="420"/>
                  </a:cubicBezTo>
                  <a:cubicBezTo>
                    <a:pt x="700" y="420"/>
                    <a:pt x="700" y="420"/>
                    <a:pt x="700" y="420"/>
                  </a:cubicBezTo>
                  <a:cubicBezTo>
                    <a:pt x="701" y="421"/>
                    <a:pt x="701" y="421"/>
                    <a:pt x="701" y="421"/>
                  </a:cubicBezTo>
                  <a:cubicBezTo>
                    <a:pt x="701" y="421"/>
                    <a:pt x="702" y="422"/>
                    <a:pt x="702" y="422"/>
                  </a:cubicBezTo>
                  <a:cubicBezTo>
                    <a:pt x="703" y="422"/>
                    <a:pt x="702" y="422"/>
                    <a:pt x="702" y="422"/>
                  </a:cubicBezTo>
                  <a:cubicBezTo>
                    <a:pt x="702" y="422"/>
                    <a:pt x="702" y="422"/>
                    <a:pt x="701" y="422"/>
                  </a:cubicBezTo>
                  <a:cubicBezTo>
                    <a:pt x="701" y="422"/>
                    <a:pt x="701" y="422"/>
                    <a:pt x="700" y="422"/>
                  </a:cubicBezTo>
                  <a:cubicBezTo>
                    <a:pt x="700" y="421"/>
                    <a:pt x="700" y="421"/>
                    <a:pt x="699" y="421"/>
                  </a:cubicBezTo>
                  <a:cubicBezTo>
                    <a:pt x="699" y="420"/>
                    <a:pt x="698" y="419"/>
                    <a:pt x="697" y="418"/>
                  </a:cubicBezTo>
                  <a:cubicBezTo>
                    <a:pt x="696" y="418"/>
                    <a:pt x="695" y="417"/>
                    <a:pt x="694" y="417"/>
                  </a:cubicBezTo>
                  <a:cubicBezTo>
                    <a:pt x="694" y="417"/>
                    <a:pt x="694" y="417"/>
                    <a:pt x="694" y="417"/>
                  </a:cubicBezTo>
                  <a:cubicBezTo>
                    <a:pt x="694" y="417"/>
                    <a:pt x="694" y="418"/>
                    <a:pt x="694" y="418"/>
                  </a:cubicBezTo>
                  <a:cubicBezTo>
                    <a:pt x="694" y="418"/>
                    <a:pt x="694" y="418"/>
                    <a:pt x="694" y="419"/>
                  </a:cubicBezTo>
                  <a:cubicBezTo>
                    <a:pt x="694" y="419"/>
                    <a:pt x="694" y="419"/>
                    <a:pt x="694" y="419"/>
                  </a:cubicBezTo>
                  <a:cubicBezTo>
                    <a:pt x="694" y="420"/>
                    <a:pt x="694" y="420"/>
                    <a:pt x="694" y="420"/>
                  </a:cubicBezTo>
                  <a:cubicBezTo>
                    <a:pt x="694" y="420"/>
                    <a:pt x="695" y="420"/>
                    <a:pt x="695" y="420"/>
                  </a:cubicBezTo>
                  <a:cubicBezTo>
                    <a:pt x="695" y="420"/>
                    <a:pt x="695" y="421"/>
                    <a:pt x="695" y="421"/>
                  </a:cubicBezTo>
                  <a:cubicBezTo>
                    <a:pt x="695" y="421"/>
                    <a:pt x="695" y="421"/>
                    <a:pt x="695" y="421"/>
                  </a:cubicBezTo>
                  <a:cubicBezTo>
                    <a:pt x="695" y="421"/>
                    <a:pt x="695" y="422"/>
                    <a:pt x="695" y="423"/>
                  </a:cubicBezTo>
                  <a:cubicBezTo>
                    <a:pt x="695" y="423"/>
                    <a:pt x="695" y="423"/>
                    <a:pt x="695" y="423"/>
                  </a:cubicBezTo>
                  <a:cubicBezTo>
                    <a:pt x="695" y="423"/>
                    <a:pt x="696" y="423"/>
                    <a:pt x="696" y="424"/>
                  </a:cubicBezTo>
                  <a:cubicBezTo>
                    <a:pt x="696" y="424"/>
                    <a:pt x="697" y="424"/>
                    <a:pt x="697" y="424"/>
                  </a:cubicBezTo>
                  <a:cubicBezTo>
                    <a:pt x="697" y="424"/>
                    <a:pt x="697" y="424"/>
                    <a:pt x="696" y="425"/>
                  </a:cubicBezTo>
                  <a:cubicBezTo>
                    <a:pt x="696" y="425"/>
                    <a:pt x="697" y="426"/>
                    <a:pt x="697" y="426"/>
                  </a:cubicBezTo>
                  <a:cubicBezTo>
                    <a:pt x="697" y="426"/>
                    <a:pt x="698" y="426"/>
                    <a:pt x="699" y="426"/>
                  </a:cubicBezTo>
                  <a:cubicBezTo>
                    <a:pt x="699" y="426"/>
                    <a:pt x="699" y="426"/>
                    <a:pt x="700" y="426"/>
                  </a:cubicBezTo>
                  <a:cubicBezTo>
                    <a:pt x="700" y="427"/>
                    <a:pt x="700" y="427"/>
                    <a:pt x="700" y="427"/>
                  </a:cubicBezTo>
                  <a:cubicBezTo>
                    <a:pt x="700" y="427"/>
                    <a:pt x="700" y="427"/>
                    <a:pt x="700" y="427"/>
                  </a:cubicBezTo>
                  <a:cubicBezTo>
                    <a:pt x="699" y="427"/>
                    <a:pt x="699" y="427"/>
                    <a:pt x="698" y="427"/>
                  </a:cubicBezTo>
                  <a:cubicBezTo>
                    <a:pt x="698" y="427"/>
                    <a:pt x="697" y="427"/>
                    <a:pt x="697" y="427"/>
                  </a:cubicBezTo>
                  <a:cubicBezTo>
                    <a:pt x="696" y="427"/>
                    <a:pt x="696" y="427"/>
                    <a:pt x="696" y="427"/>
                  </a:cubicBezTo>
                  <a:cubicBezTo>
                    <a:pt x="696" y="428"/>
                    <a:pt x="696" y="428"/>
                    <a:pt x="696" y="428"/>
                  </a:cubicBezTo>
                  <a:cubicBezTo>
                    <a:pt x="696" y="429"/>
                    <a:pt x="695" y="429"/>
                    <a:pt x="695" y="430"/>
                  </a:cubicBezTo>
                  <a:cubicBezTo>
                    <a:pt x="695" y="430"/>
                    <a:pt x="695" y="430"/>
                    <a:pt x="695" y="430"/>
                  </a:cubicBezTo>
                  <a:cubicBezTo>
                    <a:pt x="695" y="430"/>
                    <a:pt x="695" y="430"/>
                    <a:pt x="695" y="430"/>
                  </a:cubicBezTo>
                  <a:cubicBezTo>
                    <a:pt x="696" y="430"/>
                    <a:pt x="697" y="431"/>
                    <a:pt x="698" y="432"/>
                  </a:cubicBezTo>
                  <a:cubicBezTo>
                    <a:pt x="698" y="432"/>
                    <a:pt x="698" y="432"/>
                    <a:pt x="698" y="432"/>
                  </a:cubicBezTo>
                  <a:cubicBezTo>
                    <a:pt x="699" y="432"/>
                    <a:pt x="699" y="431"/>
                    <a:pt x="699" y="431"/>
                  </a:cubicBezTo>
                  <a:cubicBezTo>
                    <a:pt x="699" y="430"/>
                    <a:pt x="700" y="430"/>
                    <a:pt x="700" y="430"/>
                  </a:cubicBezTo>
                  <a:cubicBezTo>
                    <a:pt x="700" y="430"/>
                    <a:pt x="700" y="430"/>
                    <a:pt x="700" y="430"/>
                  </a:cubicBezTo>
                  <a:cubicBezTo>
                    <a:pt x="700" y="431"/>
                    <a:pt x="700" y="431"/>
                    <a:pt x="700" y="431"/>
                  </a:cubicBezTo>
                  <a:cubicBezTo>
                    <a:pt x="700" y="431"/>
                    <a:pt x="700" y="431"/>
                    <a:pt x="700" y="431"/>
                  </a:cubicBezTo>
                  <a:cubicBezTo>
                    <a:pt x="700" y="431"/>
                    <a:pt x="700" y="432"/>
                    <a:pt x="700" y="432"/>
                  </a:cubicBezTo>
                  <a:cubicBezTo>
                    <a:pt x="700" y="432"/>
                    <a:pt x="701" y="432"/>
                    <a:pt x="701" y="432"/>
                  </a:cubicBezTo>
                  <a:cubicBezTo>
                    <a:pt x="702" y="433"/>
                    <a:pt x="702" y="433"/>
                    <a:pt x="702" y="433"/>
                  </a:cubicBezTo>
                  <a:cubicBezTo>
                    <a:pt x="703" y="433"/>
                    <a:pt x="703" y="433"/>
                    <a:pt x="703" y="433"/>
                  </a:cubicBezTo>
                  <a:cubicBezTo>
                    <a:pt x="704" y="433"/>
                    <a:pt x="704" y="432"/>
                    <a:pt x="704" y="432"/>
                  </a:cubicBezTo>
                  <a:cubicBezTo>
                    <a:pt x="704" y="432"/>
                    <a:pt x="704" y="432"/>
                    <a:pt x="704" y="432"/>
                  </a:cubicBezTo>
                  <a:cubicBezTo>
                    <a:pt x="704" y="431"/>
                    <a:pt x="704" y="431"/>
                    <a:pt x="704" y="432"/>
                  </a:cubicBezTo>
                  <a:cubicBezTo>
                    <a:pt x="704" y="432"/>
                    <a:pt x="704" y="432"/>
                    <a:pt x="704" y="432"/>
                  </a:cubicBezTo>
                  <a:cubicBezTo>
                    <a:pt x="704" y="433"/>
                    <a:pt x="704" y="433"/>
                    <a:pt x="705" y="433"/>
                  </a:cubicBezTo>
                  <a:cubicBezTo>
                    <a:pt x="704" y="434"/>
                    <a:pt x="704" y="434"/>
                    <a:pt x="704" y="434"/>
                  </a:cubicBezTo>
                  <a:cubicBezTo>
                    <a:pt x="703" y="434"/>
                    <a:pt x="703" y="434"/>
                    <a:pt x="703" y="434"/>
                  </a:cubicBezTo>
                  <a:cubicBezTo>
                    <a:pt x="703" y="434"/>
                    <a:pt x="703" y="435"/>
                    <a:pt x="703" y="435"/>
                  </a:cubicBezTo>
                  <a:cubicBezTo>
                    <a:pt x="703" y="436"/>
                    <a:pt x="704" y="437"/>
                    <a:pt x="704" y="437"/>
                  </a:cubicBezTo>
                  <a:cubicBezTo>
                    <a:pt x="704" y="437"/>
                    <a:pt x="705" y="438"/>
                    <a:pt x="705" y="438"/>
                  </a:cubicBezTo>
                  <a:cubicBezTo>
                    <a:pt x="705" y="438"/>
                    <a:pt x="705" y="439"/>
                    <a:pt x="706" y="439"/>
                  </a:cubicBezTo>
                  <a:cubicBezTo>
                    <a:pt x="706" y="439"/>
                    <a:pt x="706" y="440"/>
                    <a:pt x="707" y="440"/>
                  </a:cubicBezTo>
                  <a:cubicBezTo>
                    <a:pt x="707" y="440"/>
                    <a:pt x="707" y="440"/>
                    <a:pt x="708" y="440"/>
                  </a:cubicBezTo>
                  <a:cubicBezTo>
                    <a:pt x="708" y="440"/>
                    <a:pt x="708" y="440"/>
                    <a:pt x="708" y="440"/>
                  </a:cubicBezTo>
                  <a:cubicBezTo>
                    <a:pt x="708" y="440"/>
                    <a:pt x="708" y="440"/>
                    <a:pt x="708" y="440"/>
                  </a:cubicBezTo>
                  <a:cubicBezTo>
                    <a:pt x="708" y="440"/>
                    <a:pt x="708" y="441"/>
                    <a:pt x="707" y="441"/>
                  </a:cubicBezTo>
                  <a:cubicBezTo>
                    <a:pt x="707" y="441"/>
                    <a:pt x="708" y="441"/>
                    <a:pt x="707" y="442"/>
                  </a:cubicBezTo>
                  <a:cubicBezTo>
                    <a:pt x="707" y="442"/>
                    <a:pt x="707" y="442"/>
                    <a:pt x="707" y="443"/>
                  </a:cubicBezTo>
                  <a:cubicBezTo>
                    <a:pt x="707" y="443"/>
                    <a:pt x="708" y="443"/>
                    <a:pt x="708" y="443"/>
                  </a:cubicBezTo>
                  <a:cubicBezTo>
                    <a:pt x="709" y="443"/>
                    <a:pt x="709" y="443"/>
                    <a:pt x="710" y="443"/>
                  </a:cubicBezTo>
                  <a:cubicBezTo>
                    <a:pt x="710" y="443"/>
                    <a:pt x="710" y="443"/>
                    <a:pt x="710" y="443"/>
                  </a:cubicBezTo>
                  <a:cubicBezTo>
                    <a:pt x="710" y="443"/>
                    <a:pt x="710" y="443"/>
                    <a:pt x="710" y="443"/>
                  </a:cubicBezTo>
                  <a:cubicBezTo>
                    <a:pt x="710" y="444"/>
                    <a:pt x="711" y="445"/>
                    <a:pt x="710" y="445"/>
                  </a:cubicBezTo>
                  <a:cubicBezTo>
                    <a:pt x="710" y="446"/>
                    <a:pt x="711" y="446"/>
                    <a:pt x="711" y="446"/>
                  </a:cubicBezTo>
                  <a:cubicBezTo>
                    <a:pt x="711" y="446"/>
                    <a:pt x="712" y="447"/>
                    <a:pt x="712" y="447"/>
                  </a:cubicBezTo>
                  <a:cubicBezTo>
                    <a:pt x="712" y="447"/>
                    <a:pt x="712" y="448"/>
                    <a:pt x="712" y="448"/>
                  </a:cubicBezTo>
                  <a:cubicBezTo>
                    <a:pt x="712" y="449"/>
                    <a:pt x="713" y="449"/>
                    <a:pt x="713" y="449"/>
                  </a:cubicBezTo>
                  <a:cubicBezTo>
                    <a:pt x="713" y="449"/>
                    <a:pt x="713" y="449"/>
                    <a:pt x="714" y="450"/>
                  </a:cubicBezTo>
                  <a:cubicBezTo>
                    <a:pt x="714" y="450"/>
                    <a:pt x="713" y="450"/>
                    <a:pt x="713" y="450"/>
                  </a:cubicBezTo>
                  <a:cubicBezTo>
                    <a:pt x="713" y="450"/>
                    <a:pt x="713" y="450"/>
                    <a:pt x="712" y="449"/>
                  </a:cubicBezTo>
                  <a:cubicBezTo>
                    <a:pt x="712" y="449"/>
                    <a:pt x="711" y="448"/>
                    <a:pt x="711" y="447"/>
                  </a:cubicBezTo>
                  <a:cubicBezTo>
                    <a:pt x="711" y="447"/>
                    <a:pt x="710" y="447"/>
                    <a:pt x="710" y="447"/>
                  </a:cubicBezTo>
                  <a:cubicBezTo>
                    <a:pt x="710" y="447"/>
                    <a:pt x="710" y="447"/>
                    <a:pt x="709" y="447"/>
                  </a:cubicBezTo>
                  <a:cubicBezTo>
                    <a:pt x="709" y="448"/>
                    <a:pt x="710" y="448"/>
                    <a:pt x="710" y="448"/>
                  </a:cubicBezTo>
                  <a:cubicBezTo>
                    <a:pt x="710" y="448"/>
                    <a:pt x="710" y="449"/>
                    <a:pt x="710" y="449"/>
                  </a:cubicBezTo>
                  <a:cubicBezTo>
                    <a:pt x="710" y="450"/>
                    <a:pt x="711" y="450"/>
                    <a:pt x="711" y="450"/>
                  </a:cubicBezTo>
                  <a:cubicBezTo>
                    <a:pt x="711" y="451"/>
                    <a:pt x="710" y="451"/>
                    <a:pt x="710" y="451"/>
                  </a:cubicBezTo>
                  <a:cubicBezTo>
                    <a:pt x="710" y="451"/>
                    <a:pt x="710" y="452"/>
                    <a:pt x="711" y="452"/>
                  </a:cubicBezTo>
                  <a:cubicBezTo>
                    <a:pt x="711" y="452"/>
                    <a:pt x="711" y="452"/>
                    <a:pt x="711" y="452"/>
                  </a:cubicBezTo>
                  <a:cubicBezTo>
                    <a:pt x="711" y="452"/>
                    <a:pt x="710" y="452"/>
                    <a:pt x="710" y="453"/>
                  </a:cubicBezTo>
                  <a:cubicBezTo>
                    <a:pt x="710" y="453"/>
                    <a:pt x="709" y="453"/>
                    <a:pt x="709" y="453"/>
                  </a:cubicBezTo>
                  <a:cubicBezTo>
                    <a:pt x="709" y="454"/>
                    <a:pt x="708" y="454"/>
                    <a:pt x="708" y="453"/>
                  </a:cubicBezTo>
                  <a:cubicBezTo>
                    <a:pt x="708" y="453"/>
                    <a:pt x="708" y="453"/>
                    <a:pt x="708" y="453"/>
                  </a:cubicBezTo>
                  <a:cubicBezTo>
                    <a:pt x="709" y="452"/>
                    <a:pt x="709" y="452"/>
                    <a:pt x="709" y="452"/>
                  </a:cubicBezTo>
                  <a:cubicBezTo>
                    <a:pt x="710" y="452"/>
                    <a:pt x="710" y="451"/>
                    <a:pt x="710" y="451"/>
                  </a:cubicBezTo>
                  <a:cubicBezTo>
                    <a:pt x="710" y="451"/>
                    <a:pt x="710" y="451"/>
                    <a:pt x="710" y="451"/>
                  </a:cubicBezTo>
                  <a:cubicBezTo>
                    <a:pt x="710" y="450"/>
                    <a:pt x="710" y="450"/>
                    <a:pt x="710" y="450"/>
                  </a:cubicBezTo>
                  <a:cubicBezTo>
                    <a:pt x="709" y="450"/>
                    <a:pt x="709" y="450"/>
                    <a:pt x="709" y="450"/>
                  </a:cubicBezTo>
                  <a:cubicBezTo>
                    <a:pt x="709" y="449"/>
                    <a:pt x="709" y="449"/>
                    <a:pt x="709" y="449"/>
                  </a:cubicBezTo>
                  <a:cubicBezTo>
                    <a:pt x="709" y="449"/>
                    <a:pt x="709" y="448"/>
                    <a:pt x="709" y="448"/>
                  </a:cubicBezTo>
                  <a:cubicBezTo>
                    <a:pt x="709" y="448"/>
                    <a:pt x="709" y="448"/>
                    <a:pt x="709" y="447"/>
                  </a:cubicBezTo>
                  <a:cubicBezTo>
                    <a:pt x="708" y="447"/>
                    <a:pt x="707" y="448"/>
                    <a:pt x="707" y="448"/>
                  </a:cubicBezTo>
                  <a:cubicBezTo>
                    <a:pt x="707" y="449"/>
                    <a:pt x="708" y="450"/>
                    <a:pt x="707" y="450"/>
                  </a:cubicBezTo>
                  <a:cubicBezTo>
                    <a:pt x="707" y="451"/>
                    <a:pt x="707" y="451"/>
                    <a:pt x="707" y="451"/>
                  </a:cubicBezTo>
                  <a:cubicBezTo>
                    <a:pt x="707" y="451"/>
                    <a:pt x="707" y="452"/>
                    <a:pt x="707" y="452"/>
                  </a:cubicBezTo>
                  <a:cubicBezTo>
                    <a:pt x="706" y="452"/>
                    <a:pt x="706" y="452"/>
                    <a:pt x="706" y="452"/>
                  </a:cubicBezTo>
                  <a:cubicBezTo>
                    <a:pt x="706" y="453"/>
                    <a:pt x="706" y="453"/>
                    <a:pt x="706" y="454"/>
                  </a:cubicBezTo>
                  <a:cubicBezTo>
                    <a:pt x="706" y="454"/>
                    <a:pt x="706" y="455"/>
                    <a:pt x="706" y="456"/>
                  </a:cubicBezTo>
                  <a:cubicBezTo>
                    <a:pt x="706" y="456"/>
                    <a:pt x="706" y="456"/>
                    <a:pt x="706" y="456"/>
                  </a:cubicBezTo>
                  <a:cubicBezTo>
                    <a:pt x="706" y="456"/>
                    <a:pt x="707" y="456"/>
                    <a:pt x="707" y="456"/>
                  </a:cubicBezTo>
                  <a:cubicBezTo>
                    <a:pt x="707" y="456"/>
                    <a:pt x="707" y="456"/>
                    <a:pt x="707" y="456"/>
                  </a:cubicBezTo>
                  <a:cubicBezTo>
                    <a:pt x="708" y="455"/>
                    <a:pt x="708" y="456"/>
                    <a:pt x="708" y="456"/>
                  </a:cubicBezTo>
                  <a:cubicBezTo>
                    <a:pt x="708" y="457"/>
                    <a:pt x="709" y="457"/>
                    <a:pt x="709" y="458"/>
                  </a:cubicBezTo>
                  <a:cubicBezTo>
                    <a:pt x="709" y="458"/>
                    <a:pt x="709" y="458"/>
                    <a:pt x="709" y="459"/>
                  </a:cubicBezTo>
                  <a:cubicBezTo>
                    <a:pt x="709" y="459"/>
                    <a:pt x="709" y="460"/>
                    <a:pt x="709" y="460"/>
                  </a:cubicBezTo>
                  <a:cubicBezTo>
                    <a:pt x="709" y="460"/>
                    <a:pt x="710" y="460"/>
                    <a:pt x="710" y="460"/>
                  </a:cubicBezTo>
                  <a:cubicBezTo>
                    <a:pt x="710" y="460"/>
                    <a:pt x="710" y="460"/>
                    <a:pt x="710" y="460"/>
                  </a:cubicBezTo>
                  <a:cubicBezTo>
                    <a:pt x="711" y="459"/>
                    <a:pt x="711" y="459"/>
                    <a:pt x="712" y="459"/>
                  </a:cubicBezTo>
                  <a:cubicBezTo>
                    <a:pt x="712" y="459"/>
                    <a:pt x="712" y="459"/>
                    <a:pt x="712" y="458"/>
                  </a:cubicBezTo>
                  <a:cubicBezTo>
                    <a:pt x="713" y="458"/>
                    <a:pt x="713" y="458"/>
                    <a:pt x="713" y="458"/>
                  </a:cubicBezTo>
                  <a:cubicBezTo>
                    <a:pt x="713" y="457"/>
                    <a:pt x="713" y="457"/>
                    <a:pt x="712" y="456"/>
                  </a:cubicBezTo>
                  <a:cubicBezTo>
                    <a:pt x="712" y="456"/>
                    <a:pt x="712" y="456"/>
                    <a:pt x="712" y="456"/>
                  </a:cubicBezTo>
                  <a:cubicBezTo>
                    <a:pt x="712" y="456"/>
                    <a:pt x="712" y="456"/>
                    <a:pt x="712" y="456"/>
                  </a:cubicBezTo>
                  <a:cubicBezTo>
                    <a:pt x="713" y="455"/>
                    <a:pt x="713" y="455"/>
                    <a:pt x="713" y="455"/>
                  </a:cubicBezTo>
                  <a:cubicBezTo>
                    <a:pt x="713" y="454"/>
                    <a:pt x="712" y="454"/>
                    <a:pt x="712" y="454"/>
                  </a:cubicBezTo>
                  <a:cubicBezTo>
                    <a:pt x="712" y="454"/>
                    <a:pt x="712" y="453"/>
                    <a:pt x="712" y="453"/>
                  </a:cubicBezTo>
                  <a:cubicBezTo>
                    <a:pt x="712" y="453"/>
                    <a:pt x="713" y="454"/>
                    <a:pt x="713" y="454"/>
                  </a:cubicBezTo>
                  <a:cubicBezTo>
                    <a:pt x="713" y="454"/>
                    <a:pt x="714" y="454"/>
                    <a:pt x="714" y="454"/>
                  </a:cubicBezTo>
                  <a:cubicBezTo>
                    <a:pt x="714" y="453"/>
                    <a:pt x="714" y="453"/>
                    <a:pt x="715" y="453"/>
                  </a:cubicBezTo>
                  <a:cubicBezTo>
                    <a:pt x="715" y="452"/>
                    <a:pt x="717" y="452"/>
                    <a:pt x="717" y="452"/>
                  </a:cubicBezTo>
                  <a:cubicBezTo>
                    <a:pt x="718" y="452"/>
                    <a:pt x="718" y="453"/>
                    <a:pt x="719" y="453"/>
                  </a:cubicBezTo>
                  <a:cubicBezTo>
                    <a:pt x="719" y="453"/>
                    <a:pt x="720" y="452"/>
                    <a:pt x="720" y="452"/>
                  </a:cubicBezTo>
                  <a:cubicBezTo>
                    <a:pt x="720" y="453"/>
                    <a:pt x="720" y="453"/>
                    <a:pt x="720" y="453"/>
                  </a:cubicBezTo>
                  <a:cubicBezTo>
                    <a:pt x="720" y="453"/>
                    <a:pt x="720" y="453"/>
                    <a:pt x="720" y="453"/>
                  </a:cubicBezTo>
                  <a:cubicBezTo>
                    <a:pt x="720" y="454"/>
                    <a:pt x="720" y="454"/>
                    <a:pt x="720" y="454"/>
                  </a:cubicBezTo>
                  <a:cubicBezTo>
                    <a:pt x="718" y="454"/>
                    <a:pt x="717" y="454"/>
                    <a:pt x="716" y="454"/>
                  </a:cubicBezTo>
                  <a:cubicBezTo>
                    <a:pt x="716" y="454"/>
                    <a:pt x="716" y="454"/>
                    <a:pt x="716" y="454"/>
                  </a:cubicBezTo>
                  <a:cubicBezTo>
                    <a:pt x="715" y="454"/>
                    <a:pt x="715" y="454"/>
                    <a:pt x="715" y="454"/>
                  </a:cubicBezTo>
                  <a:cubicBezTo>
                    <a:pt x="715" y="454"/>
                    <a:pt x="715" y="454"/>
                    <a:pt x="715" y="455"/>
                  </a:cubicBezTo>
                  <a:cubicBezTo>
                    <a:pt x="715" y="455"/>
                    <a:pt x="714" y="455"/>
                    <a:pt x="714" y="456"/>
                  </a:cubicBezTo>
                  <a:cubicBezTo>
                    <a:pt x="714" y="456"/>
                    <a:pt x="714" y="457"/>
                    <a:pt x="714" y="457"/>
                  </a:cubicBezTo>
                  <a:cubicBezTo>
                    <a:pt x="715" y="457"/>
                    <a:pt x="715" y="457"/>
                    <a:pt x="715" y="458"/>
                  </a:cubicBezTo>
                  <a:cubicBezTo>
                    <a:pt x="715" y="458"/>
                    <a:pt x="715" y="458"/>
                    <a:pt x="715" y="458"/>
                  </a:cubicBezTo>
                  <a:cubicBezTo>
                    <a:pt x="715" y="458"/>
                    <a:pt x="715" y="458"/>
                    <a:pt x="715" y="458"/>
                  </a:cubicBezTo>
                  <a:cubicBezTo>
                    <a:pt x="714" y="459"/>
                    <a:pt x="714" y="460"/>
                    <a:pt x="713" y="461"/>
                  </a:cubicBezTo>
                  <a:cubicBezTo>
                    <a:pt x="713" y="461"/>
                    <a:pt x="713" y="463"/>
                    <a:pt x="712" y="463"/>
                  </a:cubicBezTo>
                  <a:cubicBezTo>
                    <a:pt x="712" y="463"/>
                    <a:pt x="712" y="463"/>
                    <a:pt x="712" y="463"/>
                  </a:cubicBezTo>
                  <a:cubicBezTo>
                    <a:pt x="711" y="464"/>
                    <a:pt x="712" y="464"/>
                    <a:pt x="712" y="465"/>
                  </a:cubicBezTo>
                  <a:cubicBezTo>
                    <a:pt x="712" y="465"/>
                    <a:pt x="712" y="466"/>
                    <a:pt x="712" y="466"/>
                  </a:cubicBezTo>
                  <a:cubicBezTo>
                    <a:pt x="712" y="467"/>
                    <a:pt x="713" y="468"/>
                    <a:pt x="714" y="468"/>
                  </a:cubicBezTo>
                  <a:cubicBezTo>
                    <a:pt x="714" y="469"/>
                    <a:pt x="715" y="469"/>
                    <a:pt x="715" y="469"/>
                  </a:cubicBezTo>
                  <a:cubicBezTo>
                    <a:pt x="715" y="468"/>
                    <a:pt x="715" y="468"/>
                    <a:pt x="715" y="467"/>
                  </a:cubicBezTo>
                  <a:cubicBezTo>
                    <a:pt x="716" y="466"/>
                    <a:pt x="716" y="465"/>
                    <a:pt x="717" y="465"/>
                  </a:cubicBezTo>
                  <a:cubicBezTo>
                    <a:pt x="717" y="464"/>
                    <a:pt x="717" y="462"/>
                    <a:pt x="717" y="462"/>
                  </a:cubicBezTo>
                  <a:cubicBezTo>
                    <a:pt x="716" y="462"/>
                    <a:pt x="716" y="461"/>
                    <a:pt x="716" y="461"/>
                  </a:cubicBezTo>
                  <a:cubicBezTo>
                    <a:pt x="716" y="461"/>
                    <a:pt x="716" y="461"/>
                    <a:pt x="717" y="461"/>
                  </a:cubicBezTo>
                  <a:cubicBezTo>
                    <a:pt x="718" y="460"/>
                    <a:pt x="719" y="459"/>
                    <a:pt x="720" y="458"/>
                  </a:cubicBezTo>
                  <a:cubicBezTo>
                    <a:pt x="720" y="458"/>
                    <a:pt x="720" y="459"/>
                    <a:pt x="720" y="459"/>
                  </a:cubicBezTo>
                  <a:cubicBezTo>
                    <a:pt x="720" y="459"/>
                    <a:pt x="719" y="459"/>
                    <a:pt x="719" y="459"/>
                  </a:cubicBezTo>
                  <a:cubicBezTo>
                    <a:pt x="719" y="459"/>
                    <a:pt x="719" y="459"/>
                    <a:pt x="719" y="460"/>
                  </a:cubicBezTo>
                  <a:cubicBezTo>
                    <a:pt x="719" y="460"/>
                    <a:pt x="720" y="460"/>
                    <a:pt x="720" y="461"/>
                  </a:cubicBezTo>
                  <a:cubicBezTo>
                    <a:pt x="719" y="461"/>
                    <a:pt x="718" y="461"/>
                    <a:pt x="718" y="462"/>
                  </a:cubicBezTo>
                  <a:cubicBezTo>
                    <a:pt x="719" y="462"/>
                    <a:pt x="719" y="462"/>
                    <a:pt x="719" y="462"/>
                  </a:cubicBezTo>
                  <a:cubicBezTo>
                    <a:pt x="720" y="462"/>
                    <a:pt x="719" y="463"/>
                    <a:pt x="719" y="463"/>
                  </a:cubicBezTo>
                  <a:cubicBezTo>
                    <a:pt x="719" y="463"/>
                    <a:pt x="718" y="463"/>
                    <a:pt x="718" y="463"/>
                  </a:cubicBezTo>
                  <a:cubicBezTo>
                    <a:pt x="718" y="464"/>
                    <a:pt x="718" y="464"/>
                    <a:pt x="718" y="464"/>
                  </a:cubicBezTo>
                  <a:cubicBezTo>
                    <a:pt x="718" y="465"/>
                    <a:pt x="718" y="465"/>
                    <a:pt x="718" y="465"/>
                  </a:cubicBezTo>
                  <a:cubicBezTo>
                    <a:pt x="718" y="465"/>
                    <a:pt x="718" y="466"/>
                    <a:pt x="718" y="466"/>
                  </a:cubicBezTo>
                  <a:cubicBezTo>
                    <a:pt x="718" y="466"/>
                    <a:pt x="719" y="467"/>
                    <a:pt x="719" y="467"/>
                  </a:cubicBezTo>
                  <a:cubicBezTo>
                    <a:pt x="719" y="467"/>
                    <a:pt x="719" y="467"/>
                    <a:pt x="719" y="468"/>
                  </a:cubicBezTo>
                  <a:cubicBezTo>
                    <a:pt x="719" y="468"/>
                    <a:pt x="718" y="468"/>
                    <a:pt x="718" y="468"/>
                  </a:cubicBezTo>
                  <a:cubicBezTo>
                    <a:pt x="718" y="469"/>
                    <a:pt x="718" y="469"/>
                    <a:pt x="718" y="469"/>
                  </a:cubicBezTo>
                  <a:cubicBezTo>
                    <a:pt x="717" y="469"/>
                    <a:pt x="717" y="470"/>
                    <a:pt x="717" y="470"/>
                  </a:cubicBezTo>
                  <a:cubicBezTo>
                    <a:pt x="718" y="471"/>
                    <a:pt x="718" y="471"/>
                    <a:pt x="717" y="472"/>
                  </a:cubicBezTo>
                  <a:cubicBezTo>
                    <a:pt x="717" y="471"/>
                    <a:pt x="717" y="471"/>
                    <a:pt x="716" y="471"/>
                  </a:cubicBezTo>
                  <a:cubicBezTo>
                    <a:pt x="716" y="472"/>
                    <a:pt x="716" y="474"/>
                    <a:pt x="717" y="474"/>
                  </a:cubicBezTo>
                  <a:cubicBezTo>
                    <a:pt x="717" y="475"/>
                    <a:pt x="717" y="475"/>
                    <a:pt x="717" y="475"/>
                  </a:cubicBezTo>
                  <a:cubicBezTo>
                    <a:pt x="717" y="475"/>
                    <a:pt x="717" y="476"/>
                    <a:pt x="717" y="476"/>
                  </a:cubicBezTo>
                  <a:cubicBezTo>
                    <a:pt x="717" y="477"/>
                    <a:pt x="718" y="477"/>
                    <a:pt x="718" y="476"/>
                  </a:cubicBezTo>
                  <a:cubicBezTo>
                    <a:pt x="718" y="476"/>
                    <a:pt x="718" y="475"/>
                    <a:pt x="718" y="475"/>
                  </a:cubicBezTo>
                  <a:cubicBezTo>
                    <a:pt x="718" y="475"/>
                    <a:pt x="718" y="475"/>
                    <a:pt x="718" y="474"/>
                  </a:cubicBezTo>
                  <a:cubicBezTo>
                    <a:pt x="719" y="474"/>
                    <a:pt x="719" y="474"/>
                    <a:pt x="720" y="473"/>
                  </a:cubicBezTo>
                  <a:cubicBezTo>
                    <a:pt x="720" y="473"/>
                    <a:pt x="720" y="473"/>
                    <a:pt x="720" y="473"/>
                  </a:cubicBezTo>
                  <a:cubicBezTo>
                    <a:pt x="720" y="473"/>
                    <a:pt x="720" y="472"/>
                    <a:pt x="720" y="472"/>
                  </a:cubicBezTo>
                  <a:cubicBezTo>
                    <a:pt x="720" y="471"/>
                    <a:pt x="720" y="471"/>
                    <a:pt x="721" y="470"/>
                  </a:cubicBezTo>
                  <a:cubicBezTo>
                    <a:pt x="721" y="470"/>
                    <a:pt x="721" y="470"/>
                    <a:pt x="721" y="470"/>
                  </a:cubicBezTo>
                  <a:cubicBezTo>
                    <a:pt x="721" y="470"/>
                    <a:pt x="722" y="470"/>
                    <a:pt x="722" y="470"/>
                  </a:cubicBezTo>
                  <a:cubicBezTo>
                    <a:pt x="722" y="471"/>
                    <a:pt x="722" y="471"/>
                    <a:pt x="722" y="472"/>
                  </a:cubicBezTo>
                  <a:cubicBezTo>
                    <a:pt x="722" y="472"/>
                    <a:pt x="722" y="473"/>
                    <a:pt x="723" y="474"/>
                  </a:cubicBezTo>
                  <a:cubicBezTo>
                    <a:pt x="723" y="474"/>
                    <a:pt x="723" y="474"/>
                    <a:pt x="723" y="474"/>
                  </a:cubicBezTo>
                  <a:cubicBezTo>
                    <a:pt x="723" y="474"/>
                    <a:pt x="724" y="473"/>
                    <a:pt x="724" y="473"/>
                  </a:cubicBezTo>
                  <a:cubicBezTo>
                    <a:pt x="724" y="473"/>
                    <a:pt x="724" y="473"/>
                    <a:pt x="724" y="472"/>
                  </a:cubicBezTo>
                  <a:cubicBezTo>
                    <a:pt x="724" y="472"/>
                    <a:pt x="724" y="472"/>
                    <a:pt x="725" y="472"/>
                  </a:cubicBezTo>
                  <a:cubicBezTo>
                    <a:pt x="725" y="472"/>
                    <a:pt x="725" y="473"/>
                    <a:pt x="725" y="473"/>
                  </a:cubicBezTo>
                  <a:cubicBezTo>
                    <a:pt x="724" y="474"/>
                    <a:pt x="724" y="474"/>
                    <a:pt x="724" y="475"/>
                  </a:cubicBezTo>
                  <a:cubicBezTo>
                    <a:pt x="724" y="475"/>
                    <a:pt x="725" y="475"/>
                    <a:pt x="725" y="475"/>
                  </a:cubicBezTo>
                  <a:cubicBezTo>
                    <a:pt x="726" y="475"/>
                    <a:pt x="726" y="475"/>
                    <a:pt x="726" y="474"/>
                  </a:cubicBezTo>
                  <a:cubicBezTo>
                    <a:pt x="727" y="472"/>
                    <a:pt x="728" y="471"/>
                    <a:pt x="728" y="469"/>
                  </a:cubicBezTo>
                  <a:cubicBezTo>
                    <a:pt x="728" y="466"/>
                    <a:pt x="726" y="463"/>
                    <a:pt x="725" y="460"/>
                  </a:cubicBezTo>
                  <a:cubicBezTo>
                    <a:pt x="724" y="459"/>
                    <a:pt x="724" y="459"/>
                    <a:pt x="723" y="459"/>
                  </a:cubicBezTo>
                  <a:cubicBezTo>
                    <a:pt x="723" y="459"/>
                    <a:pt x="722" y="459"/>
                    <a:pt x="722" y="459"/>
                  </a:cubicBezTo>
                  <a:cubicBezTo>
                    <a:pt x="721" y="458"/>
                    <a:pt x="722" y="458"/>
                    <a:pt x="722" y="458"/>
                  </a:cubicBezTo>
                  <a:cubicBezTo>
                    <a:pt x="723" y="457"/>
                    <a:pt x="725" y="456"/>
                    <a:pt x="726" y="456"/>
                  </a:cubicBezTo>
                  <a:cubicBezTo>
                    <a:pt x="726" y="456"/>
                    <a:pt x="726" y="456"/>
                    <a:pt x="726" y="456"/>
                  </a:cubicBezTo>
                  <a:cubicBezTo>
                    <a:pt x="727" y="456"/>
                    <a:pt x="727" y="456"/>
                    <a:pt x="726" y="457"/>
                  </a:cubicBezTo>
                  <a:cubicBezTo>
                    <a:pt x="726" y="457"/>
                    <a:pt x="725" y="457"/>
                    <a:pt x="725" y="457"/>
                  </a:cubicBezTo>
                  <a:cubicBezTo>
                    <a:pt x="725" y="458"/>
                    <a:pt x="725" y="459"/>
                    <a:pt x="726" y="459"/>
                  </a:cubicBezTo>
                  <a:cubicBezTo>
                    <a:pt x="727" y="461"/>
                    <a:pt x="729" y="464"/>
                    <a:pt x="729" y="467"/>
                  </a:cubicBezTo>
                  <a:cubicBezTo>
                    <a:pt x="729" y="467"/>
                    <a:pt x="729" y="468"/>
                    <a:pt x="729" y="468"/>
                  </a:cubicBezTo>
                  <a:cubicBezTo>
                    <a:pt x="729" y="469"/>
                    <a:pt x="729" y="469"/>
                    <a:pt x="729" y="470"/>
                  </a:cubicBezTo>
                  <a:cubicBezTo>
                    <a:pt x="728" y="471"/>
                    <a:pt x="729" y="472"/>
                    <a:pt x="729" y="472"/>
                  </a:cubicBezTo>
                  <a:cubicBezTo>
                    <a:pt x="730" y="473"/>
                    <a:pt x="731" y="473"/>
                    <a:pt x="732" y="472"/>
                  </a:cubicBezTo>
                  <a:cubicBezTo>
                    <a:pt x="732" y="473"/>
                    <a:pt x="731" y="474"/>
                    <a:pt x="731" y="474"/>
                  </a:cubicBezTo>
                  <a:cubicBezTo>
                    <a:pt x="730" y="474"/>
                    <a:pt x="730" y="474"/>
                    <a:pt x="729" y="474"/>
                  </a:cubicBezTo>
                  <a:cubicBezTo>
                    <a:pt x="728" y="474"/>
                    <a:pt x="728" y="475"/>
                    <a:pt x="728" y="475"/>
                  </a:cubicBezTo>
                  <a:cubicBezTo>
                    <a:pt x="727" y="475"/>
                    <a:pt x="727" y="476"/>
                    <a:pt x="727" y="476"/>
                  </a:cubicBezTo>
                  <a:cubicBezTo>
                    <a:pt x="727" y="477"/>
                    <a:pt x="727" y="477"/>
                    <a:pt x="727" y="478"/>
                  </a:cubicBezTo>
                  <a:cubicBezTo>
                    <a:pt x="728" y="480"/>
                    <a:pt x="729" y="482"/>
                    <a:pt x="729" y="484"/>
                  </a:cubicBezTo>
                  <a:cubicBezTo>
                    <a:pt x="729" y="484"/>
                    <a:pt x="729" y="485"/>
                    <a:pt x="729" y="485"/>
                  </a:cubicBezTo>
                  <a:cubicBezTo>
                    <a:pt x="729" y="485"/>
                    <a:pt x="729" y="485"/>
                    <a:pt x="729" y="485"/>
                  </a:cubicBezTo>
                  <a:cubicBezTo>
                    <a:pt x="732" y="485"/>
                    <a:pt x="734" y="483"/>
                    <a:pt x="735" y="482"/>
                  </a:cubicBezTo>
                  <a:cubicBezTo>
                    <a:pt x="737" y="480"/>
                    <a:pt x="738" y="478"/>
                    <a:pt x="739" y="476"/>
                  </a:cubicBezTo>
                  <a:cubicBezTo>
                    <a:pt x="739" y="474"/>
                    <a:pt x="740" y="472"/>
                    <a:pt x="739" y="471"/>
                  </a:cubicBezTo>
                  <a:cubicBezTo>
                    <a:pt x="739" y="469"/>
                    <a:pt x="738" y="467"/>
                    <a:pt x="738" y="465"/>
                  </a:cubicBezTo>
                  <a:cubicBezTo>
                    <a:pt x="738" y="464"/>
                    <a:pt x="738" y="463"/>
                    <a:pt x="738" y="462"/>
                  </a:cubicBezTo>
                  <a:cubicBezTo>
                    <a:pt x="738" y="462"/>
                    <a:pt x="738" y="461"/>
                    <a:pt x="739" y="461"/>
                  </a:cubicBezTo>
                  <a:cubicBezTo>
                    <a:pt x="739" y="461"/>
                    <a:pt x="739" y="461"/>
                    <a:pt x="739" y="462"/>
                  </a:cubicBezTo>
                  <a:cubicBezTo>
                    <a:pt x="740" y="460"/>
                    <a:pt x="740" y="460"/>
                    <a:pt x="740" y="460"/>
                  </a:cubicBezTo>
                  <a:cubicBezTo>
                    <a:pt x="740" y="460"/>
                    <a:pt x="740" y="458"/>
                    <a:pt x="740" y="458"/>
                  </a:cubicBezTo>
                  <a:close/>
                  <a:moveTo>
                    <a:pt x="553" y="364"/>
                  </a:moveTo>
                  <a:cubicBezTo>
                    <a:pt x="554" y="364"/>
                    <a:pt x="554" y="364"/>
                    <a:pt x="554" y="364"/>
                  </a:cubicBezTo>
                  <a:cubicBezTo>
                    <a:pt x="554" y="364"/>
                    <a:pt x="555" y="363"/>
                    <a:pt x="555" y="363"/>
                  </a:cubicBezTo>
                  <a:cubicBezTo>
                    <a:pt x="555" y="362"/>
                    <a:pt x="556" y="362"/>
                    <a:pt x="556" y="362"/>
                  </a:cubicBezTo>
                  <a:cubicBezTo>
                    <a:pt x="556" y="362"/>
                    <a:pt x="557" y="362"/>
                    <a:pt x="557" y="361"/>
                  </a:cubicBezTo>
                  <a:cubicBezTo>
                    <a:pt x="557" y="361"/>
                    <a:pt x="557" y="361"/>
                    <a:pt x="557" y="361"/>
                  </a:cubicBezTo>
                  <a:cubicBezTo>
                    <a:pt x="556" y="360"/>
                    <a:pt x="556" y="361"/>
                    <a:pt x="556" y="361"/>
                  </a:cubicBezTo>
                  <a:cubicBezTo>
                    <a:pt x="556" y="361"/>
                    <a:pt x="555" y="361"/>
                    <a:pt x="555" y="361"/>
                  </a:cubicBezTo>
                  <a:cubicBezTo>
                    <a:pt x="555" y="361"/>
                    <a:pt x="555" y="362"/>
                    <a:pt x="554" y="362"/>
                  </a:cubicBezTo>
                  <a:cubicBezTo>
                    <a:pt x="554" y="362"/>
                    <a:pt x="554" y="363"/>
                    <a:pt x="554" y="363"/>
                  </a:cubicBezTo>
                  <a:cubicBezTo>
                    <a:pt x="553" y="363"/>
                    <a:pt x="553" y="364"/>
                    <a:pt x="553" y="364"/>
                  </a:cubicBezTo>
                  <a:cubicBezTo>
                    <a:pt x="553" y="364"/>
                    <a:pt x="553" y="364"/>
                    <a:pt x="553" y="364"/>
                  </a:cubicBezTo>
                  <a:close/>
                  <a:moveTo>
                    <a:pt x="458" y="349"/>
                  </a:moveTo>
                  <a:cubicBezTo>
                    <a:pt x="459" y="349"/>
                    <a:pt x="459" y="348"/>
                    <a:pt x="459" y="348"/>
                  </a:cubicBezTo>
                  <a:cubicBezTo>
                    <a:pt x="458" y="347"/>
                    <a:pt x="458" y="347"/>
                    <a:pt x="458" y="347"/>
                  </a:cubicBezTo>
                  <a:cubicBezTo>
                    <a:pt x="458" y="347"/>
                    <a:pt x="457" y="348"/>
                    <a:pt x="457" y="348"/>
                  </a:cubicBezTo>
                  <a:cubicBezTo>
                    <a:pt x="457" y="348"/>
                    <a:pt x="457" y="348"/>
                    <a:pt x="457" y="349"/>
                  </a:cubicBezTo>
                  <a:cubicBezTo>
                    <a:pt x="457" y="349"/>
                    <a:pt x="457" y="349"/>
                    <a:pt x="457" y="349"/>
                  </a:cubicBezTo>
                  <a:cubicBezTo>
                    <a:pt x="458" y="350"/>
                    <a:pt x="458" y="349"/>
                    <a:pt x="458" y="349"/>
                  </a:cubicBezTo>
                  <a:close/>
                  <a:moveTo>
                    <a:pt x="457" y="351"/>
                  </a:moveTo>
                  <a:cubicBezTo>
                    <a:pt x="456" y="351"/>
                    <a:pt x="456" y="351"/>
                    <a:pt x="456" y="351"/>
                  </a:cubicBezTo>
                  <a:cubicBezTo>
                    <a:pt x="456" y="351"/>
                    <a:pt x="456" y="351"/>
                    <a:pt x="456" y="351"/>
                  </a:cubicBezTo>
                  <a:cubicBezTo>
                    <a:pt x="457" y="352"/>
                    <a:pt x="457" y="351"/>
                    <a:pt x="457" y="351"/>
                  </a:cubicBezTo>
                  <a:close/>
                  <a:moveTo>
                    <a:pt x="449" y="356"/>
                  </a:moveTo>
                  <a:cubicBezTo>
                    <a:pt x="449" y="357"/>
                    <a:pt x="449" y="357"/>
                    <a:pt x="449" y="357"/>
                  </a:cubicBezTo>
                  <a:cubicBezTo>
                    <a:pt x="449" y="357"/>
                    <a:pt x="449" y="357"/>
                    <a:pt x="450" y="357"/>
                  </a:cubicBezTo>
                  <a:cubicBezTo>
                    <a:pt x="450" y="357"/>
                    <a:pt x="450" y="357"/>
                    <a:pt x="450" y="357"/>
                  </a:cubicBezTo>
                  <a:cubicBezTo>
                    <a:pt x="450" y="356"/>
                    <a:pt x="449" y="356"/>
                    <a:pt x="449" y="356"/>
                  </a:cubicBezTo>
                  <a:close/>
                  <a:moveTo>
                    <a:pt x="438" y="376"/>
                  </a:moveTo>
                  <a:cubicBezTo>
                    <a:pt x="438" y="376"/>
                    <a:pt x="437" y="377"/>
                    <a:pt x="437" y="377"/>
                  </a:cubicBezTo>
                  <a:cubicBezTo>
                    <a:pt x="438" y="378"/>
                    <a:pt x="438" y="378"/>
                    <a:pt x="439" y="378"/>
                  </a:cubicBezTo>
                  <a:cubicBezTo>
                    <a:pt x="439" y="377"/>
                    <a:pt x="440" y="377"/>
                    <a:pt x="440" y="377"/>
                  </a:cubicBezTo>
                  <a:cubicBezTo>
                    <a:pt x="440" y="376"/>
                    <a:pt x="440" y="376"/>
                    <a:pt x="439" y="375"/>
                  </a:cubicBezTo>
                  <a:cubicBezTo>
                    <a:pt x="439" y="375"/>
                    <a:pt x="438" y="376"/>
                    <a:pt x="438" y="376"/>
                  </a:cubicBezTo>
                  <a:close/>
                  <a:moveTo>
                    <a:pt x="380" y="446"/>
                  </a:moveTo>
                  <a:cubicBezTo>
                    <a:pt x="380" y="446"/>
                    <a:pt x="381" y="446"/>
                    <a:pt x="382" y="446"/>
                  </a:cubicBezTo>
                  <a:cubicBezTo>
                    <a:pt x="382" y="446"/>
                    <a:pt x="382" y="445"/>
                    <a:pt x="382" y="445"/>
                  </a:cubicBezTo>
                  <a:cubicBezTo>
                    <a:pt x="382" y="444"/>
                    <a:pt x="381" y="444"/>
                    <a:pt x="381" y="444"/>
                  </a:cubicBezTo>
                  <a:cubicBezTo>
                    <a:pt x="380" y="445"/>
                    <a:pt x="380" y="445"/>
                    <a:pt x="380" y="445"/>
                  </a:cubicBezTo>
                  <a:cubicBezTo>
                    <a:pt x="379" y="445"/>
                    <a:pt x="380" y="446"/>
                    <a:pt x="380" y="446"/>
                  </a:cubicBezTo>
                  <a:close/>
                  <a:moveTo>
                    <a:pt x="389" y="444"/>
                  </a:moveTo>
                  <a:cubicBezTo>
                    <a:pt x="389" y="445"/>
                    <a:pt x="389" y="445"/>
                    <a:pt x="389" y="445"/>
                  </a:cubicBezTo>
                  <a:cubicBezTo>
                    <a:pt x="390" y="446"/>
                    <a:pt x="390" y="445"/>
                    <a:pt x="391" y="445"/>
                  </a:cubicBezTo>
                  <a:cubicBezTo>
                    <a:pt x="391" y="445"/>
                    <a:pt x="391" y="445"/>
                    <a:pt x="392" y="445"/>
                  </a:cubicBezTo>
                  <a:cubicBezTo>
                    <a:pt x="392" y="445"/>
                    <a:pt x="392" y="445"/>
                    <a:pt x="391" y="444"/>
                  </a:cubicBezTo>
                  <a:cubicBezTo>
                    <a:pt x="391" y="444"/>
                    <a:pt x="391" y="444"/>
                    <a:pt x="391" y="444"/>
                  </a:cubicBezTo>
                  <a:cubicBezTo>
                    <a:pt x="390" y="444"/>
                    <a:pt x="390" y="444"/>
                    <a:pt x="390" y="444"/>
                  </a:cubicBezTo>
                  <a:cubicBezTo>
                    <a:pt x="390" y="444"/>
                    <a:pt x="389" y="444"/>
                    <a:pt x="389" y="444"/>
                  </a:cubicBezTo>
                  <a:close/>
                  <a:moveTo>
                    <a:pt x="341" y="397"/>
                  </a:moveTo>
                  <a:cubicBezTo>
                    <a:pt x="342" y="397"/>
                    <a:pt x="343" y="396"/>
                    <a:pt x="343" y="395"/>
                  </a:cubicBezTo>
                  <a:cubicBezTo>
                    <a:pt x="343" y="395"/>
                    <a:pt x="344" y="394"/>
                    <a:pt x="344" y="393"/>
                  </a:cubicBezTo>
                  <a:cubicBezTo>
                    <a:pt x="344" y="392"/>
                    <a:pt x="345" y="391"/>
                    <a:pt x="344" y="391"/>
                  </a:cubicBezTo>
                  <a:cubicBezTo>
                    <a:pt x="343" y="391"/>
                    <a:pt x="343" y="392"/>
                    <a:pt x="343" y="392"/>
                  </a:cubicBezTo>
                  <a:cubicBezTo>
                    <a:pt x="342" y="393"/>
                    <a:pt x="342" y="393"/>
                    <a:pt x="341" y="393"/>
                  </a:cubicBezTo>
                  <a:cubicBezTo>
                    <a:pt x="340" y="393"/>
                    <a:pt x="340" y="394"/>
                    <a:pt x="340" y="395"/>
                  </a:cubicBezTo>
                  <a:cubicBezTo>
                    <a:pt x="341" y="396"/>
                    <a:pt x="341" y="397"/>
                    <a:pt x="341" y="397"/>
                  </a:cubicBezTo>
                  <a:close/>
                  <a:moveTo>
                    <a:pt x="321" y="264"/>
                  </a:moveTo>
                  <a:cubicBezTo>
                    <a:pt x="322" y="264"/>
                    <a:pt x="322" y="264"/>
                    <a:pt x="323" y="264"/>
                  </a:cubicBezTo>
                  <a:cubicBezTo>
                    <a:pt x="323" y="264"/>
                    <a:pt x="323" y="264"/>
                    <a:pt x="324" y="264"/>
                  </a:cubicBezTo>
                  <a:cubicBezTo>
                    <a:pt x="324" y="263"/>
                    <a:pt x="324" y="262"/>
                    <a:pt x="324" y="262"/>
                  </a:cubicBezTo>
                  <a:cubicBezTo>
                    <a:pt x="323" y="262"/>
                    <a:pt x="323" y="262"/>
                    <a:pt x="323" y="262"/>
                  </a:cubicBezTo>
                  <a:cubicBezTo>
                    <a:pt x="322" y="261"/>
                    <a:pt x="322" y="261"/>
                    <a:pt x="321" y="261"/>
                  </a:cubicBezTo>
                  <a:cubicBezTo>
                    <a:pt x="321" y="261"/>
                    <a:pt x="320" y="262"/>
                    <a:pt x="320" y="263"/>
                  </a:cubicBezTo>
                  <a:cubicBezTo>
                    <a:pt x="320" y="264"/>
                    <a:pt x="321" y="264"/>
                    <a:pt x="321" y="264"/>
                  </a:cubicBezTo>
                  <a:close/>
                  <a:moveTo>
                    <a:pt x="426" y="23"/>
                  </a:moveTo>
                  <a:cubicBezTo>
                    <a:pt x="426" y="23"/>
                    <a:pt x="426" y="23"/>
                    <a:pt x="426" y="22"/>
                  </a:cubicBezTo>
                  <a:cubicBezTo>
                    <a:pt x="426" y="22"/>
                    <a:pt x="426" y="22"/>
                    <a:pt x="426" y="22"/>
                  </a:cubicBezTo>
                  <a:cubicBezTo>
                    <a:pt x="427" y="21"/>
                    <a:pt x="427" y="21"/>
                    <a:pt x="427" y="21"/>
                  </a:cubicBezTo>
                  <a:cubicBezTo>
                    <a:pt x="427" y="20"/>
                    <a:pt x="428" y="20"/>
                    <a:pt x="428" y="20"/>
                  </a:cubicBezTo>
                  <a:cubicBezTo>
                    <a:pt x="427" y="20"/>
                    <a:pt x="427" y="20"/>
                    <a:pt x="427" y="20"/>
                  </a:cubicBezTo>
                  <a:cubicBezTo>
                    <a:pt x="427" y="20"/>
                    <a:pt x="427" y="20"/>
                    <a:pt x="426" y="20"/>
                  </a:cubicBezTo>
                  <a:cubicBezTo>
                    <a:pt x="426" y="20"/>
                    <a:pt x="426" y="20"/>
                    <a:pt x="426" y="21"/>
                  </a:cubicBezTo>
                  <a:cubicBezTo>
                    <a:pt x="426" y="21"/>
                    <a:pt x="426" y="20"/>
                    <a:pt x="426" y="20"/>
                  </a:cubicBezTo>
                  <a:cubicBezTo>
                    <a:pt x="425" y="20"/>
                    <a:pt x="425" y="21"/>
                    <a:pt x="425" y="21"/>
                  </a:cubicBezTo>
                  <a:cubicBezTo>
                    <a:pt x="425" y="21"/>
                    <a:pt x="425" y="22"/>
                    <a:pt x="425" y="22"/>
                  </a:cubicBezTo>
                  <a:cubicBezTo>
                    <a:pt x="425" y="22"/>
                    <a:pt x="426" y="22"/>
                    <a:pt x="426" y="22"/>
                  </a:cubicBezTo>
                  <a:cubicBezTo>
                    <a:pt x="425" y="22"/>
                    <a:pt x="425" y="23"/>
                    <a:pt x="425" y="23"/>
                  </a:cubicBezTo>
                  <a:cubicBezTo>
                    <a:pt x="425" y="23"/>
                    <a:pt x="426" y="23"/>
                    <a:pt x="426" y="23"/>
                  </a:cubicBezTo>
                  <a:close/>
                  <a:moveTo>
                    <a:pt x="503" y="50"/>
                  </a:moveTo>
                  <a:cubicBezTo>
                    <a:pt x="503" y="50"/>
                    <a:pt x="503" y="49"/>
                    <a:pt x="504" y="49"/>
                  </a:cubicBezTo>
                  <a:cubicBezTo>
                    <a:pt x="504" y="49"/>
                    <a:pt x="504" y="48"/>
                    <a:pt x="505" y="48"/>
                  </a:cubicBezTo>
                  <a:cubicBezTo>
                    <a:pt x="505" y="47"/>
                    <a:pt x="506" y="46"/>
                    <a:pt x="506" y="46"/>
                  </a:cubicBezTo>
                  <a:cubicBezTo>
                    <a:pt x="507" y="45"/>
                    <a:pt x="507" y="45"/>
                    <a:pt x="507" y="45"/>
                  </a:cubicBezTo>
                  <a:cubicBezTo>
                    <a:pt x="507" y="44"/>
                    <a:pt x="508" y="44"/>
                    <a:pt x="508" y="44"/>
                  </a:cubicBezTo>
                  <a:cubicBezTo>
                    <a:pt x="509" y="43"/>
                    <a:pt x="509" y="43"/>
                    <a:pt x="509" y="42"/>
                  </a:cubicBezTo>
                  <a:cubicBezTo>
                    <a:pt x="509" y="42"/>
                    <a:pt x="509" y="41"/>
                    <a:pt x="509" y="41"/>
                  </a:cubicBezTo>
                  <a:cubicBezTo>
                    <a:pt x="509" y="41"/>
                    <a:pt x="508" y="41"/>
                    <a:pt x="508" y="41"/>
                  </a:cubicBezTo>
                  <a:cubicBezTo>
                    <a:pt x="508" y="41"/>
                    <a:pt x="507" y="41"/>
                    <a:pt x="507" y="41"/>
                  </a:cubicBezTo>
                  <a:cubicBezTo>
                    <a:pt x="507" y="41"/>
                    <a:pt x="507" y="41"/>
                    <a:pt x="508" y="41"/>
                  </a:cubicBezTo>
                  <a:cubicBezTo>
                    <a:pt x="508" y="41"/>
                    <a:pt x="509" y="41"/>
                    <a:pt x="509" y="40"/>
                  </a:cubicBezTo>
                  <a:cubicBezTo>
                    <a:pt x="509" y="40"/>
                    <a:pt x="509" y="40"/>
                    <a:pt x="508" y="40"/>
                  </a:cubicBezTo>
                  <a:cubicBezTo>
                    <a:pt x="508" y="40"/>
                    <a:pt x="507" y="40"/>
                    <a:pt x="507" y="40"/>
                  </a:cubicBezTo>
                  <a:cubicBezTo>
                    <a:pt x="506" y="41"/>
                    <a:pt x="506" y="42"/>
                    <a:pt x="505" y="43"/>
                  </a:cubicBezTo>
                  <a:cubicBezTo>
                    <a:pt x="505" y="44"/>
                    <a:pt x="504" y="44"/>
                    <a:pt x="504" y="46"/>
                  </a:cubicBezTo>
                  <a:cubicBezTo>
                    <a:pt x="504" y="46"/>
                    <a:pt x="503" y="47"/>
                    <a:pt x="503" y="48"/>
                  </a:cubicBezTo>
                  <a:cubicBezTo>
                    <a:pt x="503" y="48"/>
                    <a:pt x="503" y="48"/>
                    <a:pt x="503" y="49"/>
                  </a:cubicBezTo>
                  <a:cubicBezTo>
                    <a:pt x="503" y="49"/>
                    <a:pt x="503" y="49"/>
                    <a:pt x="503" y="49"/>
                  </a:cubicBezTo>
                  <a:cubicBezTo>
                    <a:pt x="503" y="49"/>
                    <a:pt x="502" y="49"/>
                    <a:pt x="502" y="49"/>
                  </a:cubicBezTo>
                  <a:cubicBezTo>
                    <a:pt x="503" y="50"/>
                    <a:pt x="503" y="50"/>
                    <a:pt x="503" y="50"/>
                  </a:cubicBezTo>
                  <a:close/>
                </a:path>
              </a:pathLst>
            </a:custGeom>
            <a:solidFill>
              <a:schemeClr val="accent3"/>
            </a:solidFill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548105B-81F5-41D7-851A-BD40E3B5D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170" y="2064279"/>
              <a:ext cx="958278" cy="748448"/>
            </a:xfrm>
            <a:custGeom>
              <a:avLst/>
              <a:gdLst>
                <a:gd name="T0" fmla="*/ 0 w 580"/>
                <a:gd name="T1" fmla="*/ 0 h 453"/>
                <a:gd name="T2" fmla="*/ 0 w 580"/>
                <a:gd name="T3" fmla="*/ 343 h 453"/>
                <a:gd name="T4" fmla="*/ 0 w 580"/>
                <a:gd name="T5" fmla="*/ 453 h 453"/>
                <a:gd name="T6" fmla="*/ 580 w 580"/>
                <a:gd name="T7" fmla="*/ 453 h 453"/>
                <a:gd name="T8" fmla="*/ 580 w 580"/>
                <a:gd name="T9" fmla="*/ 0 h 453"/>
                <a:gd name="T10" fmla="*/ 0 w 580"/>
                <a:gd name="T11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0" h="453">
                  <a:moveTo>
                    <a:pt x="0" y="0"/>
                  </a:moveTo>
                  <a:lnTo>
                    <a:pt x="0" y="343"/>
                  </a:lnTo>
                  <a:lnTo>
                    <a:pt x="0" y="453"/>
                  </a:lnTo>
                  <a:lnTo>
                    <a:pt x="580" y="453"/>
                  </a:lnTo>
                  <a:lnTo>
                    <a:pt x="58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AEE75F0-6631-473F-9A2E-2495E114CF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50432" y="1679315"/>
              <a:ext cx="827755" cy="855842"/>
            </a:xfrm>
            <a:custGeom>
              <a:avLst/>
              <a:gdLst>
                <a:gd name="T0" fmla="*/ 79 w 209"/>
                <a:gd name="T1" fmla="*/ 5 h 216"/>
                <a:gd name="T2" fmla="*/ 76 w 209"/>
                <a:gd name="T3" fmla="*/ 10 h 216"/>
                <a:gd name="T4" fmla="*/ 82 w 209"/>
                <a:gd name="T5" fmla="*/ 1 h 216"/>
                <a:gd name="T6" fmla="*/ 79 w 209"/>
                <a:gd name="T7" fmla="*/ 2 h 216"/>
                <a:gd name="T8" fmla="*/ 208 w 209"/>
                <a:gd name="T9" fmla="*/ 81 h 216"/>
                <a:gd name="T10" fmla="*/ 206 w 209"/>
                <a:gd name="T11" fmla="*/ 81 h 216"/>
                <a:gd name="T12" fmla="*/ 202 w 209"/>
                <a:gd name="T13" fmla="*/ 89 h 216"/>
                <a:gd name="T14" fmla="*/ 199 w 209"/>
                <a:gd name="T15" fmla="*/ 97 h 216"/>
                <a:gd name="T16" fmla="*/ 197 w 209"/>
                <a:gd name="T17" fmla="*/ 103 h 216"/>
                <a:gd name="T18" fmla="*/ 190 w 209"/>
                <a:gd name="T19" fmla="*/ 115 h 216"/>
                <a:gd name="T20" fmla="*/ 186 w 209"/>
                <a:gd name="T21" fmla="*/ 125 h 216"/>
                <a:gd name="T22" fmla="*/ 186 w 209"/>
                <a:gd name="T23" fmla="*/ 133 h 216"/>
                <a:gd name="T24" fmla="*/ 184 w 209"/>
                <a:gd name="T25" fmla="*/ 138 h 216"/>
                <a:gd name="T26" fmla="*/ 180 w 209"/>
                <a:gd name="T27" fmla="*/ 147 h 216"/>
                <a:gd name="T28" fmla="*/ 179 w 209"/>
                <a:gd name="T29" fmla="*/ 155 h 216"/>
                <a:gd name="T30" fmla="*/ 179 w 209"/>
                <a:gd name="T31" fmla="*/ 164 h 216"/>
                <a:gd name="T32" fmla="*/ 175 w 209"/>
                <a:gd name="T33" fmla="*/ 174 h 216"/>
                <a:gd name="T34" fmla="*/ 173 w 209"/>
                <a:gd name="T35" fmla="*/ 181 h 216"/>
                <a:gd name="T36" fmla="*/ 173 w 209"/>
                <a:gd name="T37" fmla="*/ 193 h 216"/>
                <a:gd name="T38" fmla="*/ 176 w 209"/>
                <a:gd name="T39" fmla="*/ 202 h 216"/>
                <a:gd name="T40" fmla="*/ 177 w 209"/>
                <a:gd name="T41" fmla="*/ 207 h 216"/>
                <a:gd name="T42" fmla="*/ 176 w 209"/>
                <a:gd name="T43" fmla="*/ 216 h 216"/>
                <a:gd name="T44" fmla="*/ 74 w 209"/>
                <a:gd name="T45" fmla="*/ 210 h 216"/>
                <a:gd name="T46" fmla="*/ 63 w 209"/>
                <a:gd name="T47" fmla="*/ 201 h 216"/>
                <a:gd name="T48" fmla="*/ 60 w 209"/>
                <a:gd name="T49" fmla="*/ 189 h 216"/>
                <a:gd name="T50" fmla="*/ 58 w 209"/>
                <a:gd name="T51" fmla="*/ 176 h 216"/>
                <a:gd name="T52" fmla="*/ 56 w 209"/>
                <a:gd name="T53" fmla="*/ 162 h 216"/>
                <a:gd name="T54" fmla="*/ 46 w 209"/>
                <a:gd name="T55" fmla="*/ 145 h 216"/>
                <a:gd name="T56" fmla="*/ 32 w 209"/>
                <a:gd name="T57" fmla="*/ 127 h 216"/>
                <a:gd name="T58" fmla="*/ 13 w 209"/>
                <a:gd name="T59" fmla="*/ 118 h 216"/>
                <a:gd name="T60" fmla="*/ 5 w 209"/>
                <a:gd name="T61" fmla="*/ 100 h 216"/>
                <a:gd name="T62" fmla="*/ 5 w 209"/>
                <a:gd name="T63" fmla="*/ 87 h 216"/>
                <a:gd name="T64" fmla="*/ 5 w 209"/>
                <a:gd name="T65" fmla="*/ 69 h 216"/>
                <a:gd name="T66" fmla="*/ 5 w 209"/>
                <a:gd name="T67" fmla="*/ 56 h 216"/>
                <a:gd name="T68" fmla="*/ 17 w 209"/>
                <a:gd name="T69" fmla="*/ 47 h 216"/>
                <a:gd name="T70" fmla="*/ 24 w 209"/>
                <a:gd name="T71" fmla="*/ 15 h 216"/>
                <a:gd name="T72" fmla="*/ 31 w 209"/>
                <a:gd name="T73" fmla="*/ 14 h 216"/>
                <a:gd name="T74" fmla="*/ 47 w 209"/>
                <a:gd name="T75" fmla="*/ 10 h 216"/>
                <a:gd name="T76" fmla="*/ 64 w 209"/>
                <a:gd name="T77" fmla="*/ 4 h 216"/>
                <a:gd name="T78" fmla="*/ 74 w 209"/>
                <a:gd name="T79" fmla="*/ 3 h 216"/>
                <a:gd name="T80" fmla="*/ 70 w 209"/>
                <a:gd name="T81" fmla="*/ 14 h 216"/>
                <a:gd name="T82" fmla="*/ 71 w 209"/>
                <a:gd name="T83" fmla="*/ 18 h 216"/>
                <a:gd name="T84" fmla="*/ 83 w 209"/>
                <a:gd name="T85" fmla="*/ 19 h 216"/>
                <a:gd name="T86" fmla="*/ 89 w 209"/>
                <a:gd name="T87" fmla="*/ 22 h 216"/>
                <a:gd name="T88" fmla="*/ 141 w 209"/>
                <a:gd name="T89" fmla="*/ 47 h 216"/>
                <a:gd name="T90" fmla="*/ 153 w 209"/>
                <a:gd name="T91" fmla="*/ 48 h 216"/>
                <a:gd name="T92" fmla="*/ 162 w 209"/>
                <a:gd name="T93" fmla="*/ 50 h 216"/>
                <a:gd name="T94" fmla="*/ 165 w 209"/>
                <a:gd name="T95" fmla="*/ 57 h 216"/>
                <a:gd name="T96" fmla="*/ 174 w 209"/>
                <a:gd name="T97" fmla="*/ 60 h 216"/>
                <a:gd name="T98" fmla="*/ 177 w 209"/>
                <a:gd name="T99" fmla="*/ 69 h 216"/>
                <a:gd name="T100" fmla="*/ 174 w 209"/>
                <a:gd name="T101" fmla="*/ 76 h 216"/>
                <a:gd name="T102" fmla="*/ 181 w 209"/>
                <a:gd name="T103" fmla="*/ 78 h 216"/>
                <a:gd name="T104" fmla="*/ 181 w 209"/>
                <a:gd name="T105" fmla="*/ 91 h 216"/>
                <a:gd name="T106" fmla="*/ 177 w 209"/>
                <a:gd name="T107" fmla="*/ 100 h 216"/>
                <a:gd name="T108" fmla="*/ 170 w 209"/>
                <a:gd name="T109" fmla="*/ 113 h 216"/>
                <a:gd name="T110" fmla="*/ 172 w 209"/>
                <a:gd name="T111" fmla="*/ 119 h 216"/>
                <a:gd name="T112" fmla="*/ 180 w 209"/>
                <a:gd name="T113" fmla="*/ 109 h 216"/>
                <a:gd name="T114" fmla="*/ 190 w 209"/>
                <a:gd name="T115" fmla="*/ 104 h 216"/>
                <a:gd name="T116" fmla="*/ 194 w 209"/>
                <a:gd name="T117" fmla="*/ 95 h 216"/>
                <a:gd name="T118" fmla="*/ 201 w 209"/>
                <a:gd name="T119" fmla="*/ 8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9" h="216">
                  <a:moveTo>
                    <a:pt x="74" y="9"/>
                  </a:moveTo>
                  <a:cubicBezTo>
                    <a:pt x="74" y="9"/>
                    <a:pt x="74" y="8"/>
                    <a:pt x="74" y="8"/>
                  </a:cubicBezTo>
                  <a:cubicBezTo>
                    <a:pt x="75" y="7"/>
                    <a:pt x="75" y="7"/>
                    <a:pt x="76" y="7"/>
                  </a:cubicBezTo>
                  <a:cubicBezTo>
                    <a:pt x="76" y="7"/>
                    <a:pt x="77" y="6"/>
                    <a:pt x="77" y="6"/>
                  </a:cubicBezTo>
                  <a:cubicBezTo>
                    <a:pt x="78" y="6"/>
                    <a:pt x="78" y="5"/>
                    <a:pt x="79" y="5"/>
                  </a:cubicBezTo>
                  <a:cubicBezTo>
                    <a:pt x="79" y="5"/>
                    <a:pt x="80" y="4"/>
                    <a:pt x="80" y="5"/>
                  </a:cubicBezTo>
                  <a:cubicBezTo>
                    <a:pt x="80" y="5"/>
                    <a:pt x="81" y="6"/>
                    <a:pt x="80" y="6"/>
                  </a:cubicBezTo>
                  <a:cubicBezTo>
                    <a:pt x="80" y="6"/>
                    <a:pt x="79" y="7"/>
                    <a:pt x="79" y="7"/>
                  </a:cubicBezTo>
                  <a:cubicBezTo>
                    <a:pt x="78" y="7"/>
                    <a:pt x="77" y="8"/>
                    <a:pt x="77" y="9"/>
                  </a:cubicBezTo>
                  <a:cubicBezTo>
                    <a:pt x="76" y="9"/>
                    <a:pt x="76" y="9"/>
                    <a:pt x="76" y="10"/>
                  </a:cubicBezTo>
                  <a:cubicBezTo>
                    <a:pt x="75" y="10"/>
                    <a:pt x="75" y="10"/>
                    <a:pt x="75" y="10"/>
                  </a:cubicBezTo>
                  <a:cubicBezTo>
                    <a:pt x="75" y="10"/>
                    <a:pt x="74" y="10"/>
                    <a:pt x="74" y="10"/>
                  </a:cubicBezTo>
                  <a:cubicBezTo>
                    <a:pt x="74" y="10"/>
                    <a:pt x="74" y="10"/>
                    <a:pt x="74" y="9"/>
                  </a:cubicBezTo>
                  <a:close/>
                  <a:moveTo>
                    <a:pt x="81" y="2"/>
                  </a:moveTo>
                  <a:cubicBezTo>
                    <a:pt x="82" y="2"/>
                    <a:pt x="82" y="2"/>
                    <a:pt x="82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0"/>
                    <a:pt x="81" y="0"/>
                    <a:pt x="81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80" y="2"/>
                    <a:pt x="81" y="3"/>
                    <a:pt x="81" y="2"/>
                  </a:cubicBezTo>
                  <a:close/>
                  <a:moveTo>
                    <a:pt x="206" y="81"/>
                  </a:moveTo>
                  <a:cubicBezTo>
                    <a:pt x="207" y="81"/>
                    <a:pt x="207" y="81"/>
                    <a:pt x="208" y="81"/>
                  </a:cubicBezTo>
                  <a:cubicBezTo>
                    <a:pt x="208" y="81"/>
                    <a:pt x="208" y="81"/>
                    <a:pt x="208" y="81"/>
                  </a:cubicBezTo>
                  <a:cubicBezTo>
                    <a:pt x="209" y="81"/>
                    <a:pt x="209" y="80"/>
                    <a:pt x="209" y="80"/>
                  </a:cubicBezTo>
                  <a:cubicBezTo>
                    <a:pt x="208" y="79"/>
                    <a:pt x="208" y="79"/>
                    <a:pt x="207" y="78"/>
                  </a:cubicBezTo>
                  <a:cubicBezTo>
                    <a:pt x="207" y="78"/>
                    <a:pt x="207" y="77"/>
                    <a:pt x="206" y="77"/>
                  </a:cubicBezTo>
                  <a:cubicBezTo>
                    <a:pt x="205" y="78"/>
                    <a:pt x="205" y="79"/>
                    <a:pt x="206" y="79"/>
                  </a:cubicBezTo>
                  <a:cubicBezTo>
                    <a:pt x="206" y="80"/>
                    <a:pt x="206" y="81"/>
                    <a:pt x="206" y="81"/>
                  </a:cubicBezTo>
                  <a:close/>
                  <a:moveTo>
                    <a:pt x="205" y="84"/>
                  </a:moveTo>
                  <a:cubicBezTo>
                    <a:pt x="205" y="85"/>
                    <a:pt x="204" y="85"/>
                    <a:pt x="204" y="86"/>
                  </a:cubicBezTo>
                  <a:cubicBezTo>
                    <a:pt x="204" y="86"/>
                    <a:pt x="204" y="86"/>
                    <a:pt x="203" y="86"/>
                  </a:cubicBezTo>
                  <a:cubicBezTo>
                    <a:pt x="203" y="86"/>
                    <a:pt x="202" y="86"/>
                    <a:pt x="202" y="87"/>
                  </a:cubicBezTo>
                  <a:cubicBezTo>
                    <a:pt x="202" y="88"/>
                    <a:pt x="202" y="88"/>
                    <a:pt x="202" y="89"/>
                  </a:cubicBezTo>
                  <a:cubicBezTo>
                    <a:pt x="202" y="89"/>
                    <a:pt x="202" y="90"/>
                    <a:pt x="202" y="90"/>
                  </a:cubicBezTo>
                  <a:cubicBezTo>
                    <a:pt x="202" y="91"/>
                    <a:pt x="202" y="91"/>
                    <a:pt x="202" y="92"/>
                  </a:cubicBezTo>
                  <a:cubicBezTo>
                    <a:pt x="202" y="92"/>
                    <a:pt x="202" y="93"/>
                    <a:pt x="202" y="93"/>
                  </a:cubicBezTo>
                  <a:cubicBezTo>
                    <a:pt x="201" y="94"/>
                    <a:pt x="201" y="95"/>
                    <a:pt x="200" y="96"/>
                  </a:cubicBezTo>
                  <a:cubicBezTo>
                    <a:pt x="200" y="96"/>
                    <a:pt x="199" y="97"/>
                    <a:pt x="199" y="97"/>
                  </a:cubicBezTo>
                  <a:cubicBezTo>
                    <a:pt x="199" y="97"/>
                    <a:pt x="199" y="98"/>
                    <a:pt x="199" y="98"/>
                  </a:cubicBezTo>
                  <a:cubicBezTo>
                    <a:pt x="198" y="99"/>
                    <a:pt x="198" y="99"/>
                    <a:pt x="197" y="99"/>
                  </a:cubicBezTo>
                  <a:cubicBezTo>
                    <a:pt x="197" y="100"/>
                    <a:pt x="197" y="100"/>
                    <a:pt x="197" y="101"/>
                  </a:cubicBezTo>
                  <a:cubicBezTo>
                    <a:pt x="197" y="101"/>
                    <a:pt x="197" y="102"/>
                    <a:pt x="197" y="102"/>
                  </a:cubicBezTo>
                  <a:cubicBezTo>
                    <a:pt x="197" y="102"/>
                    <a:pt x="197" y="103"/>
                    <a:pt x="197" y="103"/>
                  </a:cubicBezTo>
                  <a:cubicBezTo>
                    <a:pt x="197" y="104"/>
                    <a:pt x="196" y="105"/>
                    <a:pt x="196" y="105"/>
                  </a:cubicBezTo>
                  <a:cubicBezTo>
                    <a:pt x="194" y="106"/>
                    <a:pt x="192" y="108"/>
                    <a:pt x="192" y="110"/>
                  </a:cubicBezTo>
                  <a:cubicBezTo>
                    <a:pt x="192" y="110"/>
                    <a:pt x="192" y="111"/>
                    <a:pt x="192" y="111"/>
                  </a:cubicBezTo>
                  <a:cubicBezTo>
                    <a:pt x="191" y="112"/>
                    <a:pt x="191" y="113"/>
                    <a:pt x="191" y="113"/>
                  </a:cubicBezTo>
                  <a:cubicBezTo>
                    <a:pt x="190" y="114"/>
                    <a:pt x="190" y="115"/>
                    <a:pt x="190" y="115"/>
                  </a:cubicBezTo>
                  <a:cubicBezTo>
                    <a:pt x="189" y="116"/>
                    <a:pt x="189" y="116"/>
                    <a:pt x="189" y="117"/>
                  </a:cubicBezTo>
                  <a:cubicBezTo>
                    <a:pt x="189" y="118"/>
                    <a:pt x="189" y="118"/>
                    <a:pt x="188" y="119"/>
                  </a:cubicBezTo>
                  <a:cubicBezTo>
                    <a:pt x="188" y="120"/>
                    <a:pt x="188" y="120"/>
                    <a:pt x="188" y="121"/>
                  </a:cubicBezTo>
                  <a:cubicBezTo>
                    <a:pt x="187" y="122"/>
                    <a:pt x="187" y="123"/>
                    <a:pt x="187" y="124"/>
                  </a:cubicBezTo>
                  <a:cubicBezTo>
                    <a:pt x="187" y="124"/>
                    <a:pt x="186" y="124"/>
                    <a:pt x="186" y="125"/>
                  </a:cubicBezTo>
                  <a:cubicBezTo>
                    <a:pt x="186" y="125"/>
                    <a:pt x="186" y="126"/>
                    <a:pt x="186" y="126"/>
                  </a:cubicBezTo>
                  <a:cubicBezTo>
                    <a:pt x="186" y="127"/>
                    <a:pt x="186" y="128"/>
                    <a:pt x="186" y="128"/>
                  </a:cubicBezTo>
                  <a:cubicBezTo>
                    <a:pt x="186" y="129"/>
                    <a:pt x="185" y="129"/>
                    <a:pt x="185" y="129"/>
                  </a:cubicBezTo>
                  <a:cubicBezTo>
                    <a:pt x="185" y="130"/>
                    <a:pt x="185" y="130"/>
                    <a:pt x="185" y="131"/>
                  </a:cubicBezTo>
                  <a:cubicBezTo>
                    <a:pt x="185" y="131"/>
                    <a:pt x="186" y="132"/>
                    <a:pt x="186" y="133"/>
                  </a:cubicBezTo>
                  <a:cubicBezTo>
                    <a:pt x="186" y="133"/>
                    <a:pt x="186" y="134"/>
                    <a:pt x="186" y="134"/>
                  </a:cubicBezTo>
                  <a:cubicBezTo>
                    <a:pt x="186" y="135"/>
                    <a:pt x="187" y="135"/>
                    <a:pt x="187" y="135"/>
                  </a:cubicBezTo>
                  <a:cubicBezTo>
                    <a:pt x="187" y="136"/>
                    <a:pt x="186" y="136"/>
                    <a:pt x="186" y="136"/>
                  </a:cubicBezTo>
                  <a:cubicBezTo>
                    <a:pt x="186" y="136"/>
                    <a:pt x="186" y="136"/>
                    <a:pt x="185" y="137"/>
                  </a:cubicBezTo>
                  <a:cubicBezTo>
                    <a:pt x="185" y="137"/>
                    <a:pt x="185" y="137"/>
                    <a:pt x="184" y="138"/>
                  </a:cubicBezTo>
                  <a:cubicBezTo>
                    <a:pt x="184" y="138"/>
                    <a:pt x="183" y="139"/>
                    <a:pt x="183" y="140"/>
                  </a:cubicBezTo>
                  <a:cubicBezTo>
                    <a:pt x="182" y="141"/>
                    <a:pt x="182" y="142"/>
                    <a:pt x="182" y="143"/>
                  </a:cubicBezTo>
                  <a:cubicBezTo>
                    <a:pt x="182" y="143"/>
                    <a:pt x="181" y="144"/>
                    <a:pt x="181" y="144"/>
                  </a:cubicBezTo>
                  <a:cubicBezTo>
                    <a:pt x="181" y="145"/>
                    <a:pt x="181" y="145"/>
                    <a:pt x="181" y="146"/>
                  </a:cubicBezTo>
                  <a:cubicBezTo>
                    <a:pt x="180" y="146"/>
                    <a:pt x="180" y="146"/>
                    <a:pt x="180" y="147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8"/>
                    <a:pt x="180" y="149"/>
                    <a:pt x="179" y="149"/>
                  </a:cubicBezTo>
                  <a:cubicBezTo>
                    <a:pt x="179" y="150"/>
                    <a:pt x="179" y="151"/>
                    <a:pt x="179" y="152"/>
                  </a:cubicBezTo>
                  <a:cubicBezTo>
                    <a:pt x="179" y="153"/>
                    <a:pt x="179" y="153"/>
                    <a:pt x="179" y="154"/>
                  </a:cubicBezTo>
                  <a:cubicBezTo>
                    <a:pt x="179" y="154"/>
                    <a:pt x="179" y="154"/>
                    <a:pt x="179" y="155"/>
                  </a:cubicBezTo>
                  <a:cubicBezTo>
                    <a:pt x="179" y="155"/>
                    <a:pt x="179" y="155"/>
                    <a:pt x="179" y="156"/>
                  </a:cubicBezTo>
                  <a:cubicBezTo>
                    <a:pt x="179" y="157"/>
                    <a:pt x="179" y="157"/>
                    <a:pt x="179" y="158"/>
                  </a:cubicBezTo>
                  <a:cubicBezTo>
                    <a:pt x="179" y="159"/>
                    <a:pt x="179" y="160"/>
                    <a:pt x="179" y="161"/>
                  </a:cubicBezTo>
                  <a:cubicBezTo>
                    <a:pt x="179" y="162"/>
                    <a:pt x="179" y="162"/>
                    <a:pt x="179" y="162"/>
                  </a:cubicBezTo>
                  <a:cubicBezTo>
                    <a:pt x="179" y="163"/>
                    <a:pt x="179" y="163"/>
                    <a:pt x="179" y="164"/>
                  </a:cubicBezTo>
                  <a:cubicBezTo>
                    <a:pt x="178" y="164"/>
                    <a:pt x="178" y="165"/>
                    <a:pt x="178" y="165"/>
                  </a:cubicBezTo>
                  <a:cubicBezTo>
                    <a:pt x="178" y="166"/>
                    <a:pt x="177" y="166"/>
                    <a:pt x="177" y="167"/>
                  </a:cubicBezTo>
                  <a:cubicBezTo>
                    <a:pt x="177" y="168"/>
                    <a:pt x="177" y="168"/>
                    <a:pt x="177" y="169"/>
                  </a:cubicBezTo>
                  <a:cubicBezTo>
                    <a:pt x="176" y="170"/>
                    <a:pt x="176" y="171"/>
                    <a:pt x="176" y="171"/>
                  </a:cubicBezTo>
                  <a:cubicBezTo>
                    <a:pt x="175" y="172"/>
                    <a:pt x="175" y="173"/>
                    <a:pt x="175" y="174"/>
                  </a:cubicBezTo>
                  <a:cubicBezTo>
                    <a:pt x="174" y="174"/>
                    <a:pt x="174" y="175"/>
                    <a:pt x="174" y="176"/>
                  </a:cubicBezTo>
                  <a:cubicBezTo>
                    <a:pt x="174" y="176"/>
                    <a:pt x="174" y="176"/>
                    <a:pt x="174" y="177"/>
                  </a:cubicBezTo>
                  <a:cubicBezTo>
                    <a:pt x="173" y="178"/>
                    <a:pt x="174" y="178"/>
                    <a:pt x="173" y="179"/>
                  </a:cubicBezTo>
                  <a:cubicBezTo>
                    <a:pt x="173" y="179"/>
                    <a:pt x="173" y="180"/>
                    <a:pt x="173" y="180"/>
                  </a:cubicBezTo>
                  <a:cubicBezTo>
                    <a:pt x="173" y="181"/>
                    <a:pt x="173" y="181"/>
                    <a:pt x="173" y="181"/>
                  </a:cubicBezTo>
                  <a:cubicBezTo>
                    <a:pt x="173" y="182"/>
                    <a:pt x="173" y="183"/>
                    <a:pt x="173" y="184"/>
                  </a:cubicBezTo>
                  <a:cubicBezTo>
                    <a:pt x="173" y="185"/>
                    <a:pt x="173" y="186"/>
                    <a:pt x="174" y="187"/>
                  </a:cubicBezTo>
                  <a:cubicBezTo>
                    <a:pt x="174" y="188"/>
                    <a:pt x="174" y="189"/>
                    <a:pt x="174" y="190"/>
                  </a:cubicBezTo>
                  <a:cubicBezTo>
                    <a:pt x="174" y="190"/>
                    <a:pt x="174" y="191"/>
                    <a:pt x="173" y="192"/>
                  </a:cubicBezTo>
                  <a:cubicBezTo>
                    <a:pt x="173" y="192"/>
                    <a:pt x="173" y="192"/>
                    <a:pt x="173" y="193"/>
                  </a:cubicBezTo>
                  <a:cubicBezTo>
                    <a:pt x="174" y="193"/>
                    <a:pt x="174" y="194"/>
                    <a:pt x="174" y="194"/>
                  </a:cubicBezTo>
                  <a:cubicBezTo>
                    <a:pt x="174" y="195"/>
                    <a:pt x="175" y="195"/>
                    <a:pt x="175" y="196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9"/>
                    <a:pt x="175" y="200"/>
                    <a:pt x="175" y="201"/>
                  </a:cubicBezTo>
                  <a:cubicBezTo>
                    <a:pt x="175" y="201"/>
                    <a:pt x="176" y="201"/>
                    <a:pt x="176" y="202"/>
                  </a:cubicBezTo>
                  <a:cubicBezTo>
                    <a:pt x="176" y="202"/>
                    <a:pt x="176" y="203"/>
                    <a:pt x="176" y="203"/>
                  </a:cubicBezTo>
                  <a:cubicBezTo>
                    <a:pt x="176" y="203"/>
                    <a:pt x="176" y="203"/>
                    <a:pt x="177" y="204"/>
                  </a:cubicBezTo>
                  <a:cubicBezTo>
                    <a:pt x="177" y="204"/>
                    <a:pt x="177" y="204"/>
                    <a:pt x="177" y="204"/>
                  </a:cubicBezTo>
                  <a:cubicBezTo>
                    <a:pt x="177" y="205"/>
                    <a:pt x="177" y="205"/>
                    <a:pt x="177" y="205"/>
                  </a:cubicBezTo>
                  <a:cubicBezTo>
                    <a:pt x="177" y="206"/>
                    <a:pt x="177" y="206"/>
                    <a:pt x="177" y="207"/>
                  </a:cubicBezTo>
                  <a:cubicBezTo>
                    <a:pt x="177" y="207"/>
                    <a:pt x="177" y="208"/>
                    <a:pt x="177" y="208"/>
                  </a:cubicBezTo>
                  <a:cubicBezTo>
                    <a:pt x="177" y="208"/>
                    <a:pt x="176" y="209"/>
                    <a:pt x="176" y="209"/>
                  </a:cubicBezTo>
                  <a:cubicBezTo>
                    <a:pt x="176" y="210"/>
                    <a:pt x="176" y="211"/>
                    <a:pt x="176" y="212"/>
                  </a:cubicBezTo>
                  <a:cubicBezTo>
                    <a:pt x="176" y="213"/>
                    <a:pt x="176" y="214"/>
                    <a:pt x="176" y="215"/>
                  </a:cubicBezTo>
                  <a:cubicBezTo>
                    <a:pt x="176" y="215"/>
                    <a:pt x="176" y="216"/>
                    <a:pt x="176" y="216"/>
                  </a:cubicBezTo>
                  <a:cubicBezTo>
                    <a:pt x="176" y="216"/>
                    <a:pt x="176" y="216"/>
                    <a:pt x="176" y="216"/>
                  </a:cubicBezTo>
                  <a:cubicBezTo>
                    <a:pt x="78" y="216"/>
                    <a:pt x="78" y="216"/>
                    <a:pt x="78" y="216"/>
                  </a:cubicBezTo>
                  <a:cubicBezTo>
                    <a:pt x="77" y="215"/>
                    <a:pt x="77" y="214"/>
                    <a:pt x="77" y="213"/>
                  </a:cubicBezTo>
                  <a:cubicBezTo>
                    <a:pt x="76" y="213"/>
                    <a:pt x="76" y="212"/>
                    <a:pt x="76" y="211"/>
                  </a:cubicBezTo>
                  <a:cubicBezTo>
                    <a:pt x="75" y="211"/>
                    <a:pt x="75" y="210"/>
                    <a:pt x="74" y="210"/>
                  </a:cubicBezTo>
                  <a:cubicBezTo>
                    <a:pt x="73" y="209"/>
                    <a:pt x="72" y="209"/>
                    <a:pt x="71" y="209"/>
                  </a:cubicBezTo>
                  <a:cubicBezTo>
                    <a:pt x="70" y="209"/>
                    <a:pt x="70" y="209"/>
                    <a:pt x="69" y="208"/>
                  </a:cubicBezTo>
                  <a:cubicBezTo>
                    <a:pt x="69" y="208"/>
                    <a:pt x="68" y="208"/>
                    <a:pt x="67" y="208"/>
                  </a:cubicBezTo>
                  <a:cubicBezTo>
                    <a:pt x="66" y="208"/>
                    <a:pt x="66" y="207"/>
                    <a:pt x="65" y="207"/>
                  </a:cubicBezTo>
                  <a:cubicBezTo>
                    <a:pt x="63" y="205"/>
                    <a:pt x="63" y="203"/>
                    <a:pt x="63" y="201"/>
                  </a:cubicBezTo>
                  <a:cubicBezTo>
                    <a:pt x="63" y="200"/>
                    <a:pt x="63" y="199"/>
                    <a:pt x="62" y="199"/>
                  </a:cubicBezTo>
                  <a:cubicBezTo>
                    <a:pt x="62" y="198"/>
                    <a:pt x="61" y="197"/>
                    <a:pt x="61" y="197"/>
                  </a:cubicBezTo>
                  <a:cubicBezTo>
                    <a:pt x="61" y="196"/>
                    <a:pt x="60" y="196"/>
                    <a:pt x="60" y="195"/>
                  </a:cubicBezTo>
                  <a:cubicBezTo>
                    <a:pt x="60" y="194"/>
                    <a:pt x="60" y="194"/>
                    <a:pt x="60" y="193"/>
                  </a:cubicBezTo>
                  <a:cubicBezTo>
                    <a:pt x="59" y="192"/>
                    <a:pt x="60" y="190"/>
                    <a:pt x="60" y="189"/>
                  </a:cubicBezTo>
                  <a:cubicBezTo>
                    <a:pt x="60" y="188"/>
                    <a:pt x="59" y="187"/>
                    <a:pt x="60" y="186"/>
                  </a:cubicBezTo>
                  <a:cubicBezTo>
                    <a:pt x="60" y="185"/>
                    <a:pt x="61" y="184"/>
                    <a:pt x="61" y="184"/>
                  </a:cubicBezTo>
                  <a:cubicBezTo>
                    <a:pt x="62" y="183"/>
                    <a:pt x="63" y="182"/>
                    <a:pt x="63" y="182"/>
                  </a:cubicBezTo>
                  <a:cubicBezTo>
                    <a:pt x="64" y="179"/>
                    <a:pt x="61" y="178"/>
                    <a:pt x="59" y="177"/>
                  </a:cubicBezTo>
                  <a:cubicBezTo>
                    <a:pt x="59" y="177"/>
                    <a:pt x="58" y="176"/>
                    <a:pt x="58" y="176"/>
                  </a:cubicBezTo>
                  <a:cubicBezTo>
                    <a:pt x="58" y="175"/>
                    <a:pt x="58" y="175"/>
                    <a:pt x="58" y="174"/>
                  </a:cubicBezTo>
                  <a:cubicBezTo>
                    <a:pt x="58" y="173"/>
                    <a:pt x="58" y="173"/>
                    <a:pt x="58" y="172"/>
                  </a:cubicBezTo>
                  <a:cubicBezTo>
                    <a:pt x="58" y="169"/>
                    <a:pt x="58" y="169"/>
                    <a:pt x="58" y="169"/>
                  </a:cubicBezTo>
                  <a:cubicBezTo>
                    <a:pt x="58" y="169"/>
                    <a:pt x="57" y="166"/>
                    <a:pt x="57" y="165"/>
                  </a:cubicBezTo>
                  <a:cubicBezTo>
                    <a:pt x="57" y="165"/>
                    <a:pt x="56" y="163"/>
                    <a:pt x="56" y="162"/>
                  </a:cubicBezTo>
                  <a:cubicBezTo>
                    <a:pt x="56" y="161"/>
                    <a:pt x="57" y="159"/>
                    <a:pt x="57" y="158"/>
                  </a:cubicBezTo>
                  <a:cubicBezTo>
                    <a:pt x="57" y="157"/>
                    <a:pt x="56" y="154"/>
                    <a:pt x="56" y="153"/>
                  </a:cubicBezTo>
                  <a:cubicBezTo>
                    <a:pt x="55" y="153"/>
                    <a:pt x="53" y="149"/>
                    <a:pt x="52" y="149"/>
                  </a:cubicBezTo>
                  <a:cubicBezTo>
                    <a:pt x="52" y="148"/>
                    <a:pt x="52" y="147"/>
                    <a:pt x="51" y="146"/>
                  </a:cubicBezTo>
                  <a:cubicBezTo>
                    <a:pt x="50" y="146"/>
                    <a:pt x="47" y="145"/>
                    <a:pt x="46" y="145"/>
                  </a:cubicBezTo>
                  <a:cubicBezTo>
                    <a:pt x="45" y="144"/>
                    <a:pt x="45" y="143"/>
                    <a:pt x="44" y="142"/>
                  </a:cubicBezTo>
                  <a:cubicBezTo>
                    <a:pt x="43" y="142"/>
                    <a:pt x="40" y="139"/>
                    <a:pt x="39" y="138"/>
                  </a:cubicBezTo>
                  <a:cubicBezTo>
                    <a:pt x="38" y="138"/>
                    <a:pt x="37" y="137"/>
                    <a:pt x="36" y="136"/>
                  </a:cubicBezTo>
                  <a:cubicBezTo>
                    <a:pt x="35" y="136"/>
                    <a:pt x="35" y="136"/>
                    <a:pt x="35" y="134"/>
                  </a:cubicBezTo>
                  <a:cubicBezTo>
                    <a:pt x="35" y="133"/>
                    <a:pt x="33" y="128"/>
                    <a:pt x="32" y="127"/>
                  </a:cubicBezTo>
                  <a:cubicBezTo>
                    <a:pt x="30" y="126"/>
                    <a:pt x="29" y="127"/>
                    <a:pt x="28" y="126"/>
                  </a:cubicBezTo>
                  <a:cubicBezTo>
                    <a:pt x="27" y="125"/>
                    <a:pt x="24" y="124"/>
                    <a:pt x="23" y="124"/>
                  </a:cubicBezTo>
                  <a:cubicBezTo>
                    <a:pt x="22" y="123"/>
                    <a:pt x="21" y="121"/>
                    <a:pt x="20" y="120"/>
                  </a:cubicBezTo>
                  <a:cubicBezTo>
                    <a:pt x="20" y="120"/>
                    <a:pt x="20" y="119"/>
                    <a:pt x="18" y="118"/>
                  </a:cubicBezTo>
                  <a:cubicBezTo>
                    <a:pt x="17" y="118"/>
                    <a:pt x="15" y="118"/>
                    <a:pt x="13" y="118"/>
                  </a:cubicBezTo>
                  <a:cubicBezTo>
                    <a:pt x="12" y="118"/>
                    <a:pt x="11" y="118"/>
                    <a:pt x="11" y="117"/>
                  </a:cubicBezTo>
                  <a:cubicBezTo>
                    <a:pt x="11" y="116"/>
                    <a:pt x="9" y="114"/>
                    <a:pt x="8" y="113"/>
                  </a:cubicBezTo>
                  <a:cubicBezTo>
                    <a:pt x="7" y="112"/>
                    <a:pt x="4" y="110"/>
                    <a:pt x="4" y="110"/>
                  </a:cubicBezTo>
                  <a:cubicBezTo>
                    <a:pt x="3" y="109"/>
                    <a:pt x="4" y="106"/>
                    <a:pt x="4" y="105"/>
                  </a:cubicBezTo>
                  <a:cubicBezTo>
                    <a:pt x="4" y="105"/>
                    <a:pt x="5" y="101"/>
                    <a:pt x="5" y="100"/>
                  </a:cubicBezTo>
                  <a:cubicBezTo>
                    <a:pt x="5" y="99"/>
                    <a:pt x="5" y="97"/>
                    <a:pt x="5" y="96"/>
                  </a:cubicBezTo>
                  <a:cubicBezTo>
                    <a:pt x="4" y="95"/>
                    <a:pt x="4" y="95"/>
                    <a:pt x="4" y="94"/>
                  </a:cubicBezTo>
                  <a:cubicBezTo>
                    <a:pt x="4" y="94"/>
                    <a:pt x="4" y="93"/>
                    <a:pt x="4" y="92"/>
                  </a:cubicBezTo>
                  <a:cubicBezTo>
                    <a:pt x="5" y="92"/>
                    <a:pt x="5" y="91"/>
                    <a:pt x="5" y="90"/>
                  </a:cubicBezTo>
                  <a:cubicBezTo>
                    <a:pt x="5" y="89"/>
                    <a:pt x="5" y="88"/>
                    <a:pt x="5" y="87"/>
                  </a:cubicBezTo>
                  <a:cubicBezTo>
                    <a:pt x="5" y="86"/>
                    <a:pt x="4" y="84"/>
                    <a:pt x="5" y="83"/>
                  </a:cubicBezTo>
                  <a:cubicBezTo>
                    <a:pt x="5" y="82"/>
                    <a:pt x="7" y="80"/>
                    <a:pt x="7" y="79"/>
                  </a:cubicBezTo>
                  <a:cubicBezTo>
                    <a:pt x="8" y="78"/>
                    <a:pt x="9" y="78"/>
                    <a:pt x="9" y="77"/>
                  </a:cubicBezTo>
                  <a:cubicBezTo>
                    <a:pt x="9" y="76"/>
                    <a:pt x="7" y="73"/>
                    <a:pt x="6" y="72"/>
                  </a:cubicBezTo>
                  <a:cubicBezTo>
                    <a:pt x="6" y="71"/>
                    <a:pt x="6" y="70"/>
                    <a:pt x="5" y="69"/>
                  </a:cubicBezTo>
                  <a:cubicBezTo>
                    <a:pt x="4" y="69"/>
                    <a:pt x="1" y="69"/>
                    <a:pt x="1" y="69"/>
                  </a:cubicBezTo>
                  <a:cubicBezTo>
                    <a:pt x="0" y="68"/>
                    <a:pt x="0" y="67"/>
                    <a:pt x="0" y="66"/>
                  </a:cubicBezTo>
                  <a:cubicBezTo>
                    <a:pt x="1" y="65"/>
                    <a:pt x="0" y="63"/>
                    <a:pt x="1" y="62"/>
                  </a:cubicBezTo>
                  <a:cubicBezTo>
                    <a:pt x="1" y="62"/>
                    <a:pt x="3" y="61"/>
                    <a:pt x="4" y="60"/>
                  </a:cubicBezTo>
                  <a:cubicBezTo>
                    <a:pt x="4" y="59"/>
                    <a:pt x="5" y="57"/>
                    <a:pt x="5" y="56"/>
                  </a:cubicBezTo>
                  <a:cubicBezTo>
                    <a:pt x="6" y="55"/>
                    <a:pt x="6" y="54"/>
                    <a:pt x="7" y="53"/>
                  </a:cubicBezTo>
                  <a:cubicBezTo>
                    <a:pt x="8" y="52"/>
                    <a:pt x="10" y="51"/>
                    <a:pt x="11" y="51"/>
                  </a:cubicBezTo>
                  <a:cubicBezTo>
                    <a:pt x="12" y="50"/>
                    <a:pt x="12" y="49"/>
                    <a:pt x="13" y="49"/>
                  </a:cubicBezTo>
                  <a:cubicBezTo>
                    <a:pt x="13" y="48"/>
                    <a:pt x="14" y="49"/>
                    <a:pt x="15" y="49"/>
                  </a:cubicBezTo>
                  <a:cubicBezTo>
                    <a:pt x="15" y="49"/>
                    <a:pt x="16" y="47"/>
                    <a:pt x="17" y="47"/>
                  </a:cubicBezTo>
                  <a:cubicBezTo>
                    <a:pt x="17" y="46"/>
                    <a:pt x="19" y="47"/>
                    <a:pt x="19" y="47"/>
                  </a:cubicBezTo>
                  <a:cubicBezTo>
                    <a:pt x="19" y="46"/>
                    <a:pt x="20" y="45"/>
                    <a:pt x="20" y="45"/>
                  </a:cubicBezTo>
                  <a:cubicBezTo>
                    <a:pt x="20" y="44"/>
                    <a:pt x="21" y="43"/>
                    <a:pt x="21" y="43"/>
                  </a:cubicBezTo>
                  <a:cubicBezTo>
                    <a:pt x="21" y="43"/>
                    <a:pt x="21" y="14"/>
                    <a:pt x="21" y="14"/>
                  </a:cubicBezTo>
                  <a:cubicBezTo>
                    <a:pt x="21" y="14"/>
                    <a:pt x="24" y="15"/>
                    <a:pt x="24" y="15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7" y="12"/>
                    <a:pt x="27" y="12"/>
                  </a:cubicBezTo>
                  <a:cubicBezTo>
                    <a:pt x="27" y="12"/>
                    <a:pt x="28" y="11"/>
                    <a:pt x="29" y="11"/>
                  </a:cubicBezTo>
                  <a:cubicBezTo>
                    <a:pt x="30" y="11"/>
                    <a:pt x="31" y="13"/>
                    <a:pt x="31" y="13"/>
                  </a:cubicBezTo>
                  <a:cubicBezTo>
                    <a:pt x="31" y="13"/>
                    <a:pt x="31" y="14"/>
                    <a:pt x="31" y="14"/>
                  </a:cubicBezTo>
                  <a:cubicBezTo>
                    <a:pt x="31" y="14"/>
                    <a:pt x="34" y="14"/>
                    <a:pt x="35" y="14"/>
                  </a:cubicBezTo>
                  <a:cubicBezTo>
                    <a:pt x="35" y="14"/>
                    <a:pt x="37" y="14"/>
                    <a:pt x="37" y="14"/>
                  </a:cubicBezTo>
                  <a:cubicBezTo>
                    <a:pt x="38" y="13"/>
                    <a:pt x="40" y="12"/>
                    <a:pt x="41" y="12"/>
                  </a:cubicBezTo>
                  <a:cubicBezTo>
                    <a:pt x="41" y="12"/>
                    <a:pt x="43" y="11"/>
                    <a:pt x="44" y="11"/>
                  </a:cubicBezTo>
                  <a:cubicBezTo>
                    <a:pt x="45" y="11"/>
                    <a:pt x="46" y="11"/>
                    <a:pt x="47" y="10"/>
                  </a:cubicBezTo>
                  <a:cubicBezTo>
                    <a:pt x="48" y="10"/>
                    <a:pt x="51" y="9"/>
                    <a:pt x="52" y="9"/>
                  </a:cubicBezTo>
                  <a:cubicBezTo>
                    <a:pt x="53" y="9"/>
                    <a:pt x="56" y="7"/>
                    <a:pt x="57" y="6"/>
                  </a:cubicBezTo>
                  <a:cubicBezTo>
                    <a:pt x="58" y="5"/>
                    <a:pt x="59" y="5"/>
                    <a:pt x="59" y="4"/>
                  </a:cubicBezTo>
                  <a:cubicBezTo>
                    <a:pt x="60" y="4"/>
                    <a:pt x="60" y="4"/>
                    <a:pt x="61" y="4"/>
                  </a:cubicBezTo>
                  <a:cubicBezTo>
                    <a:pt x="61" y="4"/>
                    <a:pt x="62" y="4"/>
                    <a:pt x="64" y="4"/>
                  </a:cubicBezTo>
                  <a:cubicBezTo>
                    <a:pt x="65" y="3"/>
                    <a:pt x="67" y="2"/>
                    <a:pt x="68" y="1"/>
                  </a:cubicBezTo>
                  <a:cubicBezTo>
                    <a:pt x="69" y="1"/>
                    <a:pt x="70" y="1"/>
                    <a:pt x="71" y="0"/>
                  </a:cubicBezTo>
                  <a:cubicBezTo>
                    <a:pt x="71" y="0"/>
                    <a:pt x="72" y="0"/>
                    <a:pt x="72" y="0"/>
                  </a:cubicBezTo>
                  <a:cubicBezTo>
                    <a:pt x="72" y="1"/>
                    <a:pt x="72" y="2"/>
                    <a:pt x="73" y="2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4" y="4"/>
                    <a:pt x="74" y="5"/>
                    <a:pt x="73" y="6"/>
                  </a:cubicBezTo>
                  <a:cubicBezTo>
                    <a:pt x="73" y="7"/>
                    <a:pt x="72" y="8"/>
                    <a:pt x="71" y="8"/>
                  </a:cubicBezTo>
                  <a:cubicBezTo>
                    <a:pt x="71" y="9"/>
                    <a:pt x="70" y="9"/>
                    <a:pt x="70" y="10"/>
                  </a:cubicBezTo>
                  <a:cubicBezTo>
                    <a:pt x="70" y="11"/>
                    <a:pt x="70" y="13"/>
                    <a:pt x="70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5"/>
                    <a:pt x="69" y="15"/>
                    <a:pt x="69" y="15"/>
                  </a:cubicBezTo>
                  <a:cubicBezTo>
                    <a:pt x="69" y="15"/>
                    <a:pt x="69" y="16"/>
                    <a:pt x="69" y="16"/>
                  </a:cubicBezTo>
                  <a:cubicBezTo>
                    <a:pt x="69" y="17"/>
                    <a:pt x="69" y="17"/>
                    <a:pt x="68" y="17"/>
                  </a:cubicBezTo>
                  <a:cubicBezTo>
                    <a:pt x="68" y="18"/>
                    <a:pt x="68" y="18"/>
                    <a:pt x="68" y="19"/>
                  </a:cubicBezTo>
                  <a:cubicBezTo>
                    <a:pt x="69" y="19"/>
                    <a:pt x="70" y="18"/>
                    <a:pt x="71" y="18"/>
                  </a:cubicBezTo>
                  <a:cubicBezTo>
                    <a:pt x="72" y="17"/>
                    <a:pt x="74" y="16"/>
                    <a:pt x="74" y="16"/>
                  </a:cubicBezTo>
                  <a:cubicBezTo>
                    <a:pt x="75" y="16"/>
                    <a:pt x="76" y="15"/>
                    <a:pt x="76" y="15"/>
                  </a:cubicBezTo>
                  <a:cubicBezTo>
                    <a:pt x="76" y="15"/>
                    <a:pt x="77" y="15"/>
                    <a:pt x="77" y="16"/>
                  </a:cubicBezTo>
                  <a:cubicBezTo>
                    <a:pt x="78" y="16"/>
                    <a:pt x="79" y="17"/>
                    <a:pt x="80" y="18"/>
                  </a:cubicBezTo>
                  <a:cubicBezTo>
                    <a:pt x="81" y="18"/>
                    <a:pt x="82" y="18"/>
                    <a:pt x="83" y="19"/>
                  </a:cubicBezTo>
                  <a:cubicBezTo>
                    <a:pt x="83" y="19"/>
                    <a:pt x="84" y="20"/>
                    <a:pt x="85" y="20"/>
                  </a:cubicBezTo>
                  <a:cubicBezTo>
                    <a:pt x="85" y="20"/>
                    <a:pt x="86" y="19"/>
                    <a:pt x="86" y="19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9" y="21"/>
                    <a:pt x="89" y="22"/>
                    <a:pt x="89" y="22"/>
                  </a:cubicBezTo>
                  <a:cubicBezTo>
                    <a:pt x="89" y="22"/>
                    <a:pt x="93" y="23"/>
                    <a:pt x="93" y="23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41" y="47"/>
                    <a:pt x="141" y="47"/>
                    <a:pt x="141" y="47"/>
                  </a:cubicBezTo>
                  <a:cubicBezTo>
                    <a:pt x="144" y="47"/>
                    <a:pt x="144" y="47"/>
                    <a:pt x="144" y="47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8" y="47"/>
                    <a:pt x="148" y="47"/>
                  </a:cubicBezTo>
                  <a:cubicBezTo>
                    <a:pt x="149" y="47"/>
                    <a:pt x="151" y="47"/>
                    <a:pt x="151" y="47"/>
                  </a:cubicBezTo>
                  <a:cubicBezTo>
                    <a:pt x="151" y="47"/>
                    <a:pt x="153" y="48"/>
                    <a:pt x="153" y="48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4" y="48"/>
                    <a:pt x="155" y="49"/>
                    <a:pt x="155" y="49"/>
                  </a:cubicBezTo>
                  <a:cubicBezTo>
                    <a:pt x="155" y="49"/>
                    <a:pt x="156" y="48"/>
                    <a:pt x="156" y="49"/>
                  </a:cubicBezTo>
                  <a:cubicBezTo>
                    <a:pt x="156" y="49"/>
                    <a:pt x="158" y="50"/>
                    <a:pt x="158" y="50"/>
                  </a:cubicBezTo>
                  <a:cubicBezTo>
                    <a:pt x="158" y="50"/>
                    <a:pt x="161" y="50"/>
                    <a:pt x="162" y="50"/>
                  </a:cubicBezTo>
                  <a:cubicBezTo>
                    <a:pt x="163" y="50"/>
                    <a:pt x="164" y="51"/>
                    <a:pt x="165" y="51"/>
                  </a:cubicBezTo>
                  <a:cubicBezTo>
                    <a:pt x="165" y="51"/>
                    <a:pt x="166" y="52"/>
                    <a:pt x="166" y="52"/>
                  </a:cubicBezTo>
                  <a:cubicBezTo>
                    <a:pt x="166" y="53"/>
                    <a:pt x="166" y="54"/>
                    <a:pt x="166" y="55"/>
                  </a:cubicBezTo>
                  <a:cubicBezTo>
                    <a:pt x="166" y="55"/>
                    <a:pt x="165" y="56"/>
                    <a:pt x="165" y="56"/>
                  </a:cubicBezTo>
                  <a:cubicBezTo>
                    <a:pt x="165" y="56"/>
                    <a:pt x="165" y="57"/>
                    <a:pt x="165" y="57"/>
                  </a:cubicBezTo>
                  <a:cubicBezTo>
                    <a:pt x="165" y="58"/>
                    <a:pt x="166" y="58"/>
                    <a:pt x="167" y="58"/>
                  </a:cubicBezTo>
                  <a:cubicBezTo>
                    <a:pt x="167" y="59"/>
                    <a:pt x="169" y="58"/>
                    <a:pt x="169" y="58"/>
                  </a:cubicBezTo>
                  <a:cubicBezTo>
                    <a:pt x="170" y="58"/>
                    <a:pt x="170" y="58"/>
                    <a:pt x="170" y="59"/>
                  </a:cubicBezTo>
                  <a:cubicBezTo>
                    <a:pt x="170" y="59"/>
                    <a:pt x="171" y="60"/>
                    <a:pt x="171" y="60"/>
                  </a:cubicBezTo>
                  <a:cubicBezTo>
                    <a:pt x="171" y="60"/>
                    <a:pt x="174" y="60"/>
                    <a:pt x="174" y="60"/>
                  </a:cubicBezTo>
                  <a:cubicBezTo>
                    <a:pt x="174" y="60"/>
                    <a:pt x="177" y="63"/>
                    <a:pt x="177" y="63"/>
                  </a:cubicBezTo>
                  <a:cubicBezTo>
                    <a:pt x="177" y="64"/>
                    <a:pt x="176" y="64"/>
                    <a:pt x="176" y="65"/>
                  </a:cubicBezTo>
                  <a:cubicBezTo>
                    <a:pt x="176" y="65"/>
                    <a:pt x="175" y="66"/>
                    <a:pt x="176" y="66"/>
                  </a:cubicBezTo>
                  <a:cubicBezTo>
                    <a:pt x="176" y="66"/>
                    <a:pt x="176" y="67"/>
                    <a:pt x="176" y="68"/>
                  </a:cubicBezTo>
                  <a:cubicBezTo>
                    <a:pt x="177" y="68"/>
                    <a:pt x="177" y="69"/>
                    <a:pt x="177" y="69"/>
                  </a:cubicBezTo>
                  <a:cubicBezTo>
                    <a:pt x="176" y="69"/>
                    <a:pt x="175" y="70"/>
                    <a:pt x="175" y="70"/>
                  </a:cubicBezTo>
                  <a:cubicBezTo>
                    <a:pt x="175" y="70"/>
                    <a:pt x="175" y="70"/>
                    <a:pt x="175" y="71"/>
                  </a:cubicBezTo>
                  <a:cubicBezTo>
                    <a:pt x="175" y="71"/>
                    <a:pt x="176" y="72"/>
                    <a:pt x="176" y="72"/>
                  </a:cubicBezTo>
                  <a:cubicBezTo>
                    <a:pt x="176" y="72"/>
                    <a:pt x="175" y="74"/>
                    <a:pt x="175" y="74"/>
                  </a:cubicBezTo>
                  <a:cubicBezTo>
                    <a:pt x="175" y="74"/>
                    <a:pt x="174" y="76"/>
                    <a:pt x="174" y="76"/>
                  </a:cubicBezTo>
                  <a:cubicBezTo>
                    <a:pt x="174" y="77"/>
                    <a:pt x="173" y="78"/>
                    <a:pt x="173" y="79"/>
                  </a:cubicBezTo>
                  <a:cubicBezTo>
                    <a:pt x="173" y="79"/>
                    <a:pt x="173" y="79"/>
                    <a:pt x="174" y="79"/>
                  </a:cubicBezTo>
                  <a:cubicBezTo>
                    <a:pt x="174" y="80"/>
                    <a:pt x="177" y="80"/>
                    <a:pt x="177" y="80"/>
                  </a:cubicBezTo>
                  <a:cubicBezTo>
                    <a:pt x="177" y="80"/>
                    <a:pt x="179" y="78"/>
                    <a:pt x="179" y="78"/>
                  </a:cubicBezTo>
                  <a:cubicBezTo>
                    <a:pt x="179" y="78"/>
                    <a:pt x="181" y="78"/>
                    <a:pt x="181" y="78"/>
                  </a:cubicBezTo>
                  <a:cubicBezTo>
                    <a:pt x="181" y="79"/>
                    <a:pt x="181" y="79"/>
                    <a:pt x="181" y="80"/>
                  </a:cubicBezTo>
                  <a:cubicBezTo>
                    <a:pt x="181" y="80"/>
                    <a:pt x="179" y="85"/>
                    <a:pt x="179" y="86"/>
                  </a:cubicBezTo>
                  <a:cubicBezTo>
                    <a:pt x="179" y="86"/>
                    <a:pt x="178" y="88"/>
                    <a:pt x="178" y="88"/>
                  </a:cubicBezTo>
                  <a:cubicBezTo>
                    <a:pt x="178" y="88"/>
                    <a:pt x="179" y="90"/>
                    <a:pt x="180" y="90"/>
                  </a:cubicBezTo>
                  <a:cubicBezTo>
                    <a:pt x="180" y="90"/>
                    <a:pt x="181" y="91"/>
                    <a:pt x="181" y="91"/>
                  </a:cubicBezTo>
                  <a:cubicBezTo>
                    <a:pt x="181" y="91"/>
                    <a:pt x="182" y="92"/>
                    <a:pt x="183" y="92"/>
                  </a:cubicBezTo>
                  <a:cubicBezTo>
                    <a:pt x="183" y="93"/>
                    <a:pt x="183" y="95"/>
                    <a:pt x="183" y="96"/>
                  </a:cubicBezTo>
                  <a:cubicBezTo>
                    <a:pt x="183" y="97"/>
                    <a:pt x="183" y="97"/>
                    <a:pt x="182" y="98"/>
                  </a:cubicBezTo>
                  <a:cubicBezTo>
                    <a:pt x="182" y="99"/>
                    <a:pt x="181" y="99"/>
                    <a:pt x="180" y="99"/>
                  </a:cubicBezTo>
                  <a:cubicBezTo>
                    <a:pt x="179" y="99"/>
                    <a:pt x="178" y="99"/>
                    <a:pt x="177" y="100"/>
                  </a:cubicBezTo>
                  <a:cubicBezTo>
                    <a:pt x="176" y="100"/>
                    <a:pt x="176" y="100"/>
                    <a:pt x="175" y="101"/>
                  </a:cubicBezTo>
                  <a:cubicBezTo>
                    <a:pt x="175" y="101"/>
                    <a:pt x="175" y="102"/>
                    <a:pt x="175" y="102"/>
                  </a:cubicBezTo>
                  <a:cubicBezTo>
                    <a:pt x="175" y="103"/>
                    <a:pt x="175" y="104"/>
                    <a:pt x="175" y="104"/>
                  </a:cubicBezTo>
                  <a:cubicBezTo>
                    <a:pt x="174" y="105"/>
                    <a:pt x="174" y="106"/>
                    <a:pt x="173" y="107"/>
                  </a:cubicBezTo>
                  <a:cubicBezTo>
                    <a:pt x="172" y="109"/>
                    <a:pt x="170" y="110"/>
                    <a:pt x="170" y="113"/>
                  </a:cubicBezTo>
                  <a:cubicBezTo>
                    <a:pt x="170" y="114"/>
                    <a:pt x="169" y="114"/>
                    <a:pt x="169" y="115"/>
                  </a:cubicBezTo>
                  <a:cubicBezTo>
                    <a:pt x="169" y="116"/>
                    <a:pt x="169" y="116"/>
                    <a:pt x="169" y="117"/>
                  </a:cubicBezTo>
                  <a:cubicBezTo>
                    <a:pt x="169" y="118"/>
                    <a:pt x="169" y="118"/>
                    <a:pt x="170" y="119"/>
                  </a:cubicBezTo>
                  <a:cubicBezTo>
                    <a:pt x="170" y="119"/>
                    <a:pt x="170" y="120"/>
                    <a:pt x="171" y="119"/>
                  </a:cubicBezTo>
                  <a:cubicBezTo>
                    <a:pt x="171" y="119"/>
                    <a:pt x="172" y="119"/>
                    <a:pt x="172" y="119"/>
                  </a:cubicBezTo>
                  <a:cubicBezTo>
                    <a:pt x="172" y="118"/>
                    <a:pt x="173" y="118"/>
                    <a:pt x="173" y="118"/>
                  </a:cubicBezTo>
                  <a:cubicBezTo>
                    <a:pt x="174" y="117"/>
                    <a:pt x="175" y="116"/>
                    <a:pt x="177" y="115"/>
                  </a:cubicBezTo>
                  <a:cubicBezTo>
                    <a:pt x="177" y="115"/>
                    <a:pt x="179" y="114"/>
                    <a:pt x="179" y="113"/>
                  </a:cubicBezTo>
                  <a:cubicBezTo>
                    <a:pt x="179" y="112"/>
                    <a:pt x="179" y="111"/>
                    <a:pt x="179" y="111"/>
                  </a:cubicBezTo>
                  <a:cubicBezTo>
                    <a:pt x="179" y="110"/>
                    <a:pt x="180" y="110"/>
                    <a:pt x="180" y="109"/>
                  </a:cubicBezTo>
                  <a:cubicBezTo>
                    <a:pt x="180" y="109"/>
                    <a:pt x="181" y="108"/>
                    <a:pt x="181" y="108"/>
                  </a:cubicBezTo>
                  <a:cubicBezTo>
                    <a:pt x="181" y="107"/>
                    <a:pt x="182" y="107"/>
                    <a:pt x="182" y="106"/>
                  </a:cubicBezTo>
                  <a:cubicBezTo>
                    <a:pt x="183" y="106"/>
                    <a:pt x="183" y="105"/>
                    <a:pt x="183" y="105"/>
                  </a:cubicBezTo>
                  <a:cubicBezTo>
                    <a:pt x="184" y="105"/>
                    <a:pt x="184" y="105"/>
                    <a:pt x="185" y="105"/>
                  </a:cubicBezTo>
                  <a:cubicBezTo>
                    <a:pt x="186" y="105"/>
                    <a:pt x="188" y="105"/>
                    <a:pt x="190" y="104"/>
                  </a:cubicBezTo>
                  <a:cubicBezTo>
                    <a:pt x="190" y="104"/>
                    <a:pt x="191" y="103"/>
                    <a:pt x="191" y="103"/>
                  </a:cubicBezTo>
                  <a:cubicBezTo>
                    <a:pt x="190" y="102"/>
                    <a:pt x="190" y="101"/>
                    <a:pt x="191" y="100"/>
                  </a:cubicBezTo>
                  <a:cubicBezTo>
                    <a:pt x="191" y="99"/>
                    <a:pt x="192" y="99"/>
                    <a:pt x="192" y="98"/>
                  </a:cubicBezTo>
                  <a:cubicBezTo>
                    <a:pt x="192" y="98"/>
                    <a:pt x="192" y="97"/>
                    <a:pt x="193" y="96"/>
                  </a:cubicBezTo>
                  <a:cubicBezTo>
                    <a:pt x="193" y="96"/>
                    <a:pt x="193" y="96"/>
                    <a:pt x="194" y="95"/>
                  </a:cubicBezTo>
                  <a:cubicBezTo>
                    <a:pt x="194" y="95"/>
                    <a:pt x="194" y="95"/>
                    <a:pt x="194" y="94"/>
                  </a:cubicBezTo>
                  <a:cubicBezTo>
                    <a:pt x="195" y="93"/>
                    <a:pt x="195" y="93"/>
                    <a:pt x="195" y="92"/>
                  </a:cubicBezTo>
                  <a:cubicBezTo>
                    <a:pt x="196" y="91"/>
                    <a:pt x="196" y="90"/>
                    <a:pt x="196" y="89"/>
                  </a:cubicBezTo>
                  <a:cubicBezTo>
                    <a:pt x="197" y="89"/>
                    <a:pt x="198" y="89"/>
                    <a:pt x="199" y="88"/>
                  </a:cubicBezTo>
                  <a:cubicBezTo>
                    <a:pt x="199" y="88"/>
                    <a:pt x="200" y="87"/>
                    <a:pt x="201" y="86"/>
                  </a:cubicBezTo>
                  <a:cubicBezTo>
                    <a:pt x="201" y="86"/>
                    <a:pt x="201" y="85"/>
                    <a:pt x="201" y="84"/>
                  </a:cubicBezTo>
                  <a:cubicBezTo>
                    <a:pt x="202" y="83"/>
                    <a:pt x="202" y="83"/>
                    <a:pt x="203" y="83"/>
                  </a:cubicBezTo>
                  <a:cubicBezTo>
                    <a:pt x="204" y="83"/>
                    <a:pt x="204" y="83"/>
                    <a:pt x="204" y="83"/>
                  </a:cubicBezTo>
                  <a:cubicBezTo>
                    <a:pt x="205" y="83"/>
                    <a:pt x="205" y="84"/>
                    <a:pt x="205" y="84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93C4150-2632-43AD-972B-5FCC84B3B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1501" y="2880468"/>
              <a:ext cx="674099" cy="606359"/>
            </a:xfrm>
            <a:custGeom>
              <a:avLst/>
              <a:gdLst>
                <a:gd name="T0" fmla="*/ 168 w 170"/>
                <a:gd name="T1" fmla="*/ 51 h 153"/>
                <a:gd name="T2" fmla="*/ 165 w 170"/>
                <a:gd name="T3" fmla="*/ 47 h 153"/>
                <a:gd name="T4" fmla="*/ 162 w 170"/>
                <a:gd name="T5" fmla="*/ 46 h 153"/>
                <a:gd name="T6" fmla="*/ 151 w 170"/>
                <a:gd name="T7" fmla="*/ 45 h 153"/>
                <a:gd name="T8" fmla="*/ 146 w 170"/>
                <a:gd name="T9" fmla="*/ 47 h 153"/>
                <a:gd name="T10" fmla="*/ 144 w 170"/>
                <a:gd name="T11" fmla="*/ 50 h 153"/>
                <a:gd name="T12" fmla="*/ 135 w 170"/>
                <a:gd name="T13" fmla="*/ 48 h 153"/>
                <a:gd name="T14" fmla="*/ 132 w 170"/>
                <a:gd name="T15" fmla="*/ 48 h 153"/>
                <a:gd name="T16" fmla="*/ 127 w 170"/>
                <a:gd name="T17" fmla="*/ 53 h 153"/>
                <a:gd name="T18" fmla="*/ 122 w 170"/>
                <a:gd name="T19" fmla="*/ 53 h 153"/>
                <a:gd name="T20" fmla="*/ 116 w 170"/>
                <a:gd name="T21" fmla="*/ 59 h 153"/>
                <a:gd name="T22" fmla="*/ 74 w 170"/>
                <a:gd name="T23" fmla="*/ 41 h 153"/>
                <a:gd name="T24" fmla="*/ 69 w 170"/>
                <a:gd name="T25" fmla="*/ 0 h 153"/>
                <a:gd name="T26" fmla="*/ 70 w 170"/>
                <a:gd name="T27" fmla="*/ 9 h 153"/>
                <a:gd name="T28" fmla="*/ 66 w 170"/>
                <a:gd name="T29" fmla="*/ 28 h 153"/>
                <a:gd name="T30" fmla="*/ 63 w 170"/>
                <a:gd name="T31" fmla="*/ 37 h 153"/>
                <a:gd name="T32" fmla="*/ 61 w 170"/>
                <a:gd name="T33" fmla="*/ 46 h 153"/>
                <a:gd name="T34" fmla="*/ 46 w 170"/>
                <a:gd name="T35" fmla="*/ 58 h 153"/>
                <a:gd name="T36" fmla="*/ 39 w 170"/>
                <a:gd name="T37" fmla="*/ 57 h 153"/>
                <a:gd name="T38" fmla="*/ 34 w 170"/>
                <a:gd name="T39" fmla="*/ 61 h 153"/>
                <a:gd name="T40" fmla="*/ 30 w 170"/>
                <a:gd name="T41" fmla="*/ 70 h 153"/>
                <a:gd name="T42" fmla="*/ 28 w 170"/>
                <a:gd name="T43" fmla="*/ 76 h 153"/>
                <a:gd name="T44" fmla="*/ 25 w 170"/>
                <a:gd name="T45" fmla="*/ 77 h 153"/>
                <a:gd name="T46" fmla="*/ 22 w 170"/>
                <a:gd name="T47" fmla="*/ 72 h 153"/>
                <a:gd name="T48" fmla="*/ 17 w 170"/>
                <a:gd name="T49" fmla="*/ 81 h 153"/>
                <a:gd name="T50" fmla="*/ 14 w 170"/>
                <a:gd name="T51" fmla="*/ 91 h 153"/>
                <a:gd name="T52" fmla="*/ 10 w 170"/>
                <a:gd name="T53" fmla="*/ 98 h 153"/>
                <a:gd name="T54" fmla="*/ 2 w 170"/>
                <a:gd name="T55" fmla="*/ 106 h 153"/>
                <a:gd name="T56" fmla="*/ 0 w 170"/>
                <a:gd name="T57" fmla="*/ 112 h 153"/>
                <a:gd name="T58" fmla="*/ 6 w 170"/>
                <a:gd name="T59" fmla="*/ 118 h 153"/>
                <a:gd name="T60" fmla="*/ 9 w 170"/>
                <a:gd name="T61" fmla="*/ 126 h 153"/>
                <a:gd name="T62" fmla="*/ 15 w 170"/>
                <a:gd name="T63" fmla="*/ 134 h 153"/>
                <a:gd name="T64" fmla="*/ 23 w 170"/>
                <a:gd name="T65" fmla="*/ 138 h 153"/>
                <a:gd name="T66" fmla="*/ 24 w 170"/>
                <a:gd name="T67" fmla="*/ 142 h 153"/>
                <a:gd name="T68" fmla="*/ 30 w 170"/>
                <a:gd name="T69" fmla="*/ 149 h 153"/>
                <a:gd name="T70" fmla="*/ 44 w 170"/>
                <a:gd name="T71" fmla="*/ 146 h 153"/>
                <a:gd name="T72" fmla="*/ 61 w 170"/>
                <a:gd name="T73" fmla="*/ 148 h 153"/>
                <a:gd name="T74" fmla="*/ 63 w 170"/>
                <a:gd name="T75" fmla="*/ 144 h 153"/>
                <a:gd name="T76" fmla="*/ 75 w 170"/>
                <a:gd name="T77" fmla="*/ 143 h 153"/>
                <a:gd name="T78" fmla="*/ 83 w 170"/>
                <a:gd name="T79" fmla="*/ 135 h 153"/>
                <a:gd name="T80" fmla="*/ 84 w 170"/>
                <a:gd name="T81" fmla="*/ 125 h 153"/>
                <a:gd name="T82" fmla="*/ 93 w 170"/>
                <a:gd name="T83" fmla="*/ 115 h 153"/>
                <a:gd name="T84" fmla="*/ 95 w 170"/>
                <a:gd name="T85" fmla="*/ 108 h 153"/>
                <a:gd name="T86" fmla="*/ 101 w 170"/>
                <a:gd name="T87" fmla="*/ 101 h 153"/>
                <a:gd name="T88" fmla="*/ 106 w 170"/>
                <a:gd name="T89" fmla="*/ 92 h 153"/>
                <a:gd name="T90" fmla="*/ 121 w 170"/>
                <a:gd name="T91" fmla="*/ 89 h 153"/>
                <a:gd name="T92" fmla="*/ 130 w 170"/>
                <a:gd name="T93" fmla="*/ 84 h 153"/>
                <a:gd name="T94" fmla="*/ 135 w 170"/>
                <a:gd name="T95" fmla="*/ 78 h 153"/>
                <a:gd name="T96" fmla="*/ 141 w 170"/>
                <a:gd name="T97" fmla="*/ 72 h 153"/>
                <a:gd name="T98" fmla="*/ 147 w 170"/>
                <a:gd name="T99" fmla="*/ 61 h 153"/>
                <a:gd name="T100" fmla="*/ 166 w 170"/>
                <a:gd name="T101" fmla="*/ 6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53">
                  <a:moveTo>
                    <a:pt x="169" y="54"/>
                  </a:moveTo>
                  <a:cubicBezTo>
                    <a:pt x="167" y="54"/>
                    <a:pt x="167" y="54"/>
                    <a:pt x="167" y="54"/>
                  </a:cubicBezTo>
                  <a:cubicBezTo>
                    <a:pt x="167" y="54"/>
                    <a:pt x="168" y="52"/>
                    <a:pt x="168" y="52"/>
                  </a:cubicBezTo>
                  <a:cubicBezTo>
                    <a:pt x="168" y="52"/>
                    <a:pt x="168" y="51"/>
                    <a:pt x="168" y="51"/>
                  </a:cubicBezTo>
                  <a:cubicBezTo>
                    <a:pt x="166" y="51"/>
                    <a:pt x="166" y="51"/>
                    <a:pt x="166" y="51"/>
                  </a:cubicBezTo>
                  <a:cubicBezTo>
                    <a:pt x="166" y="50"/>
                    <a:pt x="166" y="50"/>
                    <a:pt x="166" y="50"/>
                  </a:cubicBezTo>
                  <a:cubicBezTo>
                    <a:pt x="165" y="50"/>
                    <a:pt x="165" y="50"/>
                    <a:pt x="165" y="50"/>
                  </a:cubicBezTo>
                  <a:cubicBezTo>
                    <a:pt x="165" y="50"/>
                    <a:pt x="165" y="48"/>
                    <a:pt x="165" y="47"/>
                  </a:cubicBezTo>
                  <a:cubicBezTo>
                    <a:pt x="165" y="47"/>
                    <a:pt x="166" y="46"/>
                    <a:pt x="166" y="46"/>
                  </a:cubicBezTo>
                  <a:cubicBezTo>
                    <a:pt x="166" y="46"/>
                    <a:pt x="164" y="46"/>
                    <a:pt x="164" y="46"/>
                  </a:cubicBezTo>
                  <a:cubicBezTo>
                    <a:pt x="164" y="46"/>
                    <a:pt x="162" y="47"/>
                    <a:pt x="162" y="47"/>
                  </a:cubicBezTo>
                  <a:cubicBezTo>
                    <a:pt x="162" y="47"/>
                    <a:pt x="163" y="46"/>
                    <a:pt x="162" y="46"/>
                  </a:cubicBezTo>
                  <a:cubicBezTo>
                    <a:pt x="162" y="45"/>
                    <a:pt x="161" y="46"/>
                    <a:pt x="161" y="46"/>
                  </a:cubicBezTo>
                  <a:cubicBezTo>
                    <a:pt x="161" y="46"/>
                    <a:pt x="155" y="42"/>
                    <a:pt x="155" y="42"/>
                  </a:cubicBezTo>
                  <a:cubicBezTo>
                    <a:pt x="153" y="42"/>
                    <a:pt x="153" y="42"/>
                    <a:pt x="153" y="42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1" y="45"/>
                    <a:pt x="148" y="45"/>
                    <a:pt x="148" y="45"/>
                  </a:cubicBezTo>
                  <a:cubicBezTo>
                    <a:pt x="148" y="44"/>
                    <a:pt x="147" y="46"/>
                    <a:pt x="147" y="46"/>
                  </a:cubicBezTo>
                  <a:cubicBezTo>
                    <a:pt x="145" y="45"/>
                    <a:pt x="145" y="45"/>
                    <a:pt x="145" y="45"/>
                  </a:cubicBezTo>
                  <a:cubicBezTo>
                    <a:pt x="145" y="45"/>
                    <a:pt x="146" y="47"/>
                    <a:pt x="146" y="47"/>
                  </a:cubicBezTo>
                  <a:cubicBezTo>
                    <a:pt x="146" y="47"/>
                    <a:pt x="145" y="47"/>
                    <a:pt x="145" y="47"/>
                  </a:cubicBezTo>
                  <a:cubicBezTo>
                    <a:pt x="144" y="48"/>
                    <a:pt x="144" y="49"/>
                    <a:pt x="144" y="49"/>
                  </a:cubicBezTo>
                  <a:cubicBezTo>
                    <a:pt x="146" y="49"/>
                    <a:pt x="146" y="49"/>
                    <a:pt x="146" y="49"/>
                  </a:cubicBezTo>
                  <a:cubicBezTo>
                    <a:pt x="144" y="50"/>
                    <a:pt x="144" y="50"/>
                    <a:pt x="144" y="50"/>
                  </a:cubicBezTo>
                  <a:cubicBezTo>
                    <a:pt x="144" y="50"/>
                    <a:pt x="142" y="50"/>
                    <a:pt x="142" y="50"/>
                  </a:cubicBezTo>
                  <a:cubicBezTo>
                    <a:pt x="142" y="50"/>
                    <a:pt x="140" y="50"/>
                    <a:pt x="139" y="49"/>
                  </a:cubicBezTo>
                  <a:cubicBezTo>
                    <a:pt x="139" y="49"/>
                    <a:pt x="137" y="48"/>
                    <a:pt x="137" y="48"/>
                  </a:cubicBezTo>
                  <a:cubicBezTo>
                    <a:pt x="137" y="48"/>
                    <a:pt x="135" y="48"/>
                    <a:pt x="135" y="48"/>
                  </a:cubicBezTo>
                  <a:cubicBezTo>
                    <a:pt x="135" y="47"/>
                    <a:pt x="134" y="46"/>
                    <a:pt x="134" y="46"/>
                  </a:cubicBezTo>
                  <a:cubicBezTo>
                    <a:pt x="134" y="45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32" y="46"/>
                    <a:pt x="132" y="47"/>
                    <a:pt x="132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28" y="51"/>
                    <a:pt x="128" y="51"/>
                  </a:cubicBezTo>
                  <a:cubicBezTo>
                    <a:pt x="128" y="52"/>
                    <a:pt x="127" y="53"/>
                    <a:pt x="127" y="53"/>
                  </a:cubicBezTo>
                  <a:cubicBezTo>
                    <a:pt x="127" y="53"/>
                    <a:pt x="126" y="53"/>
                    <a:pt x="126" y="53"/>
                  </a:cubicBezTo>
                  <a:cubicBezTo>
                    <a:pt x="126" y="52"/>
                    <a:pt x="125" y="52"/>
                    <a:pt x="124" y="52"/>
                  </a:cubicBezTo>
                  <a:cubicBezTo>
                    <a:pt x="124" y="51"/>
                    <a:pt x="123" y="52"/>
                    <a:pt x="123" y="52"/>
                  </a:cubicBezTo>
                  <a:cubicBezTo>
                    <a:pt x="122" y="53"/>
                    <a:pt x="122" y="53"/>
                    <a:pt x="122" y="53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0" y="56"/>
                    <a:pt x="120" y="56"/>
                    <a:pt x="120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60"/>
                    <a:pt x="114" y="60"/>
                  </a:cubicBezTo>
                  <a:cubicBezTo>
                    <a:pt x="114" y="60"/>
                    <a:pt x="109" y="63"/>
                    <a:pt x="109" y="63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69" y="0"/>
                    <a:pt x="69" y="0"/>
                  </a:cubicBezTo>
                  <a:cubicBezTo>
                    <a:pt x="69" y="1"/>
                    <a:pt x="68" y="2"/>
                    <a:pt x="68" y="2"/>
                  </a:cubicBezTo>
                  <a:cubicBezTo>
                    <a:pt x="68" y="2"/>
                    <a:pt x="70" y="5"/>
                    <a:pt x="70" y="5"/>
                  </a:cubicBezTo>
                  <a:cubicBezTo>
                    <a:pt x="70" y="5"/>
                    <a:pt x="71" y="7"/>
                    <a:pt x="71" y="7"/>
                  </a:cubicBezTo>
                  <a:cubicBezTo>
                    <a:pt x="71" y="7"/>
                    <a:pt x="70" y="9"/>
                    <a:pt x="70" y="9"/>
                  </a:cubicBezTo>
                  <a:cubicBezTo>
                    <a:pt x="70" y="10"/>
                    <a:pt x="69" y="11"/>
                    <a:pt x="69" y="11"/>
                  </a:cubicBezTo>
                  <a:cubicBezTo>
                    <a:pt x="69" y="12"/>
                    <a:pt x="71" y="15"/>
                    <a:pt x="71" y="15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32"/>
                    <a:pt x="64" y="33"/>
                    <a:pt x="64" y="33"/>
                  </a:cubicBezTo>
                  <a:cubicBezTo>
                    <a:pt x="64" y="33"/>
                    <a:pt x="64" y="35"/>
                    <a:pt x="64" y="35"/>
                  </a:cubicBezTo>
                  <a:cubicBezTo>
                    <a:pt x="64" y="35"/>
                    <a:pt x="63" y="37"/>
                    <a:pt x="63" y="37"/>
                  </a:cubicBezTo>
                  <a:cubicBezTo>
                    <a:pt x="62" y="37"/>
                    <a:pt x="61" y="39"/>
                    <a:pt x="61" y="39"/>
                  </a:cubicBezTo>
                  <a:cubicBezTo>
                    <a:pt x="61" y="40"/>
                    <a:pt x="63" y="42"/>
                    <a:pt x="63" y="42"/>
                  </a:cubicBezTo>
                  <a:cubicBezTo>
                    <a:pt x="63" y="42"/>
                    <a:pt x="62" y="42"/>
                    <a:pt x="62" y="43"/>
                  </a:cubicBezTo>
                  <a:cubicBezTo>
                    <a:pt x="61" y="43"/>
                    <a:pt x="61" y="46"/>
                    <a:pt x="61" y="46"/>
                  </a:cubicBezTo>
                  <a:cubicBezTo>
                    <a:pt x="61" y="46"/>
                    <a:pt x="59" y="46"/>
                    <a:pt x="59" y="46"/>
                  </a:cubicBezTo>
                  <a:cubicBezTo>
                    <a:pt x="59" y="46"/>
                    <a:pt x="58" y="48"/>
                    <a:pt x="58" y="48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6" y="58"/>
                    <a:pt x="46" y="58"/>
                  </a:cubicBezTo>
                  <a:cubicBezTo>
                    <a:pt x="46" y="58"/>
                    <a:pt x="44" y="58"/>
                    <a:pt x="44" y="58"/>
                  </a:cubicBezTo>
                  <a:cubicBezTo>
                    <a:pt x="44" y="58"/>
                    <a:pt x="42" y="55"/>
                    <a:pt x="42" y="55"/>
                  </a:cubicBezTo>
                  <a:cubicBezTo>
                    <a:pt x="42" y="55"/>
                    <a:pt x="41" y="55"/>
                    <a:pt x="41" y="55"/>
                  </a:cubicBezTo>
                  <a:cubicBezTo>
                    <a:pt x="40" y="55"/>
                    <a:pt x="40" y="57"/>
                    <a:pt x="39" y="57"/>
                  </a:cubicBezTo>
                  <a:cubicBezTo>
                    <a:pt x="39" y="57"/>
                    <a:pt x="38" y="58"/>
                    <a:pt x="38" y="58"/>
                  </a:cubicBezTo>
                  <a:cubicBezTo>
                    <a:pt x="38" y="58"/>
                    <a:pt x="37" y="62"/>
                    <a:pt x="37" y="62"/>
                  </a:cubicBezTo>
                  <a:cubicBezTo>
                    <a:pt x="37" y="62"/>
                    <a:pt x="36" y="61"/>
                    <a:pt x="36" y="61"/>
                  </a:cubicBezTo>
                  <a:cubicBezTo>
                    <a:pt x="35" y="61"/>
                    <a:pt x="34" y="61"/>
                    <a:pt x="34" y="61"/>
                  </a:cubicBezTo>
                  <a:cubicBezTo>
                    <a:pt x="34" y="61"/>
                    <a:pt x="33" y="64"/>
                    <a:pt x="33" y="64"/>
                  </a:cubicBezTo>
                  <a:cubicBezTo>
                    <a:pt x="32" y="64"/>
                    <a:pt x="31" y="65"/>
                    <a:pt x="31" y="65"/>
                  </a:cubicBezTo>
                  <a:cubicBezTo>
                    <a:pt x="31" y="65"/>
                    <a:pt x="31" y="69"/>
                    <a:pt x="31" y="69"/>
                  </a:cubicBezTo>
                  <a:cubicBezTo>
                    <a:pt x="31" y="69"/>
                    <a:pt x="30" y="70"/>
                    <a:pt x="30" y="70"/>
                  </a:cubicBezTo>
                  <a:cubicBezTo>
                    <a:pt x="30" y="70"/>
                    <a:pt x="29" y="70"/>
                    <a:pt x="29" y="71"/>
                  </a:cubicBezTo>
                  <a:cubicBezTo>
                    <a:pt x="29" y="71"/>
                    <a:pt x="30" y="72"/>
                    <a:pt x="30" y="72"/>
                  </a:cubicBezTo>
                  <a:cubicBezTo>
                    <a:pt x="30" y="72"/>
                    <a:pt x="30" y="77"/>
                    <a:pt x="30" y="77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7"/>
                    <a:pt x="28" y="78"/>
                  </a:cubicBezTo>
                  <a:cubicBezTo>
                    <a:pt x="28" y="78"/>
                    <a:pt x="27" y="79"/>
                    <a:pt x="27" y="79"/>
                  </a:cubicBezTo>
                  <a:cubicBezTo>
                    <a:pt x="27" y="79"/>
                    <a:pt x="25" y="79"/>
                    <a:pt x="25" y="79"/>
                  </a:cubicBezTo>
                  <a:cubicBezTo>
                    <a:pt x="25" y="79"/>
                    <a:pt x="25" y="77"/>
                    <a:pt x="25" y="77"/>
                  </a:cubicBezTo>
                  <a:cubicBezTo>
                    <a:pt x="25" y="77"/>
                    <a:pt x="26" y="76"/>
                    <a:pt x="26" y="76"/>
                  </a:cubicBezTo>
                  <a:cubicBezTo>
                    <a:pt x="26" y="76"/>
                    <a:pt x="25" y="75"/>
                    <a:pt x="25" y="75"/>
                  </a:cubicBezTo>
                  <a:cubicBezTo>
                    <a:pt x="25" y="75"/>
                    <a:pt x="24" y="74"/>
                    <a:pt x="24" y="74"/>
                  </a:cubicBezTo>
                  <a:cubicBezTo>
                    <a:pt x="24" y="74"/>
                    <a:pt x="22" y="73"/>
                    <a:pt x="22" y="72"/>
                  </a:cubicBezTo>
                  <a:cubicBezTo>
                    <a:pt x="22" y="72"/>
                    <a:pt x="21" y="72"/>
                    <a:pt x="21" y="73"/>
                  </a:cubicBezTo>
                  <a:cubicBezTo>
                    <a:pt x="21" y="73"/>
                    <a:pt x="20" y="74"/>
                    <a:pt x="20" y="74"/>
                  </a:cubicBezTo>
                  <a:cubicBezTo>
                    <a:pt x="20" y="75"/>
                    <a:pt x="18" y="78"/>
                    <a:pt x="18" y="78"/>
                  </a:cubicBezTo>
                  <a:cubicBezTo>
                    <a:pt x="18" y="79"/>
                    <a:pt x="17" y="81"/>
                    <a:pt x="17" y="81"/>
                  </a:cubicBezTo>
                  <a:cubicBezTo>
                    <a:pt x="17" y="81"/>
                    <a:pt x="15" y="83"/>
                    <a:pt x="15" y="83"/>
                  </a:cubicBezTo>
                  <a:cubicBezTo>
                    <a:pt x="15" y="83"/>
                    <a:pt x="16" y="86"/>
                    <a:pt x="16" y="87"/>
                  </a:cubicBezTo>
                  <a:cubicBezTo>
                    <a:pt x="16" y="87"/>
                    <a:pt x="17" y="91"/>
                    <a:pt x="17" y="91"/>
                  </a:cubicBezTo>
                  <a:cubicBezTo>
                    <a:pt x="17" y="91"/>
                    <a:pt x="14" y="91"/>
                    <a:pt x="14" y="91"/>
                  </a:cubicBezTo>
                  <a:cubicBezTo>
                    <a:pt x="14" y="92"/>
                    <a:pt x="12" y="92"/>
                    <a:pt x="12" y="92"/>
                  </a:cubicBezTo>
                  <a:cubicBezTo>
                    <a:pt x="12" y="92"/>
                    <a:pt x="12" y="94"/>
                    <a:pt x="12" y="94"/>
                  </a:cubicBezTo>
                  <a:cubicBezTo>
                    <a:pt x="12" y="95"/>
                    <a:pt x="11" y="97"/>
                    <a:pt x="11" y="97"/>
                  </a:cubicBezTo>
                  <a:cubicBezTo>
                    <a:pt x="11" y="97"/>
                    <a:pt x="10" y="98"/>
                    <a:pt x="10" y="98"/>
                  </a:cubicBezTo>
                  <a:cubicBezTo>
                    <a:pt x="9" y="99"/>
                    <a:pt x="6" y="99"/>
                    <a:pt x="6" y="99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2" y="100"/>
                    <a:pt x="2" y="102"/>
                    <a:pt x="2" y="103"/>
                  </a:cubicBezTo>
                  <a:cubicBezTo>
                    <a:pt x="2" y="103"/>
                    <a:pt x="2" y="106"/>
                    <a:pt x="2" y="106"/>
                  </a:cubicBezTo>
                  <a:cubicBezTo>
                    <a:pt x="2" y="106"/>
                    <a:pt x="1" y="107"/>
                    <a:pt x="1" y="107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0" y="111"/>
                    <a:pt x="0" y="112"/>
                  </a:cubicBezTo>
                  <a:cubicBezTo>
                    <a:pt x="0" y="112"/>
                    <a:pt x="2" y="112"/>
                    <a:pt x="2" y="112"/>
                  </a:cubicBezTo>
                  <a:cubicBezTo>
                    <a:pt x="2" y="112"/>
                    <a:pt x="3" y="115"/>
                    <a:pt x="3" y="115"/>
                  </a:cubicBezTo>
                  <a:cubicBezTo>
                    <a:pt x="4" y="115"/>
                    <a:pt x="4" y="117"/>
                    <a:pt x="4" y="117"/>
                  </a:cubicBezTo>
                  <a:cubicBezTo>
                    <a:pt x="4" y="117"/>
                    <a:pt x="6" y="118"/>
                    <a:pt x="6" y="118"/>
                  </a:cubicBezTo>
                  <a:cubicBezTo>
                    <a:pt x="6" y="118"/>
                    <a:pt x="6" y="119"/>
                    <a:pt x="6" y="119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21"/>
                    <a:pt x="8" y="122"/>
                    <a:pt x="8" y="122"/>
                  </a:cubicBezTo>
                  <a:cubicBezTo>
                    <a:pt x="8" y="122"/>
                    <a:pt x="9" y="126"/>
                    <a:pt x="9" y="126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1" y="129"/>
                    <a:pt x="11" y="129"/>
                  </a:cubicBezTo>
                  <a:cubicBezTo>
                    <a:pt x="11" y="130"/>
                    <a:pt x="11" y="131"/>
                    <a:pt x="11" y="131"/>
                  </a:cubicBezTo>
                  <a:cubicBezTo>
                    <a:pt x="11" y="131"/>
                    <a:pt x="15" y="134"/>
                    <a:pt x="15" y="134"/>
                  </a:cubicBezTo>
                  <a:cubicBezTo>
                    <a:pt x="17" y="134"/>
                    <a:pt x="17" y="134"/>
                    <a:pt x="17" y="134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1" y="138"/>
                    <a:pt x="21" y="138"/>
                    <a:pt x="21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5" y="139"/>
                    <a:pt x="24" y="140"/>
                    <a:pt x="24" y="140"/>
                  </a:cubicBezTo>
                  <a:cubicBezTo>
                    <a:pt x="24" y="140"/>
                    <a:pt x="23" y="141"/>
                    <a:pt x="23" y="141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4" y="143"/>
                    <a:pt x="24" y="143"/>
                    <a:pt x="24" y="143"/>
                  </a:cubicBezTo>
                  <a:cubicBezTo>
                    <a:pt x="24" y="143"/>
                    <a:pt x="25" y="146"/>
                    <a:pt x="25" y="146"/>
                  </a:cubicBezTo>
                  <a:cubicBezTo>
                    <a:pt x="25" y="146"/>
                    <a:pt x="28" y="148"/>
                    <a:pt x="28" y="148"/>
                  </a:cubicBezTo>
                  <a:cubicBezTo>
                    <a:pt x="30" y="149"/>
                    <a:pt x="30" y="149"/>
                    <a:pt x="30" y="149"/>
                  </a:cubicBezTo>
                  <a:cubicBezTo>
                    <a:pt x="30" y="149"/>
                    <a:pt x="32" y="150"/>
                    <a:pt x="32" y="150"/>
                  </a:cubicBezTo>
                  <a:cubicBezTo>
                    <a:pt x="32" y="150"/>
                    <a:pt x="33" y="152"/>
                    <a:pt x="33" y="152"/>
                  </a:cubicBezTo>
                  <a:cubicBezTo>
                    <a:pt x="33" y="153"/>
                    <a:pt x="38" y="152"/>
                    <a:pt x="38" y="152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52" y="149"/>
                    <a:pt x="52" y="149"/>
                    <a:pt x="52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61" y="148"/>
                    <a:pt x="61" y="148"/>
                    <a:pt x="61" y="148"/>
                  </a:cubicBezTo>
                  <a:cubicBezTo>
                    <a:pt x="62" y="146"/>
                    <a:pt x="62" y="146"/>
                    <a:pt x="62" y="146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2" y="143"/>
                    <a:pt x="62" y="143"/>
                    <a:pt x="62" y="143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6" y="145"/>
                    <a:pt x="66" y="145"/>
                    <a:pt x="66" y="145"/>
                  </a:cubicBezTo>
                  <a:cubicBezTo>
                    <a:pt x="70" y="142"/>
                    <a:pt x="70" y="142"/>
                    <a:pt x="70" y="142"/>
                  </a:cubicBezTo>
                  <a:cubicBezTo>
                    <a:pt x="73" y="140"/>
                    <a:pt x="73" y="140"/>
                    <a:pt x="73" y="140"/>
                  </a:cubicBezTo>
                  <a:cubicBezTo>
                    <a:pt x="75" y="143"/>
                    <a:pt x="75" y="143"/>
                    <a:pt x="75" y="143"/>
                  </a:cubicBezTo>
                  <a:cubicBezTo>
                    <a:pt x="81" y="139"/>
                    <a:pt x="81" y="139"/>
                    <a:pt x="81" y="139"/>
                  </a:cubicBezTo>
                  <a:cubicBezTo>
                    <a:pt x="81" y="139"/>
                    <a:pt x="81" y="138"/>
                    <a:pt x="80" y="138"/>
                  </a:cubicBezTo>
                  <a:cubicBezTo>
                    <a:pt x="80" y="138"/>
                    <a:pt x="80" y="137"/>
                    <a:pt x="80" y="136"/>
                  </a:cubicBezTo>
                  <a:cubicBezTo>
                    <a:pt x="80" y="136"/>
                    <a:pt x="83" y="135"/>
                    <a:pt x="83" y="135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83" y="134"/>
                    <a:pt x="82" y="132"/>
                    <a:pt x="82" y="132"/>
                  </a:cubicBezTo>
                  <a:cubicBezTo>
                    <a:pt x="82" y="132"/>
                    <a:pt x="82" y="130"/>
                    <a:pt x="82" y="130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5" y="123"/>
                    <a:pt x="85" y="123"/>
                  </a:cubicBezTo>
                  <a:cubicBezTo>
                    <a:pt x="85" y="123"/>
                    <a:pt x="88" y="121"/>
                    <a:pt x="88" y="121"/>
                  </a:cubicBezTo>
                  <a:cubicBezTo>
                    <a:pt x="88" y="120"/>
                    <a:pt x="91" y="117"/>
                    <a:pt x="91" y="117"/>
                  </a:cubicBezTo>
                  <a:cubicBezTo>
                    <a:pt x="91" y="117"/>
                    <a:pt x="93" y="115"/>
                    <a:pt x="93" y="115"/>
                  </a:cubicBezTo>
                  <a:cubicBezTo>
                    <a:pt x="93" y="115"/>
                    <a:pt x="94" y="113"/>
                    <a:pt x="94" y="113"/>
                  </a:cubicBezTo>
                  <a:cubicBezTo>
                    <a:pt x="93" y="111"/>
                    <a:pt x="93" y="111"/>
                    <a:pt x="93" y="111"/>
                  </a:cubicBezTo>
                  <a:cubicBezTo>
                    <a:pt x="94" y="109"/>
                    <a:pt x="94" y="109"/>
                    <a:pt x="94" y="109"/>
                  </a:cubicBezTo>
                  <a:cubicBezTo>
                    <a:pt x="95" y="108"/>
                    <a:pt x="95" y="108"/>
                    <a:pt x="95" y="108"/>
                  </a:cubicBezTo>
                  <a:cubicBezTo>
                    <a:pt x="98" y="106"/>
                    <a:pt x="98" y="106"/>
                    <a:pt x="98" y="106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8" y="104"/>
                    <a:pt x="101" y="102"/>
                    <a:pt x="101" y="102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1" y="101"/>
                    <a:pt x="102" y="99"/>
                    <a:pt x="102" y="99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3" y="91"/>
                    <a:pt x="106" y="92"/>
                    <a:pt x="106" y="92"/>
                  </a:cubicBezTo>
                  <a:cubicBezTo>
                    <a:pt x="107" y="93"/>
                    <a:pt x="108" y="94"/>
                    <a:pt x="108" y="94"/>
                  </a:cubicBezTo>
                  <a:cubicBezTo>
                    <a:pt x="108" y="94"/>
                    <a:pt x="109" y="97"/>
                    <a:pt x="109" y="97"/>
                  </a:cubicBezTo>
                  <a:cubicBezTo>
                    <a:pt x="109" y="97"/>
                    <a:pt x="116" y="99"/>
                    <a:pt x="116" y="99"/>
                  </a:cubicBezTo>
                  <a:cubicBezTo>
                    <a:pt x="116" y="99"/>
                    <a:pt x="121" y="89"/>
                    <a:pt x="121" y="89"/>
                  </a:cubicBezTo>
                  <a:cubicBezTo>
                    <a:pt x="121" y="88"/>
                    <a:pt x="123" y="89"/>
                    <a:pt x="123" y="89"/>
                  </a:cubicBezTo>
                  <a:cubicBezTo>
                    <a:pt x="123" y="89"/>
                    <a:pt x="123" y="85"/>
                    <a:pt x="123" y="85"/>
                  </a:cubicBezTo>
                  <a:cubicBezTo>
                    <a:pt x="123" y="85"/>
                    <a:pt x="126" y="80"/>
                    <a:pt x="126" y="80"/>
                  </a:cubicBezTo>
                  <a:cubicBezTo>
                    <a:pt x="130" y="84"/>
                    <a:pt x="130" y="84"/>
                    <a:pt x="130" y="84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5" y="78"/>
                    <a:pt x="135" y="78"/>
                    <a:pt x="135" y="78"/>
                  </a:cubicBezTo>
                  <a:cubicBezTo>
                    <a:pt x="137" y="76"/>
                    <a:pt x="137" y="76"/>
                    <a:pt x="137" y="76"/>
                  </a:cubicBezTo>
                  <a:cubicBezTo>
                    <a:pt x="139" y="74"/>
                    <a:pt x="139" y="74"/>
                    <a:pt x="139" y="74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39" y="75"/>
                    <a:pt x="141" y="72"/>
                    <a:pt x="141" y="72"/>
                  </a:cubicBezTo>
                  <a:cubicBezTo>
                    <a:pt x="141" y="72"/>
                    <a:pt x="146" y="66"/>
                    <a:pt x="146" y="66"/>
                  </a:cubicBezTo>
                  <a:cubicBezTo>
                    <a:pt x="146" y="66"/>
                    <a:pt x="146" y="65"/>
                    <a:pt x="146" y="65"/>
                  </a:cubicBezTo>
                  <a:cubicBezTo>
                    <a:pt x="146" y="65"/>
                    <a:pt x="145" y="64"/>
                    <a:pt x="145" y="64"/>
                  </a:cubicBezTo>
                  <a:cubicBezTo>
                    <a:pt x="147" y="61"/>
                    <a:pt x="147" y="61"/>
                    <a:pt x="147" y="61"/>
                  </a:cubicBezTo>
                  <a:cubicBezTo>
                    <a:pt x="149" y="58"/>
                    <a:pt x="149" y="58"/>
                    <a:pt x="149" y="58"/>
                  </a:cubicBezTo>
                  <a:cubicBezTo>
                    <a:pt x="148" y="57"/>
                    <a:pt x="148" y="57"/>
                    <a:pt x="148" y="57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66" y="67"/>
                    <a:pt x="166" y="67"/>
                    <a:pt x="166" y="67"/>
                  </a:cubicBezTo>
                  <a:cubicBezTo>
                    <a:pt x="170" y="59"/>
                    <a:pt x="170" y="59"/>
                    <a:pt x="170" y="59"/>
                  </a:cubicBezTo>
                  <a:cubicBezTo>
                    <a:pt x="169" y="58"/>
                    <a:pt x="169" y="58"/>
                    <a:pt x="169" y="58"/>
                  </a:cubicBezTo>
                  <a:lnTo>
                    <a:pt x="169" y="5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175C0C1-D53B-4ABA-8AE9-A0C3A7629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6875" y="1258003"/>
              <a:ext cx="1068976" cy="698882"/>
            </a:xfrm>
            <a:custGeom>
              <a:avLst/>
              <a:gdLst>
                <a:gd name="T0" fmla="*/ 65 w 270"/>
                <a:gd name="T1" fmla="*/ 93 h 176"/>
                <a:gd name="T2" fmla="*/ 79 w 270"/>
                <a:gd name="T3" fmla="*/ 83 h 176"/>
                <a:gd name="T4" fmla="*/ 75 w 270"/>
                <a:gd name="T5" fmla="*/ 48 h 176"/>
                <a:gd name="T6" fmla="*/ 72 w 270"/>
                <a:gd name="T7" fmla="*/ 39 h 176"/>
                <a:gd name="T8" fmla="*/ 72 w 270"/>
                <a:gd name="T9" fmla="*/ 33 h 176"/>
                <a:gd name="T10" fmla="*/ 73 w 270"/>
                <a:gd name="T11" fmla="*/ 45 h 176"/>
                <a:gd name="T12" fmla="*/ 78 w 270"/>
                <a:gd name="T13" fmla="*/ 53 h 176"/>
                <a:gd name="T14" fmla="*/ 81 w 270"/>
                <a:gd name="T15" fmla="*/ 51 h 176"/>
                <a:gd name="T16" fmla="*/ 57 w 270"/>
                <a:gd name="T17" fmla="*/ 21 h 176"/>
                <a:gd name="T18" fmla="*/ 65 w 270"/>
                <a:gd name="T19" fmla="*/ 30 h 176"/>
                <a:gd name="T20" fmla="*/ 64 w 270"/>
                <a:gd name="T21" fmla="*/ 30 h 176"/>
                <a:gd name="T22" fmla="*/ 67 w 270"/>
                <a:gd name="T23" fmla="*/ 17 h 176"/>
                <a:gd name="T24" fmla="*/ 63 w 270"/>
                <a:gd name="T25" fmla="*/ 22 h 176"/>
                <a:gd name="T26" fmla="*/ 73 w 270"/>
                <a:gd name="T27" fmla="*/ 25 h 176"/>
                <a:gd name="T28" fmla="*/ 67 w 270"/>
                <a:gd name="T29" fmla="*/ 0 h 176"/>
                <a:gd name="T30" fmla="*/ 68 w 270"/>
                <a:gd name="T31" fmla="*/ 7 h 176"/>
                <a:gd name="T32" fmla="*/ 74 w 270"/>
                <a:gd name="T33" fmla="*/ 12 h 176"/>
                <a:gd name="T34" fmla="*/ 80 w 270"/>
                <a:gd name="T35" fmla="*/ 21 h 176"/>
                <a:gd name="T36" fmla="*/ 75 w 270"/>
                <a:gd name="T37" fmla="*/ 28 h 176"/>
                <a:gd name="T38" fmla="*/ 76 w 270"/>
                <a:gd name="T39" fmla="*/ 32 h 176"/>
                <a:gd name="T40" fmla="*/ 83 w 270"/>
                <a:gd name="T41" fmla="*/ 37 h 176"/>
                <a:gd name="T42" fmla="*/ 76 w 270"/>
                <a:gd name="T43" fmla="*/ 41 h 176"/>
                <a:gd name="T44" fmla="*/ 79 w 270"/>
                <a:gd name="T45" fmla="*/ 46 h 176"/>
                <a:gd name="T46" fmla="*/ 82 w 270"/>
                <a:gd name="T47" fmla="*/ 43 h 176"/>
                <a:gd name="T48" fmla="*/ 86 w 270"/>
                <a:gd name="T49" fmla="*/ 54 h 176"/>
                <a:gd name="T50" fmla="*/ 81 w 270"/>
                <a:gd name="T51" fmla="*/ 66 h 176"/>
                <a:gd name="T52" fmla="*/ 82 w 270"/>
                <a:gd name="T53" fmla="*/ 74 h 176"/>
                <a:gd name="T54" fmla="*/ 83 w 270"/>
                <a:gd name="T55" fmla="*/ 87 h 176"/>
                <a:gd name="T56" fmla="*/ 75 w 270"/>
                <a:gd name="T57" fmla="*/ 92 h 176"/>
                <a:gd name="T58" fmla="*/ 63 w 270"/>
                <a:gd name="T59" fmla="*/ 98 h 176"/>
                <a:gd name="T60" fmla="*/ 62 w 270"/>
                <a:gd name="T61" fmla="*/ 92 h 176"/>
                <a:gd name="T62" fmla="*/ 67 w 270"/>
                <a:gd name="T63" fmla="*/ 91 h 176"/>
                <a:gd name="T64" fmla="*/ 72 w 270"/>
                <a:gd name="T65" fmla="*/ 85 h 176"/>
                <a:gd name="T66" fmla="*/ 77 w 270"/>
                <a:gd name="T67" fmla="*/ 75 h 176"/>
                <a:gd name="T68" fmla="*/ 77 w 270"/>
                <a:gd name="T69" fmla="*/ 59 h 176"/>
                <a:gd name="T70" fmla="*/ 67 w 270"/>
                <a:gd name="T71" fmla="*/ 70 h 176"/>
                <a:gd name="T72" fmla="*/ 66 w 270"/>
                <a:gd name="T73" fmla="*/ 65 h 176"/>
                <a:gd name="T74" fmla="*/ 72 w 270"/>
                <a:gd name="T75" fmla="*/ 61 h 176"/>
                <a:gd name="T76" fmla="*/ 66 w 270"/>
                <a:gd name="T77" fmla="*/ 46 h 176"/>
                <a:gd name="T78" fmla="*/ 61 w 270"/>
                <a:gd name="T79" fmla="*/ 48 h 176"/>
                <a:gd name="T80" fmla="*/ 43 w 270"/>
                <a:gd name="T81" fmla="*/ 46 h 176"/>
                <a:gd name="T82" fmla="*/ 20 w 270"/>
                <a:gd name="T83" fmla="*/ 41 h 176"/>
                <a:gd name="T84" fmla="*/ 1 w 270"/>
                <a:gd name="T85" fmla="*/ 35 h 176"/>
                <a:gd name="T86" fmla="*/ 3 w 270"/>
                <a:gd name="T87" fmla="*/ 56 h 176"/>
                <a:gd name="T88" fmla="*/ 11 w 270"/>
                <a:gd name="T89" fmla="*/ 68 h 176"/>
                <a:gd name="T90" fmla="*/ 14 w 270"/>
                <a:gd name="T91" fmla="*/ 84 h 176"/>
                <a:gd name="T92" fmla="*/ 20 w 270"/>
                <a:gd name="T93" fmla="*/ 101 h 176"/>
                <a:gd name="T94" fmla="*/ 26 w 270"/>
                <a:gd name="T95" fmla="*/ 109 h 176"/>
                <a:gd name="T96" fmla="*/ 25 w 270"/>
                <a:gd name="T97" fmla="*/ 118 h 176"/>
                <a:gd name="T98" fmla="*/ 28 w 270"/>
                <a:gd name="T99" fmla="*/ 125 h 176"/>
                <a:gd name="T100" fmla="*/ 25 w 270"/>
                <a:gd name="T101" fmla="*/ 133 h 176"/>
                <a:gd name="T102" fmla="*/ 24 w 270"/>
                <a:gd name="T103" fmla="*/ 135 h 176"/>
                <a:gd name="T104" fmla="*/ 43 w 270"/>
                <a:gd name="T105" fmla="*/ 140 h 176"/>
                <a:gd name="T106" fmla="*/ 64 w 270"/>
                <a:gd name="T107" fmla="*/ 150 h 176"/>
                <a:gd name="T108" fmla="*/ 81 w 270"/>
                <a:gd name="T109" fmla="*/ 175 h 176"/>
                <a:gd name="T110" fmla="*/ 109 w 270"/>
                <a:gd name="T111" fmla="*/ 168 h 176"/>
                <a:gd name="T112" fmla="*/ 126 w 270"/>
                <a:gd name="T113" fmla="*/ 172 h 176"/>
                <a:gd name="T114" fmla="*/ 154 w 270"/>
                <a:gd name="T115" fmla="*/ 168 h 176"/>
                <a:gd name="T116" fmla="*/ 179 w 270"/>
                <a:gd name="T117" fmla="*/ 158 h 176"/>
                <a:gd name="T118" fmla="*/ 199 w 270"/>
                <a:gd name="T119" fmla="*/ 15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176">
                  <a:moveTo>
                    <a:pt x="63" y="94"/>
                  </a:move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3"/>
                    <a:pt x="63" y="93"/>
                  </a:cubicBezTo>
                  <a:cubicBezTo>
                    <a:pt x="63" y="93"/>
                    <a:pt x="63" y="92"/>
                    <a:pt x="63" y="92"/>
                  </a:cubicBezTo>
                  <a:cubicBezTo>
                    <a:pt x="63" y="92"/>
                    <a:pt x="63" y="91"/>
                    <a:pt x="64" y="91"/>
                  </a:cubicBezTo>
                  <a:cubicBezTo>
                    <a:pt x="64" y="91"/>
                    <a:pt x="64" y="91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5" y="90"/>
                    <a:pt x="65" y="90"/>
                    <a:pt x="65" y="90"/>
                  </a:cubicBezTo>
                  <a:cubicBezTo>
                    <a:pt x="65" y="90"/>
                    <a:pt x="65" y="91"/>
                    <a:pt x="65" y="91"/>
                  </a:cubicBezTo>
                  <a:cubicBezTo>
                    <a:pt x="65" y="91"/>
                    <a:pt x="65" y="92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6" y="93"/>
                    <a:pt x="66" y="93"/>
                    <a:pt x="65" y="93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4" y="95"/>
                    <a:pt x="64" y="95"/>
                  </a:cubicBezTo>
                  <a:cubicBezTo>
                    <a:pt x="64" y="95"/>
                    <a:pt x="64" y="95"/>
                    <a:pt x="63" y="94"/>
                  </a:cubicBezTo>
                  <a:close/>
                  <a:moveTo>
                    <a:pt x="77" y="85"/>
                  </a:moveTo>
                  <a:cubicBezTo>
                    <a:pt x="77" y="85"/>
                    <a:pt x="77" y="85"/>
                    <a:pt x="77" y="86"/>
                  </a:cubicBezTo>
                  <a:cubicBezTo>
                    <a:pt x="77" y="86"/>
                    <a:pt x="77" y="87"/>
                    <a:pt x="77" y="87"/>
                  </a:cubicBezTo>
                  <a:cubicBezTo>
                    <a:pt x="78" y="87"/>
                    <a:pt x="78" y="86"/>
                    <a:pt x="78" y="86"/>
                  </a:cubicBezTo>
                  <a:cubicBezTo>
                    <a:pt x="78" y="86"/>
                    <a:pt x="79" y="86"/>
                    <a:pt x="79" y="85"/>
                  </a:cubicBezTo>
                  <a:cubicBezTo>
                    <a:pt x="79" y="85"/>
                    <a:pt x="79" y="84"/>
                    <a:pt x="79" y="83"/>
                  </a:cubicBezTo>
                  <a:cubicBezTo>
                    <a:pt x="79" y="82"/>
                    <a:pt x="79" y="82"/>
                    <a:pt x="79" y="81"/>
                  </a:cubicBezTo>
                  <a:cubicBezTo>
                    <a:pt x="79" y="80"/>
                    <a:pt x="79" y="79"/>
                    <a:pt x="78" y="79"/>
                  </a:cubicBezTo>
                  <a:cubicBezTo>
                    <a:pt x="78" y="79"/>
                    <a:pt x="78" y="80"/>
                    <a:pt x="77" y="81"/>
                  </a:cubicBezTo>
                  <a:cubicBezTo>
                    <a:pt x="77" y="81"/>
                    <a:pt x="77" y="81"/>
                    <a:pt x="77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7" y="83"/>
                    <a:pt x="77" y="84"/>
                    <a:pt x="77" y="85"/>
                  </a:cubicBezTo>
                  <a:close/>
                  <a:moveTo>
                    <a:pt x="77" y="49"/>
                  </a:moveTo>
                  <a:cubicBezTo>
                    <a:pt x="77" y="49"/>
                    <a:pt x="77" y="50"/>
                    <a:pt x="76" y="50"/>
                  </a:cubicBezTo>
                  <a:cubicBezTo>
                    <a:pt x="76" y="51"/>
                    <a:pt x="76" y="51"/>
                    <a:pt x="76" y="50"/>
                  </a:cubicBezTo>
                  <a:cubicBezTo>
                    <a:pt x="76" y="50"/>
                    <a:pt x="76" y="49"/>
                    <a:pt x="76" y="49"/>
                  </a:cubicBezTo>
                  <a:cubicBezTo>
                    <a:pt x="75" y="49"/>
                    <a:pt x="76" y="48"/>
                    <a:pt x="75" y="48"/>
                  </a:cubicBezTo>
                  <a:cubicBezTo>
                    <a:pt x="75" y="47"/>
                    <a:pt x="75" y="47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3"/>
                    <a:pt x="73" y="42"/>
                  </a:cubicBezTo>
                  <a:cubicBezTo>
                    <a:pt x="73" y="42"/>
                    <a:pt x="73" y="43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1"/>
                    <a:pt x="71" y="41"/>
                  </a:cubicBezTo>
                  <a:cubicBezTo>
                    <a:pt x="71" y="41"/>
                    <a:pt x="71" y="40"/>
                    <a:pt x="71" y="40"/>
                  </a:cubicBezTo>
                  <a:cubicBezTo>
                    <a:pt x="72" y="40"/>
                    <a:pt x="72" y="40"/>
                    <a:pt x="72" y="39"/>
                  </a:cubicBezTo>
                  <a:cubicBezTo>
                    <a:pt x="72" y="39"/>
                    <a:pt x="72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8"/>
                    <a:pt x="74" y="38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7"/>
                    <a:pt x="77" y="37"/>
                    <a:pt x="77" y="36"/>
                  </a:cubicBezTo>
                  <a:cubicBezTo>
                    <a:pt x="77" y="36"/>
                    <a:pt x="76" y="35"/>
                    <a:pt x="75" y="35"/>
                  </a:cubicBezTo>
                  <a:cubicBezTo>
                    <a:pt x="74" y="35"/>
                    <a:pt x="74" y="34"/>
                    <a:pt x="73" y="33"/>
                  </a:cubicBezTo>
                  <a:cubicBezTo>
                    <a:pt x="73" y="33"/>
                    <a:pt x="72" y="33"/>
                    <a:pt x="72" y="33"/>
                  </a:cubicBezTo>
                  <a:cubicBezTo>
                    <a:pt x="72" y="34"/>
                    <a:pt x="72" y="34"/>
                    <a:pt x="71" y="34"/>
                  </a:cubicBezTo>
                  <a:cubicBezTo>
                    <a:pt x="71" y="34"/>
                    <a:pt x="71" y="35"/>
                    <a:pt x="71" y="35"/>
                  </a:cubicBezTo>
                  <a:cubicBezTo>
                    <a:pt x="71" y="36"/>
                    <a:pt x="70" y="36"/>
                    <a:pt x="70" y="36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8"/>
                    <a:pt x="70" y="38"/>
                    <a:pt x="70" y="39"/>
                  </a:cubicBezTo>
                  <a:cubicBezTo>
                    <a:pt x="69" y="39"/>
                    <a:pt x="69" y="39"/>
                    <a:pt x="69" y="40"/>
                  </a:cubicBezTo>
                  <a:cubicBezTo>
                    <a:pt x="69" y="40"/>
                    <a:pt x="69" y="40"/>
                    <a:pt x="69" y="41"/>
                  </a:cubicBezTo>
                  <a:cubicBezTo>
                    <a:pt x="69" y="41"/>
                    <a:pt x="69" y="41"/>
                    <a:pt x="69" y="42"/>
                  </a:cubicBezTo>
                  <a:cubicBezTo>
                    <a:pt x="69" y="42"/>
                    <a:pt x="69" y="42"/>
                    <a:pt x="69" y="43"/>
                  </a:cubicBezTo>
                  <a:cubicBezTo>
                    <a:pt x="70" y="43"/>
                    <a:pt x="70" y="44"/>
                    <a:pt x="71" y="44"/>
                  </a:cubicBezTo>
                  <a:cubicBezTo>
                    <a:pt x="71" y="45"/>
                    <a:pt x="72" y="45"/>
                    <a:pt x="73" y="45"/>
                  </a:cubicBezTo>
                  <a:cubicBezTo>
                    <a:pt x="73" y="45"/>
                    <a:pt x="73" y="45"/>
                    <a:pt x="73" y="46"/>
                  </a:cubicBezTo>
                  <a:cubicBezTo>
                    <a:pt x="73" y="47"/>
                    <a:pt x="73" y="48"/>
                    <a:pt x="73" y="49"/>
                  </a:cubicBezTo>
                  <a:cubicBezTo>
                    <a:pt x="74" y="49"/>
                    <a:pt x="74" y="50"/>
                    <a:pt x="74" y="50"/>
                  </a:cubicBezTo>
                  <a:cubicBezTo>
                    <a:pt x="74" y="50"/>
                    <a:pt x="74" y="50"/>
                    <a:pt x="74" y="51"/>
                  </a:cubicBezTo>
                  <a:cubicBezTo>
                    <a:pt x="74" y="51"/>
                    <a:pt x="74" y="52"/>
                    <a:pt x="75" y="52"/>
                  </a:cubicBezTo>
                  <a:cubicBezTo>
                    <a:pt x="75" y="52"/>
                    <a:pt x="75" y="53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6" y="54"/>
                    <a:pt x="76" y="54"/>
                    <a:pt x="76" y="55"/>
                  </a:cubicBezTo>
                  <a:cubicBezTo>
                    <a:pt x="76" y="55"/>
                    <a:pt x="76" y="54"/>
                    <a:pt x="76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8" y="53"/>
                  </a:cubicBezTo>
                  <a:cubicBezTo>
                    <a:pt x="78" y="53"/>
                    <a:pt x="78" y="53"/>
                    <a:pt x="79" y="54"/>
                  </a:cubicBezTo>
                  <a:cubicBezTo>
                    <a:pt x="79" y="54"/>
                    <a:pt x="79" y="55"/>
                    <a:pt x="79" y="55"/>
                  </a:cubicBezTo>
                  <a:cubicBezTo>
                    <a:pt x="79" y="56"/>
                    <a:pt x="79" y="56"/>
                    <a:pt x="79" y="57"/>
                  </a:cubicBezTo>
                  <a:cubicBezTo>
                    <a:pt x="79" y="57"/>
                    <a:pt x="79" y="58"/>
                    <a:pt x="80" y="58"/>
                  </a:cubicBezTo>
                  <a:cubicBezTo>
                    <a:pt x="80" y="58"/>
                    <a:pt x="81" y="57"/>
                    <a:pt x="81" y="57"/>
                  </a:cubicBezTo>
                  <a:cubicBezTo>
                    <a:pt x="81" y="57"/>
                    <a:pt x="81" y="57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5"/>
                    <a:pt x="82" y="54"/>
                    <a:pt x="82" y="54"/>
                  </a:cubicBezTo>
                  <a:cubicBezTo>
                    <a:pt x="82" y="54"/>
                    <a:pt x="82" y="54"/>
                    <a:pt x="82" y="53"/>
                  </a:cubicBezTo>
                  <a:cubicBezTo>
                    <a:pt x="82" y="53"/>
                    <a:pt x="81" y="53"/>
                    <a:pt x="81" y="52"/>
                  </a:cubicBezTo>
                  <a:cubicBezTo>
                    <a:pt x="81" y="52"/>
                    <a:pt x="81" y="51"/>
                    <a:pt x="81" y="51"/>
                  </a:cubicBezTo>
                  <a:cubicBezTo>
                    <a:pt x="80" y="50"/>
                    <a:pt x="80" y="50"/>
                    <a:pt x="79" y="50"/>
                  </a:cubicBezTo>
                  <a:cubicBezTo>
                    <a:pt x="79" y="49"/>
                    <a:pt x="78" y="50"/>
                    <a:pt x="78" y="49"/>
                  </a:cubicBezTo>
                  <a:cubicBezTo>
                    <a:pt x="78" y="49"/>
                    <a:pt x="77" y="49"/>
                    <a:pt x="77" y="49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9"/>
                    <a:pt x="77" y="49"/>
                  </a:cubicBezTo>
                  <a:close/>
                  <a:moveTo>
                    <a:pt x="59" y="27"/>
                  </a:moveTo>
                  <a:cubicBezTo>
                    <a:pt x="59" y="26"/>
                    <a:pt x="60" y="25"/>
                    <a:pt x="59" y="25"/>
                  </a:cubicBezTo>
                  <a:cubicBezTo>
                    <a:pt x="59" y="25"/>
                    <a:pt x="59" y="24"/>
                    <a:pt x="59" y="24"/>
                  </a:cubicBezTo>
                  <a:cubicBezTo>
                    <a:pt x="59" y="24"/>
                    <a:pt x="59" y="24"/>
                    <a:pt x="58" y="23"/>
                  </a:cubicBezTo>
                  <a:cubicBezTo>
                    <a:pt x="58" y="23"/>
                    <a:pt x="57" y="23"/>
                    <a:pt x="57" y="22"/>
                  </a:cubicBezTo>
                  <a:cubicBezTo>
                    <a:pt x="57" y="22"/>
                    <a:pt x="57" y="21"/>
                    <a:pt x="57" y="21"/>
                  </a:cubicBezTo>
                  <a:cubicBezTo>
                    <a:pt x="56" y="20"/>
                    <a:pt x="56" y="21"/>
                    <a:pt x="55" y="21"/>
                  </a:cubicBezTo>
                  <a:cubicBezTo>
                    <a:pt x="55" y="22"/>
                    <a:pt x="54" y="22"/>
                    <a:pt x="55" y="23"/>
                  </a:cubicBezTo>
                  <a:cubicBezTo>
                    <a:pt x="55" y="23"/>
                    <a:pt x="54" y="23"/>
                    <a:pt x="55" y="24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6"/>
                    <a:pt x="55" y="26"/>
                    <a:pt x="56" y="27"/>
                  </a:cubicBezTo>
                  <a:cubicBezTo>
                    <a:pt x="56" y="27"/>
                    <a:pt x="57" y="27"/>
                    <a:pt x="57" y="28"/>
                  </a:cubicBezTo>
                  <a:cubicBezTo>
                    <a:pt x="58" y="28"/>
                    <a:pt x="58" y="28"/>
                    <a:pt x="59" y="29"/>
                  </a:cubicBezTo>
                  <a:cubicBezTo>
                    <a:pt x="60" y="29"/>
                    <a:pt x="59" y="27"/>
                    <a:pt x="59" y="27"/>
                  </a:cubicBezTo>
                  <a:close/>
                  <a:moveTo>
                    <a:pt x="64" y="30"/>
                  </a:moveTo>
                  <a:cubicBezTo>
                    <a:pt x="64" y="30"/>
                    <a:pt x="64" y="30"/>
                    <a:pt x="65" y="30"/>
                  </a:cubicBezTo>
                  <a:cubicBezTo>
                    <a:pt x="65" y="30"/>
                    <a:pt x="65" y="31"/>
                    <a:pt x="65" y="30"/>
                  </a:cubicBezTo>
                  <a:cubicBezTo>
                    <a:pt x="66" y="30"/>
                    <a:pt x="65" y="30"/>
                    <a:pt x="65" y="30"/>
                  </a:cubicBezTo>
                  <a:cubicBezTo>
                    <a:pt x="65" y="29"/>
                    <a:pt x="65" y="29"/>
                    <a:pt x="65" y="28"/>
                  </a:cubicBezTo>
                  <a:cubicBezTo>
                    <a:pt x="65" y="28"/>
                    <a:pt x="65" y="27"/>
                    <a:pt x="65" y="26"/>
                  </a:cubicBezTo>
                  <a:cubicBezTo>
                    <a:pt x="65" y="26"/>
                    <a:pt x="65" y="26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4" y="25"/>
                    <a:pt x="64" y="25"/>
                    <a:pt x="64" y="26"/>
                  </a:cubicBezTo>
                  <a:cubicBezTo>
                    <a:pt x="64" y="26"/>
                    <a:pt x="64" y="26"/>
                    <a:pt x="64" y="27"/>
                  </a:cubicBezTo>
                  <a:cubicBezTo>
                    <a:pt x="64" y="27"/>
                    <a:pt x="63" y="27"/>
                    <a:pt x="63" y="27"/>
                  </a:cubicBezTo>
                  <a:cubicBezTo>
                    <a:pt x="63" y="28"/>
                    <a:pt x="63" y="28"/>
                    <a:pt x="63" y="29"/>
                  </a:cubicBezTo>
                  <a:cubicBezTo>
                    <a:pt x="63" y="29"/>
                    <a:pt x="62" y="29"/>
                    <a:pt x="62" y="29"/>
                  </a:cubicBezTo>
                  <a:cubicBezTo>
                    <a:pt x="63" y="30"/>
                    <a:pt x="63" y="30"/>
                    <a:pt x="64" y="30"/>
                  </a:cubicBezTo>
                  <a:close/>
                  <a:moveTo>
                    <a:pt x="63" y="18"/>
                  </a:moveTo>
                  <a:cubicBezTo>
                    <a:pt x="63" y="18"/>
                    <a:pt x="63" y="18"/>
                    <a:pt x="64" y="18"/>
                  </a:cubicBezTo>
                  <a:cubicBezTo>
                    <a:pt x="64" y="17"/>
                    <a:pt x="64" y="18"/>
                    <a:pt x="64" y="18"/>
                  </a:cubicBezTo>
                  <a:cubicBezTo>
                    <a:pt x="64" y="19"/>
                    <a:pt x="65" y="19"/>
                    <a:pt x="65" y="19"/>
                  </a:cubicBezTo>
                  <a:cubicBezTo>
                    <a:pt x="65" y="20"/>
                    <a:pt x="65" y="20"/>
                    <a:pt x="66" y="20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2"/>
                    <a:pt x="67" y="21"/>
                    <a:pt x="67" y="21"/>
                  </a:cubicBezTo>
                  <a:cubicBezTo>
                    <a:pt x="67" y="21"/>
                    <a:pt x="68" y="20"/>
                    <a:pt x="68" y="20"/>
                  </a:cubicBezTo>
                  <a:cubicBezTo>
                    <a:pt x="69" y="20"/>
                    <a:pt x="69" y="19"/>
                    <a:pt x="69" y="19"/>
                  </a:cubicBezTo>
                  <a:cubicBezTo>
                    <a:pt x="69" y="18"/>
                    <a:pt x="68" y="18"/>
                    <a:pt x="68" y="18"/>
                  </a:cubicBezTo>
                  <a:cubicBezTo>
                    <a:pt x="67" y="18"/>
                    <a:pt x="67" y="18"/>
                    <a:pt x="67" y="17"/>
                  </a:cubicBezTo>
                  <a:cubicBezTo>
                    <a:pt x="67" y="17"/>
                    <a:pt x="66" y="17"/>
                    <a:pt x="66" y="17"/>
                  </a:cubicBezTo>
                  <a:cubicBezTo>
                    <a:pt x="65" y="17"/>
                    <a:pt x="65" y="16"/>
                    <a:pt x="64" y="16"/>
                  </a:cubicBezTo>
                  <a:cubicBezTo>
                    <a:pt x="64" y="16"/>
                    <a:pt x="63" y="16"/>
                    <a:pt x="62" y="16"/>
                  </a:cubicBezTo>
                  <a:cubicBezTo>
                    <a:pt x="62" y="16"/>
                    <a:pt x="62" y="17"/>
                    <a:pt x="61" y="17"/>
                  </a:cubicBezTo>
                  <a:cubicBezTo>
                    <a:pt x="61" y="17"/>
                    <a:pt x="61" y="18"/>
                    <a:pt x="60" y="18"/>
                  </a:cubicBezTo>
                  <a:cubicBezTo>
                    <a:pt x="60" y="19"/>
                    <a:pt x="59" y="19"/>
                    <a:pt x="60" y="1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1"/>
                    <a:pt x="60" y="21"/>
                    <a:pt x="61" y="21"/>
                  </a:cubicBezTo>
                  <a:cubicBezTo>
                    <a:pt x="61" y="21"/>
                    <a:pt x="61" y="21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2" y="22"/>
                    <a:pt x="62" y="22"/>
                    <a:pt x="63" y="22"/>
                  </a:cubicBezTo>
                  <a:cubicBezTo>
                    <a:pt x="63" y="22"/>
                    <a:pt x="63" y="22"/>
                    <a:pt x="64" y="22"/>
                  </a:cubicBezTo>
                  <a:cubicBezTo>
                    <a:pt x="64" y="22"/>
                    <a:pt x="64" y="22"/>
                    <a:pt x="64" y="21"/>
                  </a:cubicBezTo>
                  <a:cubicBezTo>
                    <a:pt x="64" y="21"/>
                    <a:pt x="64" y="20"/>
                    <a:pt x="64" y="20"/>
                  </a:cubicBezTo>
                  <a:cubicBezTo>
                    <a:pt x="64" y="20"/>
                    <a:pt x="63" y="19"/>
                    <a:pt x="63" y="19"/>
                  </a:cubicBezTo>
                  <a:cubicBezTo>
                    <a:pt x="63" y="19"/>
                    <a:pt x="63" y="19"/>
                    <a:pt x="63" y="18"/>
                  </a:cubicBezTo>
                  <a:close/>
                  <a:moveTo>
                    <a:pt x="74" y="26"/>
                  </a:moveTo>
                  <a:cubicBezTo>
                    <a:pt x="74" y="26"/>
                    <a:pt x="75" y="25"/>
                    <a:pt x="74" y="25"/>
                  </a:cubicBezTo>
                  <a:cubicBezTo>
                    <a:pt x="74" y="25"/>
                    <a:pt x="74" y="25"/>
                    <a:pt x="74" y="24"/>
                  </a:cubicBezTo>
                  <a:cubicBezTo>
                    <a:pt x="74" y="24"/>
                    <a:pt x="73" y="23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4" y="26"/>
                    <a:pt x="74" y="26"/>
                  </a:cubicBezTo>
                  <a:close/>
                  <a:moveTo>
                    <a:pt x="269" y="147"/>
                  </a:moveTo>
                  <a:cubicBezTo>
                    <a:pt x="269" y="146"/>
                    <a:pt x="270" y="145"/>
                    <a:pt x="269" y="145"/>
                  </a:cubicBezTo>
                  <a:cubicBezTo>
                    <a:pt x="269" y="145"/>
                    <a:pt x="268" y="145"/>
                    <a:pt x="268" y="144"/>
                  </a:cubicBezTo>
                  <a:cubicBezTo>
                    <a:pt x="268" y="143"/>
                    <a:pt x="268" y="141"/>
                    <a:pt x="268" y="141"/>
                  </a:cubicBezTo>
                  <a:cubicBezTo>
                    <a:pt x="268" y="140"/>
                    <a:pt x="268" y="139"/>
                    <a:pt x="267" y="139"/>
                  </a:cubicBezTo>
                  <a:cubicBezTo>
                    <a:pt x="266" y="138"/>
                    <a:pt x="265" y="137"/>
                    <a:pt x="265" y="137"/>
                  </a:cubicBezTo>
                  <a:cubicBezTo>
                    <a:pt x="265" y="136"/>
                    <a:pt x="265" y="136"/>
                    <a:pt x="265" y="135"/>
                  </a:cubicBezTo>
                  <a:cubicBezTo>
                    <a:pt x="265" y="135"/>
                    <a:pt x="266" y="133"/>
                    <a:pt x="266" y="133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1"/>
                    <a:pt x="69" y="2"/>
                    <a:pt x="69" y="2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9" y="3"/>
                    <a:pt x="68" y="3"/>
                  </a:cubicBezTo>
                  <a:cubicBezTo>
                    <a:pt x="68" y="3"/>
                    <a:pt x="68" y="2"/>
                    <a:pt x="68" y="2"/>
                  </a:cubicBezTo>
                  <a:cubicBezTo>
                    <a:pt x="67" y="2"/>
                    <a:pt x="67" y="3"/>
                    <a:pt x="67" y="3"/>
                  </a:cubicBezTo>
                  <a:cubicBezTo>
                    <a:pt x="67" y="3"/>
                    <a:pt x="66" y="3"/>
                    <a:pt x="66" y="4"/>
                  </a:cubicBezTo>
                  <a:cubicBezTo>
                    <a:pt x="67" y="4"/>
                    <a:pt x="68" y="4"/>
                    <a:pt x="68" y="4"/>
                  </a:cubicBezTo>
                  <a:cubicBezTo>
                    <a:pt x="69" y="4"/>
                    <a:pt x="68" y="4"/>
                    <a:pt x="68" y="5"/>
                  </a:cubicBezTo>
                  <a:cubicBezTo>
                    <a:pt x="68" y="5"/>
                    <a:pt x="68" y="5"/>
                    <a:pt x="68" y="6"/>
                  </a:cubicBezTo>
                  <a:cubicBezTo>
                    <a:pt x="68" y="6"/>
                    <a:pt x="67" y="6"/>
                    <a:pt x="67" y="6"/>
                  </a:cubicBezTo>
                  <a:cubicBezTo>
                    <a:pt x="67" y="7"/>
                    <a:pt x="68" y="7"/>
                    <a:pt x="68" y="7"/>
                  </a:cubicBezTo>
                  <a:cubicBezTo>
                    <a:pt x="68" y="8"/>
                    <a:pt x="69" y="8"/>
                    <a:pt x="69" y="8"/>
                  </a:cubicBezTo>
                  <a:cubicBezTo>
                    <a:pt x="69" y="8"/>
                    <a:pt x="69" y="8"/>
                    <a:pt x="70" y="8"/>
                  </a:cubicBezTo>
                  <a:cubicBezTo>
                    <a:pt x="70" y="9"/>
                    <a:pt x="70" y="9"/>
                    <a:pt x="70" y="10"/>
                  </a:cubicBezTo>
                  <a:cubicBezTo>
                    <a:pt x="70" y="10"/>
                    <a:pt x="70" y="11"/>
                    <a:pt x="70" y="11"/>
                  </a:cubicBezTo>
                  <a:cubicBezTo>
                    <a:pt x="70" y="11"/>
                    <a:pt x="71" y="12"/>
                    <a:pt x="71" y="12"/>
                  </a:cubicBezTo>
                  <a:cubicBezTo>
                    <a:pt x="71" y="12"/>
                    <a:pt x="71" y="12"/>
                    <a:pt x="72" y="12"/>
                  </a:cubicBezTo>
                  <a:cubicBezTo>
                    <a:pt x="72" y="12"/>
                    <a:pt x="72" y="12"/>
                    <a:pt x="72" y="13"/>
                  </a:cubicBezTo>
                  <a:cubicBezTo>
                    <a:pt x="72" y="13"/>
                    <a:pt x="72" y="13"/>
                    <a:pt x="72" y="14"/>
                  </a:cubicBezTo>
                  <a:cubicBezTo>
                    <a:pt x="72" y="14"/>
                    <a:pt x="73" y="15"/>
                    <a:pt x="73" y="14"/>
                  </a:cubicBezTo>
                  <a:cubicBezTo>
                    <a:pt x="73" y="14"/>
                    <a:pt x="73" y="14"/>
                    <a:pt x="73" y="13"/>
                  </a:cubicBezTo>
                  <a:cubicBezTo>
                    <a:pt x="73" y="13"/>
                    <a:pt x="74" y="13"/>
                    <a:pt x="74" y="12"/>
                  </a:cubicBezTo>
                  <a:cubicBezTo>
                    <a:pt x="74" y="12"/>
                    <a:pt x="75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4"/>
                    <a:pt x="76" y="14"/>
                    <a:pt x="77" y="14"/>
                  </a:cubicBezTo>
                  <a:cubicBezTo>
                    <a:pt x="77" y="14"/>
                    <a:pt x="78" y="14"/>
                    <a:pt x="78" y="14"/>
                  </a:cubicBezTo>
                  <a:cubicBezTo>
                    <a:pt x="78" y="14"/>
                    <a:pt x="78" y="15"/>
                    <a:pt x="78" y="15"/>
                  </a:cubicBezTo>
                  <a:cubicBezTo>
                    <a:pt x="78" y="15"/>
                    <a:pt x="77" y="15"/>
                    <a:pt x="77" y="16"/>
                  </a:cubicBezTo>
                  <a:cubicBezTo>
                    <a:pt x="77" y="16"/>
                    <a:pt x="77" y="17"/>
                    <a:pt x="77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8" y="19"/>
                    <a:pt x="78" y="19"/>
                    <a:pt x="79" y="19"/>
                  </a:cubicBezTo>
                  <a:cubicBezTo>
                    <a:pt x="79" y="20"/>
                    <a:pt x="79" y="20"/>
                    <a:pt x="79" y="21"/>
                  </a:cubicBezTo>
                  <a:cubicBezTo>
                    <a:pt x="79" y="21"/>
                    <a:pt x="80" y="21"/>
                    <a:pt x="80" y="21"/>
                  </a:cubicBezTo>
                  <a:cubicBezTo>
                    <a:pt x="80" y="22"/>
                    <a:pt x="80" y="22"/>
                    <a:pt x="79" y="23"/>
                  </a:cubicBezTo>
                  <a:cubicBezTo>
                    <a:pt x="79" y="23"/>
                    <a:pt x="78" y="23"/>
                    <a:pt x="78" y="23"/>
                  </a:cubicBezTo>
                  <a:cubicBezTo>
                    <a:pt x="78" y="23"/>
                    <a:pt x="77" y="24"/>
                    <a:pt x="77" y="24"/>
                  </a:cubicBezTo>
                  <a:cubicBezTo>
                    <a:pt x="78" y="24"/>
                    <a:pt x="78" y="24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6"/>
                    <a:pt x="78" y="27"/>
                    <a:pt x="78" y="28"/>
                  </a:cubicBezTo>
                  <a:cubicBezTo>
                    <a:pt x="78" y="28"/>
                    <a:pt x="78" y="29"/>
                    <a:pt x="78" y="29"/>
                  </a:cubicBezTo>
                  <a:cubicBezTo>
                    <a:pt x="78" y="29"/>
                    <a:pt x="77" y="29"/>
                    <a:pt x="77" y="29"/>
                  </a:cubicBezTo>
                  <a:cubicBezTo>
                    <a:pt x="77" y="29"/>
                    <a:pt x="77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8"/>
                    <a:pt x="75" y="28"/>
                  </a:cubicBezTo>
                  <a:cubicBezTo>
                    <a:pt x="75" y="27"/>
                    <a:pt x="75" y="27"/>
                    <a:pt x="74" y="27"/>
                  </a:cubicBezTo>
                  <a:cubicBezTo>
                    <a:pt x="74" y="27"/>
                    <a:pt x="73" y="26"/>
                    <a:pt x="73" y="27"/>
                  </a:cubicBezTo>
                  <a:cubicBezTo>
                    <a:pt x="72" y="27"/>
                    <a:pt x="72" y="27"/>
                    <a:pt x="72" y="28"/>
                  </a:cubicBezTo>
                  <a:cubicBezTo>
                    <a:pt x="72" y="28"/>
                    <a:pt x="72" y="29"/>
                    <a:pt x="72" y="29"/>
                  </a:cubicBezTo>
                  <a:cubicBezTo>
                    <a:pt x="72" y="29"/>
                    <a:pt x="71" y="30"/>
                    <a:pt x="72" y="30"/>
                  </a:cubicBezTo>
                  <a:cubicBezTo>
                    <a:pt x="72" y="30"/>
                    <a:pt x="72" y="31"/>
                    <a:pt x="72" y="31"/>
                  </a:cubicBezTo>
                  <a:cubicBezTo>
                    <a:pt x="73" y="31"/>
                    <a:pt x="72" y="32"/>
                    <a:pt x="73" y="32"/>
                  </a:cubicBezTo>
                  <a:cubicBezTo>
                    <a:pt x="73" y="32"/>
                    <a:pt x="73" y="32"/>
                    <a:pt x="73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5" y="31"/>
                    <a:pt x="75" y="31"/>
                  </a:cubicBezTo>
                  <a:cubicBezTo>
                    <a:pt x="75" y="32"/>
                    <a:pt x="76" y="32"/>
                    <a:pt x="76" y="32"/>
                  </a:cubicBezTo>
                  <a:cubicBezTo>
                    <a:pt x="76" y="32"/>
                    <a:pt x="76" y="33"/>
                    <a:pt x="76" y="33"/>
                  </a:cubicBezTo>
                  <a:cubicBezTo>
                    <a:pt x="76" y="33"/>
                    <a:pt x="77" y="33"/>
                    <a:pt x="77" y="34"/>
                  </a:cubicBezTo>
                  <a:cubicBezTo>
                    <a:pt x="77" y="34"/>
                    <a:pt x="77" y="34"/>
                    <a:pt x="78" y="34"/>
                  </a:cubicBezTo>
                  <a:cubicBezTo>
                    <a:pt x="78" y="34"/>
                    <a:pt x="78" y="34"/>
                    <a:pt x="79" y="35"/>
                  </a:cubicBezTo>
                  <a:cubicBezTo>
                    <a:pt x="79" y="35"/>
                    <a:pt x="80" y="35"/>
                    <a:pt x="80" y="35"/>
                  </a:cubicBezTo>
                  <a:cubicBezTo>
                    <a:pt x="80" y="35"/>
                    <a:pt x="80" y="35"/>
                    <a:pt x="80" y="36"/>
                  </a:cubicBezTo>
                  <a:cubicBezTo>
                    <a:pt x="80" y="36"/>
                    <a:pt x="81" y="36"/>
                    <a:pt x="81" y="36"/>
                  </a:cubicBezTo>
                  <a:cubicBezTo>
                    <a:pt x="81" y="36"/>
                    <a:pt x="82" y="36"/>
                    <a:pt x="82" y="36"/>
                  </a:cubicBezTo>
                  <a:cubicBezTo>
                    <a:pt x="82" y="37"/>
                    <a:pt x="82" y="37"/>
                    <a:pt x="83" y="37"/>
                  </a:cubicBezTo>
                  <a:cubicBezTo>
                    <a:pt x="83" y="37"/>
                    <a:pt x="83" y="37"/>
                    <a:pt x="83" y="37"/>
                  </a:cubicBezTo>
                  <a:cubicBezTo>
                    <a:pt x="83" y="37"/>
                    <a:pt x="83" y="37"/>
                    <a:pt x="83" y="37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2" y="38"/>
                    <a:pt x="82" y="39"/>
                    <a:pt x="81" y="39"/>
                  </a:cubicBezTo>
                  <a:cubicBezTo>
                    <a:pt x="81" y="39"/>
                    <a:pt x="81" y="40"/>
                    <a:pt x="81" y="40"/>
                  </a:cubicBezTo>
                  <a:cubicBezTo>
                    <a:pt x="81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39"/>
                    <a:pt x="80" y="40"/>
                    <a:pt x="80" y="39"/>
                  </a:cubicBezTo>
                  <a:cubicBezTo>
                    <a:pt x="80" y="39"/>
                    <a:pt x="80" y="39"/>
                    <a:pt x="79" y="39"/>
                  </a:cubicBezTo>
                  <a:cubicBezTo>
                    <a:pt x="79" y="39"/>
                    <a:pt x="79" y="39"/>
                    <a:pt x="78" y="39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40"/>
                    <a:pt x="78" y="40"/>
                    <a:pt x="77" y="40"/>
                  </a:cubicBezTo>
                  <a:cubicBezTo>
                    <a:pt x="77" y="40"/>
                    <a:pt x="76" y="40"/>
                    <a:pt x="76" y="41"/>
                  </a:cubicBezTo>
                  <a:cubicBezTo>
                    <a:pt x="76" y="41"/>
                    <a:pt x="76" y="42"/>
                    <a:pt x="76" y="42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5"/>
                    <a:pt x="77" y="45"/>
                    <a:pt x="77" y="46"/>
                  </a:cubicBezTo>
                  <a:cubicBezTo>
                    <a:pt x="77" y="46"/>
                    <a:pt x="77" y="46"/>
                    <a:pt x="78" y="4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80" y="47"/>
                    <a:pt x="80" y="48"/>
                    <a:pt x="80" y="48"/>
                  </a:cubicBezTo>
                  <a:cubicBezTo>
                    <a:pt x="80" y="48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47"/>
                    <a:pt x="79" y="47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9" y="43"/>
                    <a:pt x="79" y="43"/>
                    <a:pt x="79" y="42"/>
                  </a:cubicBezTo>
                  <a:cubicBezTo>
                    <a:pt x="79" y="42"/>
                    <a:pt x="79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1" y="42"/>
                    <a:pt x="81" y="42"/>
                  </a:cubicBezTo>
                  <a:cubicBezTo>
                    <a:pt x="82" y="42"/>
                    <a:pt x="81" y="43"/>
                    <a:pt x="82" y="43"/>
                  </a:cubicBezTo>
                  <a:cubicBezTo>
                    <a:pt x="82" y="44"/>
                    <a:pt x="82" y="45"/>
                    <a:pt x="82" y="45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7"/>
                    <a:pt x="83" y="47"/>
                  </a:cubicBezTo>
                  <a:cubicBezTo>
                    <a:pt x="83" y="47"/>
                    <a:pt x="83" y="48"/>
                    <a:pt x="83" y="48"/>
                  </a:cubicBezTo>
                  <a:cubicBezTo>
                    <a:pt x="83" y="48"/>
                    <a:pt x="84" y="48"/>
                    <a:pt x="84" y="49"/>
                  </a:cubicBezTo>
                  <a:cubicBezTo>
                    <a:pt x="84" y="49"/>
                    <a:pt x="85" y="49"/>
                    <a:pt x="85" y="50"/>
                  </a:cubicBezTo>
                  <a:cubicBezTo>
                    <a:pt x="86" y="50"/>
                    <a:pt x="86" y="51"/>
                    <a:pt x="86" y="51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2"/>
                    <a:pt x="87" y="52"/>
                    <a:pt x="87" y="53"/>
                  </a:cubicBezTo>
                  <a:cubicBezTo>
                    <a:pt x="87" y="53"/>
                    <a:pt x="86" y="53"/>
                    <a:pt x="86" y="54"/>
                  </a:cubicBezTo>
                  <a:cubicBezTo>
                    <a:pt x="86" y="54"/>
                    <a:pt x="86" y="54"/>
                    <a:pt x="85" y="55"/>
                  </a:cubicBezTo>
                  <a:cubicBezTo>
                    <a:pt x="85" y="55"/>
                    <a:pt x="85" y="56"/>
                    <a:pt x="85" y="56"/>
                  </a:cubicBezTo>
                  <a:cubicBezTo>
                    <a:pt x="84" y="56"/>
                    <a:pt x="84" y="56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8"/>
                    <a:pt x="84" y="58"/>
                    <a:pt x="83" y="58"/>
                  </a:cubicBezTo>
                  <a:cubicBezTo>
                    <a:pt x="83" y="58"/>
                    <a:pt x="83" y="58"/>
                    <a:pt x="83" y="59"/>
                  </a:cubicBezTo>
                  <a:cubicBezTo>
                    <a:pt x="83" y="59"/>
                    <a:pt x="83" y="60"/>
                    <a:pt x="83" y="60"/>
                  </a:cubicBezTo>
                  <a:cubicBezTo>
                    <a:pt x="83" y="61"/>
                    <a:pt x="82" y="61"/>
                    <a:pt x="82" y="62"/>
                  </a:cubicBezTo>
                  <a:cubicBezTo>
                    <a:pt x="82" y="62"/>
                    <a:pt x="82" y="63"/>
                    <a:pt x="81" y="63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5"/>
                    <a:pt x="81" y="65"/>
                    <a:pt x="81" y="66"/>
                  </a:cubicBezTo>
                  <a:cubicBezTo>
                    <a:pt x="82" y="66"/>
                    <a:pt x="82" y="66"/>
                    <a:pt x="82" y="67"/>
                  </a:cubicBezTo>
                  <a:cubicBezTo>
                    <a:pt x="81" y="67"/>
                    <a:pt x="81" y="67"/>
                    <a:pt x="81" y="68"/>
                  </a:cubicBezTo>
                  <a:cubicBezTo>
                    <a:pt x="81" y="68"/>
                    <a:pt x="81" y="69"/>
                    <a:pt x="81" y="69"/>
                  </a:cubicBezTo>
                  <a:cubicBezTo>
                    <a:pt x="81" y="69"/>
                    <a:pt x="80" y="69"/>
                    <a:pt x="80" y="69"/>
                  </a:cubicBezTo>
                  <a:cubicBezTo>
                    <a:pt x="80" y="69"/>
                    <a:pt x="80" y="70"/>
                    <a:pt x="80" y="70"/>
                  </a:cubicBezTo>
                  <a:cubicBezTo>
                    <a:pt x="80" y="70"/>
                    <a:pt x="80" y="71"/>
                    <a:pt x="80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81" y="72"/>
                    <a:pt x="81" y="72"/>
                  </a:cubicBezTo>
                  <a:cubicBezTo>
                    <a:pt x="81" y="72"/>
                    <a:pt x="81" y="72"/>
                    <a:pt x="82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2" y="74"/>
                    <a:pt x="83" y="74"/>
                    <a:pt x="82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1" y="74"/>
                    <a:pt x="80" y="74"/>
                    <a:pt x="80" y="75"/>
                  </a:cubicBezTo>
                  <a:cubicBezTo>
                    <a:pt x="80" y="75"/>
                    <a:pt x="80" y="76"/>
                    <a:pt x="80" y="76"/>
                  </a:cubicBezTo>
                  <a:cubicBezTo>
                    <a:pt x="81" y="76"/>
                    <a:pt x="81" y="77"/>
                    <a:pt x="81" y="77"/>
                  </a:cubicBezTo>
                  <a:cubicBezTo>
                    <a:pt x="81" y="77"/>
                    <a:pt x="81" y="78"/>
                    <a:pt x="81" y="78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80"/>
                    <a:pt x="82" y="80"/>
                    <a:pt x="82" y="80"/>
                  </a:cubicBezTo>
                  <a:cubicBezTo>
                    <a:pt x="82" y="81"/>
                    <a:pt x="83" y="81"/>
                    <a:pt x="83" y="82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6"/>
                    <a:pt x="83" y="86"/>
                    <a:pt x="83" y="86"/>
                  </a:cubicBezTo>
                  <a:cubicBezTo>
                    <a:pt x="83" y="87"/>
                    <a:pt x="83" y="87"/>
                    <a:pt x="83" y="87"/>
                  </a:cubicBezTo>
                  <a:cubicBezTo>
                    <a:pt x="83" y="87"/>
                    <a:pt x="82" y="87"/>
                    <a:pt x="82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81" y="88"/>
                    <a:pt x="80" y="88"/>
                    <a:pt x="80" y="88"/>
                  </a:cubicBezTo>
                  <a:cubicBezTo>
                    <a:pt x="80" y="89"/>
                    <a:pt x="80" y="89"/>
                    <a:pt x="81" y="9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0" y="91"/>
                    <a:pt x="80" y="90"/>
                    <a:pt x="80" y="90"/>
                  </a:cubicBezTo>
                  <a:cubicBezTo>
                    <a:pt x="80" y="90"/>
                    <a:pt x="79" y="90"/>
                    <a:pt x="79" y="90"/>
                  </a:cubicBezTo>
                  <a:cubicBezTo>
                    <a:pt x="79" y="90"/>
                    <a:pt x="79" y="89"/>
                    <a:pt x="78" y="89"/>
                  </a:cubicBezTo>
                  <a:cubicBezTo>
                    <a:pt x="78" y="89"/>
                    <a:pt x="77" y="89"/>
                    <a:pt x="77" y="89"/>
                  </a:cubicBezTo>
                  <a:cubicBezTo>
                    <a:pt x="77" y="90"/>
                    <a:pt x="77" y="91"/>
                    <a:pt x="76" y="91"/>
                  </a:cubicBezTo>
                  <a:cubicBezTo>
                    <a:pt x="76" y="91"/>
                    <a:pt x="75" y="92"/>
                    <a:pt x="75" y="92"/>
                  </a:cubicBezTo>
                  <a:cubicBezTo>
                    <a:pt x="75" y="93"/>
                    <a:pt x="75" y="93"/>
                    <a:pt x="75" y="94"/>
                  </a:cubicBezTo>
                  <a:cubicBezTo>
                    <a:pt x="75" y="94"/>
                    <a:pt x="74" y="95"/>
                    <a:pt x="74" y="95"/>
                  </a:cubicBezTo>
                  <a:cubicBezTo>
                    <a:pt x="73" y="96"/>
                    <a:pt x="73" y="97"/>
                    <a:pt x="72" y="98"/>
                  </a:cubicBezTo>
                  <a:cubicBezTo>
                    <a:pt x="71" y="99"/>
                    <a:pt x="70" y="99"/>
                    <a:pt x="70" y="99"/>
                  </a:cubicBezTo>
                  <a:cubicBezTo>
                    <a:pt x="69" y="98"/>
                    <a:pt x="69" y="98"/>
                    <a:pt x="69" y="98"/>
                  </a:cubicBezTo>
                  <a:cubicBezTo>
                    <a:pt x="68" y="98"/>
                    <a:pt x="68" y="97"/>
                    <a:pt x="68" y="97"/>
                  </a:cubicBezTo>
                  <a:cubicBezTo>
                    <a:pt x="67" y="97"/>
                    <a:pt x="67" y="96"/>
                    <a:pt x="66" y="96"/>
                  </a:cubicBezTo>
                  <a:cubicBezTo>
                    <a:pt x="66" y="95"/>
                    <a:pt x="65" y="96"/>
                    <a:pt x="65" y="96"/>
                  </a:cubicBezTo>
                  <a:cubicBezTo>
                    <a:pt x="65" y="96"/>
                    <a:pt x="65" y="96"/>
                    <a:pt x="64" y="97"/>
                  </a:cubicBezTo>
                  <a:cubicBezTo>
                    <a:pt x="64" y="97"/>
                    <a:pt x="64" y="96"/>
                    <a:pt x="64" y="97"/>
                  </a:cubicBezTo>
                  <a:cubicBezTo>
                    <a:pt x="63" y="97"/>
                    <a:pt x="63" y="98"/>
                    <a:pt x="63" y="98"/>
                  </a:cubicBezTo>
                  <a:cubicBezTo>
                    <a:pt x="63" y="98"/>
                    <a:pt x="64" y="100"/>
                    <a:pt x="63" y="100"/>
                  </a:cubicBezTo>
                  <a:cubicBezTo>
                    <a:pt x="63" y="100"/>
                    <a:pt x="63" y="99"/>
                    <a:pt x="63" y="99"/>
                  </a:cubicBezTo>
                  <a:cubicBezTo>
                    <a:pt x="62" y="98"/>
                    <a:pt x="62" y="99"/>
                    <a:pt x="62" y="99"/>
                  </a:cubicBezTo>
                  <a:cubicBezTo>
                    <a:pt x="61" y="99"/>
                    <a:pt x="61" y="100"/>
                    <a:pt x="60" y="100"/>
                  </a:cubicBezTo>
                  <a:cubicBezTo>
                    <a:pt x="60" y="99"/>
                    <a:pt x="61" y="99"/>
                    <a:pt x="61" y="99"/>
                  </a:cubicBezTo>
                  <a:cubicBezTo>
                    <a:pt x="61" y="98"/>
                    <a:pt x="61" y="98"/>
                    <a:pt x="62" y="97"/>
                  </a:cubicBezTo>
                  <a:cubicBezTo>
                    <a:pt x="62" y="97"/>
                    <a:pt x="62" y="97"/>
                    <a:pt x="62" y="96"/>
                  </a:cubicBezTo>
                  <a:cubicBezTo>
                    <a:pt x="62" y="96"/>
                    <a:pt x="62" y="96"/>
                    <a:pt x="61" y="96"/>
                  </a:cubicBezTo>
                  <a:cubicBezTo>
                    <a:pt x="61" y="95"/>
                    <a:pt x="61" y="95"/>
                    <a:pt x="62" y="95"/>
                  </a:cubicBezTo>
                  <a:cubicBezTo>
                    <a:pt x="62" y="95"/>
                    <a:pt x="62" y="94"/>
                    <a:pt x="62" y="94"/>
                  </a:cubicBezTo>
                  <a:cubicBezTo>
                    <a:pt x="62" y="93"/>
                    <a:pt x="62" y="93"/>
                    <a:pt x="62" y="92"/>
                  </a:cubicBezTo>
                  <a:cubicBezTo>
                    <a:pt x="62" y="92"/>
                    <a:pt x="62" y="91"/>
                    <a:pt x="62" y="91"/>
                  </a:cubicBezTo>
                  <a:cubicBezTo>
                    <a:pt x="63" y="90"/>
                    <a:pt x="63" y="90"/>
                    <a:pt x="63" y="89"/>
                  </a:cubicBezTo>
                  <a:cubicBezTo>
                    <a:pt x="64" y="89"/>
                    <a:pt x="64" y="88"/>
                    <a:pt x="64" y="88"/>
                  </a:cubicBezTo>
                  <a:cubicBezTo>
                    <a:pt x="65" y="88"/>
                    <a:pt x="65" y="88"/>
                    <a:pt x="65" y="88"/>
                  </a:cubicBezTo>
                  <a:cubicBezTo>
                    <a:pt x="66" y="88"/>
                    <a:pt x="66" y="87"/>
                    <a:pt x="66" y="87"/>
                  </a:cubicBezTo>
                  <a:cubicBezTo>
                    <a:pt x="66" y="87"/>
                    <a:pt x="65" y="86"/>
                    <a:pt x="66" y="86"/>
                  </a:cubicBezTo>
                  <a:cubicBezTo>
                    <a:pt x="66" y="86"/>
                    <a:pt x="67" y="86"/>
                    <a:pt x="67" y="87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9"/>
                    <a:pt x="67" y="89"/>
                    <a:pt x="67" y="90"/>
                  </a:cubicBezTo>
                  <a:cubicBezTo>
                    <a:pt x="67" y="90"/>
                    <a:pt x="67" y="90"/>
                    <a:pt x="67" y="91"/>
                  </a:cubicBezTo>
                  <a:cubicBezTo>
                    <a:pt x="67" y="91"/>
                    <a:pt x="67" y="92"/>
                    <a:pt x="67" y="92"/>
                  </a:cubicBezTo>
                  <a:cubicBezTo>
                    <a:pt x="67" y="92"/>
                    <a:pt x="67" y="93"/>
                    <a:pt x="67" y="93"/>
                  </a:cubicBezTo>
                  <a:cubicBezTo>
                    <a:pt x="67" y="93"/>
                    <a:pt x="67" y="93"/>
                    <a:pt x="67" y="94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69" y="95"/>
                    <a:pt x="69" y="95"/>
                    <a:pt x="69" y="94"/>
                  </a:cubicBezTo>
                  <a:cubicBezTo>
                    <a:pt x="69" y="93"/>
                    <a:pt x="69" y="93"/>
                    <a:pt x="69" y="92"/>
                  </a:cubicBezTo>
                  <a:cubicBezTo>
                    <a:pt x="69" y="91"/>
                    <a:pt x="70" y="90"/>
                    <a:pt x="70" y="89"/>
                  </a:cubicBezTo>
                  <a:cubicBezTo>
                    <a:pt x="70" y="89"/>
                    <a:pt x="70" y="88"/>
                    <a:pt x="70" y="87"/>
                  </a:cubicBezTo>
                  <a:cubicBezTo>
                    <a:pt x="70" y="87"/>
                    <a:pt x="70" y="87"/>
                    <a:pt x="71" y="86"/>
                  </a:cubicBezTo>
                  <a:cubicBezTo>
                    <a:pt x="71" y="86"/>
                    <a:pt x="72" y="85"/>
                    <a:pt x="72" y="85"/>
                  </a:cubicBezTo>
                  <a:cubicBezTo>
                    <a:pt x="72" y="86"/>
                    <a:pt x="73" y="86"/>
                    <a:pt x="72" y="86"/>
                  </a:cubicBezTo>
                  <a:cubicBezTo>
                    <a:pt x="72" y="87"/>
                    <a:pt x="72" y="87"/>
                    <a:pt x="72" y="87"/>
                  </a:cubicBezTo>
                  <a:cubicBezTo>
                    <a:pt x="72" y="88"/>
                    <a:pt x="72" y="88"/>
                    <a:pt x="72" y="89"/>
                  </a:cubicBezTo>
                  <a:cubicBezTo>
                    <a:pt x="72" y="89"/>
                    <a:pt x="72" y="89"/>
                    <a:pt x="73" y="90"/>
                  </a:cubicBezTo>
                  <a:cubicBezTo>
                    <a:pt x="73" y="90"/>
                    <a:pt x="73" y="90"/>
                    <a:pt x="74" y="90"/>
                  </a:cubicBezTo>
                  <a:cubicBezTo>
                    <a:pt x="74" y="91"/>
                    <a:pt x="75" y="91"/>
                    <a:pt x="75" y="90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6" y="75"/>
                  </a:cubicBezTo>
                  <a:cubicBezTo>
                    <a:pt x="76" y="74"/>
                    <a:pt x="76" y="75"/>
                    <a:pt x="77" y="75"/>
                  </a:cubicBezTo>
                  <a:cubicBezTo>
                    <a:pt x="78" y="75"/>
                    <a:pt x="77" y="73"/>
                    <a:pt x="77" y="73"/>
                  </a:cubicBezTo>
                  <a:cubicBezTo>
                    <a:pt x="77" y="72"/>
                    <a:pt x="77" y="72"/>
                    <a:pt x="77" y="71"/>
                  </a:cubicBezTo>
                  <a:cubicBezTo>
                    <a:pt x="77" y="71"/>
                    <a:pt x="77" y="70"/>
                    <a:pt x="77" y="70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76" y="69"/>
                    <a:pt x="77" y="68"/>
                    <a:pt x="76" y="68"/>
                  </a:cubicBezTo>
                  <a:cubicBezTo>
                    <a:pt x="76" y="68"/>
                    <a:pt x="75" y="68"/>
                    <a:pt x="76" y="67"/>
                  </a:cubicBezTo>
                  <a:cubicBezTo>
                    <a:pt x="76" y="67"/>
                    <a:pt x="77" y="67"/>
                    <a:pt x="77" y="67"/>
                  </a:cubicBezTo>
                  <a:cubicBezTo>
                    <a:pt x="78" y="67"/>
                    <a:pt x="78" y="66"/>
                    <a:pt x="78" y="65"/>
                  </a:cubicBezTo>
                  <a:cubicBezTo>
                    <a:pt x="78" y="64"/>
                    <a:pt x="78" y="63"/>
                    <a:pt x="78" y="62"/>
                  </a:cubicBezTo>
                  <a:cubicBezTo>
                    <a:pt x="78" y="62"/>
                    <a:pt x="77" y="61"/>
                    <a:pt x="77" y="61"/>
                  </a:cubicBezTo>
                  <a:cubicBezTo>
                    <a:pt x="77" y="60"/>
                    <a:pt x="77" y="60"/>
                    <a:pt x="77" y="59"/>
                  </a:cubicBezTo>
                  <a:cubicBezTo>
                    <a:pt x="77" y="59"/>
                    <a:pt x="77" y="59"/>
                    <a:pt x="77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9"/>
                  </a:cubicBezTo>
                  <a:cubicBezTo>
                    <a:pt x="74" y="59"/>
                    <a:pt x="74" y="59"/>
                    <a:pt x="74" y="60"/>
                  </a:cubicBezTo>
                  <a:cubicBezTo>
                    <a:pt x="73" y="60"/>
                    <a:pt x="73" y="60"/>
                    <a:pt x="73" y="61"/>
                  </a:cubicBezTo>
                  <a:cubicBezTo>
                    <a:pt x="72" y="62"/>
                    <a:pt x="72" y="62"/>
                    <a:pt x="72" y="63"/>
                  </a:cubicBezTo>
                  <a:cubicBezTo>
                    <a:pt x="71" y="63"/>
                    <a:pt x="71" y="63"/>
                    <a:pt x="71" y="64"/>
                  </a:cubicBezTo>
                  <a:cubicBezTo>
                    <a:pt x="70" y="65"/>
                    <a:pt x="70" y="65"/>
                    <a:pt x="70" y="66"/>
                  </a:cubicBezTo>
                  <a:cubicBezTo>
                    <a:pt x="70" y="66"/>
                    <a:pt x="70" y="67"/>
                    <a:pt x="69" y="68"/>
                  </a:cubicBezTo>
                  <a:cubicBezTo>
                    <a:pt x="69" y="68"/>
                    <a:pt x="69" y="69"/>
                    <a:pt x="69" y="69"/>
                  </a:cubicBezTo>
                  <a:cubicBezTo>
                    <a:pt x="68" y="70"/>
                    <a:pt x="68" y="70"/>
                    <a:pt x="67" y="70"/>
                  </a:cubicBezTo>
                  <a:cubicBezTo>
                    <a:pt x="65" y="71"/>
                    <a:pt x="62" y="73"/>
                    <a:pt x="61" y="76"/>
                  </a:cubicBezTo>
                  <a:cubicBezTo>
                    <a:pt x="61" y="76"/>
                    <a:pt x="61" y="77"/>
                    <a:pt x="60" y="77"/>
                  </a:cubicBezTo>
                  <a:cubicBezTo>
                    <a:pt x="59" y="77"/>
                    <a:pt x="59" y="77"/>
                    <a:pt x="59" y="76"/>
                  </a:cubicBezTo>
                  <a:cubicBezTo>
                    <a:pt x="59" y="76"/>
                    <a:pt x="59" y="76"/>
                    <a:pt x="59" y="75"/>
                  </a:cubicBezTo>
                  <a:cubicBezTo>
                    <a:pt x="60" y="75"/>
                    <a:pt x="60" y="74"/>
                    <a:pt x="60" y="74"/>
                  </a:cubicBezTo>
                  <a:cubicBezTo>
                    <a:pt x="60" y="74"/>
                    <a:pt x="61" y="73"/>
                    <a:pt x="61" y="73"/>
                  </a:cubicBezTo>
                  <a:cubicBezTo>
                    <a:pt x="62" y="73"/>
                    <a:pt x="62" y="72"/>
                    <a:pt x="63" y="72"/>
                  </a:cubicBezTo>
                  <a:cubicBezTo>
                    <a:pt x="63" y="71"/>
                    <a:pt x="63" y="70"/>
                    <a:pt x="63" y="69"/>
                  </a:cubicBezTo>
                  <a:cubicBezTo>
                    <a:pt x="63" y="69"/>
                    <a:pt x="64" y="68"/>
                    <a:pt x="65" y="67"/>
                  </a:cubicBezTo>
                  <a:cubicBezTo>
                    <a:pt x="65" y="67"/>
                    <a:pt x="65" y="66"/>
                    <a:pt x="66" y="66"/>
                  </a:cubicBezTo>
                  <a:cubicBezTo>
                    <a:pt x="66" y="66"/>
                    <a:pt x="66" y="66"/>
                    <a:pt x="66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7" y="67"/>
                    <a:pt x="66" y="68"/>
                    <a:pt x="67" y="69"/>
                  </a:cubicBezTo>
                  <a:cubicBezTo>
                    <a:pt x="67" y="70"/>
                    <a:pt x="68" y="69"/>
                    <a:pt x="68" y="68"/>
                  </a:cubicBezTo>
                  <a:cubicBezTo>
                    <a:pt x="68" y="68"/>
                    <a:pt x="68" y="67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5"/>
                    <a:pt x="69" y="65"/>
                    <a:pt x="69" y="64"/>
                  </a:cubicBezTo>
                  <a:cubicBezTo>
                    <a:pt x="69" y="64"/>
                    <a:pt x="69" y="64"/>
                    <a:pt x="69" y="63"/>
                  </a:cubicBezTo>
                  <a:cubicBezTo>
                    <a:pt x="69" y="63"/>
                    <a:pt x="70" y="63"/>
                    <a:pt x="70" y="62"/>
                  </a:cubicBezTo>
                  <a:cubicBezTo>
                    <a:pt x="70" y="62"/>
                    <a:pt x="71" y="62"/>
                    <a:pt x="71" y="61"/>
                  </a:cubicBezTo>
                  <a:cubicBezTo>
                    <a:pt x="71" y="61"/>
                    <a:pt x="72" y="61"/>
                    <a:pt x="72" y="61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6"/>
                    <a:pt x="70" y="55"/>
                    <a:pt x="70" y="54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69" y="51"/>
                    <a:pt x="69" y="51"/>
                    <a:pt x="69" y="50"/>
                  </a:cubicBezTo>
                  <a:cubicBezTo>
                    <a:pt x="68" y="50"/>
                    <a:pt x="68" y="49"/>
                    <a:pt x="67" y="49"/>
                  </a:cubicBezTo>
                  <a:cubicBezTo>
                    <a:pt x="67" y="48"/>
                    <a:pt x="67" y="48"/>
                    <a:pt x="67" y="47"/>
                  </a:cubicBezTo>
                  <a:cubicBezTo>
                    <a:pt x="68" y="47"/>
                    <a:pt x="69" y="46"/>
                    <a:pt x="68" y="46"/>
                  </a:cubicBezTo>
                  <a:cubicBezTo>
                    <a:pt x="68" y="45"/>
                    <a:pt x="67" y="45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5" y="46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4" y="48"/>
                    <a:pt x="64" y="49"/>
                    <a:pt x="64" y="50"/>
                  </a:cubicBezTo>
                  <a:cubicBezTo>
                    <a:pt x="64" y="50"/>
                    <a:pt x="65" y="50"/>
                    <a:pt x="65" y="51"/>
                  </a:cubicBezTo>
                  <a:cubicBezTo>
                    <a:pt x="65" y="51"/>
                    <a:pt x="66" y="52"/>
                    <a:pt x="66" y="52"/>
                  </a:cubicBezTo>
                  <a:cubicBezTo>
                    <a:pt x="65" y="53"/>
                    <a:pt x="65" y="52"/>
                    <a:pt x="64" y="52"/>
                  </a:cubicBezTo>
                  <a:cubicBezTo>
                    <a:pt x="64" y="51"/>
                    <a:pt x="64" y="51"/>
                    <a:pt x="63" y="51"/>
                  </a:cubicBezTo>
                  <a:cubicBezTo>
                    <a:pt x="63" y="50"/>
                    <a:pt x="62" y="50"/>
                    <a:pt x="62" y="49"/>
                  </a:cubicBezTo>
                  <a:cubicBezTo>
                    <a:pt x="62" y="49"/>
                    <a:pt x="61" y="49"/>
                    <a:pt x="61" y="48"/>
                  </a:cubicBezTo>
                  <a:cubicBezTo>
                    <a:pt x="61" y="48"/>
                    <a:pt x="61" y="48"/>
                    <a:pt x="60" y="49"/>
                  </a:cubicBezTo>
                  <a:cubicBezTo>
                    <a:pt x="60" y="49"/>
                    <a:pt x="61" y="50"/>
                    <a:pt x="60" y="51"/>
                  </a:cubicBezTo>
                  <a:cubicBezTo>
                    <a:pt x="60" y="52"/>
                    <a:pt x="60" y="51"/>
                    <a:pt x="60" y="51"/>
                  </a:cubicBezTo>
                  <a:cubicBezTo>
                    <a:pt x="59" y="50"/>
                    <a:pt x="59" y="50"/>
                    <a:pt x="59" y="49"/>
                  </a:cubicBezTo>
                  <a:cubicBezTo>
                    <a:pt x="58" y="49"/>
                    <a:pt x="58" y="48"/>
                    <a:pt x="58" y="48"/>
                  </a:cubicBezTo>
                  <a:cubicBezTo>
                    <a:pt x="58" y="47"/>
                    <a:pt x="57" y="47"/>
                    <a:pt x="57" y="46"/>
                  </a:cubicBezTo>
                  <a:cubicBezTo>
                    <a:pt x="56" y="46"/>
                    <a:pt x="56" y="44"/>
                    <a:pt x="55" y="45"/>
                  </a:cubicBezTo>
                  <a:cubicBezTo>
                    <a:pt x="55" y="46"/>
                    <a:pt x="54" y="46"/>
                    <a:pt x="53" y="46"/>
                  </a:cubicBezTo>
                  <a:cubicBezTo>
                    <a:pt x="53" y="46"/>
                    <a:pt x="52" y="47"/>
                    <a:pt x="52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4" y="46"/>
                    <a:pt x="43" y="46"/>
                  </a:cubicBezTo>
                  <a:cubicBezTo>
                    <a:pt x="42" y="46"/>
                    <a:pt x="42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6" y="45"/>
                    <a:pt x="26" y="44"/>
                  </a:cubicBezTo>
                  <a:cubicBezTo>
                    <a:pt x="26" y="44"/>
                    <a:pt x="26" y="44"/>
                    <a:pt x="25" y="44"/>
                  </a:cubicBezTo>
                  <a:cubicBezTo>
                    <a:pt x="25" y="44"/>
                    <a:pt x="25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3" y="43"/>
                    <a:pt x="23" y="43"/>
                    <a:pt x="22" y="43"/>
                  </a:cubicBezTo>
                  <a:cubicBezTo>
                    <a:pt x="22" y="43"/>
                    <a:pt x="22" y="42"/>
                    <a:pt x="22" y="42"/>
                  </a:cubicBezTo>
                  <a:cubicBezTo>
                    <a:pt x="22" y="42"/>
                    <a:pt x="22" y="42"/>
                    <a:pt x="21" y="42"/>
                  </a:cubicBezTo>
                  <a:cubicBezTo>
                    <a:pt x="21" y="42"/>
                    <a:pt x="21" y="41"/>
                    <a:pt x="20" y="41"/>
                  </a:cubicBezTo>
                  <a:cubicBezTo>
                    <a:pt x="20" y="41"/>
                    <a:pt x="19" y="41"/>
                    <a:pt x="19" y="41"/>
                  </a:cubicBezTo>
                  <a:cubicBezTo>
                    <a:pt x="18" y="40"/>
                    <a:pt x="17" y="40"/>
                    <a:pt x="17" y="40"/>
                  </a:cubicBezTo>
                  <a:cubicBezTo>
                    <a:pt x="16" y="40"/>
                    <a:pt x="15" y="39"/>
                    <a:pt x="14" y="39"/>
                  </a:cubicBezTo>
                  <a:cubicBezTo>
                    <a:pt x="13" y="38"/>
                    <a:pt x="12" y="38"/>
                    <a:pt x="11" y="37"/>
                  </a:cubicBezTo>
                  <a:cubicBezTo>
                    <a:pt x="10" y="36"/>
                    <a:pt x="9" y="36"/>
                    <a:pt x="7" y="35"/>
                  </a:cubicBezTo>
                  <a:cubicBezTo>
                    <a:pt x="6" y="35"/>
                    <a:pt x="6" y="34"/>
                    <a:pt x="5" y="34"/>
                  </a:cubicBezTo>
                  <a:cubicBezTo>
                    <a:pt x="4" y="34"/>
                    <a:pt x="3" y="34"/>
                    <a:pt x="2" y="34"/>
                  </a:cubicBezTo>
                  <a:cubicBezTo>
                    <a:pt x="2" y="34"/>
                    <a:pt x="2" y="34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3"/>
                    <a:pt x="1" y="34"/>
                    <a:pt x="1" y="34"/>
                  </a:cubicBezTo>
                  <a:cubicBezTo>
                    <a:pt x="1" y="34"/>
                    <a:pt x="1" y="35"/>
                    <a:pt x="1" y="35"/>
                  </a:cubicBezTo>
                  <a:cubicBezTo>
                    <a:pt x="1" y="36"/>
                    <a:pt x="2" y="36"/>
                    <a:pt x="2" y="37"/>
                  </a:cubicBezTo>
                  <a:cubicBezTo>
                    <a:pt x="2" y="37"/>
                    <a:pt x="2" y="38"/>
                    <a:pt x="2" y="39"/>
                  </a:cubicBezTo>
                  <a:cubicBezTo>
                    <a:pt x="2" y="40"/>
                    <a:pt x="2" y="40"/>
                    <a:pt x="2" y="41"/>
                  </a:cubicBezTo>
                  <a:cubicBezTo>
                    <a:pt x="2" y="41"/>
                    <a:pt x="2" y="42"/>
                    <a:pt x="1" y="42"/>
                  </a:cubicBezTo>
                  <a:cubicBezTo>
                    <a:pt x="1" y="42"/>
                    <a:pt x="1" y="43"/>
                    <a:pt x="1" y="44"/>
                  </a:cubicBezTo>
                  <a:cubicBezTo>
                    <a:pt x="1" y="45"/>
                    <a:pt x="1" y="45"/>
                    <a:pt x="2" y="46"/>
                  </a:cubicBezTo>
                  <a:cubicBezTo>
                    <a:pt x="2" y="47"/>
                    <a:pt x="2" y="48"/>
                    <a:pt x="2" y="49"/>
                  </a:cubicBezTo>
                  <a:cubicBezTo>
                    <a:pt x="2" y="49"/>
                    <a:pt x="2" y="50"/>
                    <a:pt x="2" y="50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2"/>
                    <a:pt x="2" y="53"/>
                    <a:pt x="2" y="54"/>
                  </a:cubicBezTo>
                  <a:cubicBezTo>
                    <a:pt x="3" y="54"/>
                    <a:pt x="3" y="55"/>
                    <a:pt x="3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7"/>
                    <a:pt x="3" y="58"/>
                    <a:pt x="4" y="58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6" y="61"/>
                    <a:pt x="7" y="61"/>
                    <a:pt x="8" y="62"/>
                  </a:cubicBezTo>
                  <a:cubicBezTo>
                    <a:pt x="8" y="62"/>
                    <a:pt x="9" y="62"/>
                    <a:pt x="9" y="63"/>
                  </a:cubicBezTo>
                  <a:cubicBezTo>
                    <a:pt x="9" y="63"/>
                    <a:pt x="9" y="64"/>
                    <a:pt x="10" y="64"/>
                  </a:cubicBezTo>
                  <a:cubicBezTo>
                    <a:pt x="10" y="64"/>
                    <a:pt x="10" y="64"/>
                    <a:pt x="10" y="65"/>
                  </a:cubicBezTo>
                  <a:cubicBezTo>
                    <a:pt x="10" y="65"/>
                    <a:pt x="10" y="65"/>
                    <a:pt x="10" y="66"/>
                  </a:cubicBezTo>
                  <a:cubicBezTo>
                    <a:pt x="11" y="66"/>
                    <a:pt x="11" y="66"/>
                    <a:pt x="11" y="67"/>
                  </a:cubicBezTo>
                  <a:cubicBezTo>
                    <a:pt x="11" y="67"/>
                    <a:pt x="11" y="67"/>
                    <a:pt x="11" y="68"/>
                  </a:cubicBezTo>
                  <a:cubicBezTo>
                    <a:pt x="11" y="68"/>
                    <a:pt x="11" y="68"/>
                    <a:pt x="11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0"/>
                    <a:pt x="12" y="71"/>
                    <a:pt x="12" y="71"/>
                  </a:cubicBezTo>
                  <a:cubicBezTo>
                    <a:pt x="12" y="72"/>
                    <a:pt x="13" y="73"/>
                    <a:pt x="13" y="74"/>
                  </a:cubicBezTo>
                  <a:cubicBezTo>
                    <a:pt x="13" y="74"/>
                    <a:pt x="12" y="75"/>
                    <a:pt x="13" y="75"/>
                  </a:cubicBezTo>
                  <a:cubicBezTo>
                    <a:pt x="13" y="75"/>
                    <a:pt x="13" y="75"/>
                    <a:pt x="13" y="76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7"/>
                    <a:pt x="13" y="79"/>
                    <a:pt x="13" y="80"/>
                  </a:cubicBezTo>
                  <a:cubicBezTo>
                    <a:pt x="13" y="80"/>
                    <a:pt x="13" y="81"/>
                    <a:pt x="14" y="81"/>
                  </a:cubicBezTo>
                  <a:cubicBezTo>
                    <a:pt x="14" y="81"/>
                    <a:pt x="14" y="82"/>
                    <a:pt x="14" y="82"/>
                  </a:cubicBezTo>
                  <a:cubicBezTo>
                    <a:pt x="14" y="83"/>
                    <a:pt x="14" y="84"/>
                    <a:pt x="14" y="84"/>
                  </a:cubicBezTo>
                  <a:cubicBezTo>
                    <a:pt x="15" y="85"/>
                    <a:pt x="15" y="86"/>
                    <a:pt x="16" y="87"/>
                  </a:cubicBezTo>
                  <a:cubicBezTo>
                    <a:pt x="16" y="87"/>
                    <a:pt x="16" y="88"/>
                    <a:pt x="17" y="89"/>
                  </a:cubicBezTo>
                  <a:cubicBezTo>
                    <a:pt x="17" y="89"/>
                    <a:pt x="18" y="90"/>
                    <a:pt x="18" y="91"/>
                  </a:cubicBezTo>
                  <a:cubicBezTo>
                    <a:pt x="18" y="92"/>
                    <a:pt x="18" y="92"/>
                    <a:pt x="18" y="93"/>
                  </a:cubicBezTo>
                  <a:cubicBezTo>
                    <a:pt x="18" y="93"/>
                    <a:pt x="18" y="93"/>
                    <a:pt x="19" y="93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5"/>
                    <a:pt x="18" y="95"/>
                    <a:pt x="19" y="96"/>
                  </a:cubicBezTo>
                  <a:cubicBezTo>
                    <a:pt x="19" y="96"/>
                    <a:pt x="19" y="96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19" y="100"/>
                    <a:pt x="19" y="100"/>
                    <a:pt x="20" y="101"/>
                  </a:cubicBezTo>
                  <a:cubicBezTo>
                    <a:pt x="20" y="101"/>
                    <a:pt x="20" y="102"/>
                    <a:pt x="20" y="103"/>
                  </a:cubicBezTo>
                  <a:cubicBezTo>
                    <a:pt x="20" y="103"/>
                    <a:pt x="21" y="103"/>
                    <a:pt x="21" y="103"/>
                  </a:cubicBezTo>
                  <a:cubicBezTo>
                    <a:pt x="21" y="103"/>
                    <a:pt x="22" y="102"/>
                    <a:pt x="22" y="102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4" y="103"/>
                    <a:pt x="24" y="103"/>
                  </a:cubicBezTo>
                  <a:cubicBezTo>
                    <a:pt x="25" y="104"/>
                    <a:pt x="26" y="104"/>
                    <a:pt x="28" y="105"/>
                  </a:cubicBezTo>
                  <a:cubicBezTo>
                    <a:pt x="28" y="105"/>
                    <a:pt x="29" y="105"/>
                    <a:pt x="29" y="106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29" y="107"/>
                    <a:pt x="28" y="107"/>
                    <a:pt x="28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5" y="109"/>
                    <a:pt x="24" y="110"/>
                    <a:pt x="24" y="110"/>
                  </a:cubicBezTo>
                  <a:cubicBezTo>
                    <a:pt x="23" y="111"/>
                    <a:pt x="22" y="110"/>
                    <a:pt x="22" y="110"/>
                  </a:cubicBezTo>
                  <a:cubicBezTo>
                    <a:pt x="22" y="110"/>
                    <a:pt x="22" y="109"/>
                    <a:pt x="21" y="109"/>
                  </a:cubicBezTo>
                  <a:cubicBezTo>
                    <a:pt x="21" y="109"/>
                    <a:pt x="21" y="110"/>
                    <a:pt x="21" y="110"/>
                  </a:cubicBezTo>
                  <a:cubicBezTo>
                    <a:pt x="21" y="111"/>
                    <a:pt x="22" y="111"/>
                    <a:pt x="22" y="112"/>
                  </a:cubicBezTo>
                  <a:cubicBezTo>
                    <a:pt x="22" y="113"/>
                    <a:pt x="22" y="113"/>
                    <a:pt x="22" y="114"/>
                  </a:cubicBezTo>
                  <a:cubicBezTo>
                    <a:pt x="22" y="114"/>
                    <a:pt x="22" y="115"/>
                    <a:pt x="22" y="115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3" y="118"/>
                    <a:pt x="24" y="118"/>
                    <a:pt x="24" y="118"/>
                  </a:cubicBezTo>
                  <a:cubicBezTo>
                    <a:pt x="25" y="118"/>
                    <a:pt x="25" y="118"/>
                    <a:pt x="25" y="118"/>
                  </a:cubicBezTo>
                  <a:cubicBezTo>
                    <a:pt x="25" y="119"/>
                    <a:pt x="26" y="119"/>
                    <a:pt x="27" y="118"/>
                  </a:cubicBezTo>
                  <a:cubicBezTo>
                    <a:pt x="27" y="118"/>
                    <a:pt x="27" y="118"/>
                    <a:pt x="27" y="117"/>
                  </a:cubicBezTo>
                  <a:cubicBezTo>
                    <a:pt x="28" y="117"/>
                    <a:pt x="29" y="117"/>
                    <a:pt x="30" y="118"/>
                  </a:cubicBezTo>
                  <a:cubicBezTo>
                    <a:pt x="31" y="118"/>
                    <a:pt x="31" y="118"/>
                    <a:pt x="31" y="119"/>
                  </a:cubicBezTo>
                  <a:cubicBezTo>
                    <a:pt x="31" y="119"/>
                    <a:pt x="31" y="119"/>
                    <a:pt x="31" y="120"/>
                  </a:cubicBezTo>
                  <a:cubicBezTo>
                    <a:pt x="30" y="120"/>
                    <a:pt x="30" y="120"/>
                    <a:pt x="29" y="120"/>
                  </a:cubicBezTo>
                  <a:cubicBezTo>
                    <a:pt x="29" y="120"/>
                    <a:pt x="29" y="120"/>
                    <a:pt x="28" y="121"/>
                  </a:cubicBezTo>
                  <a:cubicBezTo>
                    <a:pt x="28" y="121"/>
                    <a:pt x="28" y="121"/>
                    <a:pt x="28" y="122"/>
                  </a:cubicBezTo>
                  <a:cubicBezTo>
                    <a:pt x="28" y="122"/>
                    <a:pt x="27" y="123"/>
                    <a:pt x="27" y="123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9" y="126"/>
                    <a:pt x="29" y="126"/>
                    <a:pt x="29" y="127"/>
                  </a:cubicBezTo>
                  <a:cubicBezTo>
                    <a:pt x="29" y="127"/>
                    <a:pt x="29" y="127"/>
                    <a:pt x="29" y="128"/>
                  </a:cubicBezTo>
                  <a:cubicBezTo>
                    <a:pt x="28" y="128"/>
                    <a:pt x="29" y="129"/>
                    <a:pt x="29" y="129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28" y="131"/>
                    <a:pt x="28" y="131"/>
                    <a:pt x="28" y="132"/>
                  </a:cubicBezTo>
                  <a:cubicBezTo>
                    <a:pt x="29" y="132"/>
                    <a:pt x="29" y="132"/>
                    <a:pt x="29" y="133"/>
                  </a:cubicBezTo>
                  <a:cubicBezTo>
                    <a:pt x="29" y="134"/>
                    <a:pt x="28" y="134"/>
                    <a:pt x="28" y="134"/>
                  </a:cubicBezTo>
                  <a:cubicBezTo>
                    <a:pt x="28" y="135"/>
                    <a:pt x="28" y="135"/>
                    <a:pt x="27" y="136"/>
                  </a:cubicBezTo>
                  <a:cubicBezTo>
                    <a:pt x="27" y="136"/>
                    <a:pt x="26" y="136"/>
                    <a:pt x="26" y="136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4"/>
                    <a:pt x="25" y="134"/>
                    <a:pt x="25" y="133"/>
                  </a:cubicBezTo>
                  <a:cubicBezTo>
                    <a:pt x="25" y="133"/>
                    <a:pt x="26" y="132"/>
                    <a:pt x="25" y="132"/>
                  </a:cubicBezTo>
                  <a:cubicBezTo>
                    <a:pt x="25" y="132"/>
                    <a:pt x="25" y="132"/>
                    <a:pt x="25" y="131"/>
                  </a:cubicBezTo>
                  <a:cubicBezTo>
                    <a:pt x="25" y="131"/>
                    <a:pt x="25" y="131"/>
                    <a:pt x="25" y="130"/>
                  </a:cubicBezTo>
                  <a:cubicBezTo>
                    <a:pt x="24" y="129"/>
                    <a:pt x="25" y="128"/>
                    <a:pt x="25" y="126"/>
                  </a:cubicBezTo>
                  <a:cubicBezTo>
                    <a:pt x="25" y="126"/>
                    <a:pt x="25" y="125"/>
                    <a:pt x="25" y="125"/>
                  </a:cubicBezTo>
                  <a:cubicBezTo>
                    <a:pt x="25" y="125"/>
                    <a:pt x="24" y="124"/>
                    <a:pt x="24" y="124"/>
                  </a:cubicBezTo>
                  <a:cubicBezTo>
                    <a:pt x="24" y="124"/>
                    <a:pt x="24" y="123"/>
                    <a:pt x="24" y="123"/>
                  </a:cubicBezTo>
                  <a:cubicBezTo>
                    <a:pt x="24" y="123"/>
                    <a:pt x="24" y="124"/>
                    <a:pt x="23" y="124"/>
                  </a:cubicBezTo>
                  <a:cubicBezTo>
                    <a:pt x="23" y="125"/>
                    <a:pt x="23" y="127"/>
                    <a:pt x="23" y="128"/>
                  </a:cubicBezTo>
                  <a:cubicBezTo>
                    <a:pt x="23" y="129"/>
                    <a:pt x="23" y="131"/>
                    <a:pt x="23" y="132"/>
                  </a:cubicBezTo>
                  <a:cubicBezTo>
                    <a:pt x="23" y="133"/>
                    <a:pt x="23" y="134"/>
                    <a:pt x="24" y="135"/>
                  </a:cubicBezTo>
                  <a:cubicBezTo>
                    <a:pt x="24" y="136"/>
                    <a:pt x="24" y="137"/>
                    <a:pt x="24" y="138"/>
                  </a:cubicBezTo>
                  <a:cubicBezTo>
                    <a:pt x="24" y="139"/>
                    <a:pt x="25" y="139"/>
                    <a:pt x="26" y="139"/>
                  </a:cubicBezTo>
                  <a:cubicBezTo>
                    <a:pt x="27" y="140"/>
                    <a:pt x="27" y="140"/>
                    <a:pt x="28" y="141"/>
                  </a:cubicBezTo>
                  <a:cubicBezTo>
                    <a:pt x="28" y="141"/>
                    <a:pt x="28" y="142"/>
                    <a:pt x="29" y="142"/>
                  </a:cubicBezTo>
                  <a:cubicBezTo>
                    <a:pt x="29" y="142"/>
                    <a:pt x="30" y="141"/>
                    <a:pt x="30" y="141"/>
                  </a:cubicBezTo>
                  <a:cubicBezTo>
                    <a:pt x="31" y="141"/>
                    <a:pt x="31" y="141"/>
                    <a:pt x="32" y="141"/>
                  </a:cubicBezTo>
                  <a:cubicBezTo>
                    <a:pt x="33" y="141"/>
                    <a:pt x="34" y="140"/>
                    <a:pt x="35" y="139"/>
                  </a:cubicBezTo>
                  <a:cubicBezTo>
                    <a:pt x="35" y="139"/>
                    <a:pt x="36" y="139"/>
                    <a:pt x="36" y="140"/>
                  </a:cubicBezTo>
                  <a:cubicBezTo>
                    <a:pt x="36" y="140"/>
                    <a:pt x="36" y="140"/>
                    <a:pt x="37" y="140"/>
                  </a:cubicBezTo>
                  <a:cubicBezTo>
                    <a:pt x="38" y="141"/>
                    <a:pt x="39" y="140"/>
                    <a:pt x="40" y="140"/>
                  </a:cubicBezTo>
                  <a:cubicBezTo>
                    <a:pt x="41" y="140"/>
                    <a:pt x="42" y="140"/>
                    <a:pt x="43" y="140"/>
                  </a:cubicBezTo>
                  <a:cubicBezTo>
                    <a:pt x="44" y="141"/>
                    <a:pt x="45" y="142"/>
                    <a:pt x="45" y="142"/>
                  </a:cubicBezTo>
                  <a:cubicBezTo>
                    <a:pt x="46" y="143"/>
                    <a:pt x="47" y="144"/>
                    <a:pt x="48" y="145"/>
                  </a:cubicBezTo>
                  <a:cubicBezTo>
                    <a:pt x="48" y="145"/>
                    <a:pt x="49" y="146"/>
                    <a:pt x="49" y="146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51" y="146"/>
                    <a:pt x="51" y="146"/>
                    <a:pt x="52" y="146"/>
                  </a:cubicBezTo>
                  <a:cubicBezTo>
                    <a:pt x="52" y="146"/>
                    <a:pt x="53" y="145"/>
                    <a:pt x="54" y="145"/>
                  </a:cubicBezTo>
                  <a:cubicBezTo>
                    <a:pt x="54" y="145"/>
                    <a:pt x="55" y="145"/>
                    <a:pt x="55" y="145"/>
                  </a:cubicBezTo>
                  <a:cubicBezTo>
                    <a:pt x="56" y="145"/>
                    <a:pt x="57" y="145"/>
                    <a:pt x="58" y="146"/>
                  </a:cubicBezTo>
                  <a:cubicBezTo>
                    <a:pt x="59" y="146"/>
                    <a:pt x="59" y="147"/>
                    <a:pt x="60" y="147"/>
                  </a:cubicBezTo>
                  <a:cubicBezTo>
                    <a:pt x="60" y="148"/>
                    <a:pt x="61" y="148"/>
                    <a:pt x="61" y="148"/>
                  </a:cubicBezTo>
                  <a:cubicBezTo>
                    <a:pt x="62" y="149"/>
                    <a:pt x="63" y="149"/>
                    <a:pt x="64" y="150"/>
                  </a:cubicBezTo>
                  <a:cubicBezTo>
                    <a:pt x="64" y="151"/>
                    <a:pt x="64" y="152"/>
                    <a:pt x="64" y="153"/>
                  </a:cubicBezTo>
                  <a:cubicBezTo>
                    <a:pt x="65" y="154"/>
                    <a:pt x="65" y="155"/>
                    <a:pt x="66" y="156"/>
                  </a:cubicBezTo>
                  <a:cubicBezTo>
                    <a:pt x="66" y="156"/>
                    <a:pt x="67" y="157"/>
                    <a:pt x="67" y="157"/>
                  </a:cubicBezTo>
                  <a:cubicBezTo>
                    <a:pt x="68" y="158"/>
                    <a:pt x="68" y="159"/>
                    <a:pt x="68" y="161"/>
                  </a:cubicBezTo>
                  <a:cubicBezTo>
                    <a:pt x="68" y="162"/>
                    <a:pt x="68" y="163"/>
                    <a:pt x="68" y="164"/>
                  </a:cubicBezTo>
                  <a:cubicBezTo>
                    <a:pt x="68" y="165"/>
                    <a:pt x="69" y="166"/>
                    <a:pt x="69" y="167"/>
                  </a:cubicBezTo>
                  <a:cubicBezTo>
                    <a:pt x="69" y="167"/>
                    <a:pt x="69" y="168"/>
                    <a:pt x="69" y="168"/>
                  </a:cubicBezTo>
                  <a:cubicBezTo>
                    <a:pt x="69" y="169"/>
                    <a:pt x="69" y="169"/>
                    <a:pt x="69" y="170"/>
                  </a:cubicBezTo>
                  <a:cubicBezTo>
                    <a:pt x="70" y="171"/>
                    <a:pt x="70" y="171"/>
                    <a:pt x="71" y="172"/>
                  </a:cubicBezTo>
                  <a:cubicBezTo>
                    <a:pt x="73" y="174"/>
                    <a:pt x="76" y="174"/>
                    <a:pt x="78" y="175"/>
                  </a:cubicBezTo>
                  <a:cubicBezTo>
                    <a:pt x="79" y="175"/>
                    <a:pt x="80" y="175"/>
                    <a:pt x="81" y="175"/>
                  </a:cubicBezTo>
                  <a:cubicBezTo>
                    <a:pt x="82" y="175"/>
                    <a:pt x="82" y="175"/>
                    <a:pt x="83" y="176"/>
                  </a:cubicBezTo>
                  <a:cubicBezTo>
                    <a:pt x="83" y="176"/>
                    <a:pt x="84" y="176"/>
                    <a:pt x="84" y="176"/>
                  </a:cubicBezTo>
                  <a:cubicBezTo>
                    <a:pt x="87" y="176"/>
                    <a:pt x="87" y="176"/>
                    <a:pt x="87" y="176"/>
                  </a:cubicBezTo>
                  <a:cubicBezTo>
                    <a:pt x="88" y="176"/>
                    <a:pt x="89" y="175"/>
                    <a:pt x="90" y="175"/>
                  </a:cubicBezTo>
                  <a:cubicBezTo>
                    <a:pt x="92" y="174"/>
                    <a:pt x="94" y="173"/>
                    <a:pt x="95" y="172"/>
                  </a:cubicBezTo>
                  <a:cubicBezTo>
                    <a:pt x="96" y="171"/>
                    <a:pt x="97" y="171"/>
                    <a:pt x="98" y="170"/>
                  </a:cubicBezTo>
                  <a:cubicBezTo>
                    <a:pt x="99" y="170"/>
                    <a:pt x="100" y="169"/>
                    <a:pt x="101" y="169"/>
                  </a:cubicBezTo>
                  <a:cubicBezTo>
                    <a:pt x="101" y="169"/>
                    <a:pt x="102" y="169"/>
                    <a:pt x="102" y="169"/>
                  </a:cubicBezTo>
                  <a:cubicBezTo>
                    <a:pt x="104" y="169"/>
                    <a:pt x="106" y="170"/>
                    <a:pt x="107" y="169"/>
                  </a:cubicBezTo>
                  <a:cubicBezTo>
                    <a:pt x="107" y="169"/>
                    <a:pt x="108" y="169"/>
                    <a:pt x="108" y="168"/>
                  </a:cubicBezTo>
                  <a:cubicBezTo>
                    <a:pt x="108" y="168"/>
                    <a:pt x="109" y="168"/>
                    <a:pt x="109" y="168"/>
                  </a:cubicBezTo>
                  <a:cubicBezTo>
                    <a:pt x="110" y="168"/>
                    <a:pt x="111" y="168"/>
                    <a:pt x="112" y="168"/>
                  </a:cubicBezTo>
                  <a:cubicBezTo>
                    <a:pt x="113" y="169"/>
                    <a:pt x="113" y="169"/>
                    <a:pt x="113" y="169"/>
                  </a:cubicBezTo>
                  <a:cubicBezTo>
                    <a:pt x="114" y="169"/>
                    <a:pt x="114" y="169"/>
                    <a:pt x="115" y="169"/>
                  </a:cubicBezTo>
                  <a:cubicBezTo>
                    <a:pt x="115" y="169"/>
                    <a:pt x="116" y="169"/>
                    <a:pt x="116" y="169"/>
                  </a:cubicBezTo>
                  <a:cubicBezTo>
                    <a:pt x="116" y="169"/>
                    <a:pt x="117" y="169"/>
                    <a:pt x="117" y="169"/>
                  </a:cubicBezTo>
                  <a:cubicBezTo>
                    <a:pt x="118" y="169"/>
                    <a:pt x="118" y="169"/>
                    <a:pt x="119" y="170"/>
                  </a:cubicBezTo>
                  <a:cubicBezTo>
                    <a:pt x="120" y="170"/>
                    <a:pt x="120" y="170"/>
                    <a:pt x="121" y="170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2" y="172"/>
                    <a:pt x="121" y="173"/>
                    <a:pt x="122" y="173"/>
                  </a:cubicBezTo>
                  <a:cubicBezTo>
                    <a:pt x="123" y="174"/>
                    <a:pt x="124" y="174"/>
                    <a:pt x="124" y="173"/>
                  </a:cubicBezTo>
                  <a:cubicBezTo>
                    <a:pt x="125" y="173"/>
                    <a:pt x="125" y="172"/>
                    <a:pt x="126" y="172"/>
                  </a:cubicBezTo>
                  <a:cubicBezTo>
                    <a:pt x="126" y="171"/>
                    <a:pt x="127" y="171"/>
                    <a:pt x="128" y="171"/>
                  </a:cubicBezTo>
                  <a:cubicBezTo>
                    <a:pt x="128" y="171"/>
                    <a:pt x="129" y="171"/>
                    <a:pt x="130" y="171"/>
                  </a:cubicBezTo>
                  <a:cubicBezTo>
                    <a:pt x="131" y="171"/>
                    <a:pt x="132" y="172"/>
                    <a:pt x="133" y="172"/>
                  </a:cubicBezTo>
                  <a:cubicBezTo>
                    <a:pt x="134" y="171"/>
                    <a:pt x="135" y="171"/>
                    <a:pt x="136" y="170"/>
                  </a:cubicBezTo>
                  <a:cubicBezTo>
                    <a:pt x="137" y="169"/>
                    <a:pt x="138" y="169"/>
                    <a:pt x="139" y="168"/>
                  </a:cubicBezTo>
                  <a:cubicBezTo>
                    <a:pt x="139" y="168"/>
                    <a:pt x="140" y="168"/>
                    <a:pt x="141" y="167"/>
                  </a:cubicBezTo>
                  <a:cubicBezTo>
                    <a:pt x="141" y="167"/>
                    <a:pt x="142" y="167"/>
                    <a:pt x="143" y="167"/>
                  </a:cubicBezTo>
                  <a:cubicBezTo>
                    <a:pt x="143" y="167"/>
                    <a:pt x="144" y="167"/>
                    <a:pt x="144" y="168"/>
                  </a:cubicBezTo>
                  <a:cubicBezTo>
                    <a:pt x="145" y="168"/>
                    <a:pt x="145" y="168"/>
                    <a:pt x="146" y="169"/>
                  </a:cubicBezTo>
                  <a:cubicBezTo>
                    <a:pt x="147" y="169"/>
                    <a:pt x="149" y="169"/>
                    <a:pt x="150" y="169"/>
                  </a:cubicBezTo>
                  <a:cubicBezTo>
                    <a:pt x="151" y="169"/>
                    <a:pt x="153" y="169"/>
                    <a:pt x="154" y="168"/>
                  </a:cubicBezTo>
                  <a:cubicBezTo>
                    <a:pt x="155" y="168"/>
                    <a:pt x="156" y="168"/>
                    <a:pt x="157" y="167"/>
                  </a:cubicBezTo>
                  <a:cubicBezTo>
                    <a:pt x="159" y="166"/>
                    <a:pt x="161" y="164"/>
                    <a:pt x="163" y="164"/>
                  </a:cubicBezTo>
                  <a:cubicBezTo>
                    <a:pt x="164" y="163"/>
                    <a:pt x="165" y="163"/>
                    <a:pt x="166" y="163"/>
                  </a:cubicBezTo>
                  <a:cubicBezTo>
                    <a:pt x="167" y="163"/>
                    <a:pt x="167" y="163"/>
                    <a:pt x="168" y="162"/>
                  </a:cubicBezTo>
                  <a:cubicBezTo>
                    <a:pt x="168" y="162"/>
                    <a:pt x="168" y="162"/>
                    <a:pt x="169" y="162"/>
                  </a:cubicBezTo>
                  <a:cubicBezTo>
                    <a:pt x="169" y="162"/>
                    <a:pt x="170" y="162"/>
                    <a:pt x="171" y="162"/>
                  </a:cubicBezTo>
                  <a:cubicBezTo>
                    <a:pt x="171" y="162"/>
                    <a:pt x="172" y="162"/>
                    <a:pt x="172" y="162"/>
                  </a:cubicBezTo>
                  <a:cubicBezTo>
                    <a:pt x="173" y="161"/>
                    <a:pt x="174" y="161"/>
                    <a:pt x="175" y="160"/>
                  </a:cubicBezTo>
                  <a:cubicBezTo>
                    <a:pt x="175" y="160"/>
                    <a:pt x="175" y="160"/>
                    <a:pt x="176" y="159"/>
                  </a:cubicBezTo>
                  <a:cubicBezTo>
                    <a:pt x="176" y="159"/>
                    <a:pt x="176" y="159"/>
                    <a:pt x="177" y="158"/>
                  </a:cubicBezTo>
                  <a:cubicBezTo>
                    <a:pt x="177" y="158"/>
                    <a:pt x="178" y="158"/>
                    <a:pt x="179" y="158"/>
                  </a:cubicBezTo>
                  <a:cubicBezTo>
                    <a:pt x="180" y="158"/>
                    <a:pt x="181" y="158"/>
                    <a:pt x="181" y="158"/>
                  </a:cubicBezTo>
                  <a:cubicBezTo>
                    <a:pt x="182" y="159"/>
                    <a:pt x="182" y="158"/>
                    <a:pt x="183" y="158"/>
                  </a:cubicBezTo>
                  <a:cubicBezTo>
                    <a:pt x="183" y="158"/>
                    <a:pt x="184" y="158"/>
                    <a:pt x="185" y="158"/>
                  </a:cubicBezTo>
                  <a:cubicBezTo>
                    <a:pt x="185" y="158"/>
                    <a:pt x="185" y="158"/>
                    <a:pt x="186" y="157"/>
                  </a:cubicBezTo>
                  <a:cubicBezTo>
                    <a:pt x="186" y="157"/>
                    <a:pt x="187" y="157"/>
                    <a:pt x="187" y="157"/>
                  </a:cubicBezTo>
                  <a:cubicBezTo>
                    <a:pt x="187" y="157"/>
                    <a:pt x="188" y="157"/>
                    <a:pt x="188" y="157"/>
                  </a:cubicBezTo>
                  <a:cubicBezTo>
                    <a:pt x="189" y="157"/>
                    <a:pt x="191" y="157"/>
                    <a:pt x="192" y="157"/>
                  </a:cubicBezTo>
                  <a:cubicBezTo>
                    <a:pt x="193" y="157"/>
                    <a:pt x="193" y="157"/>
                    <a:pt x="194" y="157"/>
                  </a:cubicBezTo>
                  <a:cubicBezTo>
                    <a:pt x="195" y="156"/>
                    <a:pt x="195" y="156"/>
                    <a:pt x="196" y="155"/>
                  </a:cubicBezTo>
                  <a:cubicBezTo>
                    <a:pt x="196" y="155"/>
                    <a:pt x="197" y="155"/>
                    <a:pt x="197" y="154"/>
                  </a:cubicBezTo>
                  <a:cubicBezTo>
                    <a:pt x="198" y="154"/>
                    <a:pt x="198" y="154"/>
                    <a:pt x="199" y="154"/>
                  </a:cubicBezTo>
                  <a:cubicBezTo>
                    <a:pt x="270" y="154"/>
                    <a:pt x="270" y="154"/>
                    <a:pt x="270" y="154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150"/>
                    <a:pt x="269" y="147"/>
                    <a:pt x="269" y="147"/>
                  </a:cubicBez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6A234852-6C39-4039-9DE3-DBB363B31A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367" y="3086994"/>
              <a:ext cx="1151586" cy="510531"/>
            </a:xfrm>
            <a:custGeom>
              <a:avLst/>
              <a:gdLst>
                <a:gd name="T0" fmla="*/ 270 w 291"/>
                <a:gd name="T1" fmla="*/ 129 h 129"/>
                <a:gd name="T2" fmla="*/ 290 w 291"/>
                <a:gd name="T3" fmla="*/ 67 h 129"/>
                <a:gd name="T4" fmla="*/ 288 w 291"/>
                <a:gd name="T5" fmla="*/ 67 h 129"/>
                <a:gd name="T6" fmla="*/ 278 w 291"/>
                <a:gd name="T7" fmla="*/ 65 h 129"/>
                <a:gd name="T8" fmla="*/ 283 w 291"/>
                <a:gd name="T9" fmla="*/ 72 h 129"/>
                <a:gd name="T10" fmla="*/ 276 w 291"/>
                <a:gd name="T11" fmla="*/ 83 h 129"/>
                <a:gd name="T12" fmla="*/ 270 w 291"/>
                <a:gd name="T13" fmla="*/ 93 h 129"/>
                <a:gd name="T14" fmla="*/ 267 w 291"/>
                <a:gd name="T15" fmla="*/ 101 h 129"/>
                <a:gd name="T16" fmla="*/ 264 w 291"/>
                <a:gd name="T17" fmla="*/ 97 h 129"/>
                <a:gd name="T18" fmla="*/ 266 w 291"/>
                <a:gd name="T19" fmla="*/ 88 h 129"/>
                <a:gd name="T20" fmla="*/ 274 w 291"/>
                <a:gd name="T21" fmla="*/ 73 h 129"/>
                <a:gd name="T22" fmla="*/ 278 w 291"/>
                <a:gd name="T23" fmla="*/ 65 h 129"/>
                <a:gd name="T24" fmla="*/ 69 w 291"/>
                <a:gd name="T25" fmla="*/ 126 h 129"/>
                <a:gd name="T26" fmla="*/ 18 w 291"/>
                <a:gd name="T27" fmla="*/ 120 h 129"/>
                <a:gd name="T28" fmla="*/ 28 w 291"/>
                <a:gd name="T29" fmla="*/ 110 h 129"/>
                <a:gd name="T30" fmla="*/ 46 w 291"/>
                <a:gd name="T31" fmla="*/ 97 h 129"/>
                <a:gd name="T32" fmla="*/ 59 w 291"/>
                <a:gd name="T33" fmla="*/ 90 h 129"/>
                <a:gd name="T34" fmla="*/ 68 w 291"/>
                <a:gd name="T35" fmla="*/ 100 h 129"/>
                <a:gd name="T36" fmla="*/ 96 w 291"/>
                <a:gd name="T37" fmla="*/ 96 h 129"/>
                <a:gd name="T38" fmla="*/ 105 w 291"/>
                <a:gd name="T39" fmla="*/ 90 h 129"/>
                <a:gd name="T40" fmla="*/ 118 w 291"/>
                <a:gd name="T41" fmla="*/ 83 h 129"/>
                <a:gd name="T42" fmla="*/ 123 w 291"/>
                <a:gd name="T43" fmla="*/ 69 h 129"/>
                <a:gd name="T44" fmla="*/ 130 w 291"/>
                <a:gd name="T45" fmla="*/ 56 h 129"/>
                <a:gd name="T46" fmla="*/ 138 w 291"/>
                <a:gd name="T47" fmla="*/ 43 h 129"/>
                <a:gd name="T48" fmla="*/ 156 w 291"/>
                <a:gd name="T49" fmla="*/ 37 h 129"/>
                <a:gd name="T50" fmla="*/ 168 w 291"/>
                <a:gd name="T51" fmla="*/ 27 h 129"/>
                <a:gd name="T52" fmla="*/ 176 w 291"/>
                <a:gd name="T53" fmla="*/ 20 h 129"/>
                <a:gd name="T54" fmla="*/ 183 w 291"/>
                <a:gd name="T55" fmla="*/ 5 h 129"/>
                <a:gd name="T56" fmla="*/ 212 w 291"/>
                <a:gd name="T57" fmla="*/ 14 h 129"/>
                <a:gd name="T58" fmla="*/ 224 w 291"/>
                <a:gd name="T59" fmla="*/ 22 h 129"/>
                <a:gd name="T60" fmla="*/ 229 w 291"/>
                <a:gd name="T61" fmla="*/ 28 h 129"/>
                <a:gd name="T62" fmla="*/ 226 w 291"/>
                <a:gd name="T63" fmla="*/ 37 h 129"/>
                <a:gd name="T64" fmla="*/ 221 w 291"/>
                <a:gd name="T65" fmla="*/ 42 h 129"/>
                <a:gd name="T66" fmla="*/ 228 w 291"/>
                <a:gd name="T67" fmla="*/ 50 h 129"/>
                <a:gd name="T68" fmla="*/ 239 w 291"/>
                <a:gd name="T69" fmla="*/ 60 h 129"/>
                <a:gd name="T70" fmla="*/ 250 w 291"/>
                <a:gd name="T71" fmla="*/ 67 h 129"/>
                <a:gd name="T72" fmla="*/ 254 w 291"/>
                <a:gd name="T73" fmla="*/ 73 h 129"/>
                <a:gd name="T74" fmla="*/ 252 w 291"/>
                <a:gd name="T75" fmla="*/ 72 h 129"/>
                <a:gd name="T76" fmla="*/ 253 w 291"/>
                <a:gd name="T77" fmla="*/ 81 h 129"/>
                <a:gd name="T78" fmla="*/ 246 w 291"/>
                <a:gd name="T79" fmla="*/ 79 h 129"/>
                <a:gd name="T80" fmla="*/ 237 w 291"/>
                <a:gd name="T81" fmla="*/ 69 h 129"/>
                <a:gd name="T82" fmla="*/ 239 w 291"/>
                <a:gd name="T83" fmla="*/ 73 h 129"/>
                <a:gd name="T84" fmla="*/ 245 w 291"/>
                <a:gd name="T85" fmla="*/ 81 h 129"/>
                <a:gd name="T86" fmla="*/ 252 w 291"/>
                <a:gd name="T87" fmla="*/ 86 h 129"/>
                <a:gd name="T88" fmla="*/ 255 w 291"/>
                <a:gd name="T89" fmla="*/ 90 h 129"/>
                <a:gd name="T90" fmla="*/ 254 w 291"/>
                <a:gd name="T91" fmla="*/ 95 h 129"/>
                <a:gd name="T92" fmla="*/ 249 w 291"/>
                <a:gd name="T93" fmla="*/ 92 h 129"/>
                <a:gd name="T94" fmla="*/ 251 w 291"/>
                <a:gd name="T95" fmla="*/ 100 h 129"/>
                <a:gd name="T96" fmla="*/ 254 w 291"/>
                <a:gd name="T97" fmla="*/ 109 h 129"/>
                <a:gd name="T98" fmla="*/ 248 w 291"/>
                <a:gd name="T99" fmla="*/ 109 h 129"/>
                <a:gd name="T100" fmla="*/ 241 w 291"/>
                <a:gd name="T101" fmla="*/ 100 h 129"/>
                <a:gd name="T102" fmla="*/ 232 w 291"/>
                <a:gd name="T103" fmla="*/ 99 h 129"/>
                <a:gd name="T104" fmla="*/ 236 w 291"/>
                <a:gd name="T105" fmla="*/ 100 h 129"/>
                <a:gd name="T106" fmla="*/ 245 w 291"/>
                <a:gd name="T107" fmla="*/ 110 h 129"/>
                <a:gd name="T108" fmla="*/ 247 w 291"/>
                <a:gd name="T109" fmla="*/ 116 h 129"/>
                <a:gd name="T110" fmla="*/ 253 w 291"/>
                <a:gd name="T111" fmla="*/ 117 h 129"/>
                <a:gd name="T112" fmla="*/ 259 w 291"/>
                <a:gd name="T113" fmla="*/ 113 h 129"/>
                <a:gd name="T114" fmla="*/ 265 w 291"/>
                <a:gd name="T115" fmla="*/ 115 h 129"/>
                <a:gd name="T116" fmla="*/ 267 w 291"/>
                <a:gd name="T117" fmla="*/ 12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129">
                  <a:moveTo>
                    <a:pt x="270" y="129"/>
                  </a:moveTo>
                  <a:cubicBezTo>
                    <a:pt x="268" y="129"/>
                    <a:pt x="268" y="129"/>
                    <a:pt x="268" y="129"/>
                  </a:cubicBezTo>
                  <a:cubicBezTo>
                    <a:pt x="268" y="128"/>
                    <a:pt x="268" y="128"/>
                    <a:pt x="268" y="128"/>
                  </a:cubicBezTo>
                  <a:cubicBezTo>
                    <a:pt x="268" y="127"/>
                    <a:pt x="268" y="127"/>
                    <a:pt x="268" y="127"/>
                  </a:cubicBezTo>
                  <a:cubicBezTo>
                    <a:pt x="269" y="126"/>
                    <a:pt x="270" y="128"/>
                    <a:pt x="270" y="128"/>
                  </a:cubicBezTo>
                  <a:cubicBezTo>
                    <a:pt x="270" y="128"/>
                    <a:pt x="270" y="128"/>
                    <a:pt x="270" y="129"/>
                  </a:cubicBezTo>
                  <a:close/>
                  <a:moveTo>
                    <a:pt x="287" y="71"/>
                  </a:moveTo>
                  <a:cubicBezTo>
                    <a:pt x="288" y="70"/>
                    <a:pt x="288" y="70"/>
                    <a:pt x="288" y="70"/>
                  </a:cubicBezTo>
                  <a:cubicBezTo>
                    <a:pt x="288" y="70"/>
                    <a:pt x="288" y="69"/>
                    <a:pt x="288" y="69"/>
                  </a:cubicBezTo>
                  <a:cubicBezTo>
                    <a:pt x="289" y="69"/>
                    <a:pt x="289" y="68"/>
                    <a:pt x="289" y="68"/>
                  </a:cubicBezTo>
                  <a:cubicBezTo>
                    <a:pt x="289" y="68"/>
                    <a:pt x="289" y="68"/>
                    <a:pt x="289" y="67"/>
                  </a:cubicBezTo>
                  <a:cubicBezTo>
                    <a:pt x="289" y="67"/>
                    <a:pt x="290" y="67"/>
                    <a:pt x="290" y="67"/>
                  </a:cubicBezTo>
                  <a:cubicBezTo>
                    <a:pt x="290" y="67"/>
                    <a:pt x="290" y="66"/>
                    <a:pt x="290" y="66"/>
                  </a:cubicBezTo>
                  <a:cubicBezTo>
                    <a:pt x="290" y="66"/>
                    <a:pt x="290" y="66"/>
                    <a:pt x="290" y="66"/>
                  </a:cubicBezTo>
                  <a:cubicBezTo>
                    <a:pt x="291" y="65"/>
                    <a:pt x="291" y="65"/>
                    <a:pt x="291" y="65"/>
                  </a:cubicBezTo>
                  <a:cubicBezTo>
                    <a:pt x="291" y="65"/>
                    <a:pt x="290" y="65"/>
                    <a:pt x="290" y="65"/>
                  </a:cubicBezTo>
                  <a:cubicBezTo>
                    <a:pt x="290" y="65"/>
                    <a:pt x="290" y="66"/>
                    <a:pt x="289" y="66"/>
                  </a:cubicBezTo>
                  <a:cubicBezTo>
                    <a:pt x="289" y="66"/>
                    <a:pt x="289" y="67"/>
                    <a:pt x="288" y="67"/>
                  </a:cubicBezTo>
                  <a:cubicBezTo>
                    <a:pt x="288" y="67"/>
                    <a:pt x="287" y="68"/>
                    <a:pt x="287" y="68"/>
                  </a:cubicBezTo>
                  <a:cubicBezTo>
                    <a:pt x="287" y="68"/>
                    <a:pt x="287" y="69"/>
                    <a:pt x="287" y="69"/>
                  </a:cubicBezTo>
                  <a:cubicBezTo>
                    <a:pt x="287" y="69"/>
                    <a:pt x="287" y="69"/>
                    <a:pt x="287" y="69"/>
                  </a:cubicBezTo>
                  <a:cubicBezTo>
                    <a:pt x="287" y="70"/>
                    <a:pt x="287" y="70"/>
                    <a:pt x="287" y="70"/>
                  </a:cubicBezTo>
                  <a:cubicBezTo>
                    <a:pt x="287" y="70"/>
                    <a:pt x="287" y="71"/>
                    <a:pt x="287" y="71"/>
                  </a:cubicBezTo>
                  <a:close/>
                  <a:moveTo>
                    <a:pt x="278" y="65"/>
                  </a:moveTo>
                  <a:cubicBezTo>
                    <a:pt x="285" y="65"/>
                    <a:pt x="285" y="65"/>
                    <a:pt x="285" y="65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5" y="66"/>
                    <a:pt x="284" y="67"/>
                    <a:pt x="284" y="68"/>
                  </a:cubicBezTo>
                  <a:cubicBezTo>
                    <a:pt x="284" y="68"/>
                    <a:pt x="284" y="69"/>
                    <a:pt x="284" y="69"/>
                  </a:cubicBezTo>
                  <a:cubicBezTo>
                    <a:pt x="284" y="69"/>
                    <a:pt x="284" y="70"/>
                    <a:pt x="284" y="70"/>
                  </a:cubicBezTo>
                  <a:cubicBezTo>
                    <a:pt x="283" y="71"/>
                    <a:pt x="283" y="71"/>
                    <a:pt x="283" y="72"/>
                  </a:cubicBezTo>
                  <a:cubicBezTo>
                    <a:pt x="283" y="72"/>
                    <a:pt x="283" y="72"/>
                    <a:pt x="282" y="72"/>
                  </a:cubicBezTo>
                  <a:cubicBezTo>
                    <a:pt x="282" y="73"/>
                    <a:pt x="282" y="73"/>
                    <a:pt x="282" y="73"/>
                  </a:cubicBezTo>
                  <a:cubicBezTo>
                    <a:pt x="282" y="74"/>
                    <a:pt x="281" y="74"/>
                    <a:pt x="281" y="75"/>
                  </a:cubicBezTo>
                  <a:cubicBezTo>
                    <a:pt x="281" y="75"/>
                    <a:pt x="281" y="76"/>
                    <a:pt x="280" y="76"/>
                  </a:cubicBezTo>
                  <a:cubicBezTo>
                    <a:pt x="279" y="78"/>
                    <a:pt x="278" y="79"/>
                    <a:pt x="277" y="81"/>
                  </a:cubicBezTo>
                  <a:cubicBezTo>
                    <a:pt x="277" y="82"/>
                    <a:pt x="276" y="82"/>
                    <a:pt x="276" y="83"/>
                  </a:cubicBezTo>
                  <a:cubicBezTo>
                    <a:pt x="276" y="85"/>
                    <a:pt x="276" y="86"/>
                    <a:pt x="276" y="87"/>
                  </a:cubicBezTo>
                  <a:cubicBezTo>
                    <a:pt x="276" y="88"/>
                    <a:pt x="276" y="89"/>
                    <a:pt x="274" y="89"/>
                  </a:cubicBezTo>
                  <a:cubicBezTo>
                    <a:pt x="274" y="89"/>
                    <a:pt x="274" y="89"/>
                    <a:pt x="273" y="89"/>
                  </a:cubicBezTo>
                  <a:cubicBezTo>
                    <a:pt x="273" y="89"/>
                    <a:pt x="272" y="89"/>
                    <a:pt x="272" y="90"/>
                  </a:cubicBezTo>
                  <a:cubicBezTo>
                    <a:pt x="271" y="90"/>
                    <a:pt x="271" y="91"/>
                    <a:pt x="271" y="92"/>
                  </a:cubicBezTo>
                  <a:cubicBezTo>
                    <a:pt x="271" y="92"/>
                    <a:pt x="271" y="92"/>
                    <a:pt x="270" y="93"/>
                  </a:cubicBezTo>
                  <a:cubicBezTo>
                    <a:pt x="269" y="93"/>
                    <a:pt x="269" y="94"/>
                    <a:pt x="269" y="94"/>
                  </a:cubicBezTo>
                  <a:cubicBezTo>
                    <a:pt x="268" y="94"/>
                    <a:pt x="268" y="95"/>
                    <a:pt x="268" y="95"/>
                  </a:cubicBezTo>
                  <a:cubicBezTo>
                    <a:pt x="268" y="96"/>
                    <a:pt x="268" y="96"/>
                    <a:pt x="268" y="96"/>
                  </a:cubicBezTo>
                  <a:cubicBezTo>
                    <a:pt x="267" y="97"/>
                    <a:pt x="267" y="97"/>
                    <a:pt x="268" y="98"/>
                  </a:cubicBezTo>
                  <a:cubicBezTo>
                    <a:pt x="268" y="98"/>
                    <a:pt x="268" y="99"/>
                    <a:pt x="268" y="99"/>
                  </a:cubicBezTo>
                  <a:cubicBezTo>
                    <a:pt x="268" y="100"/>
                    <a:pt x="268" y="101"/>
                    <a:pt x="267" y="101"/>
                  </a:cubicBezTo>
                  <a:cubicBezTo>
                    <a:pt x="267" y="102"/>
                    <a:pt x="267" y="103"/>
                    <a:pt x="266" y="103"/>
                  </a:cubicBezTo>
                  <a:cubicBezTo>
                    <a:pt x="266" y="103"/>
                    <a:pt x="266" y="102"/>
                    <a:pt x="266" y="102"/>
                  </a:cubicBezTo>
                  <a:cubicBezTo>
                    <a:pt x="266" y="101"/>
                    <a:pt x="266" y="101"/>
                    <a:pt x="265" y="101"/>
                  </a:cubicBezTo>
                  <a:cubicBezTo>
                    <a:pt x="265" y="101"/>
                    <a:pt x="265" y="100"/>
                    <a:pt x="265" y="100"/>
                  </a:cubicBezTo>
                  <a:cubicBezTo>
                    <a:pt x="264" y="100"/>
                    <a:pt x="264" y="99"/>
                    <a:pt x="264" y="98"/>
                  </a:cubicBezTo>
                  <a:cubicBezTo>
                    <a:pt x="264" y="98"/>
                    <a:pt x="264" y="97"/>
                    <a:pt x="264" y="97"/>
                  </a:cubicBezTo>
                  <a:cubicBezTo>
                    <a:pt x="264" y="97"/>
                    <a:pt x="264" y="96"/>
                    <a:pt x="264" y="96"/>
                  </a:cubicBezTo>
                  <a:cubicBezTo>
                    <a:pt x="264" y="95"/>
                    <a:pt x="265" y="95"/>
                    <a:pt x="265" y="94"/>
                  </a:cubicBezTo>
                  <a:cubicBezTo>
                    <a:pt x="265" y="93"/>
                    <a:pt x="265" y="93"/>
                    <a:pt x="266" y="92"/>
                  </a:cubicBezTo>
                  <a:cubicBezTo>
                    <a:pt x="266" y="92"/>
                    <a:pt x="266" y="91"/>
                    <a:pt x="266" y="91"/>
                  </a:cubicBezTo>
                  <a:cubicBezTo>
                    <a:pt x="266" y="90"/>
                    <a:pt x="266" y="90"/>
                    <a:pt x="266" y="89"/>
                  </a:cubicBezTo>
                  <a:cubicBezTo>
                    <a:pt x="266" y="89"/>
                    <a:pt x="266" y="89"/>
                    <a:pt x="266" y="88"/>
                  </a:cubicBezTo>
                  <a:cubicBezTo>
                    <a:pt x="267" y="87"/>
                    <a:pt x="267" y="86"/>
                    <a:pt x="267" y="86"/>
                  </a:cubicBezTo>
                  <a:cubicBezTo>
                    <a:pt x="267" y="85"/>
                    <a:pt x="268" y="83"/>
                    <a:pt x="268" y="82"/>
                  </a:cubicBezTo>
                  <a:cubicBezTo>
                    <a:pt x="269" y="82"/>
                    <a:pt x="269" y="81"/>
                    <a:pt x="269" y="81"/>
                  </a:cubicBezTo>
                  <a:cubicBezTo>
                    <a:pt x="269" y="80"/>
                    <a:pt x="270" y="80"/>
                    <a:pt x="270" y="79"/>
                  </a:cubicBezTo>
                  <a:cubicBezTo>
                    <a:pt x="271" y="78"/>
                    <a:pt x="272" y="77"/>
                    <a:pt x="272" y="76"/>
                  </a:cubicBezTo>
                  <a:cubicBezTo>
                    <a:pt x="273" y="75"/>
                    <a:pt x="274" y="74"/>
                    <a:pt x="274" y="73"/>
                  </a:cubicBezTo>
                  <a:cubicBezTo>
                    <a:pt x="275" y="73"/>
                    <a:pt x="276" y="72"/>
                    <a:pt x="276" y="71"/>
                  </a:cubicBezTo>
                  <a:cubicBezTo>
                    <a:pt x="276" y="70"/>
                    <a:pt x="274" y="71"/>
                    <a:pt x="274" y="70"/>
                  </a:cubicBezTo>
                  <a:cubicBezTo>
                    <a:pt x="274" y="69"/>
                    <a:pt x="276" y="69"/>
                    <a:pt x="276" y="69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6" y="68"/>
                    <a:pt x="276" y="68"/>
                    <a:pt x="276" y="68"/>
                  </a:cubicBezTo>
                  <a:lnTo>
                    <a:pt x="278" y="65"/>
                  </a:lnTo>
                  <a:close/>
                  <a:moveTo>
                    <a:pt x="266" y="128"/>
                  </a:moveTo>
                  <a:cubicBezTo>
                    <a:pt x="266" y="129"/>
                    <a:pt x="266" y="129"/>
                    <a:pt x="267" y="129"/>
                  </a:cubicBezTo>
                  <a:cubicBezTo>
                    <a:pt x="164" y="129"/>
                    <a:pt x="164" y="129"/>
                    <a:pt x="164" y="129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69" y="127"/>
                    <a:pt x="69" y="127"/>
                    <a:pt x="69" y="127"/>
                  </a:cubicBezTo>
                  <a:cubicBezTo>
                    <a:pt x="69" y="126"/>
                    <a:pt x="69" y="126"/>
                    <a:pt x="69" y="126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9" y="123"/>
                    <a:pt x="9" y="123"/>
                  </a:cubicBezTo>
                  <a:cubicBezTo>
                    <a:pt x="9" y="123"/>
                    <a:pt x="13" y="122"/>
                    <a:pt x="14" y="122"/>
                  </a:cubicBezTo>
                  <a:cubicBezTo>
                    <a:pt x="14" y="121"/>
                    <a:pt x="17" y="121"/>
                    <a:pt x="18" y="120"/>
                  </a:cubicBezTo>
                  <a:cubicBezTo>
                    <a:pt x="18" y="120"/>
                    <a:pt x="19" y="119"/>
                    <a:pt x="19" y="119"/>
                  </a:cubicBezTo>
                  <a:cubicBezTo>
                    <a:pt x="19" y="118"/>
                    <a:pt x="20" y="116"/>
                    <a:pt x="20" y="116"/>
                  </a:cubicBezTo>
                  <a:cubicBezTo>
                    <a:pt x="21" y="116"/>
                    <a:pt x="23" y="115"/>
                    <a:pt x="24" y="115"/>
                  </a:cubicBezTo>
                  <a:cubicBezTo>
                    <a:pt x="25" y="115"/>
                    <a:pt x="25" y="115"/>
                    <a:pt x="26" y="115"/>
                  </a:cubicBezTo>
                  <a:cubicBezTo>
                    <a:pt x="26" y="114"/>
                    <a:pt x="27" y="113"/>
                    <a:pt x="28" y="113"/>
                  </a:cubicBezTo>
                  <a:cubicBezTo>
                    <a:pt x="28" y="112"/>
                    <a:pt x="27" y="110"/>
                    <a:pt x="28" y="110"/>
                  </a:cubicBezTo>
                  <a:cubicBezTo>
                    <a:pt x="29" y="109"/>
                    <a:pt x="31" y="108"/>
                    <a:pt x="31" y="108"/>
                  </a:cubicBezTo>
                  <a:cubicBezTo>
                    <a:pt x="32" y="107"/>
                    <a:pt x="32" y="108"/>
                    <a:pt x="32" y="107"/>
                  </a:cubicBezTo>
                  <a:cubicBezTo>
                    <a:pt x="33" y="106"/>
                    <a:pt x="33" y="105"/>
                    <a:pt x="33" y="104"/>
                  </a:cubicBezTo>
                  <a:cubicBezTo>
                    <a:pt x="33" y="104"/>
                    <a:pt x="35" y="103"/>
                    <a:pt x="36" y="102"/>
                  </a:cubicBezTo>
                  <a:cubicBezTo>
                    <a:pt x="37" y="101"/>
                    <a:pt x="40" y="99"/>
                    <a:pt x="41" y="99"/>
                  </a:cubicBezTo>
                  <a:cubicBezTo>
                    <a:pt x="43" y="98"/>
                    <a:pt x="45" y="98"/>
                    <a:pt x="46" y="97"/>
                  </a:cubicBezTo>
                  <a:cubicBezTo>
                    <a:pt x="47" y="97"/>
                    <a:pt x="48" y="95"/>
                    <a:pt x="49" y="94"/>
                  </a:cubicBezTo>
                  <a:cubicBezTo>
                    <a:pt x="50" y="94"/>
                    <a:pt x="58" y="86"/>
                    <a:pt x="58" y="86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59" y="88"/>
                    <a:pt x="59" y="88"/>
                  </a:cubicBezTo>
                  <a:cubicBezTo>
                    <a:pt x="59" y="88"/>
                    <a:pt x="58" y="89"/>
                    <a:pt x="58" y="89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60" y="94"/>
                    <a:pt x="60" y="94"/>
                  </a:cubicBezTo>
                  <a:cubicBezTo>
                    <a:pt x="60" y="94"/>
                    <a:pt x="63" y="96"/>
                    <a:pt x="63" y="96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7" y="98"/>
                    <a:pt x="67" y="98"/>
                  </a:cubicBezTo>
                  <a:cubicBezTo>
                    <a:pt x="67" y="98"/>
                    <a:pt x="68" y="100"/>
                    <a:pt x="68" y="100"/>
                  </a:cubicBezTo>
                  <a:cubicBezTo>
                    <a:pt x="68" y="101"/>
                    <a:pt x="73" y="100"/>
                    <a:pt x="73" y="100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7" y="94"/>
                    <a:pt x="97" y="94"/>
                    <a:pt x="97" y="94"/>
                  </a:cubicBezTo>
                  <a:cubicBezTo>
                    <a:pt x="96" y="93"/>
                    <a:pt x="96" y="93"/>
                    <a:pt x="96" y="93"/>
                  </a:cubicBezTo>
                  <a:cubicBezTo>
                    <a:pt x="97" y="91"/>
                    <a:pt x="97" y="91"/>
                    <a:pt x="97" y="91"/>
                  </a:cubicBezTo>
                  <a:cubicBezTo>
                    <a:pt x="98" y="92"/>
                    <a:pt x="98" y="92"/>
                    <a:pt x="98" y="92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6"/>
                    <a:pt x="115" y="86"/>
                  </a:cubicBezTo>
                  <a:cubicBezTo>
                    <a:pt x="115" y="86"/>
                    <a:pt x="115" y="85"/>
                    <a:pt x="115" y="84"/>
                  </a:cubicBezTo>
                  <a:cubicBezTo>
                    <a:pt x="115" y="84"/>
                    <a:pt x="118" y="83"/>
                    <a:pt x="118" y="83"/>
                  </a:cubicBezTo>
                  <a:cubicBezTo>
                    <a:pt x="118" y="82"/>
                    <a:pt x="118" y="82"/>
                    <a:pt x="118" y="82"/>
                  </a:cubicBezTo>
                  <a:cubicBezTo>
                    <a:pt x="118" y="82"/>
                    <a:pt x="117" y="80"/>
                    <a:pt x="117" y="80"/>
                  </a:cubicBezTo>
                  <a:cubicBezTo>
                    <a:pt x="117" y="80"/>
                    <a:pt x="117" y="78"/>
                    <a:pt x="117" y="78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9" y="73"/>
                    <a:pt x="120" y="71"/>
                    <a:pt x="120" y="71"/>
                  </a:cubicBezTo>
                  <a:cubicBezTo>
                    <a:pt x="120" y="71"/>
                    <a:pt x="123" y="69"/>
                    <a:pt x="123" y="69"/>
                  </a:cubicBezTo>
                  <a:cubicBezTo>
                    <a:pt x="123" y="68"/>
                    <a:pt x="126" y="65"/>
                    <a:pt x="126" y="65"/>
                  </a:cubicBezTo>
                  <a:cubicBezTo>
                    <a:pt x="126" y="65"/>
                    <a:pt x="128" y="63"/>
                    <a:pt x="128" y="63"/>
                  </a:cubicBezTo>
                  <a:cubicBezTo>
                    <a:pt x="128" y="63"/>
                    <a:pt x="129" y="61"/>
                    <a:pt x="129" y="61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29" y="57"/>
                    <a:pt x="129" y="57"/>
                    <a:pt x="129" y="57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2"/>
                    <a:pt x="136" y="50"/>
                    <a:pt x="136" y="50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6" y="49"/>
                    <a:pt x="137" y="47"/>
                    <a:pt x="137" y="47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41" y="40"/>
                    <a:pt x="141" y="40"/>
                  </a:cubicBezTo>
                  <a:cubicBezTo>
                    <a:pt x="142" y="41"/>
                    <a:pt x="143" y="42"/>
                    <a:pt x="143" y="42"/>
                  </a:cubicBezTo>
                  <a:cubicBezTo>
                    <a:pt x="143" y="42"/>
                    <a:pt x="144" y="45"/>
                    <a:pt x="144" y="45"/>
                  </a:cubicBezTo>
                  <a:cubicBezTo>
                    <a:pt x="144" y="45"/>
                    <a:pt x="151" y="47"/>
                    <a:pt x="151" y="47"/>
                  </a:cubicBezTo>
                  <a:cubicBezTo>
                    <a:pt x="151" y="47"/>
                    <a:pt x="156" y="37"/>
                    <a:pt x="156" y="37"/>
                  </a:cubicBezTo>
                  <a:cubicBezTo>
                    <a:pt x="156" y="36"/>
                    <a:pt x="158" y="37"/>
                    <a:pt x="158" y="37"/>
                  </a:cubicBezTo>
                  <a:cubicBezTo>
                    <a:pt x="158" y="37"/>
                    <a:pt x="158" y="33"/>
                    <a:pt x="158" y="33"/>
                  </a:cubicBezTo>
                  <a:cubicBezTo>
                    <a:pt x="158" y="33"/>
                    <a:pt x="161" y="28"/>
                    <a:pt x="161" y="28"/>
                  </a:cubicBezTo>
                  <a:cubicBezTo>
                    <a:pt x="165" y="32"/>
                    <a:pt x="165" y="32"/>
                    <a:pt x="165" y="32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26"/>
                    <a:pt x="170" y="26"/>
                    <a:pt x="170" y="26"/>
                  </a:cubicBezTo>
                  <a:cubicBezTo>
                    <a:pt x="172" y="24"/>
                    <a:pt x="172" y="24"/>
                    <a:pt x="172" y="24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6" y="20"/>
                    <a:pt x="176" y="20"/>
                  </a:cubicBezTo>
                  <a:cubicBezTo>
                    <a:pt x="176" y="20"/>
                    <a:pt x="181" y="14"/>
                    <a:pt x="181" y="14"/>
                  </a:cubicBezTo>
                  <a:cubicBezTo>
                    <a:pt x="181" y="14"/>
                    <a:pt x="181" y="13"/>
                    <a:pt x="181" y="13"/>
                  </a:cubicBezTo>
                  <a:cubicBezTo>
                    <a:pt x="181" y="13"/>
                    <a:pt x="180" y="12"/>
                    <a:pt x="180" y="12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4" y="6"/>
                    <a:pt x="184" y="6"/>
                    <a:pt x="184" y="6"/>
                  </a:cubicBezTo>
                  <a:cubicBezTo>
                    <a:pt x="183" y="5"/>
                    <a:pt x="183" y="5"/>
                    <a:pt x="183" y="5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1" y="15"/>
                    <a:pt x="201" y="15"/>
                    <a:pt x="201" y="15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205" y="7"/>
                    <a:pt x="210" y="7"/>
                    <a:pt x="211" y="8"/>
                  </a:cubicBezTo>
                  <a:cubicBezTo>
                    <a:pt x="211" y="8"/>
                    <a:pt x="214" y="11"/>
                    <a:pt x="214" y="11"/>
                  </a:cubicBezTo>
                  <a:cubicBezTo>
                    <a:pt x="214" y="11"/>
                    <a:pt x="212" y="14"/>
                    <a:pt x="212" y="14"/>
                  </a:cubicBezTo>
                  <a:cubicBezTo>
                    <a:pt x="212" y="14"/>
                    <a:pt x="212" y="16"/>
                    <a:pt x="212" y="16"/>
                  </a:cubicBezTo>
                  <a:cubicBezTo>
                    <a:pt x="212" y="17"/>
                    <a:pt x="215" y="18"/>
                    <a:pt x="215" y="18"/>
                  </a:cubicBezTo>
                  <a:cubicBezTo>
                    <a:pt x="216" y="18"/>
                    <a:pt x="219" y="19"/>
                    <a:pt x="219" y="19"/>
                  </a:cubicBezTo>
                  <a:cubicBezTo>
                    <a:pt x="220" y="19"/>
                    <a:pt x="221" y="20"/>
                    <a:pt x="221" y="20"/>
                  </a:cubicBezTo>
                  <a:cubicBezTo>
                    <a:pt x="221" y="20"/>
                    <a:pt x="222" y="22"/>
                    <a:pt x="222" y="22"/>
                  </a:cubicBezTo>
                  <a:cubicBezTo>
                    <a:pt x="222" y="22"/>
                    <a:pt x="224" y="22"/>
                    <a:pt x="224" y="22"/>
                  </a:cubicBezTo>
                  <a:cubicBezTo>
                    <a:pt x="224" y="22"/>
                    <a:pt x="226" y="24"/>
                    <a:pt x="226" y="24"/>
                  </a:cubicBezTo>
                  <a:cubicBezTo>
                    <a:pt x="226" y="25"/>
                    <a:pt x="229" y="21"/>
                    <a:pt x="229" y="21"/>
                  </a:cubicBezTo>
                  <a:cubicBezTo>
                    <a:pt x="232" y="25"/>
                    <a:pt x="232" y="25"/>
                    <a:pt x="232" y="25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30" y="28"/>
                    <a:pt x="230" y="28"/>
                    <a:pt x="230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33"/>
                    <a:pt x="229" y="33"/>
                    <a:pt x="229" y="33"/>
                  </a:cubicBezTo>
                  <a:cubicBezTo>
                    <a:pt x="228" y="33"/>
                    <a:pt x="228" y="34"/>
                    <a:pt x="227" y="34"/>
                  </a:cubicBezTo>
                  <a:cubicBezTo>
                    <a:pt x="227" y="35"/>
                    <a:pt x="226" y="35"/>
                    <a:pt x="225" y="35"/>
                  </a:cubicBezTo>
                  <a:cubicBezTo>
                    <a:pt x="225" y="36"/>
                    <a:pt x="225" y="36"/>
                    <a:pt x="225" y="36"/>
                  </a:cubicBezTo>
                  <a:cubicBezTo>
                    <a:pt x="225" y="36"/>
                    <a:pt x="225" y="36"/>
                    <a:pt x="225" y="37"/>
                  </a:cubicBezTo>
                  <a:cubicBezTo>
                    <a:pt x="226" y="37"/>
                    <a:pt x="226" y="37"/>
                    <a:pt x="226" y="37"/>
                  </a:cubicBezTo>
                  <a:cubicBezTo>
                    <a:pt x="226" y="37"/>
                    <a:pt x="225" y="38"/>
                    <a:pt x="225" y="38"/>
                  </a:cubicBezTo>
                  <a:cubicBezTo>
                    <a:pt x="225" y="38"/>
                    <a:pt x="224" y="38"/>
                    <a:pt x="224" y="38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7"/>
                    <a:pt x="222" y="38"/>
                    <a:pt x="222" y="38"/>
                  </a:cubicBezTo>
                  <a:cubicBezTo>
                    <a:pt x="222" y="39"/>
                    <a:pt x="221" y="40"/>
                    <a:pt x="221" y="40"/>
                  </a:cubicBezTo>
                  <a:cubicBezTo>
                    <a:pt x="221" y="41"/>
                    <a:pt x="221" y="42"/>
                    <a:pt x="221" y="42"/>
                  </a:cubicBezTo>
                  <a:cubicBezTo>
                    <a:pt x="221" y="44"/>
                    <a:pt x="220" y="45"/>
                    <a:pt x="220" y="47"/>
                  </a:cubicBezTo>
                  <a:cubicBezTo>
                    <a:pt x="220" y="48"/>
                    <a:pt x="220" y="48"/>
                    <a:pt x="220" y="49"/>
                  </a:cubicBezTo>
                  <a:cubicBezTo>
                    <a:pt x="220" y="50"/>
                    <a:pt x="221" y="50"/>
                    <a:pt x="222" y="50"/>
                  </a:cubicBezTo>
                  <a:cubicBezTo>
                    <a:pt x="223" y="51"/>
                    <a:pt x="224" y="51"/>
                    <a:pt x="225" y="50"/>
                  </a:cubicBezTo>
                  <a:cubicBezTo>
                    <a:pt x="225" y="50"/>
                    <a:pt x="226" y="50"/>
                    <a:pt x="227" y="50"/>
                  </a:cubicBezTo>
                  <a:cubicBezTo>
                    <a:pt x="227" y="50"/>
                    <a:pt x="228" y="50"/>
                    <a:pt x="228" y="50"/>
                  </a:cubicBezTo>
                  <a:cubicBezTo>
                    <a:pt x="229" y="49"/>
                    <a:pt x="230" y="49"/>
                    <a:pt x="230" y="49"/>
                  </a:cubicBezTo>
                  <a:cubicBezTo>
                    <a:pt x="230" y="49"/>
                    <a:pt x="230" y="50"/>
                    <a:pt x="230" y="50"/>
                  </a:cubicBezTo>
                  <a:cubicBezTo>
                    <a:pt x="230" y="51"/>
                    <a:pt x="230" y="52"/>
                    <a:pt x="230" y="53"/>
                  </a:cubicBezTo>
                  <a:cubicBezTo>
                    <a:pt x="231" y="54"/>
                    <a:pt x="231" y="55"/>
                    <a:pt x="232" y="56"/>
                  </a:cubicBezTo>
                  <a:cubicBezTo>
                    <a:pt x="234" y="57"/>
                    <a:pt x="235" y="58"/>
                    <a:pt x="236" y="59"/>
                  </a:cubicBezTo>
                  <a:cubicBezTo>
                    <a:pt x="237" y="59"/>
                    <a:pt x="238" y="60"/>
                    <a:pt x="239" y="60"/>
                  </a:cubicBezTo>
                  <a:cubicBezTo>
                    <a:pt x="240" y="60"/>
                    <a:pt x="240" y="60"/>
                    <a:pt x="241" y="60"/>
                  </a:cubicBezTo>
                  <a:cubicBezTo>
                    <a:pt x="242" y="60"/>
                    <a:pt x="242" y="60"/>
                    <a:pt x="243" y="60"/>
                  </a:cubicBezTo>
                  <a:cubicBezTo>
                    <a:pt x="243" y="61"/>
                    <a:pt x="244" y="61"/>
                    <a:pt x="244" y="61"/>
                  </a:cubicBezTo>
                  <a:cubicBezTo>
                    <a:pt x="245" y="62"/>
                    <a:pt x="245" y="63"/>
                    <a:pt x="246" y="63"/>
                  </a:cubicBezTo>
                  <a:cubicBezTo>
                    <a:pt x="246" y="64"/>
                    <a:pt x="247" y="65"/>
                    <a:pt x="247" y="65"/>
                  </a:cubicBezTo>
                  <a:cubicBezTo>
                    <a:pt x="248" y="66"/>
                    <a:pt x="249" y="67"/>
                    <a:pt x="250" y="67"/>
                  </a:cubicBezTo>
                  <a:cubicBezTo>
                    <a:pt x="251" y="68"/>
                    <a:pt x="252" y="68"/>
                    <a:pt x="253" y="69"/>
                  </a:cubicBezTo>
                  <a:cubicBezTo>
                    <a:pt x="254" y="69"/>
                    <a:pt x="254" y="69"/>
                    <a:pt x="255" y="70"/>
                  </a:cubicBezTo>
                  <a:cubicBezTo>
                    <a:pt x="255" y="70"/>
                    <a:pt x="255" y="71"/>
                    <a:pt x="255" y="72"/>
                  </a:cubicBezTo>
                  <a:cubicBezTo>
                    <a:pt x="255" y="72"/>
                    <a:pt x="255" y="72"/>
                    <a:pt x="255" y="73"/>
                  </a:cubicBezTo>
                  <a:cubicBezTo>
                    <a:pt x="255" y="73"/>
                    <a:pt x="255" y="74"/>
                    <a:pt x="255" y="74"/>
                  </a:cubicBezTo>
                  <a:cubicBezTo>
                    <a:pt x="255" y="74"/>
                    <a:pt x="255" y="73"/>
                    <a:pt x="254" y="73"/>
                  </a:cubicBezTo>
                  <a:cubicBezTo>
                    <a:pt x="254" y="73"/>
                    <a:pt x="254" y="72"/>
                    <a:pt x="254" y="72"/>
                  </a:cubicBezTo>
                  <a:cubicBezTo>
                    <a:pt x="253" y="72"/>
                    <a:pt x="253" y="72"/>
                    <a:pt x="252" y="72"/>
                  </a:cubicBezTo>
                  <a:cubicBezTo>
                    <a:pt x="251" y="72"/>
                    <a:pt x="251" y="72"/>
                    <a:pt x="251" y="72"/>
                  </a:cubicBezTo>
                  <a:cubicBezTo>
                    <a:pt x="250" y="71"/>
                    <a:pt x="249" y="71"/>
                    <a:pt x="249" y="72"/>
                  </a:cubicBezTo>
                  <a:cubicBezTo>
                    <a:pt x="250" y="72"/>
                    <a:pt x="250" y="72"/>
                    <a:pt x="250" y="72"/>
                  </a:cubicBezTo>
                  <a:cubicBezTo>
                    <a:pt x="251" y="72"/>
                    <a:pt x="251" y="72"/>
                    <a:pt x="252" y="72"/>
                  </a:cubicBezTo>
                  <a:cubicBezTo>
                    <a:pt x="252" y="73"/>
                    <a:pt x="253" y="73"/>
                    <a:pt x="253" y="73"/>
                  </a:cubicBezTo>
                  <a:cubicBezTo>
                    <a:pt x="254" y="74"/>
                    <a:pt x="255" y="75"/>
                    <a:pt x="255" y="77"/>
                  </a:cubicBezTo>
                  <a:cubicBezTo>
                    <a:pt x="255" y="77"/>
                    <a:pt x="255" y="77"/>
                    <a:pt x="255" y="78"/>
                  </a:cubicBezTo>
                  <a:cubicBezTo>
                    <a:pt x="255" y="78"/>
                    <a:pt x="255" y="79"/>
                    <a:pt x="255" y="79"/>
                  </a:cubicBezTo>
                  <a:cubicBezTo>
                    <a:pt x="255" y="79"/>
                    <a:pt x="254" y="80"/>
                    <a:pt x="254" y="80"/>
                  </a:cubicBezTo>
                  <a:cubicBezTo>
                    <a:pt x="254" y="80"/>
                    <a:pt x="254" y="81"/>
                    <a:pt x="253" y="81"/>
                  </a:cubicBezTo>
                  <a:cubicBezTo>
                    <a:pt x="253" y="82"/>
                    <a:pt x="253" y="83"/>
                    <a:pt x="252" y="82"/>
                  </a:cubicBezTo>
                  <a:cubicBezTo>
                    <a:pt x="251" y="82"/>
                    <a:pt x="251" y="82"/>
                    <a:pt x="251" y="81"/>
                  </a:cubicBezTo>
                  <a:cubicBezTo>
                    <a:pt x="250" y="81"/>
                    <a:pt x="249" y="81"/>
                    <a:pt x="248" y="81"/>
                  </a:cubicBezTo>
                  <a:cubicBezTo>
                    <a:pt x="248" y="81"/>
                    <a:pt x="247" y="81"/>
                    <a:pt x="247" y="80"/>
                  </a:cubicBezTo>
                  <a:cubicBezTo>
                    <a:pt x="247" y="80"/>
                    <a:pt x="247" y="80"/>
                    <a:pt x="247" y="80"/>
                  </a:cubicBezTo>
                  <a:cubicBezTo>
                    <a:pt x="247" y="80"/>
                    <a:pt x="246" y="79"/>
                    <a:pt x="246" y="79"/>
                  </a:cubicBezTo>
                  <a:cubicBezTo>
                    <a:pt x="246" y="79"/>
                    <a:pt x="246" y="78"/>
                    <a:pt x="246" y="77"/>
                  </a:cubicBezTo>
                  <a:cubicBezTo>
                    <a:pt x="246" y="77"/>
                    <a:pt x="245" y="76"/>
                    <a:pt x="245" y="76"/>
                  </a:cubicBezTo>
                  <a:cubicBezTo>
                    <a:pt x="243" y="75"/>
                    <a:pt x="242" y="75"/>
                    <a:pt x="241" y="73"/>
                  </a:cubicBezTo>
                  <a:cubicBezTo>
                    <a:pt x="240" y="73"/>
                    <a:pt x="240" y="72"/>
                    <a:pt x="239" y="72"/>
                  </a:cubicBezTo>
                  <a:cubicBezTo>
                    <a:pt x="238" y="71"/>
                    <a:pt x="238" y="71"/>
                    <a:pt x="238" y="70"/>
                  </a:cubicBezTo>
                  <a:cubicBezTo>
                    <a:pt x="237" y="70"/>
                    <a:pt x="237" y="69"/>
                    <a:pt x="237" y="69"/>
                  </a:cubicBezTo>
                  <a:cubicBezTo>
                    <a:pt x="237" y="68"/>
                    <a:pt x="236" y="67"/>
                    <a:pt x="236" y="67"/>
                  </a:cubicBezTo>
                  <a:cubicBezTo>
                    <a:pt x="236" y="67"/>
                    <a:pt x="236" y="68"/>
                    <a:pt x="236" y="69"/>
                  </a:cubicBezTo>
                  <a:cubicBezTo>
                    <a:pt x="236" y="69"/>
                    <a:pt x="236" y="69"/>
                    <a:pt x="236" y="70"/>
                  </a:cubicBezTo>
                  <a:cubicBezTo>
                    <a:pt x="236" y="71"/>
                    <a:pt x="236" y="71"/>
                    <a:pt x="237" y="71"/>
                  </a:cubicBezTo>
                  <a:cubicBezTo>
                    <a:pt x="237" y="72"/>
                    <a:pt x="238" y="72"/>
                    <a:pt x="238" y="73"/>
                  </a:cubicBezTo>
                  <a:cubicBezTo>
                    <a:pt x="238" y="73"/>
                    <a:pt x="239" y="73"/>
                    <a:pt x="239" y="73"/>
                  </a:cubicBezTo>
                  <a:cubicBezTo>
                    <a:pt x="239" y="74"/>
                    <a:pt x="240" y="74"/>
                    <a:pt x="240" y="74"/>
                  </a:cubicBezTo>
                  <a:cubicBezTo>
                    <a:pt x="240" y="75"/>
                    <a:pt x="240" y="75"/>
                    <a:pt x="241" y="76"/>
                  </a:cubicBezTo>
                  <a:cubicBezTo>
                    <a:pt x="241" y="76"/>
                    <a:pt x="242" y="77"/>
                    <a:pt x="242" y="77"/>
                  </a:cubicBezTo>
                  <a:cubicBezTo>
                    <a:pt x="243" y="78"/>
                    <a:pt x="243" y="78"/>
                    <a:pt x="243" y="78"/>
                  </a:cubicBezTo>
                  <a:cubicBezTo>
                    <a:pt x="243" y="79"/>
                    <a:pt x="244" y="79"/>
                    <a:pt x="244" y="79"/>
                  </a:cubicBezTo>
                  <a:cubicBezTo>
                    <a:pt x="244" y="80"/>
                    <a:pt x="245" y="80"/>
                    <a:pt x="245" y="81"/>
                  </a:cubicBezTo>
                  <a:cubicBezTo>
                    <a:pt x="245" y="81"/>
                    <a:pt x="245" y="82"/>
                    <a:pt x="245" y="82"/>
                  </a:cubicBezTo>
                  <a:cubicBezTo>
                    <a:pt x="245" y="83"/>
                    <a:pt x="247" y="83"/>
                    <a:pt x="248" y="83"/>
                  </a:cubicBezTo>
                  <a:cubicBezTo>
                    <a:pt x="248" y="82"/>
                    <a:pt x="249" y="82"/>
                    <a:pt x="250" y="83"/>
                  </a:cubicBezTo>
                  <a:cubicBezTo>
                    <a:pt x="250" y="83"/>
                    <a:pt x="250" y="83"/>
                    <a:pt x="250" y="83"/>
                  </a:cubicBezTo>
                  <a:cubicBezTo>
                    <a:pt x="250" y="84"/>
                    <a:pt x="251" y="84"/>
                    <a:pt x="251" y="84"/>
                  </a:cubicBezTo>
                  <a:cubicBezTo>
                    <a:pt x="251" y="85"/>
                    <a:pt x="251" y="85"/>
                    <a:pt x="252" y="86"/>
                  </a:cubicBezTo>
                  <a:cubicBezTo>
                    <a:pt x="252" y="86"/>
                    <a:pt x="253" y="86"/>
                    <a:pt x="253" y="86"/>
                  </a:cubicBezTo>
                  <a:cubicBezTo>
                    <a:pt x="253" y="86"/>
                    <a:pt x="252" y="86"/>
                    <a:pt x="252" y="87"/>
                  </a:cubicBezTo>
                  <a:cubicBezTo>
                    <a:pt x="252" y="87"/>
                    <a:pt x="251" y="87"/>
                    <a:pt x="251" y="87"/>
                  </a:cubicBezTo>
                  <a:cubicBezTo>
                    <a:pt x="252" y="88"/>
                    <a:pt x="252" y="88"/>
                    <a:pt x="253" y="88"/>
                  </a:cubicBezTo>
                  <a:cubicBezTo>
                    <a:pt x="253" y="89"/>
                    <a:pt x="253" y="89"/>
                    <a:pt x="254" y="89"/>
                  </a:cubicBezTo>
                  <a:cubicBezTo>
                    <a:pt x="254" y="89"/>
                    <a:pt x="254" y="89"/>
                    <a:pt x="255" y="90"/>
                  </a:cubicBezTo>
                  <a:cubicBezTo>
                    <a:pt x="255" y="90"/>
                    <a:pt x="255" y="90"/>
                    <a:pt x="256" y="90"/>
                  </a:cubicBezTo>
                  <a:cubicBezTo>
                    <a:pt x="256" y="91"/>
                    <a:pt x="256" y="91"/>
                    <a:pt x="256" y="91"/>
                  </a:cubicBezTo>
                  <a:cubicBezTo>
                    <a:pt x="256" y="92"/>
                    <a:pt x="256" y="93"/>
                    <a:pt x="256" y="94"/>
                  </a:cubicBezTo>
                  <a:cubicBezTo>
                    <a:pt x="256" y="94"/>
                    <a:pt x="256" y="95"/>
                    <a:pt x="255" y="95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4" y="95"/>
                    <a:pt x="254" y="95"/>
                    <a:pt x="254" y="95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4" y="93"/>
                    <a:pt x="253" y="93"/>
                    <a:pt x="253" y="92"/>
                  </a:cubicBezTo>
                  <a:cubicBezTo>
                    <a:pt x="252" y="92"/>
                    <a:pt x="251" y="91"/>
                    <a:pt x="251" y="91"/>
                  </a:cubicBezTo>
                  <a:cubicBezTo>
                    <a:pt x="250" y="92"/>
                    <a:pt x="251" y="93"/>
                    <a:pt x="250" y="93"/>
                  </a:cubicBezTo>
                  <a:cubicBezTo>
                    <a:pt x="250" y="93"/>
                    <a:pt x="250" y="93"/>
                    <a:pt x="249" y="93"/>
                  </a:cubicBezTo>
                  <a:cubicBezTo>
                    <a:pt x="249" y="93"/>
                    <a:pt x="249" y="93"/>
                    <a:pt x="249" y="92"/>
                  </a:cubicBezTo>
                  <a:cubicBezTo>
                    <a:pt x="249" y="93"/>
                    <a:pt x="249" y="93"/>
                    <a:pt x="249" y="94"/>
                  </a:cubicBezTo>
                  <a:cubicBezTo>
                    <a:pt x="250" y="94"/>
                    <a:pt x="251" y="95"/>
                    <a:pt x="251" y="95"/>
                  </a:cubicBezTo>
                  <a:cubicBezTo>
                    <a:pt x="251" y="95"/>
                    <a:pt x="251" y="96"/>
                    <a:pt x="251" y="96"/>
                  </a:cubicBezTo>
                  <a:cubicBezTo>
                    <a:pt x="251" y="96"/>
                    <a:pt x="251" y="96"/>
                    <a:pt x="251" y="97"/>
                  </a:cubicBezTo>
                  <a:cubicBezTo>
                    <a:pt x="251" y="97"/>
                    <a:pt x="251" y="97"/>
                    <a:pt x="251" y="98"/>
                  </a:cubicBezTo>
                  <a:cubicBezTo>
                    <a:pt x="251" y="98"/>
                    <a:pt x="251" y="99"/>
                    <a:pt x="251" y="100"/>
                  </a:cubicBezTo>
                  <a:cubicBezTo>
                    <a:pt x="251" y="101"/>
                    <a:pt x="251" y="101"/>
                    <a:pt x="252" y="102"/>
                  </a:cubicBezTo>
                  <a:cubicBezTo>
                    <a:pt x="252" y="102"/>
                    <a:pt x="252" y="103"/>
                    <a:pt x="253" y="103"/>
                  </a:cubicBezTo>
                  <a:cubicBezTo>
                    <a:pt x="253" y="103"/>
                    <a:pt x="253" y="103"/>
                    <a:pt x="254" y="104"/>
                  </a:cubicBezTo>
                  <a:cubicBezTo>
                    <a:pt x="254" y="105"/>
                    <a:pt x="253" y="106"/>
                    <a:pt x="254" y="107"/>
                  </a:cubicBezTo>
                  <a:cubicBezTo>
                    <a:pt x="254" y="107"/>
                    <a:pt x="254" y="108"/>
                    <a:pt x="254" y="108"/>
                  </a:cubicBezTo>
                  <a:cubicBezTo>
                    <a:pt x="255" y="108"/>
                    <a:pt x="255" y="109"/>
                    <a:pt x="254" y="109"/>
                  </a:cubicBezTo>
                  <a:cubicBezTo>
                    <a:pt x="254" y="110"/>
                    <a:pt x="254" y="110"/>
                    <a:pt x="253" y="110"/>
                  </a:cubicBezTo>
                  <a:cubicBezTo>
                    <a:pt x="253" y="110"/>
                    <a:pt x="253" y="110"/>
                    <a:pt x="253" y="110"/>
                  </a:cubicBezTo>
                  <a:cubicBezTo>
                    <a:pt x="253" y="110"/>
                    <a:pt x="253" y="110"/>
                    <a:pt x="252" y="110"/>
                  </a:cubicBezTo>
                  <a:cubicBezTo>
                    <a:pt x="252" y="111"/>
                    <a:pt x="252" y="111"/>
                    <a:pt x="251" y="111"/>
                  </a:cubicBezTo>
                  <a:cubicBezTo>
                    <a:pt x="251" y="110"/>
                    <a:pt x="250" y="110"/>
                    <a:pt x="250" y="110"/>
                  </a:cubicBezTo>
                  <a:cubicBezTo>
                    <a:pt x="250" y="109"/>
                    <a:pt x="249" y="109"/>
                    <a:pt x="248" y="109"/>
                  </a:cubicBezTo>
                  <a:cubicBezTo>
                    <a:pt x="248" y="108"/>
                    <a:pt x="248" y="108"/>
                    <a:pt x="247" y="108"/>
                  </a:cubicBezTo>
                  <a:cubicBezTo>
                    <a:pt x="246" y="107"/>
                    <a:pt x="245" y="106"/>
                    <a:pt x="244" y="105"/>
                  </a:cubicBezTo>
                  <a:cubicBezTo>
                    <a:pt x="244" y="104"/>
                    <a:pt x="244" y="104"/>
                    <a:pt x="244" y="103"/>
                  </a:cubicBezTo>
                  <a:cubicBezTo>
                    <a:pt x="244" y="102"/>
                    <a:pt x="244" y="102"/>
                    <a:pt x="243" y="101"/>
                  </a:cubicBezTo>
                  <a:cubicBezTo>
                    <a:pt x="243" y="101"/>
                    <a:pt x="243" y="100"/>
                    <a:pt x="242" y="100"/>
                  </a:cubicBezTo>
                  <a:cubicBezTo>
                    <a:pt x="242" y="100"/>
                    <a:pt x="241" y="100"/>
                    <a:pt x="241" y="100"/>
                  </a:cubicBezTo>
                  <a:cubicBezTo>
                    <a:pt x="240" y="101"/>
                    <a:pt x="239" y="100"/>
                    <a:pt x="239" y="100"/>
                  </a:cubicBezTo>
                  <a:cubicBezTo>
                    <a:pt x="238" y="100"/>
                    <a:pt x="238" y="100"/>
                    <a:pt x="238" y="100"/>
                  </a:cubicBezTo>
                  <a:cubicBezTo>
                    <a:pt x="237" y="100"/>
                    <a:pt x="237" y="100"/>
                    <a:pt x="236" y="100"/>
                  </a:cubicBezTo>
                  <a:cubicBezTo>
                    <a:pt x="236" y="100"/>
                    <a:pt x="236" y="99"/>
                    <a:pt x="235" y="99"/>
                  </a:cubicBezTo>
                  <a:cubicBezTo>
                    <a:pt x="235" y="99"/>
                    <a:pt x="234" y="99"/>
                    <a:pt x="234" y="99"/>
                  </a:cubicBezTo>
                  <a:cubicBezTo>
                    <a:pt x="233" y="99"/>
                    <a:pt x="233" y="99"/>
                    <a:pt x="232" y="99"/>
                  </a:cubicBezTo>
                  <a:cubicBezTo>
                    <a:pt x="232" y="99"/>
                    <a:pt x="232" y="98"/>
                    <a:pt x="231" y="98"/>
                  </a:cubicBezTo>
                  <a:cubicBezTo>
                    <a:pt x="231" y="98"/>
                    <a:pt x="231" y="97"/>
                    <a:pt x="231" y="98"/>
                  </a:cubicBezTo>
                  <a:cubicBezTo>
                    <a:pt x="230" y="98"/>
                    <a:pt x="231" y="98"/>
                    <a:pt x="231" y="98"/>
                  </a:cubicBezTo>
                  <a:cubicBezTo>
                    <a:pt x="231" y="99"/>
                    <a:pt x="232" y="99"/>
                    <a:pt x="232" y="99"/>
                  </a:cubicBezTo>
                  <a:cubicBezTo>
                    <a:pt x="233" y="100"/>
                    <a:pt x="233" y="100"/>
                    <a:pt x="234" y="100"/>
                  </a:cubicBezTo>
                  <a:cubicBezTo>
                    <a:pt x="235" y="100"/>
                    <a:pt x="236" y="100"/>
                    <a:pt x="236" y="100"/>
                  </a:cubicBezTo>
                  <a:cubicBezTo>
                    <a:pt x="237" y="101"/>
                    <a:pt x="238" y="102"/>
                    <a:pt x="239" y="102"/>
                  </a:cubicBezTo>
                  <a:cubicBezTo>
                    <a:pt x="240" y="102"/>
                    <a:pt x="241" y="103"/>
                    <a:pt x="241" y="104"/>
                  </a:cubicBezTo>
                  <a:cubicBezTo>
                    <a:pt x="242" y="105"/>
                    <a:pt x="241" y="107"/>
                    <a:pt x="242" y="108"/>
                  </a:cubicBezTo>
                  <a:cubicBezTo>
                    <a:pt x="242" y="108"/>
                    <a:pt x="243" y="108"/>
                    <a:pt x="243" y="108"/>
                  </a:cubicBezTo>
                  <a:cubicBezTo>
                    <a:pt x="244" y="109"/>
                    <a:pt x="244" y="109"/>
                    <a:pt x="244" y="109"/>
                  </a:cubicBezTo>
                  <a:cubicBezTo>
                    <a:pt x="245" y="109"/>
                    <a:pt x="245" y="110"/>
                    <a:pt x="245" y="110"/>
                  </a:cubicBezTo>
                  <a:cubicBezTo>
                    <a:pt x="246" y="110"/>
                    <a:pt x="246" y="110"/>
                    <a:pt x="247" y="111"/>
                  </a:cubicBezTo>
                  <a:cubicBezTo>
                    <a:pt x="248" y="111"/>
                    <a:pt x="248" y="111"/>
                    <a:pt x="248" y="112"/>
                  </a:cubicBezTo>
                  <a:cubicBezTo>
                    <a:pt x="248" y="112"/>
                    <a:pt x="248" y="113"/>
                    <a:pt x="248" y="113"/>
                  </a:cubicBezTo>
                  <a:cubicBezTo>
                    <a:pt x="248" y="113"/>
                    <a:pt x="248" y="114"/>
                    <a:pt x="248" y="114"/>
                  </a:cubicBezTo>
                  <a:cubicBezTo>
                    <a:pt x="247" y="114"/>
                    <a:pt x="246" y="115"/>
                    <a:pt x="246" y="116"/>
                  </a:cubicBezTo>
                  <a:cubicBezTo>
                    <a:pt x="245" y="116"/>
                    <a:pt x="246" y="117"/>
                    <a:pt x="247" y="116"/>
                  </a:cubicBezTo>
                  <a:cubicBezTo>
                    <a:pt x="247" y="116"/>
                    <a:pt x="247" y="116"/>
                    <a:pt x="247" y="115"/>
                  </a:cubicBezTo>
                  <a:cubicBezTo>
                    <a:pt x="248" y="115"/>
                    <a:pt x="248" y="115"/>
                    <a:pt x="248" y="114"/>
                  </a:cubicBezTo>
                  <a:cubicBezTo>
                    <a:pt x="249" y="114"/>
                    <a:pt x="250" y="114"/>
                    <a:pt x="252" y="114"/>
                  </a:cubicBezTo>
                  <a:cubicBezTo>
                    <a:pt x="252" y="114"/>
                    <a:pt x="253" y="114"/>
                    <a:pt x="252" y="115"/>
                  </a:cubicBezTo>
                  <a:cubicBezTo>
                    <a:pt x="252" y="115"/>
                    <a:pt x="252" y="116"/>
                    <a:pt x="252" y="116"/>
                  </a:cubicBezTo>
                  <a:cubicBezTo>
                    <a:pt x="251" y="116"/>
                    <a:pt x="252" y="117"/>
                    <a:pt x="253" y="117"/>
                  </a:cubicBezTo>
                  <a:cubicBezTo>
                    <a:pt x="253" y="116"/>
                    <a:pt x="254" y="116"/>
                    <a:pt x="255" y="115"/>
                  </a:cubicBezTo>
                  <a:cubicBezTo>
                    <a:pt x="255" y="115"/>
                    <a:pt x="255" y="114"/>
                    <a:pt x="255" y="114"/>
                  </a:cubicBezTo>
                  <a:cubicBezTo>
                    <a:pt x="255" y="114"/>
                    <a:pt x="254" y="113"/>
                    <a:pt x="254" y="113"/>
                  </a:cubicBezTo>
                  <a:cubicBezTo>
                    <a:pt x="254" y="113"/>
                    <a:pt x="254" y="112"/>
                    <a:pt x="255" y="111"/>
                  </a:cubicBezTo>
                  <a:cubicBezTo>
                    <a:pt x="256" y="111"/>
                    <a:pt x="256" y="112"/>
                    <a:pt x="257" y="112"/>
                  </a:cubicBezTo>
                  <a:cubicBezTo>
                    <a:pt x="258" y="112"/>
                    <a:pt x="258" y="112"/>
                    <a:pt x="259" y="113"/>
                  </a:cubicBezTo>
                  <a:cubicBezTo>
                    <a:pt x="259" y="113"/>
                    <a:pt x="260" y="113"/>
                    <a:pt x="260" y="113"/>
                  </a:cubicBezTo>
                  <a:cubicBezTo>
                    <a:pt x="261" y="113"/>
                    <a:pt x="262" y="113"/>
                    <a:pt x="263" y="113"/>
                  </a:cubicBezTo>
                  <a:cubicBezTo>
                    <a:pt x="264" y="114"/>
                    <a:pt x="264" y="113"/>
                    <a:pt x="265" y="113"/>
                  </a:cubicBezTo>
                  <a:cubicBezTo>
                    <a:pt x="266" y="113"/>
                    <a:pt x="266" y="113"/>
                    <a:pt x="265" y="114"/>
                  </a:cubicBezTo>
                  <a:cubicBezTo>
                    <a:pt x="265" y="114"/>
                    <a:pt x="265" y="114"/>
                    <a:pt x="265" y="114"/>
                  </a:cubicBezTo>
                  <a:cubicBezTo>
                    <a:pt x="265" y="115"/>
                    <a:pt x="265" y="115"/>
                    <a:pt x="265" y="115"/>
                  </a:cubicBezTo>
                  <a:cubicBezTo>
                    <a:pt x="266" y="116"/>
                    <a:pt x="265" y="116"/>
                    <a:pt x="266" y="116"/>
                  </a:cubicBezTo>
                  <a:cubicBezTo>
                    <a:pt x="266" y="117"/>
                    <a:pt x="266" y="117"/>
                    <a:pt x="266" y="118"/>
                  </a:cubicBezTo>
                  <a:cubicBezTo>
                    <a:pt x="266" y="118"/>
                    <a:pt x="266" y="118"/>
                    <a:pt x="267" y="119"/>
                  </a:cubicBezTo>
                  <a:cubicBezTo>
                    <a:pt x="267" y="119"/>
                    <a:pt x="266" y="119"/>
                    <a:pt x="267" y="120"/>
                  </a:cubicBezTo>
                  <a:cubicBezTo>
                    <a:pt x="267" y="120"/>
                    <a:pt x="267" y="120"/>
                    <a:pt x="267" y="120"/>
                  </a:cubicBezTo>
                  <a:cubicBezTo>
                    <a:pt x="267" y="121"/>
                    <a:pt x="267" y="121"/>
                    <a:pt x="267" y="122"/>
                  </a:cubicBezTo>
                  <a:cubicBezTo>
                    <a:pt x="266" y="122"/>
                    <a:pt x="266" y="123"/>
                    <a:pt x="266" y="124"/>
                  </a:cubicBezTo>
                  <a:cubicBezTo>
                    <a:pt x="266" y="124"/>
                    <a:pt x="266" y="125"/>
                    <a:pt x="265" y="125"/>
                  </a:cubicBezTo>
                  <a:cubicBezTo>
                    <a:pt x="265" y="126"/>
                    <a:pt x="265" y="126"/>
                    <a:pt x="265" y="127"/>
                  </a:cubicBezTo>
                  <a:cubicBezTo>
                    <a:pt x="265" y="128"/>
                    <a:pt x="265" y="128"/>
                    <a:pt x="266" y="128"/>
                  </a:cubicBez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D68CB3A1-FE60-48A9-A167-E4FBDC6F2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132" y="2059322"/>
              <a:ext cx="264353" cy="436182"/>
            </a:xfrm>
            <a:custGeom>
              <a:avLst/>
              <a:gdLst>
                <a:gd name="T0" fmla="*/ 2 w 67"/>
                <a:gd name="T1" fmla="*/ 8 h 110"/>
                <a:gd name="T2" fmla="*/ 3 w 67"/>
                <a:gd name="T3" fmla="*/ 13 h 110"/>
                <a:gd name="T4" fmla="*/ 2 w 67"/>
                <a:gd name="T5" fmla="*/ 21 h 110"/>
                <a:gd name="T6" fmla="*/ 4 w 67"/>
                <a:gd name="T7" fmla="*/ 28 h 110"/>
                <a:gd name="T8" fmla="*/ 4 w 67"/>
                <a:gd name="T9" fmla="*/ 37 h 110"/>
                <a:gd name="T10" fmla="*/ 1 w 67"/>
                <a:gd name="T11" fmla="*/ 41 h 110"/>
                <a:gd name="T12" fmla="*/ 0 w 67"/>
                <a:gd name="T13" fmla="*/ 47 h 110"/>
                <a:gd name="T14" fmla="*/ 1 w 67"/>
                <a:gd name="T15" fmla="*/ 53 h 110"/>
                <a:gd name="T16" fmla="*/ 3 w 67"/>
                <a:gd name="T17" fmla="*/ 61 h 110"/>
                <a:gd name="T18" fmla="*/ 0 w 67"/>
                <a:gd name="T19" fmla="*/ 68 h 110"/>
                <a:gd name="T20" fmla="*/ 2 w 67"/>
                <a:gd name="T21" fmla="*/ 70 h 110"/>
                <a:gd name="T22" fmla="*/ 3 w 67"/>
                <a:gd name="T23" fmla="*/ 68 h 110"/>
                <a:gd name="T24" fmla="*/ 5 w 67"/>
                <a:gd name="T25" fmla="*/ 70 h 110"/>
                <a:gd name="T26" fmla="*/ 5 w 67"/>
                <a:gd name="T27" fmla="*/ 105 h 110"/>
                <a:gd name="T28" fmla="*/ 33 w 67"/>
                <a:gd name="T29" fmla="*/ 110 h 110"/>
                <a:gd name="T30" fmla="*/ 31 w 67"/>
                <a:gd name="T31" fmla="*/ 106 h 110"/>
                <a:gd name="T32" fmla="*/ 31 w 67"/>
                <a:gd name="T33" fmla="*/ 101 h 110"/>
                <a:gd name="T34" fmla="*/ 33 w 67"/>
                <a:gd name="T35" fmla="*/ 97 h 110"/>
                <a:gd name="T36" fmla="*/ 33 w 67"/>
                <a:gd name="T37" fmla="*/ 90 h 110"/>
                <a:gd name="T38" fmla="*/ 36 w 67"/>
                <a:gd name="T39" fmla="*/ 83 h 110"/>
                <a:gd name="T40" fmla="*/ 36 w 67"/>
                <a:gd name="T41" fmla="*/ 77 h 110"/>
                <a:gd name="T42" fmla="*/ 37 w 67"/>
                <a:gd name="T43" fmla="*/ 68 h 110"/>
                <a:gd name="T44" fmla="*/ 39 w 67"/>
                <a:gd name="T45" fmla="*/ 63 h 110"/>
                <a:gd name="T46" fmla="*/ 42 w 67"/>
                <a:gd name="T47" fmla="*/ 57 h 110"/>
                <a:gd name="T48" fmla="*/ 46 w 67"/>
                <a:gd name="T49" fmla="*/ 52 h 110"/>
                <a:gd name="T50" fmla="*/ 48 w 67"/>
                <a:gd name="T51" fmla="*/ 46 h 110"/>
                <a:gd name="T52" fmla="*/ 48 w 67"/>
                <a:gd name="T53" fmla="*/ 36 h 110"/>
                <a:gd name="T54" fmla="*/ 51 w 67"/>
                <a:gd name="T55" fmla="*/ 33 h 110"/>
                <a:gd name="T56" fmla="*/ 56 w 67"/>
                <a:gd name="T57" fmla="*/ 32 h 110"/>
                <a:gd name="T58" fmla="*/ 60 w 67"/>
                <a:gd name="T59" fmla="*/ 29 h 110"/>
                <a:gd name="T60" fmla="*/ 63 w 67"/>
                <a:gd name="T61" fmla="*/ 26 h 110"/>
                <a:gd name="T62" fmla="*/ 64 w 67"/>
                <a:gd name="T63" fmla="*/ 23 h 110"/>
                <a:gd name="T64" fmla="*/ 66 w 67"/>
                <a:gd name="T65" fmla="*/ 21 h 110"/>
                <a:gd name="T66" fmla="*/ 62 w 67"/>
                <a:gd name="T67" fmla="*/ 14 h 110"/>
                <a:gd name="T68" fmla="*/ 64 w 67"/>
                <a:gd name="T69" fmla="*/ 10 h 110"/>
                <a:gd name="T70" fmla="*/ 67 w 67"/>
                <a:gd name="T71" fmla="*/ 6 h 110"/>
                <a:gd name="T72" fmla="*/ 66 w 67"/>
                <a:gd name="T73" fmla="*/ 3 h 110"/>
                <a:gd name="T74" fmla="*/ 10 w 67"/>
                <a:gd name="T75" fmla="*/ 0 h 110"/>
                <a:gd name="T76" fmla="*/ 3 w 67"/>
                <a:gd name="T77" fmla="*/ 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7" h="110">
                  <a:moveTo>
                    <a:pt x="3" y="5"/>
                  </a:moveTo>
                  <a:cubicBezTo>
                    <a:pt x="3" y="6"/>
                    <a:pt x="2" y="7"/>
                    <a:pt x="2" y="8"/>
                  </a:cubicBezTo>
                  <a:cubicBezTo>
                    <a:pt x="1" y="9"/>
                    <a:pt x="2" y="9"/>
                    <a:pt x="3" y="10"/>
                  </a:cubicBezTo>
                  <a:cubicBezTo>
                    <a:pt x="3" y="11"/>
                    <a:pt x="3" y="12"/>
                    <a:pt x="3" y="13"/>
                  </a:cubicBezTo>
                  <a:cubicBezTo>
                    <a:pt x="3" y="13"/>
                    <a:pt x="3" y="15"/>
                    <a:pt x="2" y="16"/>
                  </a:cubicBezTo>
                  <a:cubicBezTo>
                    <a:pt x="2" y="18"/>
                    <a:pt x="2" y="20"/>
                    <a:pt x="2" y="21"/>
                  </a:cubicBezTo>
                  <a:cubicBezTo>
                    <a:pt x="1" y="22"/>
                    <a:pt x="3" y="24"/>
                    <a:pt x="4" y="25"/>
                  </a:cubicBezTo>
                  <a:cubicBezTo>
                    <a:pt x="4" y="26"/>
                    <a:pt x="4" y="28"/>
                    <a:pt x="4" y="28"/>
                  </a:cubicBezTo>
                  <a:cubicBezTo>
                    <a:pt x="4" y="29"/>
                    <a:pt x="4" y="31"/>
                    <a:pt x="4" y="32"/>
                  </a:cubicBezTo>
                  <a:cubicBezTo>
                    <a:pt x="3" y="32"/>
                    <a:pt x="4" y="37"/>
                    <a:pt x="4" y="37"/>
                  </a:cubicBezTo>
                  <a:cubicBezTo>
                    <a:pt x="4" y="37"/>
                    <a:pt x="3" y="38"/>
                    <a:pt x="3" y="39"/>
                  </a:cubicBezTo>
                  <a:cubicBezTo>
                    <a:pt x="2" y="39"/>
                    <a:pt x="1" y="40"/>
                    <a:pt x="1" y="41"/>
                  </a:cubicBezTo>
                  <a:cubicBezTo>
                    <a:pt x="1" y="41"/>
                    <a:pt x="1" y="43"/>
                    <a:pt x="0" y="44"/>
                  </a:cubicBezTo>
                  <a:cubicBezTo>
                    <a:pt x="0" y="44"/>
                    <a:pt x="0" y="47"/>
                    <a:pt x="0" y="47"/>
                  </a:cubicBezTo>
                  <a:cubicBezTo>
                    <a:pt x="0" y="47"/>
                    <a:pt x="1" y="49"/>
                    <a:pt x="1" y="49"/>
                  </a:cubicBezTo>
                  <a:cubicBezTo>
                    <a:pt x="1" y="49"/>
                    <a:pt x="1" y="52"/>
                    <a:pt x="1" y="53"/>
                  </a:cubicBezTo>
                  <a:cubicBezTo>
                    <a:pt x="1" y="53"/>
                    <a:pt x="1" y="58"/>
                    <a:pt x="1" y="58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1"/>
                    <a:pt x="1" y="65"/>
                    <a:pt x="1" y="65"/>
                  </a:cubicBezTo>
                  <a:cubicBezTo>
                    <a:pt x="1" y="66"/>
                    <a:pt x="0" y="68"/>
                    <a:pt x="0" y="68"/>
                  </a:cubicBezTo>
                  <a:cubicBezTo>
                    <a:pt x="0" y="68"/>
                    <a:pt x="1" y="69"/>
                    <a:pt x="1" y="70"/>
                  </a:cubicBezTo>
                  <a:cubicBezTo>
                    <a:pt x="1" y="70"/>
                    <a:pt x="2" y="70"/>
                    <a:pt x="2" y="70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2" y="69"/>
                    <a:pt x="3" y="68"/>
                    <a:pt x="3" y="68"/>
                  </a:cubicBezTo>
                  <a:cubicBezTo>
                    <a:pt x="3" y="68"/>
                    <a:pt x="4" y="68"/>
                    <a:pt x="4" y="68"/>
                  </a:cubicBezTo>
                  <a:cubicBezTo>
                    <a:pt x="5" y="68"/>
                    <a:pt x="5" y="69"/>
                    <a:pt x="5" y="70"/>
                  </a:cubicBezTo>
                  <a:cubicBezTo>
                    <a:pt x="5" y="70"/>
                    <a:pt x="6" y="71"/>
                    <a:pt x="6" y="7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31" y="107"/>
                    <a:pt x="31" y="106"/>
                    <a:pt x="31" y="106"/>
                  </a:cubicBezTo>
                  <a:cubicBezTo>
                    <a:pt x="31" y="106"/>
                    <a:pt x="30" y="104"/>
                    <a:pt x="30" y="103"/>
                  </a:cubicBezTo>
                  <a:cubicBezTo>
                    <a:pt x="30" y="103"/>
                    <a:pt x="31" y="101"/>
                    <a:pt x="31" y="101"/>
                  </a:cubicBezTo>
                  <a:cubicBezTo>
                    <a:pt x="31" y="101"/>
                    <a:pt x="31" y="99"/>
                    <a:pt x="31" y="99"/>
                  </a:cubicBezTo>
                  <a:cubicBezTo>
                    <a:pt x="31" y="99"/>
                    <a:pt x="33" y="97"/>
                    <a:pt x="33" y="97"/>
                  </a:cubicBezTo>
                  <a:cubicBezTo>
                    <a:pt x="33" y="96"/>
                    <a:pt x="34" y="92"/>
                    <a:pt x="34" y="92"/>
                  </a:cubicBezTo>
                  <a:cubicBezTo>
                    <a:pt x="34" y="91"/>
                    <a:pt x="33" y="90"/>
                    <a:pt x="33" y="90"/>
                  </a:cubicBezTo>
                  <a:cubicBezTo>
                    <a:pt x="33" y="89"/>
                    <a:pt x="34" y="89"/>
                    <a:pt x="34" y="88"/>
                  </a:cubicBezTo>
                  <a:cubicBezTo>
                    <a:pt x="34" y="88"/>
                    <a:pt x="36" y="83"/>
                    <a:pt x="36" y="83"/>
                  </a:cubicBezTo>
                  <a:cubicBezTo>
                    <a:pt x="36" y="83"/>
                    <a:pt x="35" y="82"/>
                    <a:pt x="35" y="81"/>
                  </a:cubicBezTo>
                  <a:cubicBezTo>
                    <a:pt x="35" y="80"/>
                    <a:pt x="36" y="78"/>
                    <a:pt x="36" y="77"/>
                  </a:cubicBezTo>
                  <a:cubicBezTo>
                    <a:pt x="36" y="77"/>
                    <a:pt x="35" y="73"/>
                    <a:pt x="35" y="73"/>
                  </a:cubicBezTo>
                  <a:cubicBezTo>
                    <a:pt x="35" y="72"/>
                    <a:pt x="37" y="68"/>
                    <a:pt x="37" y="68"/>
                  </a:cubicBezTo>
                  <a:cubicBezTo>
                    <a:pt x="38" y="67"/>
                    <a:pt x="39" y="65"/>
                    <a:pt x="39" y="64"/>
                  </a:cubicBezTo>
                  <a:cubicBezTo>
                    <a:pt x="39" y="64"/>
                    <a:pt x="39" y="63"/>
                    <a:pt x="39" y="63"/>
                  </a:cubicBezTo>
                  <a:cubicBezTo>
                    <a:pt x="39" y="63"/>
                    <a:pt x="41" y="61"/>
                    <a:pt x="42" y="60"/>
                  </a:cubicBezTo>
                  <a:cubicBezTo>
                    <a:pt x="42" y="60"/>
                    <a:pt x="42" y="58"/>
                    <a:pt x="42" y="57"/>
                  </a:cubicBezTo>
                  <a:cubicBezTo>
                    <a:pt x="43" y="57"/>
                    <a:pt x="44" y="54"/>
                    <a:pt x="45" y="54"/>
                  </a:cubicBezTo>
                  <a:cubicBezTo>
                    <a:pt x="45" y="53"/>
                    <a:pt x="46" y="52"/>
                    <a:pt x="46" y="52"/>
                  </a:cubicBezTo>
                  <a:cubicBezTo>
                    <a:pt x="46" y="52"/>
                    <a:pt x="46" y="49"/>
                    <a:pt x="46" y="49"/>
                  </a:cubicBezTo>
                  <a:cubicBezTo>
                    <a:pt x="46" y="49"/>
                    <a:pt x="48" y="46"/>
                    <a:pt x="48" y="46"/>
                  </a:cubicBezTo>
                  <a:cubicBezTo>
                    <a:pt x="48" y="45"/>
                    <a:pt x="48" y="40"/>
                    <a:pt x="48" y="40"/>
                  </a:cubicBezTo>
                  <a:cubicBezTo>
                    <a:pt x="48" y="40"/>
                    <a:pt x="48" y="37"/>
                    <a:pt x="48" y="36"/>
                  </a:cubicBezTo>
                  <a:cubicBezTo>
                    <a:pt x="48" y="36"/>
                    <a:pt x="48" y="34"/>
                    <a:pt x="48" y="34"/>
                  </a:cubicBezTo>
                  <a:cubicBezTo>
                    <a:pt x="49" y="34"/>
                    <a:pt x="51" y="33"/>
                    <a:pt x="51" y="33"/>
                  </a:cubicBezTo>
                  <a:cubicBezTo>
                    <a:pt x="51" y="33"/>
                    <a:pt x="53" y="33"/>
                    <a:pt x="53" y="33"/>
                  </a:cubicBezTo>
                  <a:cubicBezTo>
                    <a:pt x="54" y="33"/>
                    <a:pt x="56" y="32"/>
                    <a:pt x="56" y="32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60" y="29"/>
                    <a:pt x="60" y="29"/>
                  </a:cubicBezTo>
                  <a:cubicBezTo>
                    <a:pt x="61" y="29"/>
                    <a:pt x="61" y="28"/>
                    <a:pt x="62" y="27"/>
                  </a:cubicBezTo>
                  <a:cubicBezTo>
                    <a:pt x="62" y="27"/>
                    <a:pt x="63" y="26"/>
                    <a:pt x="63" y="26"/>
                  </a:cubicBezTo>
                  <a:cubicBezTo>
                    <a:pt x="64" y="26"/>
                    <a:pt x="64" y="25"/>
                    <a:pt x="64" y="25"/>
                  </a:cubicBezTo>
                  <a:cubicBezTo>
                    <a:pt x="64" y="25"/>
                    <a:pt x="64" y="24"/>
                    <a:pt x="64" y="23"/>
                  </a:cubicBezTo>
                  <a:cubicBezTo>
                    <a:pt x="64" y="23"/>
                    <a:pt x="64" y="22"/>
                    <a:pt x="64" y="22"/>
                  </a:cubicBezTo>
                  <a:cubicBezTo>
                    <a:pt x="64" y="22"/>
                    <a:pt x="66" y="21"/>
                    <a:pt x="66" y="21"/>
                  </a:cubicBezTo>
                  <a:cubicBezTo>
                    <a:pt x="66" y="21"/>
                    <a:pt x="64" y="17"/>
                    <a:pt x="64" y="16"/>
                  </a:cubicBezTo>
                  <a:cubicBezTo>
                    <a:pt x="63" y="16"/>
                    <a:pt x="62" y="14"/>
                    <a:pt x="62" y="14"/>
                  </a:cubicBezTo>
                  <a:cubicBezTo>
                    <a:pt x="62" y="13"/>
                    <a:pt x="63" y="12"/>
                    <a:pt x="63" y="12"/>
                  </a:cubicBezTo>
                  <a:cubicBezTo>
                    <a:pt x="64" y="12"/>
                    <a:pt x="64" y="11"/>
                    <a:pt x="64" y="10"/>
                  </a:cubicBezTo>
                  <a:cubicBezTo>
                    <a:pt x="65" y="10"/>
                    <a:pt x="65" y="7"/>
                    <a:pt x="66" y="7"/>
                  </a:cubicBezTo>
                  <a:cubicBezTo>
                    <a:pt x="66" y="7"/>
                    <a:pt x="67" y="6"/>
                    <a:pt x="67" y="6"/>
                  </a:cubicBezTo>
                  <a:cubicBezTo>
                    <a:pt x="67" y="6"/>
                    <a:pt x="67" y="5"/>
                    <a:pt x="67" y="5"/>
                  </a:cubicBezTo>
                  <a:cubicBezTo>
                    <a:pt x="67" y="4"/>
                    <a:pt x="66" y="3"/>
                    <a:pt x="66" y="3"/>
                  </a:cubicBezTo>
                  <a:cubicBezTo>
                    <a:pt x="66" y="3"/>
                    <a:pt x="67" y="0"/>
                    <a:pt x="6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4"/>
                    <a:pt x="3" y="5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02A40E2-1179-4B15-A893-9F45B44F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076" y="2630985"/>
              <a:ext cx="684012" cy="887234"/>
            </a:xfrm>
            <a:custGeom>
              <a:avLst/>
              <a:gdLst>
                <a:gd name="T0" fmla="*/ 414 w 414"/>
                <a:gd name="T1" fmla="*/ 537 h 537"/>
                <a:gd name="T2" fmla="*/ 0 w 414"/>
                <a:gd name="T3" fmla="*/ 537 h 537"/>
                <a:gd name="T4" fmla="*/ 0 w 414"/>
                <a:gd name="T5" fmla="*/ 0 h 537"/>
                <a:gd name="T6" fmla="*/ 247 w 414"/>
                <a:gd name="T7" fmla="*/ 0 h 537"/>
                <a:gd name="T8" fmla="*/ 247 w 414"/>
                <a:gd name="T9" fmla="*/ 110 h 537"/>
                <a:gd name="T10" fmla="*/ 412 w 414"/>
                <a:gd name="T11" fmla="*/ 110 h 537"/>
                <a:gd name="T12" fmla="*/ 414 w 414"/>
                <a:gd name="T13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4" h="537">
                  <a:moveTo>
                    <a:pt x="414" y="537"/>
                  </a:moveTo>
                  <a:lnTo>
                    <a:pt x="0" y="537"/>
                  </a:lnTo>
                  <a:lnTo>
                    <a:pt x="0" y="0"/>
                  </a:lnTo>
                  <a:lnTo>
                    <a:pt x="247" y="0"/>
                  </a:lnTo>
                  <a:lnTo>
                    <a:pt x="247" y="110"/>
                  </a:lnTo>
                  <a:lnTo>
                    <a:pt x="412" y="110"/>
                  </a:lnTo>
                  <a:lnTo>
                    <a:pt x="414" y="537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6A1A14D2-ED1D-45BF-8118-2BA275D20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1876" y="3602482"/>
              <a:ext cx="1790989" cy="1711685"/>
            </a:xfrm>
            <a:custGeom>
              <a:avLst/>
              <a:gdLst>
                <a:gd name="T0" fmla="*/ 345 w 452"/>
                <a:gd name="T1" fmla="*/ 339 h 432"/>
                <a:gd name="T2" fmla="*/ 348 w 452"/>
                <a:gd name="T3" fmla="*/ 339 h 432"/>
                <a:gd name="T4" fmla="*/ 335 w 452"/>
                <a:gd name="T5" fmla="*/ 350 h 432"/>
                <a:gd name="T6" fmla="*/ 324 w 452"/>
                <a:gd name="T7" fmla="*/ 369 h 432"/>
                <a:gd name="T8" fmla="*/ 323 w 452"/>
                <a:gd name="T9" fmla="*/ 367 h 432"/>
                <a:gd name="T10" fmla="*/ 321 w 452"/>
                <a:gd name="T11" fmla="*/ 379 h 432"/>
                <a:gd name="T12" fmla="*/ 320 w 452"/>
                <a:gd name="T13" fmla="*/ 397 h 432"/>
                <a:gd name="T14" fmla="*/ 321 w 452"/>
                <a:gd name="T15" fmla="*/ 397 h 432"/>
                <a:gd name="T16" fmla="*/ 447 w 452"/>
                <a:gd name="T17" fmla="*/ 217 h 432"/>
                <a:gd name="T18" fmla="*/ 435 w 452"/>
                <a:gd name="T19" fmla="*/ 189 h 432"/>
                <a:gd name="T20" fmla="*/ 426 w 452"/>
                <a:gd name="T21" fmla="*/ 124 h 432"/>
                <a:gd name="T22" fmla="*/ 417 w 452"/>
                <a:gd name="T23" fmla="*/ 121 h 432"/>
                <a:gd name="T24" fmla="*/ 410 w 452"/>
                <a:gd name="T25" fmla="*/ 117 h 432"/>
                <a:gd name="T26" fmla="*/ 398 w 452"/>
                <a:gd name="T27" fmla="*/ 110 h 432"/>
                <a:gd name="T28" fmla="*/ 382 w 452"/>
                <a:gd name="T29" fmla="*/ 111 h 432"/>
                <a:gd name="T30" fmla="*/ 370 w 452"/>
                <a:gd name="T31" fmla="*/ 112 h 432"/>
                <a:gd name="T32" fmla="*/ 356 w 452"/>
                <a:gd name="T33" fmla="*/ 118 h 432"/>
                <a:gd name="T34" fmla="*/ 340 w 452"/>
                <a:gd name="T35" fmla="*/ 113 h 432"/>
                <a:gd name="T36" fmla="*/ 331 w 452"/>
                <a:gd name="T37" fmla="*/ 113 h 432"/>
                <a:gd name="T38" fmla="*/ 324 w 452"/>
                <a:gd name="T39" fmla="*/ 112 h 432"/>
                <a:gd name="T40" fmla="*/ 309 w 452"/>
                <a:gd name="T41" fmla="*/ 107 h 432"/>
                <a:gd name="T42" fmla="*/ 295 w 452"/>
                <a:gd name="T43" fmla="*/ 105 h 432"/>
                <a:gd name="T44" fmla="*/ 269 w 452"/>
                <a:gd name="T45" fmla="*/ 100 h 432"/>
                <a:gd name="T46" fmla="*/ 254 w 452"/>
                <a:gd name="T47" fmla="*/ 90 h 432"/>
                <a:gd name="T48" fmla="*/ 238 w 452"/>
                <a:gd name="T49" fmla="*/ 90 h 432"/>
                <a:gd name="T50" fmla="*/ 0 w 452"/>
                <a:gd name="T51" fmla="*/ 190 h 432"/>
                <a:gd name="T52" fmla="*/ 19 w 452"/>
                <a:gd name="T53" fmla="*/ 212 h 432"/>
                <a:gd name="T54" fmla="*/ 52 w 452"/>
                <a:gd name="T55" fmla="*/ 239 h 432"/>
                <a:gd name="T56" fmla="*/ 80 w 452"/>
                <a:gd name="T57" fmla="*/ 288 h 432"/>
                <a:gd name="T58" fmla="*/ 112 w 452"/>
                <a:gd name="T59" fmla="*/ 309 h 432"/>
                <a:gd name="T60" fmla="*/ 129 w 452"/>
                <a:gd name="T61" fmla="*/ 297 h 432"/>
                <a:gd name="T62" fmla="*/ 147 w 452"/>
                <a:gd name="T63" fmla="*/ 276 h 432"/>
                <a:gd name="T64" fmla="*/ 175 w 452"/>
                <a:gd name="T65" fmla="*/ 278 h 432"/>
                <a:gd name="T66" fmla="*/ 186 w 452"/>
                <a:gd name="T67" fmla="*/ 288 h 432"/>
                <a:gd name="T68" fmla="*/ 216 w 452"/>
                <a:gd name="T69" fmla="*/ 330 h 432"/>
                <a:gd name="T70" fmla="*/ 244 w 452"/>
                <a:gd name="T71" fmla="*/ 363 h 432"/>
                <a:gd name="T72" fmla="*/ 254 w 452"/>
                <a:gd name="T73" fmla="*/ 393 h 432"/>
                <a:gd name="T74" fmla="*/ 270 w 452"/>
                <a:gd name="T75" fmla="*/ 411 h 432"/>
                <a:gd name="T76" fmla="*/ 295 w 452"/>
                <a:gd name="T77" fmla="*/ 423 h 432"/>
                <a:gd name="T78" fmla="*/ 327 w 452"/>
                <a:gd name="T79" fmla="*/ 428 h 432"/>
                <a:gd name="T80" fmla="*/ 321 w 452"/>
                <a:gd name="T81" fmla="*/ 415 h 432"/>
                <a:gd name="T82" fmla="*/ 314 w 452"/>
                <a:gd name="T83" fmla="*/ 394 h 432"/>
                <a:gd name="T84" fmla="*/ 317 w 452"/>
                <a:gd name="T85" fmla="*/ 380 h 432"/>
                <a:gd name="T86" fmla="*/ 311 w 452"/>
                <a:gd name="T87" fmla="*/ 376 h 432"/>
                <a:gd name="T88" fmla="*/ 321 w 452"/>
                <a:gd name="T89" fmla="*/ 369 h 432"/>
                <a:gd name="T90" fmla="*/ 319 w 452"/>
                <a:gd name="T91" fmla="*/ 356 h 432"/>
                <a:gd name="T92" fmla="*/ 327 w 452"/>
                <a:gd name="T93" fmla="*/ 354 h 432"/>
                <a:gd name="T94" fmla="*/ 329 w 452"/>
                <a:gd name="T95" fmla="*/ 343 h 432"/>
                <a:gd name="T96" fmla="*/ 340 w 452"/>
                <a:gd name="T97" fmla="*/ 336 h 432"/>
                <a:gd name="T98" fmla="*/ 352 w 452"/>
                <a:gd name="T99" fmla="*/ 329 h 432"/>
                <a:gd name="T100" fmla="*/ 351 w 452"/>
                <a:gd name="T101" fmla="*/ 324 h 432"/>
                <a:gd name="T102" fmla="*/ 360 w 452"/>
                <a:gd name="T103" fmla="*/ 323 h 432"/>
                <a:gd name="T104" fmla="*/ 368 w 452"/>
                <a:gd name="T105" fmla="*/ 325 h 432"/>
                <a:gd name="T106" fmla="*/ 370 w 452"/>
                <a:gd name="T107" fmla="*/ 323 h 432"/>
                <a:gd name="T108" fmla="*/ 397 w 452"/>
                <a:gd name="T109" fmla="*/ 307 h 432"/>
                <a:gd name="T110" fmla="*/ 406 w 452"/>
                <a:gd name="T111" fmla="*/ 297 h 432"/>
                <a:gd name="T112" fmla="*/ 401 w 452"/>
                <a:gd name="T113" fmla="*/ 285 h 432"/>
                <a:gd name="T114" fmla="*/ 407 w 452"/>
                <a:gd name="T115" fmla="*/ 281 h 432"/>
                <a:gd name="T116" fmla="*/ 419 w 452"/>
                <a:gd name="T117" fmla="*/ 288 h 432"/>
                <a:gd name="T118" fmla="*/ 435 w 452"/>
                <a:gd name="T119" fmla="*/ 283 h 432"/>
                <a:gd name="T120" fmla="*/ 446 w 452"/>
                <a:gd name="T121" fmla="*/ 25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2" h="432">
                  <a:moveTo>
                    <a:pt x="331" y="354"/>
                  </a:moveTo>
                  <a:cubicBezTo>
                    <a:pt x="331" y="353"/>
                    <a:pt x="331" y="352"/>
                    <a:pt x="332" y="352"/>
                  </a:cubicBezTo>
                  <a:cubicBezTo>
                    <a:pt x="332" y="351"/>
                    <a:pt x="333" y="349"/>
                    <a:pt x="334" y="349"/>
                  </a:cubicBezTo>
                  <a:cubicBezTo>
                    <a:pt x="334" y="348"/>
                    <a:pt x="334" y="347"/>
                    <a:pt x="335" y="347"/>
                  </a:cubicBezTo>
                  <a:cubicBezTo>
                    <a:pt x="335" y="347"/>
                    <a:pt x="335" y="346"/>
                    <a:pt x="336" y="346"/>
                  </a:cubicBezTo>
                  <a:cubicBezTo>
                    <a:pt x="336" y="346"/>
                    <a:pt x="336" y="346"/>
                    <a:pt x="336" y="345"/>
                  </a:cubicBezTo>
                  <a:cubicBezTo>
                    <a:pt x="336" y="345"/>
                    <a:pt x="337" y="345"/>
                    <a:pt x="338" y="344"/>
                  </a:cubicBezTo>
                  <a:cubicBezTo>
                    <a:pt x="339" y="344"/>
                    <a:pt x="339" y="343"/>
                    <a:pt x="340" y="342"/>
                  </a:cubicBezTo>
                  <a:cubicBezTo>
                    <a:pt x="340" y="342"/>
                    <a:pt x="340" y="341"/>
                    <a:pt x="341" y="341"/>
                  </a:cubicBezTo>
                  <a:cubicBezTo>
                    <a:pt x="341" y="341"/>
                    <a:pt x="342" y="341"/>
                    <a:pt x="342" y="340"/>
                  </a:cubicBezTo>
                  <a:cubicBezTo>
                    <a:pt x="343" y="340"/>
                    <a:pt x="343" y="340"/>
                    <a:pt x="344" y="339"/>
                  </a:cubicBezTo>
                  <a:cubicBezTo>
                    <a:pt x="344" y="339"/>
                    <a:pt x="344" y="339"/>
                    <a:pt x="345" y="339"/>
                  </a:cubicBezTo>
                  <a:cubicBezTo>
                    <a:pt x="346" y="338"/>
                    <a:pt x="346" y="338"/>
                    <a:pt x="347" y="338"/>
                  </a:cubicBezTo>
                  <a:cubicBezTo>
                    <a:pt x="347" y="338"/>
                    <a:pt x="348" y="337"/>
                    <a:pt x="348" y="337"/>
                  </a:cubicBezTo>
                  <a:cubicBezTo>
                    <a:pt x="349" y="336"/>
                    <a:pt x="350" y="336"/>
                    <a:pt x="350" y="336"/>
                  </a:cubicBezTo>
                  <a:cubicBezTo>
                    <a:pt x="351" y="335"/>
                    <a:pt x="351" y="335"/>
                    <a:pt x="351" y="335"/>
                  </a:cubicBezTo>
                  <a:cubicBezTo>
                    <a:pt x="352" y="335"/>
                    <a:pt x="352" y="334"/>
                    <a:pt x="352" y="334"/>
                  </a:cubicBezTo>
                  <a:cubicBezTo>
                    <a:pt x="352" y="334"/>
                    <a:pt x="353" y="333"/>
                    <a:pt x="353" y="334"/>
                  </a:cubicBezTo>
                  <a:cubicBezTo>
                    <a:pt x="353" y="334"/>
                    <a:pt x="353" y="335"/>
                    <a:pt x="353" y="335"/>
                  </a:cubicBezTo>
                  <a:cubicBezTo>
                    <a:pt x="353" y="336"/>
                    <a:pt x="353" y="336"/>
                    <a:pt x="352" y="337"/>
                  </a:cubicBezTo>
                  <a:cubicBezTo>
                    <a:pt x="352" y="337"/>
                    <a:pt x="352" y="337"/>
                    <a:pt x="351" y="337"/>
                  </a:cubicBezTo>
                  <a:cubicBezTo>
                    <a:pt x="351" y="337"/>
                    <a:pt x="351" y="337"/>
                    <a:pt x="350" y="337"/>
                  </a:cubicBezTo>
                  <a:cubicBezTo>
                    <a:pt x="350" y="338"/>
                    <a:pt x="349" y="338"/>
                    <a:pt x="348" y="338"/>
                  </a:cubicBezTo>
                  <a:cubicBezTo>
                    <a:pt x="348" y="338"/>
                    <a:pt x="348" y="339"/>
                    <a:pt x="348" y="339"/>
                  </a:cubicBezTo>
                  <a:cubicBezTo>
                    <a:pt x="348" y="339"/>
                    <a:pt x="347" y="339"/>
                    <a:pt x="347" y="339"/>
                  </a:cubicBezTo>
                  <a:cubicBezTo>
                    <a:pt x="346" y="340"/>
                    <a:pt x="346" y="340"/>
                    <a:pt x="345" y="341"/>
                  </a:cubicBezTo>
                  <a:cubicBezTo>
                    <a:pt x="345" y="341"/>
                    <a:pt x="344" y="341"/>
                    <a:pt x="344" y="342"/>
                  </a:cubicBezTo>
                  <a:cubicBezTo>
                    <a:pt x="344" y="342"/>
                    <a:pt x="343" y="342"/>
                    <a:pt x="343" y="342"/>
                  </a:cubicBezTo>
                  <a:cubicBezTo>
                    <a:pt x="343" y="342"/>
                    <a:pt x="343" y="342"/>
                    <a:pt x="342" y="343"/>
                  </a:cubicBezTo>
                  <a:cubicBezTo>
                    <a:pt x="342" y="343"/>
                    <a:pt x="342" y="343"/>
                    <a:pt x="341" y="343"/>
                  </a:cubicBezTo>
                  <a:cubicBezTo>
                    <a:pt x="341" y="344"/>
                    <a:pt x="341" y="344"/>
                    <a:pt x="341" y="344"/>
                  </a:cubicBezTo>
                  <a:cubicBezTo>
                    <a:pt x="340" y="344"/>
                    <a:pt x="340" y="344"/>
                    <a:pt x="340" y="345"/>
                  </a:cubicBezTo>
                  <a:cubicBezTo>
                    <a:pt x="339" y="345"/>
                    <a:pt x="338" y="346"/>
                    <a:pt x="337" y="346"/>
                  </a:cubicBezTo>
                  <a:cubicBezTo>
                    <a:pt x="337" y="347"/>
                    <a:pt x="336" y="348"/>
                    <a:pt x="336" y="348"/>
                  </a:cubicBezTo>
                  <a:cubicBezTo>
                    <a:pt x="336" y="348"/>
                    <a:pt x="336" y="348"/>
                    <a:pt x="336" y="349"/>
                  </a:cubicBezTo>
                  <a:cubicBezTo>
                    <a:pt x="336" y="349"/>
                    <a:pt x="336" y="349"/>
                    <a:pt x="335" y="350"/>
                  </a:cubicBezTo>
                  <a:cubicBezTo>
                    <a:pt x="334" y="351"/>
                    <a:pt x="332" y="352"/>
                    <a:pt x="331" y="354"/>
                  </a:cubicBezTo>
                  <a:cubicBezTo>
                    <a:pt x="331" y="354"/>
                    <a:pt x="331" y="355"/>
                    <a:pt x="331" y="354"/>
                  </a:cubicBezTo>
                  <a:close/>
                  <a:moveTo>
                    <a:pt x="330" y="356"/>
                  </a:moveTo>
                  <a:cubicBezTo>
                    <a:pt x="330" y="356"/>
                    <a:pt x="330" y="356"/>
                    <a:pt x="330" y="356"/>
                  </a:cubicBezTo>
                  <a:cubicBezTo>
                    <a:pt x="330" y="356"/>
                    <a:pt x="330" y="356"/>
                    <a:pt x="330" y="356"/>
                  </a:cubicBezTo>
                  <a:cubicBezTo>
                    <a:pt x="331" y="356"/>
                    <a:pt x="331" y="355"/>
                    <a:pt x="330" y="355"/>
                  </a:cubicBezTo>
                  <a:cubicBezTo>
                    <a:pt x="330" y="355"/>
                    <a:pt x="330" y="356"/>
                    <a:pt x="330" y="356"/>
                  </a:cubicBezTo>
                  <a:close/>
                  <a:moveTo>
                    <a:pt x="321" y="375"/>
                  </a:moveTo>
                  <a:cubicBezTo>
                    <a:pt x="322" y="374"/>
                    <a:pt x="322" y="374"/>
                    <a:pt x="322" y="374"/>
                  </a:cubicBezTo>
                  <a:cubicBezTo>
                    <a:pt x="322" y="373"/>
                    <a:pt x="322" y="373"/>
                    <a:pt x="322" y="372"/>
                  </a:cubicBezTo>
                  <a:cubicBezTo>
                    <a:pt x="323" y="372"/>
                    <a:pt x="323" y="371"/>
                    <a:pt x="323" y="370"/>
                  </a:cubicBezTo>
                  <a:cubicBezTo>
                    <a:pt x="323" y="370"/>
                    <a:pt x="323" y="369"/>
                    <a:pt x="324" y="369"/>
                  </a:cubicBezTo>
                  <a:cubicBezTo>
                    <a:pt x="324" y="368"/>
                    <a:pt x="325" y="367"/>
                    <a:pt x="325" y="366"/>
                  </a:cubicBezTo>
                  <a:cubicBezTo>
                    <a:pt x="325" y="365"/>
                    <a:pt x="326" y="365"/>
                    <a:pt x="326" y="364"/>
                  </a:cubicBezTo>
                  <a:cubicBezTo>
                    <a:pt x="326" y="364"/>
                    <a:pt x="326" y="363"/>
                    <a:pt x="327" y="363"/>
                  </a:cubicBezTo>
                  <a:cubicBezTo>
                    <a:pt x="327" y="362"/>
                    <a:pt x="327" y="361"/>
                    <a:pt x="328" y="360"/>
                  </a:cubicBezTo>
                  <a:cubicBezTo>
                    <a:pt x="328" y="360"/>
                    <a:pt x="329" y="359"/>
                    <a:pt x="329" y="359"/>
                  </a:cubicBezTo>
                  <a:cubicBezTo>
                    <a:pt x="329" y="358"/>
                    <a:pt x="330" y="357"/>
                    <a:pt x="329" y="357"/>
                  </a:cubicBezTo>
                  <a:cubicBezTo>
                    <a:pt x="329" y="357"/>
                    <a:pt x="329" y="357"/>
                    <a:pt x="329" y="358"/>
                  </a:cubicBezTo>
                  <a:cubicBezTo>
                    <a:pt x="328" y="358"/>
                    <a:pt x="328" y="358"/>
                    <a:pt x="328" y="358"/>
                  </a:cubicBezTo>
                  <a:cubicBezTo>
                    <a:pt x="327" y="359"/>
                    <a:pt x="327" y="360"/>
                    <a:pt x="327" y="360"/>
                  </a:cubicBezTo>
                  <a:cubicBezTo>
                    <a:pt x="326" y="361"/>
                    <a:pt x="326" y="361"/>
                    <a:pt x="325" y="362"/>
                  </a:cubicBezTo>
                  <a:cubicBezTo>
                    <a:pt x="325" y="363"/>
                    <a:pt x="324" y="364"/>
                    <a:pt x="324" y="365"/>
                  </a:cubicBezTo>
                  <a:cubicBezTo>
                    <a:pt x="324" y="366"/>
                    <a:pt x="324" y="366"/>
                    <a:pt x="323" y="367"/>
                  </a:cubicBezTo>
                  <a:cubicBezTo>
                    <a:pt x="323" y="367"/>
                    <a:pt x="323" y="367"/>
                    <a:pt x="323" y="368"/>
                  </a:cubicBezTo>
                  <a:cubicBezTo>
                    <a:pt x="322" y="369"/>
                    <a:pt x="322" y="370"/>
                    <a:pt x="322" y="371"/>
                  </a:cubicBezTo>
                  <a:cubicBezTo>
                    <a:pt x="321" y="371"/>
                    <a:pt x="321" y="371"/>
                    <a:pt x="321" y="372"/>
                  </a:cubicBezTo>
                  <a:cubicBezTo>
                    <a:pt x="321" y="372"/>
                    <a:pt x="321" y="372"/>
                    <a:pt x="321" y="373"/>
                  </a:cubicBezTo>
                  <a:cubicBezTo>
                    <a:pt x="321" y="374"/>
                    <a:pt x="321" y="375"/>
                    <a:pt x="321" y="375"/>
                  </a:cubicBezTo>
                  <a:cubicBezTo>
                    <a:pt x="321" y="375"/>
                    <a:pt x="321" y="375"/>
                    <a:pt x="321" y="375"/>
                  </a:cubicBezTo>
                  <a:close/>
                  <a:moveTo>
                    <a:pt x="321" y="379"/>
                  </a:moveTo>
                  <a:cubicBezTo>
                    <a:pt x="321" y="379"/>
                    <a:pt x="321" y="378"/>
                    <a:pt x="321" y="378"/>
                  </a:cubicBezTo>
                  <a:cubicBezTo>
                    <a:pt x="321" y="377"/>
                    <a:pt x="321" y="377"/>
                    <a:pt x="321" y="377"/>
                  </a:cubicBezTo>
                  <a:cubicBezTo>
                    <a:pt x="321" y="377"/>
                    <a:pt x="321" y="377"/>
                    <a:pt x="321" y="376"/>
                  </a:cubicBezTo>
                  <a:cubicBezTo>
                    <a:pt x="320" y="377"/>
                    <a:pt x="320" y="377"/>
                    <a:pt x="320" y="378"/>
                  </a:cubicBezTo>
                  <a:cubicBezTo>
                    <a:pt x="320" y="378"/>
                    <a:pt x="320" y="379"/>
                    <a:pt x="321" y="379"/>
                  </a:cubicBezTo>
                  <a:close/>
                  <a:moveTo>
                    <a:pt x="320" y="387"/>
                  </a:moveTo>
                  <a:cubicBezTo>
                    <a:pt x="320" y="386"/>
                    <a:pt x="320" y="386"/>
                    <a:pt x="320" y="386"/>
                  </a:cubicBezTo>
                  <a:cubicBezTo>
                    <a:pt x="320" y="385"/>
                    <a:pt x="320" y="384"/>
                    <a:pt x="320" y="384"/>
                  </a:cubicBezTo>
                  <a:cubicBezTo>
                    <a:pt x="320" y="383"/>
                    <a:pt x="320" y="382"/>
                    <a:pt x="320" y="382"/>
                  </a:cubicBezTo>
                  <a:cubicBezTo>
                    <a:pt x="320" y="381"/>
                    <a:pt x="320" y="381"/>
                    <a:pt x="320" y="381"/>
                  </a:cubicBezTo>
                  <a:cubicBezTo>
                    <a:pt x="320" y="380"/>
                    <a:pt x="319" y="380"/>
                    <a:pt x="319" y="381"/>
                  </a:cubicBezTo>
                  <a:cubicBezTo>
                    <a:pt x="319" y="381"/>
                    <a:pt x="319" y="381"/>
                    <a:pt x="319" y="382"/>
                  </a:cubicBezTo>
                  <a:cubicBezTo>
                    <a:pt x="319" y="382"/>
                    <a:pt x="319" y="383"/>
                    <a:pt x="319" y="384"/>
                  </a:cubicBezTo>
                  <a:cubicBezTo>
                    <a:pt x="319" y="385"/>
                    <a:pt x="319" y="385"/>
                    <a:pt x="319" y="386"/>
                  </a:cubicBezTo>
                  <a:cubicBezTo>
                    <a:pt x="319" y="386"/>
                    <a:pt x="319" y="386"/>
                    <a:pt x="319" y="386"/>
                  </a:cubicBezTo>
                  <a:cubicBezTo>
                    <a:pt x="320" y="387"/>
                    <a:pt x="320" y="387"/>
                    <a:pt x="320" y="387"/>
                  </a:cubicBezTo>
                  <a:close/>
                  <a:moveTo>
                    <a:pt x="320" y="397"/>
                  </a:moveTo>
                  <a:cubicBezTo>
                    <a:pt x="320" y="397"/>
                    <a:pt x="320" y="398"/>
                    <a:pt x="320" y="398"/>
                  </a:cubicBezTo>
                  <a:cubicBezTo>
                    <a:pt x="320" y="399"/>
                    <a:pt x="320" y="399"/>
                    <a:pt x="321" y="399"/>
                  </a:cubicBezTo>
                  <a:cubicBezTo>
                    <a:pt x="321" y="399"/>
                    <a:pt x="321" y="399"/>
                    <a:pt x="321" y="400"/>
                  </a:cubicBezTo>
                  <a:cubicBezTo>
                    <a:pt x="321" y="400"/>
                    <a:pt x="321" y="400"/>
                    <a:pt x="321" y="400"/>
                  </a:cubicBezTo>
                  <a:cubicBezTo>
                    <a:pt x="321" y="400"/>
                    <a:pt x="321" y="401"/>
                    <a:pt x="322" y="401"/>
                  </a:cubicBezTo>
                  <a:cubicBezTo>
                    <a:pt x="322" y="402"/>
                    <a:pt x="322" y="402"/>
                    <a:pt x="322" y="403"/>
                  </a:cubicBezTo>
                  <a:cubicBezTo>
                    <a:pt x="322" y="403"/>
                    <a:pt x="322" y="404"/>
                    <a:pt x="323" y="404"/>
                  </a:cubicBezTo>
                  <a:cubicBezTo>
                    <a:pt x="323" y="404"/>
                    <a:pt x="322" y="402"/>
                    <a:pt x="322" y="402"/>
                  </a:cubicBezTo>
                  <a:cubicBezTo>
                    <a:pt x="322" y="402"/>
                    <a:pt x="322" y="401"/>
                    <a:pt x="322" y="400"/>
                  </a:cubicBezTo>
                  <a:cubicBezTo>
                    <a:pt x="322" y="400"/>
                    <a:pt x="322" y="400"/>
                    <a:pt x="322" y="400"/>
                  </a:cubicBezTo>
                  <a:cubicBezTo>
                    <a:pt x="321" y="399"/>
                    <a:pt x="321" y="399"/>
                    <a:pt x="321" y="399"/>
                  </a:cubicBezTo>
                  <a:cubicBezTo>
                    <a:pt x="321" y="398"/>
                    <a:pt x="321" y="398"/>
                    <a:pt x="321" y="397"/>
                  </a:cubicBezTo>
                  <a:cubicBezTo>
                    <a:pt x="320" y="397"/>
                    <a:pt x="321" y="397"/>
                    <a:pt x="320" y="396"/>
                  </a:cubicBezTo>
                  <a:cubicBezTo>
                    <a:pt x="320" y="396"/>
                    <a:pt x="320" y="397"/>
                    <a:pt x="320" y="397"/>
                  </a:cubicBezTo>
                  <a:close/>
                  <a:moveTo>
                    <a:pt x="451" y="229"/>
                  </a:moveTo>
                  <a:cubicBezTo>
                    <a:pt x="451" y="229"/>
                    <a:pt x="451" y="229"/>
                    <a:pt x="451" y="228"/>
                  </a:cubicBezTo>
                  <a:cubicBezTo>
                    <a:pt x="452" y="228"/>
                    <a:pt x="452" y="227"/>
                    <a:pt x="452" y="227"/>
                  </a:cubicBezTo>
                  <a:cubicBezTo>
                    <a:pt x="452" y="226"/>
                    <a:pt x="452" y="225"/>
                    <a:pt x="451" y="225"/>
                  </a:cubicBezTo>
                  <a:cubicBezTo>
                    <a:pt x="451" y="225"/>
                    <a:pt x="452" y="224"/>
                    <a:pt x="452" y="223"/>
                  </a:cubicBezTo>
                  <a:cubicBezTo>
                    <a:pt x="452" y="223"/>
                    <a:pt x="452" y="222"/>
                    <a:pt x="452" y="222"/>
                  </a:cubicBezTo>
                  <a:cubicBezTo>
                    <a:pt x="452" y="222"/>
                    <a:pt x="451" y="223"/>
                    <a:pt x="451" y="223"/>
                  </a:cubicBezTo>
                  <a:cubicBezTo>
                    <a:pt x="451" y="223"/>
                    <a:pt x="450" y="222"/>
                    <a:pt x="450" y="222"/>
                  </a:cubicBezTo>
                  <a:cubicBezTo>
                    <a:pt x="450" y="221"/>
                    <a:pt x="450" y="221"/>
                    <a:pt x="450" y="220"/>
                  </a:cubicBezTo>
                  <a:cubicBezTo>
                    <a:pt x="450" y="220"/>
                    <a:pt x="448" y="218"/>
                    <a:pt x="447" y="217"/>
                  </a:cubicBezTo>
                  <a:cubicBezTo>
                    <a:pt x="447" y="217"/>
                    <a:pt x="447" y="216"/>
                    <a:pt x="447" y="216"/>
                  </a:cubicBezTo>
                  <a:cubicBezTo>
                    <a:pt x="447" y="216"/>
                    <a:pt x="448" y="215"/>
                    <a:pt x="448" y="214"/>
                  </a:cubicBezTo>
                  <a:cubicBezTo>
                    <a:pt x="448" y="214"/>
                    <a:pt x="447" y="214"/>
                    <a:pt x="447" y="213"/>
                  </a:cubicBezTo>
                  <a:cubicBezTo>
                    <a:pt x="447" y="213"/>
                    <a:pt x="447" y="212"/>
                    <a:pt x="447" y="211"/>
                  </a:cubicBezTo>
                  <a:cubicBezTo>
                    <a:pt x="446" y="211"/>
                    <a:pt x="445" y="210"/>
                    <a:pt x="445" y="210"/>
                  </a:cubicBezTo>
                  <a:cubicBezTo>
                    <a:pt x="445" y="210"/>
                    <a:pt x="445" y="209"/>
                    <a:pt x="446" y="209"/>
                  </a:cubicBezTo>
                  <a:cubicBezTo>
                    <a:pt x="446" y="209"/>
                    <a:pt x="446" y="209"/>
                    <a:pt x="446" y="209"/>
                  </a:cubicBezTo>
                  <a:cubicBezTo>
                    <a:pt x="446" y="208"/>
                    <a:pt x="443" y="207"/>
                    <a:pt x="443" y="206"/>
                  </a:cubicBezTo>
                  <a:cubicBezTo>
                    <a:pt x="442" y="206"/>
                    <a:pt x="443" y="204"/>
                    <a:pt x="443" y="204"/>
                  </a:cubicBezTo>
                  <a:cubicBezTo>
                    <a:pt x="443" y="204"/>
                    <a:pt x="443" y="202"/>
                    <a:pt x="443" y="201"/>
                  </a:cubicBezTo>
                  <a:cubicBezTo>
                    <a:pt x="443" y="200"/>
                    <a:pt x="441" y="196"/>
                    <a:pt x="441" y="196"/>
                  </a:cubicBezTo>
                  <a:cubicBezTo>
                    <a:pt x="441" y="195"/>
                    <a:pt x="435" y="189"/>
                    <a:pt x="435" y="189"/>
                  </a:cubicBezTo>
                  <a:cubicBezTo>
                    <a:pt x="435" y="127"/>
                    <a:pt x="435" y="127"/>
                    <a:pt x="435" y="127"/>
                  </a:cubicBezTo>
                  <a:cubicBezTo>
                    <a:pt x="435" y="126"/>
                    <a:pt x="434" y="126"/>
                    <a:pt x="434" y="125"/>
                  </a:cubicBezTo>
                  <a:cubicBezTo>
                    <a:pt x="434" y="125"/>
                    <a:pt x="434" y="124"/>
                    <a:pt x="434" y="124"/>
                  </a:cubicBezTo>
                  <a:cubicBezTo>
                    <a:pt x="434" y="123"/>
                    <a:pt x="433" y="124"/>
                    <a:pt x="433" y="124"/>
                  </a:cubicBezTo>
                  <a:cubicBezTo>
                    <a:pt x="432" y="125"/>
                    <a:pt x="432" y="125"/>
                    <a:pt x="431" y="125"/>
                  </a:cubicBezTo>
                  <a:cubicBezTo>
                    <a:pt x="431" y="124"/>
                    <a:pt x="431" y="124"/>
                    <a:pt x="431" y="124"/>
                  </a:cubicBezTo>
                  <a:cubicBezTo>
                    <a:pt x="431" y="124"/>
                    <a:pt x="431" y="124"/>
                    <a:pt x="430" y="124"/>
                  </a:cubicBezTo>
                  <a:cubicBezTo>
                    <a:pt x="429" y="123"/>
                    <a:pt x="429" y="124"/>
                    <a:pt x="429" y="125"/>
                  </a:cubicBezTo>
                  <a:cubicBezTo>
                    <a:pt x="429" y="125"/>
                    <a:pt x="428" y="125"/>
                    <a:pt x="428" y="125"/>
                  </a:cubicBezTo>
                  <a:cubicBezTo>
                    <a:pt x="428" y="124"/>
                    <a:pt x="428" y="124"/>
                    <a:pt x="427" y="124"/>
                  </a:cubicBezTo>
                  <a:cubicBezTo>
                    <a:pt x="427" y="124"/>
                    <a:pt x="427" y="125"/>
                    <a:pt x="427" y="125"/>
                  </a:cubicBezTo>
                  <a:cubicBezTo>
                    <a:pt x="427" y="125"/>
                    <a:pt x="426" y="125"/>
                    <a:pt x="426" y="124"/>
                  </a:cubicBezTo>
                  <a:cubicBezTo>
                    <a:pt x="426" y="124"/>
                    <a:pt x="426" y="124"/>
                    <a:pt x="425" y="125"/>
                  </a:cubicBezTo>
                  <a:cubicBezTo>
                    <a:pt x="425" y="124"/>
                    <a:pt x="425" y="125"/>
                    <a:pt x="424" y="125"/>
                  </a:cubicBezTo>
                  <a:cubicBezTo>
                    <a:pt x="424" y="125"/>
                    <a:pt x="424" y="125"/>
                    <a:pt x="424" y="125"/>
                  </a:cubicBezTo>
                  <a:cubicBezTo>
                    <a:pt x="424" y="125"/>
                    <a:pt x="424" y="125"/>
                    <a:pt x="424" y="125"/>
                  </a:cubicBezTo>
                  <a:cubicBezTo>
                    <a:pt x="423" y="126"/>
                    <a:pt x="423" y="125"/>
                    <a:pt x="423" y="125"/>
                  </a:cubicBezTo>
                  <a:cubicBezTo>
                    <a:pt x="422" y="125"/>
                    <a:pt x="423" y="125"/>
                    <a:pt x="423" y="124"/>
                  </a:cubicBezTo>
                  <a:cubicBezTo>
                    <a:pt x="423" y="123"/>
                    <a:pt x="422" y="124"/>
                    <a:pt x="421" y="124"/>
                  </a:cubicBezTo>
                  <a:cubicBezTo>
                    <a:pt x="421" y="124"/>
                    <a:pt x="420" y="123"/>
                    <a:pt x="420" y="123"/>
                  </a:cubicBezTo>
                  <a:cubicBezTo>
                    <a:pt x="420" y="123"/>
                    <a:pt x="420" y="123"/>
                    <a:pt x="421" y="122"/>
                  </a:cubicBezTo>
                  <a:cubicBezTo>
                    <a:pt x="421" y="122"/>
                    <a:pt x="420" y="121"/>
                    <a:pt x="420" y="121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2"/>
                    <a:pt x="418" y="122"/>
                    <a:pt x="417" y="121"/>
                  </a:cubicBezTo>
                  <a:cubicBezTo>
                    <a:pt x="417" y="121"/>
                    <a:pt x="417" y="121"/>
                    <a:pt x="416" y="121"/>
                  </a:cubicBezTo>
                  <a:cubicBezTo>
                    <a:pt x="416" y="120"/>
                    <a:pt x="416" y="120"/>
                    <a:pt x="416" y="120"/>
                  </a:cubicBezTo>
                  <a:cubicBezTo>
                    <a:pt x="416" y="120"/>
                    <a:pt x="415" y="120"/>
                    <a:pt x="415" y="120"/>
                  </a:cubicBezTo>
                  <a:cubicBezTo>
                    <a:pt x="415" y="120"/>
                    <a:pt x="415" y="120"/>
                    <a:pt x="414" y="120"/>
                  </a:cubicBezTo>
                  <a:cubicBezTo>
                    <a:pt x="414" y="119"/>
                    <a:pt x="414" y="119"/>
                    <a:pt x="414" y="119"/>
                  </a:cubicBezTo>
                  <a:cubicBezTo>
                    <a:pt x="413" y="119"/>
                    <a:pt x="413" y="120"/>
                    <a:pt x="413" y="120"/>
                  </a:cubicBezTo>
                  <a:cubicBezTo>
                    <a:pt x="413" y="120"/>
                    <a:pt x="412" y="120"/>
                    <a:pt x="411" y="119"/>
                  </a:cubicBezTo>
                  <a:cubicBezTo>
                    <a:pt x="411" y="119"/>
                    <a:pt x="411" y="119"/>
                    <a:pt x="411" y="119"/>
                  </a:cubicBezTo>
                  <a:cubicBezTo>
                    <a:pt x="411" y="119"/>
                    <a:pt x="410" y="119"/>
                    <a:pt x="410" y="118"/>
                  </a:cubicBezTo>
                  <a:cubicBezTo>
                    <a:pt x="410" y="118"/>
                    <a:pt x="410" y="118"/>
                    <a:pt x="410" y="117"/>
                  </a:cubicBezTo>
                  <a:cubicBezTo>
                    <a:pt x="410" y="117"/>
                    <a:pt x="409" y="117"/>
                    <a:pt x="409" y="117"/>
                  </a:cubicBezTo>
                  <a:cubicBezTo>
                    <a:pt x="409" y="117"/>
                    <a:pt x="410" y="117"/>
                    <a:pt x="410" y="117"/>
                  </a:cubicBezTo>
                  <a:cubicBezTo>
                    <a:pt x="409" y="116"/>
                    <a:pt x="408" y="117"/>
                    <a:pt x="408" y="117"/>
                  </a:cubicBezTo>
                  <a:cubicBezTo>
                    <a:pt x="408" y="117"/>
                    <a:pt x="408" y="118"/>
                    <a:pt x="407" y="118"/>
                  </a:cubicBezTo>
                  <a:cubicBezTo>
                    <a:pt x="407" y="118"/>
                    <a:pt x="407" y="117"/>
                    <a:pt x="407" y="117"/>
                  </a:cubicBezTo>
                  <a:cubicBezTo>
                    <a:pt x="406" y="117"/>
                    <a:pt x="406" y="116"/>
                    <a:pt x="406" y="116"/>
                  </a:cubicBezTo>
                  <a:cubicBezTo>
                    <a:pt x="406" y="116"/>
                    <a:pt x="405" y="116"/>
                    <a:pt x="405" y="116"/>
                  </a:cubicBezTo>
                  <a:cubicBezTo>
                    <a:pt x="405" y="116"/>
                    <a:pt x="405" y="116"/>
                    <a:pt x="404" y="115"/>
                  </a:cubicBezTo>
                  <a:cubicBezTo>
                    <a:pt x="404" y="115"/>
                    <a:pt x="404" y="115"/>
                    <a:pt x="404" y="115"/>
                  </a:cubicBezTo>
                  <a:cubicBezTo>
                    <a:pt x="404" y="114"/>
                    <a:pt x="404" y="114"/>
                    <a:pt x="403" y="114"/>
                  </a:cubicBezTo>
                  <a:cubicBezTo>
                    <a:pt x="403" y="114"/>
                    <a:pt x="403" y="113"/>
                    <a:pt x="403" y="113"/>
                  </a:cubicBezTo>
                  <a:cubicBezTo>
                    <a:pt x="403" y="112"/>
                    <a:pt x="402" y="112"/>
                    <a:pt x="401" y="112"/>
                  </a:cubicBezTo>
                  <a:cubicBezTo>
                    <a:pt x="400" y="112"/>
                    <a:pt x="399" y="112"/>
                    <a:pt x="399" y="111"/>
                  </a:cubicBezTo>
                  <a:cubicBezTo>
                    <a:pt x="399" y="110"/>
                    <a:pt x="399" y="110"/>
                    <a:pt x="398" y="110"/>
                  </a:cubicBezTo>
                  <a:cubicBezTo>
                    <a:pt x="398" y="110"/>
                    <a:pt x="398" y="111"/>
                    <a:pt x="398" y="111"/>
                  </a:cubicBezTo>
                  <a:cubicBezTo>
                    <a:pt x="397" y="111"/>
                    <a:pt x="397" y="109"/>
                    <a:pt x="397" y="109"/>
                  </a:cubicBezTo>
                  <a:cubicBezTo>
                    <a:pt x="396" y="108"/>
                    <a:pt x="395" y="108"/>
                    <a:pt x="394" y="108"/>
                  </a:cubicBezTo>
                  <a:cubicBezTo>
                    <a:pt x="393" y="108"/>
                    <a:pt x="393" y="109"/>
                    <a:pt x="393" y="110"/>
                  </a:cubicBezTo>
                  <a:cubicBezTo>
                    <a:pt x="393" y="110"/>
                    <a:pt x="393" y="110"/>
                    <a:pt x="393" y="110"/>
                  </a:cubicBezTo>
                  <a:cubicBezTo>
                    <a:pt x="392" y="110"/>
                    <a:pt x="392" y="111"/>
                    <a:pt x="392" y="111"/>
                  </a:cubicBezTo>
                  <a:cubicBezTo>
                    <a:pt x="391" y="112"/>
                    <a:pt x="390" y="112"/>
                    <a:pt x="389" y="112"/>
                  </a:cubicBezTo>
                  <a:cubicBezTo>
                    <a:pt x="388" y="112"/>
                    <a:pt x="387" y="112"/>
                    <a:pt x="386" y="112"/>
                  </a:cubicBezTo>
                  <a:cubicBezTo>
                    <a:pt x="385" y="112"/>
                    <a:pt x="385" y="112"/>
                    <a:pt x="385" y="111"/>
                  </a:cubicBezTo>
                  <a:cubicBezTo>
                    <a:pt x="385" y="111"/>
                    <a:pt x="384" y="111"/>
                    <a:pt x="384" y="111"/>
                  </a:cubicBezTo>
                  <a:cubicBezTo>
                    <a:pt x="384" y="111"/>
                    <a:pt x="384" y="111"/>
                    <a:pt x="383" y="111"/>
                  </a:cubicBezTo>
                  <a:cubicBezTo>
                    <a:pt x="383" y="111"/>
                    <a:pt x="383" y="111"/>
                    <a:pt x="382" y="111"/>
                  </a:cubicBezTo>
                  <a:cubicBezTo>
                    <a:pt x="382" y="110"/>
                    <a:pt x="382" y="110"/>
                    <a:pt x="382" y="110"/>
                  </a:cubicBezTo>
                  <a:cubicBezTo>
                    <a:pt x="381" y="109"/>
                    <a:pt x="381" y="109"/>
                    <a:pt x="381" y="109"/>
                  </a:cubicBezTo>
                  <a:cubicBezTo>
                    <a:pt x="380" y="109"/>
                    <a:pt x="380" y="110"/>
                    <a:pt x="379" y="110"/>
                  </a:cubicBezTo>
                  <a:cubicBezTo>
                    <a:pt x="379" y="110"/>
                    <a:pt x="379" y="110"/>
                    <a:pt x="379" y="110"/>
                  </a:cubicBezTo>
                  <a:cubicBezTo>
                    <a:pt x="378" y="111"/>
                    <a:pt x="377" y="110"/>
                    <a:pt x="376" y="111"/>
                  </a:cubicBezTo>
                  <a:cubicBezTo>
                    <a:pt x="376" y="111"/>
                    <a:pt x="376" y="111"/>
                    <a:pt x="376" y="112"/>
                  </a:cubicBezTo>
                  <a:cubicBezTo>
                    <a:pt x="376" y="112"/>
                    <a:pt x="376" y="112"/>
                    <a:pt x="375" y="112"/>
                  </a:cubicBezTo>
                  <a:cubicBezTo>
                    <a:pt x="375" y="112"/>
                    <a:pt x="374" y="112"/>
                    <a:pt x="374" y="112"/>
                  </a:cubicBezTo>
                  <a:cubicBezTo>
                    <a:pt x="373" y="113"/>
                    <a:pt x="373" y="113"/>
                    <a:pt x="373" y="113"/>
                  </a:cubicBezTo>
                  <a:cubicBezTo>
                    <a:pt x="373" y="113"/>
                    <a:pt x="372" y="113"/>
                    <a:pt x="372" y="113"/>
                  </a:cubicBezTo>
                  <a:cubicBezTo>
                    <a:pt x="372" y="113"/>
                    <a:pt x="372" y="113"/>
                    <a:pt x="371" y="112"/>
                  </a:cubicBezTo>
                  <a:cubicBezTo>
                    <a:pt x="371" y="112"/>
                    <a:pt x="370" y="112"/>
                    <a:pt x="370" y="112"/>
                  </a:cubicBezTo>
                  <a:cubicBezTo>
                    <a:pt x="370" y="112"/>
                    <a:pt x="370" y="111"/>
                    <a:pt x="370" y="111"/>
                  </a:cubicBezTo>
                  <a:cubicBezTo>
                    <a:pt x="369" y="111"/>
                    <a:pt x="369" y="112"/>
                    <a:pt x="368" y="112"/>
                  </a:cubicBezTo>
                  <a:cubicBezTo>
                    <a:pt x="368" y="112"/>
                    <a:pt x="368" y="111"/>
                    <a:pt x="367" y="111"/>
                  </a:cubicBezTo>
                  <a:cubicBezTo>
                    <a:pt x="367" y="112"/>
                    <a:pt x="367" y="112"/>
                    <a:pt x="367" y="112"/>
                  </a:cubicBezTo>
                  <a:cubicBezTo>
                    <a:pt x="366" y="113"/>
                    <a:pt x="366" y="113"/>
                    <a:pt x="365" y="113"/>
                  </a:cubicBezTo>
                  <a:cubicBezTo>
                    <a:pt x="365" y="113"/>
                    <a:pt x="364" y="113"/>
                    <a:pt x="363" y="113"/>
                  </a:cubicBezTo>
                  <a:cubicBezTo>
                    <a:pt x="363" y="113"/>
                    <a:pt x="362" y="113"/>
                    <a:pt x="362" y="114"/>
                  </a:cubicBezTo>
                  <a:cubicBezTo>
                    <a:pt x="361" y="114"/>
                    <a:pt x="361" y="114"/>
                    <a:pt x="361" y="115"/>
                  </a:cubicBezTo>
                  <a:cubicBezTo>
                    <a:pt x="361" y="115"/>
                    <a:pt x="361" y="116"/>
                    <a:pt x="361" y="116"/>
                  </a:cubicBezTo>
                  <a:cubicBezTo>
                    <a:pt x="360" y="117"/>
                    <a:pt x="359" y="116"/>
                    <a:pt x="359" y="116"/>
                  </a:cubicBezTo>
                  <a:cubicBezTo>
                    <a:pt x="358" y="116"/>
                    <a:pt x="357" y="116"/>
                    <a:pt x="357" y="116"/>
                  </a:cubicBezTo>
                  <a:cubicBezTo>
                    <a:pt x="356" y="116"/>
                    <a:pt x="356" y="117"/>
                    <a:pt x="356" y="118"/>
                  </a:cubicBezTo>
                  <a:cubicBezTo>
                    <a:pt x="356" y="118"/>
                    <a:pt x="356" y="119"/>
                    <a:pt x="355" y="120"/>
                  </a:cubicBezTo>
                  <a:cubicBezTo>
                    <a:pt x="355" y="120"/>
                    <a:pt x="354" y="118"/>
                    <a:pt x="354" y="118"/>
                  </a:cubicBezTo>
                  <a:cubicBezTo>
                    <a:pt x="353" y="117"/>
                    <a:pt x="353" y="116"/>
                    <a:pt x="352" y="116"/>
                  </a:cubicBezTo>
                  <a:cubicBezTo>
                    <a:pt x="351" y="116"/>
                    <a:pt x="350" y="116"/>
                    <a:pt x="350" y="116"/>
                  </a:cubicBezTo>
                  <a:cubicBezTo>
                    <a:pt x="349" y="116"/>
                    <a:pt x="349" y="115"/>
                    <a:pt x="349" y="115"/>
                  </a:cubicBezTo>
                  <a:cubicBezTo>
                    <a:pt x="349" y="115"/>
                    <a:pt x="349" y="114"/>
                    <a:pt x="348" y="114"/>
                  </a:cubicBezTo>
                  <a:cubicBezTo>
                    <a:pt x="348" y="114"/>
                    <a:pt x="344" y="113"/>
                    <a:pt x="345" y="112"/>
                  </a:cubicBezTo>
                  <a:cubicBezTo>
                    <a:pt x="346" y="112"/>
                    <a:pt x="346" y="112"/>
                    <a:pt x="346" y="111"/>
                  </a:cubicBezTo>
                  <a:cubicBezTo>
                    <a:pt x="346" y="110"/>
                    <a:pt x="345" y="109"/>
                    <a:pt x="344" y="110"/>
                  </a:cubicBezTo>
                  <a:cubicBezTo>
                    <a:pt x="344" y="111"/>
                    <a:pt x="344" y="111"/>
                    <a:pt x="344" y="111"/>
                  </a:cubicBezTo>
                  <a:cubicBezTo>
                    <a:pt x="343" y="112"/>
                    <a:pt x="343" y="112"/>
                    <a:pt x="343" y="113"/>
                  </a:cubicBezTo>
                  <a:cubicBezTo>
                    <a:pt x="342" y="113"/>
                    <a:pt x="341" y="114"/>
                    <a:pt x="340" y="113"/>
                  </a:cubicBezTo>
                  <a:cubicBezTo>
                    <a:pt x="340" y="113"/>
                    <a:pt x="340" y="112"/>
                    <a:pt x="339" y="112"/>
                  </a:cubicBezTo>
                  <a:cubicBezTo>
                    <a:pt x="339" y="112"/>
                    <a:pt x="339" y="112"/>
                    <a:pt x="338" y="112"/>
                  </a:cubicBezTo>
                  <a:cubicBezTo>
                    <a:pt x="338" y="112"/>
                    <a:pt x="338" y="112"/>
                    <a:pt x="337" y="112"/>
                  </a:cubicBezTo>
                  <a:cubicBezTo>
                    <a:pt x="337" y="113"/>
                    <a:pt x="337" y="112"/>
                    <a:pt x="337" y="112"/>
                  </a:cubicBezTo>
                  <a:cubicBezTo>
                    <a:pt x="337" y="112"/>
                    <a:pt x="337" y="112"/>
                    <a:pt x="337" y="111"/>
                  </a:cubicBezTo>
                  <a:cubicBezTo>
                    <a:pt x="337" y="111"/>
                    <a:pt x="336" y="110"/>
                    <a:pt x="336" y="109"/>
                  </a:cubicBezTo>
                  <a:cubicBezTo>
                    <a:pt x="335" y="109"/>
                    <a:pt x="335" y="109"/>
                    <a:pt x="335" y="109"/>
                  </a:cubicBezTo>
                  <a:cubicBezTo>
                    <a:pt x="335" y="109"/>
                    <a:pt x="334" y="109"/>
                    <a:pt x="333" y="109"/>
                  </a:cubicBezTo>
                  <a:cubicBezTo>
                    <a:pt x="333" y="109"/>
                    <a:pt x="333" y="110"/>
                    <a:pt x="333" y="110"/>
                  </a:cubicBezTo>
                  <a:cubicBezTo>
                    <a:pt x="333" y="111"/>
                    <a:pt x="333" y="111"/>
                    <a:pt x="333" y="112"/>
                  </a:cubicBezTo>
                  <a:cubicBezTo>
                    <a:pt x="332" y="112"/>
                    <a:pt x="331" y="112"/>
                    <a:pt x="331" y="113"/>
                  </a:cubicBezTo>
                  <a:cubicBezTo>
                    <a:pt x="331" y="113"/>
                    <a:pt x="331" y="113"/>
                    <a:pt x="331" y="113"/>
                  </a:cubicBezTo>
                  <a:cubicBezTo>
                    <a:pt x="331" y="113"/>
                    <a:pt x="330" y="113"/>
                    <a:pt x="330" y="113"/>
                  </a:cubicBezTo>
                  <a:cubicBezTo>
                    <a:pt x="330" y="113"/>
                    <a:pt x="329" y="114"/>
                    <a:pt x="329" y="114"/>
                  </a:cubicBezTo>
                  <a:cubicBezTo>
                    <a:pt x="329" y="115"/>
                    <a:pt x="329" y="115"/>
                    <a:pt x="329" y="116"/>
                  </a:cubicBezTo>
                  <a:cubicBezTo>
                    <a:pt x="330" y="116"/>
                    <a:pt x="329" y="116"/>
                    <a:pt x="329" y="117"/>
                  </a:cubicBezTo>
                  <a:cubicBezTo>
                    <a:pt x="329" y="117"/>
                    <a:pt x="329" y="118"/>
                    <a:pt x="329" y="118"/>
                  </a:cubicBezTo>
                  <a:cubicBezTo>
                    <a:pt x="327" y="118"/>
                    <a:pt x="326" y="117"/>
                    <a:pt x="326" y="116"/>
                  </a:cubicBezTo>
                  <a:cubicBezTo>
                    <a:pt x="326" y="115"/>
                    <a:pt x="326" y="115"/>
                    <a:pt x="326" y="114"/>
                  </a:cubicBezTo>
                  <a:cubicBezTo>
                    <a:pt x="326" y="114"/>
                    <a:pt x="326" y="113"/>
                    <a:pt x="326" y="113"/>
                  </a:cubicBezTo>
                  <a:cubicBezTo>
                    <a:pt x="326" y="112"/>
                    <a:pt x="326" y="112"/>
                    <a:pt x="326" y="111"/>
                  </a:cubicBezTo>
                  <a:cubicBezTo>
                    <a:pt x="326" y="111"/>
                    <a:pt x="326" y="110"/>
                    <a:pt x="325" y="110"/>
                  </a:cubicBezTo>
                  <a:cubicBezTo>
                    <a:pt x="325" y="110"/>
                    <a:pt x="325" y="111"/>
                    <a:pt x="324" y="111"/>
                  </a:cubicBezTo>
                  <a:cubicBezTo>
                    <a:pt x="324" y="112"/>
                    <a:pt x="324" y="112"/>
                    <a:pt x="324" y="112"/>
                  </a:cubicBezTo>
                  <a:cubicBezTo>
                    <a:pt x="323" y="112"/>
                    <a:pt x="323" y="112"/>
                    <a:pt x="323" y="112"/>
                  </a:cubicBezTo>
                  <a:cubicBezTo>
                    <a:pt x="322" y="111"/>
                    <a:pt x="322" y="111"/>
                    <a:pt x="321" y="112"/>
                  </a:cubicBezTo>
                  <a:cubicBezTo>
                    <a:pt x="321" y="112"/>
                    <a:pt x="321" y="112"/>
                    <a:pt x="321" y="112"/>
                  </a:cubicBezTo>
                  <a:cubicBezTo>
                    <a:pt x="320" y="113"/>
                    <a:pt x="320" y="113"/>
                    <a:pt x="320" y="113"/>
                  </a:cubicBezTo>
                  <a:cubicBezTo>
                    <a:pt x="320" y="114"/>
                    <a:pt x="319" y="114"/>
                    <a:pt x="318" y="114"/>
                  </a:cubicBezTo>
                  <a:cubicBezTo>
                    <a:pt x="317" y="114"/>
                    <a:pt x="317" y="113"/>
                    <a:pt x="316" y="113"/>
                  </a:cubicBezTo>
                  <a:cubicBezTo>
                    <a:pt x="316" y="112"/>
                    <a:pt x="317" y="112"/>
                    <a:pt x="317" y="111"/>
                  </a:cubicBezTo>
                  <a:cubicBezTo>
                    <a:pt x="316" y="110"/>
                    <a:pt x="314" y="111"/>
                    <a:pt x="313" y="111"/>
                  </a:cubicBezTo>
                  <a:cubicBezTo>
                    <a:pt x="313" y="111"/>
                    <a:pt x="313" y="111"/>
                    <a:pt x="312" y="110"/>
                  </a:cubicBezTo>
                  <a:cubicBezTo>
                    <a:pt x="312" y="110"/>
                    <a:pt x="312" y="109"/>
                    <a:pt x="312" y="109"/>
                  </a:cubicBezTo>
                  <a:cubicBezTo>
                    <a:pt x="312" y="108"/>
                    <a:pt x="311" y="108"/>
                    <a:pt x="310" y="108"/>
                  </a:cubicBezTo>
                  <a:cubicBezTo>
                    <a:pt x="310" y="107"/>
                    <a:pt x="310" y="107"/>
                    <a:pt x="309" y="107"/>
                  </a:cubicBezTo>
                  <a:cubicBezTo>
                    <a:pt x="309" y="107"/>
                    <a:pt x="308" y="107"/>
                    <a:pt x="308" y="108"/>
                  </a:cubicBezTo>
                  <a:cubicBezTo>
                    <a:pt x="308" y="108"/>
                    <a:pt x="307" y="108"/>
                    <a:pt x="307" y="109"/>
                  </a:cubicBezTo>
                  <a:cubicBezTo>
                    <a:pt x="306" y="109"/>
                    <a:pt x="306" y="109"/>
                    <a:pt x="306" y="110"/>
                  </a:cubicBezTo>
                  <a:cubicBezTo>
                    <a:pt x="305" y="110"/>
                    <a:pt x="304" y="111"/>
                    <a:pt x="303" y="111"/>
                  </a:cubicBezTo>
                  <a:cubicBezTo>
                    <a:pt x="303" y="112"/>
                    <a:pt x="303" y="112"/>
                    <a:pt x="302" y="112"/>
                  </a:cubicBezTo>
                  <a:cubicBezTo>
                    <a:pt x="301" y="112"/>
                    <a:pt x="301" y="112"/>
                    <a:pt x="300" y="111"/>
                  </a:cubicBezTo>
                  <a:cubicBezTo>
                    <a:pt x="300" y="111"/>
                    <a:pt x="299" y="111"/>
                    <a:pt x="299" y="110"/>
                  </a:cubicBezTo>
                  <a:cubicBezTo>
                    <a:pt x="298" y="110"/>
                    <a:pt x="299" y="108"/>
                    <a:pt x="299" y="108"/>
                  </a:cubicBezTo>
                  <a:cubicBezTo>
                    <a:pt x="299" y="108"/>
                    <a:pt x="299" y="107"/>
                    <a:pt x="299" y="107"/>
                  </a:cubicBezTo>
                  <a:cubicBezTo>
                    <a:pt x="299" y="107"/>
                    <a:pt x="299" y="107"/>
                    <a:pt x="298" y="107"/>
                  </a:cubicBezTo>
                  <a:cubicBezTo>
                    <a:pt x="297" y="107"/>
                    <a:pt x="296" y="106"/>
                    <a:pt x="296" y="106"/>
                  </a:cubicBezTo>
                  <a:cubicBezTo>
                    <a:pt x="295" y="106"/>
                    <a:pt x="295" y="106"/>
                    <a:pt x="295" y="105"/>
                  </a:cubicBezTo>
                  <a:cubicBezTo>
                    <a:pt x="295" y="104"/>
                    <a:pt x="294" y="103"/>
                    <a:pt x="294" y="102"/>
                  </a:cubicBezTo>
                  <a:cubicBezTo>
                    <a:pt x="294" y="102"/>
                    <a:pt x="294" y="101"/>
                    <a:pt x="294" y="100"/>
                  </a:cubicBezTo>
                  <a:cubicBezTo>
                    <a:pt x="293" y="100"/>
                    <a:pt x="293" y="101"/>
                    <a:pt x="292" y="102"/>
                  </a:cubicBezTo>
                  <a:cubicBezTo>
                    <a:pt x="291" y="102"/>
                    <a:pt x="290" y="101"/>
                    <a:pt x="289" y="101"/>
                  </a:cubicBezTo>
                  <a:cubicBezTo>
                    <a:pt x="288" y="100"/>
                    <a:pt x="287" y="100"/>
                    <a:pt x="286" y="100"/>
                  </a:cubicBezTo>
                  <a:cubicBezTo>
                    <a:pt x="285" y="100"/>
                    <a:pt x="285" y="101"/>
                    <a:pt x="285" y="101"/>
                  </a:cubicBezTo>
                  <a:cubicBezTo>
                    <a:pt x="284" y="102"/>
                    <a:pt x="284" y="102"/>
                    <a:pt x="284" y="102"/>
                  </a:cubicBezTo>
                  <a:cubicBezTo>
                    <a:pt x="283" y="103"/>
                    <a:pt x="282" y="103"/>
                    <a:pt x="281" y="103"/>
                  </a:cubicBezTo>
                  <a:cubicBezTo>
                    <a:pt x="280" y="102"/>
                    <a:pt x="279" y="101"/>
                    <a:pt x="278" y="100"/>
                  </a:cubicBezTo>
                  <a:cubicBezTo>
                    <a:pt x="277" y="99"/>
                    <a:pt x="275" y="100"/>
                    <a:pt x="273" y="100"/>
                  </a:cubicBezTo>
                  <a:cubicBezTo>
                    <a:pt x="273" y="101"/>
                    <a:pt x="272" y="101"/>
                    <a:pt x="271" y="101"/>
                  </a:cubicBezTo>
                  <a:cubicBezTo>
                    <a:pt x="271" y="101"/>
                    <a:pt x="270" y="99"/>
                    <a:pt x="269" y="100"/>
                  </a:cubicBezTo>
                  <a:cubicBezTo>
                    <a:pt x="269" y="100"/>
                    <a:pt x="268" y="100"/>
                    <a:pt x="268" y="100"/>
                  </a:cubicBezTo>
                  <a:cubicBezTo>
                    <a:pt x="267" y="100"/>
                    <a:pt x="267" y="99"/>
                    <a:pt x="266" y="99"/>
                  </a:cubicBezTo>
                  <a:cubicBezTo>
                    <a:pt x="266" y="99"/>
                    <a:pt x="265" y="98"/>
                    <a:pt x="265" y="98"/>
                  </a:cubicBezTo>
                  <a:cubicBezTo>
                    <a:pt x="265" y="98"/>
                    <a:pt x="264" y="97"/>
                    <a:pt x="264" y="97"/>
                  </a:cubicBezTo>
                  <a:cubicBezTo>
                    <a:pt x="263" y="97"/>
                    <a:pt x="263" y="97"/>
                    <a:pt x="263" y="98"/>
                  </a:cubicBezTo>
                  <a:cubicBezTo>
                    <a:pt x="262" y="98"/>
                    <a:pt x="262" y="98"/>
                    <a:pt x="261" y="98"/>
                  </a:cubicBezTo>
                  <a:cubicBezTo>
                    <a:pt x="260" y="98"/>
                    <a:pt x="259" y="97"/>
                    <a:pt x="258" y="97"/>
                  </a:cubicBezTo>
                  <a:cubicBezTo>
                    <a:pt x="258" y="97"/>
                    <a:pt x="257" y="97"/>
                    <a:pt x="257" y="97"/>
                  </a:cubicBezTo>
                  <a:cubicBezTo>
                    <a:pt x="256" y="96"/>
                    <a:pt x="256" y="94"/>
                    <a:pt x="256" y="93"/>
                  </a:cubicBezTo>
                  <a:cubicBezTo>
                    <a:pt x="256" y="93"/>
                    <a:pt x="256" y="92"/>
                    <a:pt x="255" y="92"/>
                  </a:cubicBezTo>
                  <a:cubicBezTo>
                    <a:pt x="255" y="92"/>
                    <a:pt x="255" y="91"/>
                    <a:pt x="254" y="91"/>
                  </a:cubicBezTo>
                  <a:cubicBezTo>
                    <a:pt x="254" y="90"/>
                    <a:pt x="254" y="90"/>
                    <a:pt x="254" y="90"/>
                  </a:cubicBezTo>
                  <a:cubicBezTo>
                    <a:pt x="254" y="89"/>
                    <a:pt x="253" y="90"/>
                    <a:pt x="253" y="89"/>
                  </a:cubicBezTo>
                  <a:cubicBezTo>
                    <a:pt x="253" y="89"/>
                    <a:pt x="252" y="89"/>
                    <a:pt x="252" y="88"/>
                  </a:cubicBezTo>
                  <a:cubicBezTo>
                    <a:pt x="252" y="88"/>
                    <a:pt x="252" y="88"/>
                    <a:pt x="251" y="88"/>
                  </a:cubicBezTo>
                  <a:cubicBezTo>
                    <a:pt x="251" y="87"/>
                    <a:pt x="251" y="87"/>
                    <a:pt x="251" y="87"/>
                  </a:cubicBezTo>
                  <a:cubicBezTo>
                    <a:pt x="250" y="88"/>
                    <a:pt x="250" y="88"/>
                    <a:pt x="250" y="89"/>
                  </a:cubicBezTo>
                  <a:cubicBezTo>
                    <a:pt x="250" y="89"/>
                    <a:pt x="250" y="90"/>
                    <a:pt x="249" y="91"/>
                  </a:cubicBezTo>
                  <a:cubicBezTo>
                    <a:pt x="249" y="91"/>
                    <a:pt x="248" y="90"/>
                    <a:pt x="248" y="90"/>
                  </a:cubicBezTo>
                  <a:cubicBezTo>
                    <a:pt x="247" y="90"/>
                    <a:pt x="246" y="89"/>
                    <a:pt x="246" y="89"/>
                  </a:cubicBezTo>
                  <a:cubicBezTo>
                    <a:pt x="245" y="89"/>
                    <a:pt x="245" y="89"/>
                    <a:pt x="244" y="89"/>
                  </a:cubicBezTo>
                  <a:cubicBezTo>
                    <a:pt x="244" y="89"/>
                    <a:pt x="243" y="90"/>
                    <a:pt x="243" y="90"/>
                  </a:cubicBezTo>
                  <a:cubicBezTo>
                    <a:pt x="242" y="90"/>
                    <a:pt x="241" y="90"/>
                    <a:pt x="240" y="90"/>
                  </a:cubicBezTo>
                  <a:cubicBezTo>
                    <a:pt x="240" y="90"/>
                    <a:pt x="239" y="90"/>
                    <a:pt x="238" y="90"/>
                  </a:cubicBezTo>
                  <a:cubicBezTo>
                    <a:pt x="238" y="90"/>
                    <a:pt x="238" y="89"/>
                    <a:pt x="238" y="89"/>
                  </a:cubicBezTo>
                  <a:cubicBezTo>
                    <a:pt x="237" y="88"/>
                    <a:pt x="236" y="87"/>
                    <a:pt x="236" y="87"/>
                  </a:cubicBezTo>
                  <a:cubicBezTo>
                    <a:pt x="235" y="86"/>
                    <a:pt x="234" y="85"/>
                    <a:pt x="233" y="84"/>
                  </a:cubicBezTo>
                  <a:cubicBezTo>
                    <a:pt x="233" y="83"/>
                    <a:pt x="232" y="83"/>
                    <a:pt x="231" y="82"/>
                  </a:cubicBezTo>
                  <a:cubicBezTo>
                    <a:pt x="231" y="82"/>
                    <a:pt x="231" y="82"/>
                    <a:pt x="230" y="82"/>
                  </a:cubicBezTo>
                  <a:cubicBezTo>
                    <a:pt x="230" y="83"/>
                    <a:pt x="229" y="83"/>
                    <a:pt x="229" y="82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3" y="189"/>
                    <a:pt x="123" y="189"/>
                    <a:pt x="123" y="189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0" y="190"/>
                    <a:pt x="0" y="19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1" y="191"/>
                    <a:pt x="1" y="191"/>
                    <a:pt x="1" y="191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2"/>
                    <a:pt x="0" y="193"/>
                    <a:pt x="0" y="193"/>
                  </a:cubicBezTo>
                  <a:cubicBezTo>
                    <a:pt x="0" y="193"/>
                    <a:pt x="0" y="194"/>
                    <a:pt x="0" y="195"/>
                  </a:cubicBezTo>
                  <a:cubicBezTo>
                    <a:pt x="1" y="195"/>
                    <a:pt x="2" y="196"/>
                    <a:pt x="2" y="196"/>
                  </a:cubicBezTo>
                  <a:cubicBezTo>
                    <a:pt x="3" y="196"/>
                    <a:pt x="4" y="197"/>
                    <a:pt x="4" y="197"/>
                  </a:cubicBezTo>
                  <a:cubicBezTo>
                    <a:pt x="5" y="199"/>
                    <a:pt x="5" y="199"/>
                    <a:pt x="5" y="199"/>
                  </a:cubicBezTo>
                  <a:cubicBezTo>
                    <a:pt x="6" y="198"/>
                    <a:pt x="6" y="198"/>
                    <a:pt x="6" y="198"/>
                  </a:cubicBezTo>
                  <a:cubicBezTo>
                    <a:pt x="9" y="201"/>
                    <a:pt x="9" y="201"/>
                    <a:pt x="9" y="201"/>
                  </a:cubicBezTo>
                  <a:cubicBezTo>
                    <a:pt x="12" y="206"/>
                    <a:pt x="12" y="206"/>
                    <a:pt x="12" y="206"/>
                  </a:cubicBezTo>
                  <a:cubicBezTo>
                    <a:pt x="15" y="210"/>
                    <a:pt x="15" y="210"/>
                    <a:pt x="15" y="210"/>
                  </a:cubicBezTo>
                  <a:cubicBezTo>
                    <a:pt x="15" y="210"/>
                    <a:pt x="19" y="212"/>
                    <a:pt x="19" y="212"/>
                  </a:cubicBezTo>
                  <a:cubicBezTo>
                    <a:pt x="19" y="212"/>
                    <a:pt x="22" y="214"/>
                    <a:pt x="22" y="214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28" y="220"/>
                    <a:pt x="28" y="220"/>
                    <a:pt x="28" y="220"/>
                  </a:cubicBezTo>
                  <a:cubicBezTo>
                    <a:pt x="30" y="223"/>
                    <a:pt x="30" y="223"/>
                    <a:pt x="30" y="223"/>
                  </a:cubicBezTo>
                  <a:cubicBezTo>
                    <a:pt x="36" y="226"/>
                    <a:pt x="36" y="226"/>
                    <a:pt x="36" y="226"/>
                  </a:cubicBezTo>
                  <a:cubicBezTo>
                    <a:pt x="37" y="230"/>
                    <a:pt x="37" y="230"/>
                    <a:pt x="37" y="230"/>
                  </a:cubicBezTo>
                  <a:cubicBezTo>
                    <a:pt x="42" y="233"/>
                    <a:pt x="42" y="233"/>
                    <a:pt x="42" y="233"/>
                  </a:cubicBezTo>
                  <a:cubicBezTo>
                    <a:pt x="42" y="235"/>
                    <a:pt x="42" y="235"/>
                    <a:pt x="42" y="235"/>
                  </a:cubicBezTo>
                  <a:cubicBezTo>
                    <a:pt x="47" y="237"/>
                    <a:pt x="47" y="237"/>
                    <a:pt x="47" y="237"/>
                  </a:cubicBezTo>
                  <a:cubicBezTo>
                    <a:pt x="49" y="237"/>
                    <a:pt x="49" y="237"/>
                    <a:pt x="49" y="237"/>
                  </a:cubicBezTo>
                  <a:cubicBezTo>
                    <a:pt x="49" y="237"/>
                    <a:pt x="49" y="238"/>
                    <a:pt x="49" y="238"/>
                  </a:cubicBezTo>
                  <a:cubicBezTo>
                    <a:pt x="49" y="238"/>
                    <a:pt x="52" y="239"/>
                    <a:pt x="52" y="239"/>
                  </a:cubicBezTo>
                  <a:cubicBezTo>
                    <a:pt x="52" y="239"/>
                    <a:pt x="54" y="242"/>
                    <a:pt x="54" y="242"/>
                  </a:cubicBezTo>
                  <a:cubicBezTo>
                    <a:pt x="56" y="242"/>
                    <a:pt x="56" y="242"/>
                    <a:pt x="56" y="242"/>
                  </a:cubicBezTo>
                  <a:cubicBezTo>
                    <a:pt x="57" y="245"/>
                    <a:pt x="57" y="245"/>
                    <a:pt x="57" y="245"/>
                  </a:cubicBezTo>
                  <a:cubicBezTo>
                    <a:pt x="59" y="245"/>
                    <a:pt x="59" y="245"/>
                    <a:pt x="59" y="245"/>
                  </a:cubicBezTo>
                  <a:cubicBezTo>
                    <a:pt x="61" y="249"/>
                    <a:pt x="61" y="249"/>
                    <a:pt x="61" y="249"/>
                  </a:cubicBezTo>
                  <a:cubicBezTo>
                    <a:pt x="61" y="254"/>
                    <a:pt x="61" y="254"/>
                    <a:pt x="61" y="254"/>
                  </a:cubicBezTo>
                  <a:cubicBezTo>
                    <a:pt x="67" y="260"/>
                    <a:pt x="67" y="260"/>
                    <a:pt x="67" y="260"/>
                  </a:cubicBezTo>
                  <a:cubicBezTo>
                    <a:pt x="67" y="272"/>
                    <a:pt x="67" y="272"/>
                    <a:pt x="67" y="272"/>
                  </a:cubicBezTo>
                  <a:cubicBezTo>
                    <a:pt x="67" y="272"/>
                    <a:pt x="71" y="277"/>
                    <a:pt x="71" y="277"/>
                  </a:cubicBezTo>
                  <a:cubicBezTo>
                    <a:pt x="71" y="277"/>
                    <a:pt x="72" y="283"/>
                    <a:pt x="72" y="283"/>
                  </a:cubicBezTo>
                  <a:cubicBezTo>
                    <a:pt x="75" y="286"/>
                    <a:pt x="75" y="286"/>
                    <a:pt x="75" y="286"/>
                  </a:cubicBezTo>
                  <a:cubicBezTo>
                    <a:pt x="75" y="286"/>
                    <a:pt x="80" y="288"/>
                    <a:pt x="80" y="288"/>
                  </a:cubicBezTo>
                  <a:cubicBezTo>
                    <a:pt x="80" y="288"/>
                    <a:pt x="83" y="289"/>
                    <a:pt x="83" y="289"/>
                  </a:cubicBezTo>
                  <a:cubicBezTo>
                    <a:pt x="83" y="289"/>
                    <a:pt x="85" y="293"/>
                    <a:pt x="85" y="293"/>
                  </a:cubicBezTo>
                  <a:cubicBezTo>
                    <a:pt x="85" y="293"/>
                    <a:pt x="89" y="296"/>
                    <a:pt x="89" y="296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8" y="298"/>
                    <a:pt x="98" y="298"/>
                    <a:pt x="98" y="298"/>
                  </a:cubicBezTo>
                  <a:cubicBezTo>
                    <a:pt x="98" y="300"/>
                    <a:pt x="98" y="300"/>
                    <a:pt x="98" y="300"/>
                  </a:cubicBezTo>
                  <a:cubicBezTo>
                    <a:pt x="98" y="300"/>
                    <a:pt x="100" y="300"/>
                    <a:pt x="100" y="300"/>
                  </a:cubicBezTo>
                  <a:cubicBezTo>
                    <a:pt x="100" y="300"/>
                    <a:pt x="100" y="302"/>
                    <a:pt x="100" y="302"/>
                  </a:cubicBezTo>
                  <a:cubicBezTo>
                    <a:pt x="100" y="302"/>
                    <a:pt x="103" y="302"/>
                    <a:pt x="103" y="302"/>
                  </a:cubicBezTo>
                  <a:cubicBezTo>
                    <a:pt x="103" y="302"/>
                    <a:pt x="106" y="302"/>
                    <a:pt x="106" y="302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12" y="309"/>
                    <a:pt x="112" y="309"/>
                    <a:pt x="112" y="309"/>
                  </a:cubicBezTo>
                  <a:cubicBezTo>
                    <a:pt x="114" y="307"/>
                    <a:pt x="114" y="307"/>
                    <a:pt x="114" y="307"/>
                  </a:cubicBezTo>
                  <a:cubicBezTo>
                    <a:pt x="115" y="310"/>
                    <a:pt x="115" y="310"/>
                    <a:pt x="115" y="310"/>
                  </a:cubicBezTo>
                  <a:cubicBezTo>
                    <a:pt x="121" y="310"/>
                    <a:pt x="121" y="310"/>
                    <a:pt x="121" y="310"/>
                  </a:cubicBezTo>
                  <a:cubicBezTo>
                    <a:pt x="122" y="307"/>
                    <a:pt x="122" y="307"/>
                    <a:pt x="122" y="307"/>
                  </a:cubicBezTo>
                  <a:cubicBezTo>
                    <a:pt x="122" y="307"/>
                    <a:pt x="125" y="304"/>
                    <a:pt x="125" y="304"/>
                  </a:cubicBezTo>
                  <a:cubicBezTo>
                    <a:pt x="125" y="304"/>
                    <a:pt x="125" y="303"/>
                    <a:pt x="125" y="303"/>
                  </a:cubicBezTo>
                  <a:cubicBezTo>
                    <a:pt x="125" y="303"/>
                    <a:pt x="126" y="301"/>
                    <a:pt x="126" y="301"/>
                  </a:cubicBezTo>
                  <a:cubicBezTo>
                    <a:pt x="126" y="301"/>
                    <a:pt x="127" y="302"/>
                    <a:pt x="127" y="302"/>
                  </a:cubicBezTo>
                  <a:cubicBezTo>
                    <a:pt x="130" y="300"/>
                    <a:pt x="130" y="300"/>
                    <a:pt x="130" y="300"/>
                  </a:cubicBezTo>
                  <a:cubicBezTo>
                    <a:pt x="130" y="300"/>
                    <a:pt x="129" y="299"/>
                    <a:pt x="129" y="299"/>
                  </a:cubicBezTo>
                  <a:cubicBezTo>
                    <a:pt x="128" y="298"/>
                    <a:pt x="128" y="298"/>
                    <a:pt x="129" y="298"/>
                  </a:cubicBezTo>
                  <a:cubicBezTo>
                    <a:pt x="129" y="298"/>
                    <a:pt x="129" y="297"/>
                    <a:pt x="129" y="297"/>
                  </a:cubicBezTo>
                  <a:cubicBezTo>
                    <a:pt x="129" y="297"/>
                    <a:pt x="129" y="296"/>
                    <a:pt x="129" y="296"/>
                  </a:cubicBezTo>
                  <a:cubicBezTo>
                    <a:pt x="129" y="295"/>
                    <a:pt x="130" y="294"/>
                    <a:pt x="130" y="294"/>
                  </a:cubicBezTo>
                  <a:cubicBezTo>
                    <a:pt x="130" y="294"/>
                    <a:pt x="132" y="293"/>
                    <a:pt x="132" y="293"/>
                  </a:cubicBezTo>
                  <a:cubicBezTo>
                    <a:pt x="132" y="288"/>
                    <a:pt x="132" y="288"/>
                    <a:pt x="132" y="288"/>
                  </a:cubicBezTo>
                  <a:cubicBezTo>
                    <a:pt x="137" y="279"/>
                    <a:pt x="137" y="279"/>
                    <a:pt x="137" y="279"/>
                  </a:cubicBezTo>
                  <a:cubicBezTo>
                    <a:pt x="138" y="280"/>
                    <a:pt x="138" y="280"/>
                    <a:pt x="138" y="280"/>
                  </a:cubicBezTo>
                  <a:cubicBezTo>
                    <a:pt x="140" y="278"/>
                    <a:pt x="140" y="278"/>
                    <a:pt x="140" y="278"/>
                  </a:cubicBezTo>
                  <a:cubicBezTo>
                    <a:pt x="141" y="279"/>
                    <a:pt x="141" y="279"/>
                    <a:pt x="141" y="279"/>
                  </a:cubicBezTo>
                  <a:cubicBezTo>
                    <a:pt x="143" y="277"/>
                    <a:pt x="143" y="277"/>
                    <a:pt x="143" y="277"/>
                  </a:cubicBezTo>
                  <a:cubicBezTo>
                    <a:pt x="143" y="277"/>
                    <a:pt x="145" y="278"/>
                    <a:pt x="145" y="278"/>
                  </a:cubicBezTo>
                  <a:cubicBezTo>
                    <a:pt x="145" y="278"/>
                    <a:pt x="146" y="279"/>
                    <a:pt x="146" y="279"/>
                  </a:cubicBezTo>
                  <a:cubicBezTo>
                    <a:pt x="147" y="276"/>
                    <a:pt x="147" y="276"/>
                    <a:pt x="147" y="276"/>
                  </a:cubicBezTo>
                  <a:cubicBezTo>
                    <a:pt x="149" y="274"/>
                    <a:pt x="149" y="274"/>
                    <a:pt x="149" y="274"/>
                  </a:cubicBezTo>
                  <a:cubicBezTo>
                    <a:pt x="158" y="278"/>
                    <a:pt x="158" y="278"/>
                    <a:pt x="158" y="278"/>
                  </a:cubicBezTo>
                  <a:cubicBezTo>
                    <a:pt x="160" y="276"/>
                    <a:pt x="160" y="276"/>
                    <a:pt x="160" y="276"/>
                  </a:cubicBezTo>
                  <a:cubicBezTo>
                    <a:pt x="162" y="278"/>
                    <a:pt x="162" y="278"/>
                    <a:pt x="162" y="278"/>
                  </a:cubicBezTo>
                  <a:cubicBezTo>
                    <a:pt x="164" y="277"/>
                    <a:pt x="164" y="277"/>
                    <a:pt x="164" y="277"/>
                  </a:cubicBezTo>
                  <a:cubicBezTo>
                    <a:pt x="166" y="277"/>
                    <a:pt x="166" y="277"/>
                    <a:pt x="166" y="277"/>
                  </a:cubicBezTo>
                  <a:cubicBezTo>
                    <a:pt x="167" y="277"/>
                    <a:pt x="167" y="277"/>
                    <a:pt x="167" y="277"/>
                  </a:cubicBezTo>
                  <a:cubicBezTo>
                    <a:pt x="167" y="278"/>
                    <a:pt x="167" y="278"/>
                    <a:pt x="167" y="278"/>
                  </a:cubicBezTo>
                  <a:cubicBezTo>
                    <a:pt x="167" y="278"/>
                    <a:pt x="169" y="278"/>
                    <a:pt x="169" y="278"/>
                  </a:cubicBezTo>
                  <a:cubicBezTo>
                    <a:pt x="170" y="278"/>
                    <a:pt x="171" y="279"/>
                    <a:pt x="171" y="279"/>
                  </a:cubicBezTo>
                  <a:cubicBezTo>
                    <a:pt x="171" y="279"/>
                    <a:pt x="173" y="279"/>
                    <a:pt x="173" y="279"/>
                  </a:cubicBezTo>
                  <a:cubicBezTo>
                    <a:pt x="173" y="279"/>
                    <a:pt x="175" y="278"/>
                    <a:pt x="175" y="278"/>
                  </a:cubicBezTo>
                  <a:cubicBezTo>
                    <a:pt x="176" y="277"/>
                    <a:pt x="176" y="277"/>
                    <a:pt x="176" y="277"/>
                  </a:cubicBezTo>
                  <a:cubicBezTo>
                    <a:pt x="176" y="279"/>
                    <a:pt x="176" y="279"/>
                    <a:pt x="176" y="279"/>
                  </a:cubicBezTo>
                  <a:cubicBezTo>
                    <a:pt x="176" y="279"/>
                    <a:pt x="178" y="278"/>
                    <a:pt x="178" y="278"/>
                  </a:cubicBezTo>
                  <a:cubicBezTo>
                    <a:pt x="178" y="278"/>
                    <a:pt x="178" y="278"/>
                    <a:pt x="178" y="278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80" y="279"/>
                    <a:pt x="180" y="279"/>
                    <a:pt x="180" y="279"/>
                  </a:cubicBezTo>
                  <a:cubicBezTo>
                    <a:pt x="180" y="280"/>
                    <a:pt x="180" y="280"/>
                    <a:pt x="180" y="280"/>
                  </a:cubicBezTo>
                  <a:cubicBezTo>
                    <a:pt x="182" y="283"/>
                    <a:pt x="182" y="283"/>
                    <a:pt x="182" y="283"/>
                  </a:cubicBezTo>
                  <a:cubicBezTo>
                    <a:pt x="184" y="283"/>
                    <a:pt x="184" y="283"/>
                    <a:pt x="184" y="283"/>
                  </a:cubicBezTo>
                  <a:cubicBezTo>
                    <a:pt x="184" y="286"/>
                    <a:pt x="184" y="286"/>
                    <a:pt x="184" y="286"/>
                  </a:cubicBezTo>
                  <a:cubicBezTo>
                    <a:pt x="186" y="284"/>
                    <a:pt x="186" y="284"/>
                    <a:pt x="186" y="284"/>
                  </a:cubicBezTo>
                  <a:cubicBezTo>
                    <a:pt x="186" y="288"/>
                    <a:pt x="186" y="288"/>
                    <a:pt x="186" y="288"/>
                  </a:cubicBezTo>
                  <a:cubicBezTo>
                    <a:pt x="192" y="290"/>
                    <a:pt x="192" y="290"/>
                    <a:pt x="192" y="290"/>
                  </a:cubicBezTo>
                  <a:cubicBezTo>
                    <a:pt x="194" y="294"/>
                    <a:pt x="194" y="294"/>
                    <a:pt x="194" y="294"/>
                  </a:cubicBezTo>
                  <a:cubicBezTo>
                    <a:pt x="201" y="298"/>
                    <a:pt x="201" y="298"/>
                    <a:pt x="201" y="298"/>
                  </a:cubicBezTo>
                  <a:cubicBezTo>
                    <a:pt x="202" y="302"/>
                    <a:pt x="202" y="302"/>
                    <a:pt x="202" y="302"/>
                  </a:cubicBezTo>
                  <a:cubicBezTo>
                    <a:pt x="206" y="305"/>
                    <a:pt x="206" y="305"/>
                    <a:pt x="206" y="305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0" y="316"/>
                    <a:pt x="210" y="316"/>
                    <a:pt x="210" y="316"/>
                  </a:cubicBezTo>
                  <a:cubicBezTo>
                    <a:pt x="211" y="321"/>
                    <a:pt x="211" y="321"/>
                    <a:pt x="211" y="321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5" y="328"/>
                    <a:pt x="215" y="328"/>
                    <a:pt x="215" y="328"/>
                  </a:cubicBezTo>
                  <a:cubicBezTo>
                    <a:pt x="218" y="328"/>
                    <a:pt x="218" y="328"/>
                    <a:pt x="218" y="328"/>
                  </a:cubicBezTo>
                  <a:cubicBezTo>
                    <a:pt x="216" y="330"/>
                    <a:pt x="216" y="330"/>
                    <a:pt x="216" y="330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18" y="335"/>
                    <a:pt x="218" y="335"/>
                    <a:pt x="218" y="335"/>
                  </a:cubicBezTo>
                  <a:cubicBezTo>
                    <a:pt x="219" y="337"/>
                    <a:pt x="219" y="337"/>
                    <a:pt x="219" y="337"/>
                  </a:cubicBezTo>
                  <a:cubicBezTo>
                    <a:pt x="221" y="339"/>
                    <a:pt x="221" y="339"/>
                    <a:pt x="221" y="339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6" y="342"/>
                    <a:pt x="226" y="342"/>
                    <a:pt x="226" y="342"/>
                  </a:cubicBezTo>
                  <a:cubicBezTo>
                    <a:pt x="229" y="348"/>
                    <a:pt x="229" y="348"/>
                    <a:pt x="229" y="348"/>
                  </a:cubicBezTo>
                  <a:cubicBezTo>
                    <a:pt x="231" y="349"/>
                    <a:pt x="231" y="349"/>
                    <a:pt x="231" y="349"/>
                  </a:cubicBezTo>
                  <a:cubicBezTo>
                    <a:pt x="234" y="357"/>
                    <a:pt x="234" y="357"/>
                    <a:pt x="234" y="357"/>
                  </a:cubicBezTo>
                  <a:cubicBezTo>
                    <a:pt x="236" y="357"/>
                    <a:pt x="236" y="357"/>
                    <a:pt x="236" y="357"/>
                  </a:cubicBezTo>
                  <a:cubicBezTo>
                    <a:pt x="239" y="361"/>
                    <a:pt x="239" y="361"/>
                    <a:pt x="239" y="361"/>
                  </a:cubicBezTo>
                  <a:cubicBezTo>
                    <a:pt x="244" y="363"/>
                    <a:pt x="244" y="363"/>
                    <a:pt x="244" y="363"/>
                  </a:cubicBezTo>
                  <a:cubicBezTo>
                    <a:pt x="245" y="365"/>
                    <a:pt x="245" y="365"/>
                    <a:pt x="245" y="365"/>
                  </a:cubicBezTo>
                  <a:cubicBezTo>
                    <a:pt x="247" y="370"/>
                    <a:pt x="247" y="370"/>
                    <a:pt x="247" y="370"/>
                  </a:cubicBezTo>
                  <a:cubicBezTo>
                    <a:pt x="247" y="370"/>
                    <a:pt x="246" y="372"/>
                    <a:pt x="246" y="372"/>
                  </a:cubicBezTo>
                  <a:cubicBezTo>
                    <a:pt x="246" y="372"/>
                    <a:pt x="245" y="375"/>
                    <a:pt x="245" y="375"/>
                  </a:cubicBezTo>
                  <a:cubicBezTo>
                    <a:pt x="248" y="377"/>
                    <a:pt x="248" y="377"/>
                    <a:pt x="248" y="377"/>
                  </a:cubicBezTo>
                  <a:cubicBezTo>
                    <a:pt x="249" y="383"/>
                    <a:pt x="249" y="383"/>
                    <a:pt x="249" y="383"/>
                  </a:cubicBezTo>
                  <a:cubicBezTo>
                    <a:pt x="248" y="385"/>
                    <a:pt x="248" y="385"/>
                    <a:pt x="248" y="385"/>
                  </a:cubicBezTo>
                  <a:cubicBezTo>
                    <a:pt x="250" y="388"/>
                    <a:pt x="250" y="388"/>
                    <a:pt x="250" y="388"/>
                  </a:cubicBezTo>
                  <a:cubicBezTo>
                    <a:pt x="250" y="389"/>
                    <a:pt x="250" y="389"/>
                    <a:pt x="250" y="389"/>
                  </a:cubicBezTo>
                  <a:cubicBezTo>
                    <a:pt x="252" y="390"/>
                    <a:pt x="252" y="390"/>
                    <a:pt x="252" y="390"/>
                  </a:cubicBezTo>
                  <a:cubicBezTo>
                    <a:pt x="252" y="392"/>
                    <a:pt x="252" y="392"/>
                    <a:pt x="252" y="392"/>
                  </a:cubicBezTo>
                  <a:cubicBezTo>
                    <a:pt x="254" y="393"/>
                    <a:pt x="254" y="393"/>
                    <a:pt x="254" y="393"/>
                  </a:cubicBezTo>
                  <a:cubicBezTo>
                    <a:pt x="256" y="397"/>
                    <a:pt x="256" y="397"/>
                    <a:pt x="256" y="397"/>
                  </a:cubicBezTo>
                  <a:cubicBezTo>
                    <a:pt x="256" y="397"/>
                    <a:pt x="257" y="399"/>
                    <a:pt x="257" y="400"/>
                  </a:cubicBezTo>
                  <a:cubicBezTo>
                    <a:pt x="257" y="400"/>
                    <a:pt x="257" y="405"/>
                    <a:pt x="257" y="405"/>
                  </a:cubicBezTo>
                  <a:cubicBezTo>
                    <a:pt x="260" y="407"/>
                    <a:pt x="260" y="407"/>
                    <a:pt x="260" y="407"/>
                  </a:cubicBezTo>
                  <a:cubicBezTo>
                    <a:pt x="260" y="407"/>
                    <a:pt x="259" y="409"/>
                    <a:pt x="259" y="409"/>
                  </a:cubicBezTo>
                  <a:cubicBezTo>
                    <a:pt x="259" y="409"/>
                    <a:pt x="260" y="410"/>
                    <a:pt x="260" y="410"/>
                  </a:cubicBezTo>
                  <a:cubicBezTo>
                    <a:pt x="264" y="410"/>
                    <a:pt x="264" y="410"/>
                    <a:pt x="264" y="410"/>
                  </a:cubicBezTo>
                  <a:cubicBezTo>
                    <a:pt x="265" y="411"/>
                    <a:pt x="265" y="411"/>
                    <a:pt x="265" y="411"/>
                  </a:cubicBezTo>
                  <a:cubicBezTo>
                    <a:pt x="266" y="410"/>
                    <a:pt x="266" y="410"/>
                    <a:pt x="266" y="410"/>
                  </a:cubicBezTo>
                  <a:cubicBezTo>
                    <a:pt x="267" y="412"/>
                    <a:pt x="267" y="412"/>
                    <a:pt x="267" y="412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0" y="411"/>
                    <a:pt x="270" y="411"/>
                    <a:pt x="270" y="411"/>
                  </a:cubicBezTo>
                  <a:cubicBezTo>
                    <a:pt x="275" y="417"/>
                    <a:pt x="275" y="417"/>
                    <a:pt x="275" y="417"/>
                  </a:cubicBezTo>
                  <a:cubicBezTo>
                    <a:pt x="278" y="416"/>
                    <a:pt x="278" y="416"/>
                    <a:pt x="278" y="416"/>
                  </a:cubicBezTo>
                  <a:cubicBezTo>
                    <a:pt x="281" y="418"/>
                    <a:pt x="281" y="418"/>
                    <a:pt x="281" y="418"/>
                  </a:cubicBezTo>
                  <a:cubicBezTo>
                    <a:pt x="283" y="417"/>
                    <a:pt x="283" y="417"/>
                    <a:pt x="283" y="417"/>
                  </a:cubicBezTo>
                  <a:cubicBezTo>
                    <a:pt x="284" y="419"/>
                    <a:pt x="284" y="419"/>
                    <a:pt x="284" y="419"/>
                  </a:cubicBezTo>
                  <a:cubicBezTo>
                    <a:pt x="286" y="419"/>
                    <a:pt x="286" y="419"/>
                    <a:pt x="286" y="419"/>
                  </a:cubicBezTo>
                  <a:cubicBezTo>
                    <a:pt x="287" y="422"/>
                    <a:pt x="287" y="422"/>
                    <a:pt x="287" y="422"/>
                  </a:cubicBezTo>
                  <a:cubicBezTo>
                    <a:pt x="288" y="421"/>
                    <a:pt x="288" y="421"/>
                    <a:pt x="288" y="421"/>
                  </a:cubicBezTo>
                  <a:cubicBezTo>
                    <a:pt x="288" y="422"/>
                    <a:pt x="288" y="422"/>
                    <a:pt x="288" y="422"/>
                  </a:cubicBezTo>
                  <a:cubicBezTo>
                    <a:pt x="292" y="424"/>
                    <a:pt x="292" y="424"/>
                    <a:pt x="292" y="424"/>
                  </a:cubicBezTo>
                  <a:cubicBezTo>
                    <a:pt x="293" y="423"/>
                    <a:pt x="293" y="423"/>
                    <a:pt x="293" y="423"/>
                  </a:cubicBezTo>
                  <a:cubicBezTo>
                    <a:pt x="295" y="423"/>
                    <a:pt x="295" y="423"/>
                    <a:pt x="295" y="423"/>
                  </a:cubicBezTo>
                  <a:cubicBezTo>
                    <a:pt x="295" y="424"/>
                    <a:pt x="295" y="424"/>
                    <a:pt x="295" y="424"/>
                  </a:cubicBezTo>
                  <a:cubicBezTo>
                    <a:pt x="297" y="423"/>
                    <a:pt x="297" y="423"/>
                    <a:pt x="297" y="423"/>
                  </a:cubicBezTo>
                  <a:cubicBezTo>
                    <a:pt x="303" y="423"/>
                    <a:pt x="303" y="423"/>
                    <a:pt x="303" y="423"/>
                  </a:cubicBezTo>
                  <a:cubicBezTo>
                    <a:pt x="306" y="424"/>
                    <a:pt x="306" y="424"/>
                    <a:pt x="306" y="424"/>
                  </a:cubicBezTo>
                  <a:cubicBezTo>
                    <a:pt x="310" y="425"/>
                    <a:pt x="310" y="425"/>
                    <a:pt x="310" y="425"/>
                  </a:cubicBezTo>
                  <a:cubicBezTo>
                    <a:pt x="310" y="425"/>
                    <a:pt x="318" y="432"/>
                    <a:pt x="318" y="432"/>
                  </a:cubicBezTo>
                  <a:cubicBezTo>
                    <a:pt x="318" y="432"/>
                    <a:pt x="318" y="431"/>
                    <a:pt x="318" y="431"/>
                  </a:cubicBezTo>
                  <a:cubicBezTo>
                    <a:pt x="318" y="430"/>
                    <a:pt x="319" y="432"/>
                    <a:pt x="319" y="432"/>
                  </a:cubicBezTo>
                  <a:cubicBezTo>
                    <a:pt x="319" y="432"/>
                    <a:pt x="320" y="431"/>
                    <a:pt x="320" y="430"/>
                  </a:cubicBezTo>
                  <a:cubicBezTo>
                    <a:pt x="320" y="430"/>
                    <a:pt x="320" y="428"/>
                    <a:pt x="320" y="428"/>
                  </a:cubicBezTo>
                  <a:cubicBezTo>
                    <a:pt x="320" y="428"/>
                    <a:pt x="324" y="428"/>
                    <a:pt x="324" y="428"/>
                  </a:cubicBezTo>
                  <a:cubicBezTo>
                    <a:pt x="325" y="428"/>
                    <a:pt x="327" y="428"/>
                    <a:pt x="327" y="428"/>
                  </a:cubicBezTo>
                  <a:cubicBezTo>
                    <a:pt x="327" y="428"/>
                    <a:pt x="327" y="427"/>
                    <a:pt x="327" y="426"/>
                  </a:cubicBezTo>
                  <a:cubicBezTo>
                    <a:pt x="328" y="426"/>
                    <a:pt x="327" y="426"/>
                    <a:pt x="327" y="426"/>
                  </a:cubicBezTo>
                  <a:cubicBezTo>
                    <a:pt x="327" y="426"/>
                    <a:pt x="326" y="427"/>
                    <a:pt x="326" y="427"/>
                  </a:cubicBezTo>
                  <a:cubicBezTo>
                    <a:pt x="326" y="427"/>
                    <a:pt x="325" y="427"/>
                    <a:pt x="325" y="426"/>
                  </a:cubicBezTo>
                  <a:cubicBezTo>
                    <a:pt x="325" y="426"/>
                    <a:pt x="326" y="426"/>
                    <a:pt x="326" y="425"/>
                  </a:cubicBezTo>
                  <a:cubicBezTo>
                    <a:pt x="326" y="425"/>
                    <a:pt x="326" y="424"/>
                    <a:pt x="326" y="424"/>
                  </a:cubicBezTo>
                  <a:cubicBezTo>
                    <a:pt x="326" y="423"/>
                    <a:pt x="326" y="423"/>
                    <a:pt x="325" y="423"/>
                  </a:cubicBezTo>
                  <a:cubicBezTo>
                    <a:pt x="324" y="423"/>
                    <a:pt x="324" y="423"/>
                    <a:pt x="323" y="422"/>
                  </a:cubicBezTo>
                  <a:cubicBezTo>
                    <a:pt x="323" y="421"/>
                    <a:pt x="322" y="421"/>
                    <a:pt x="322" y="420"/>
                  </a:cubicBezTo>
                  <a:cubicBezTo>
                    <a:pt x="322" y="420"/>
                    <a:pt x="322" y="419"/>
                    <a:pt x="322" y="418"/>
                  </a:cubicBezTo>
                  <a:cubicBezTo>
                    <a:pt x="321" y="418"/>
                    <a:pt x="322" y="417"/>
                    <a:pt x="322" y="416"/>
                  </a:cubicBezTo>
                  <a:cubicBezTo>
                    <a:pt x="321" y="415"/>
                    <a:pt x="321" y="415"/>
                    <a:pt x="321" y="415"/>
                  </a:cubicBezTo>
                  <a:cubicBezTo>
                    <a:pt x="321" y="415"/>
                    <a:pt x="321" y="414"/>
                    <a:pt x="321" y="413"/>
                  </a:cubicBezTo>
                  <a:cubicBezTo>
                    <a:pt x="321" y="413"/>
                    <a:pt x="320" y="412"/>
                    <a:pt x="320" y="411"/>
                  </a:cubicBezTo>
                  <a:cubicBezTo>
                    <a:pt x="319" y="410"/>
                    <a:pt x="318" y="409"/>
                    <a:pt x="318" y="409"/>
                  </a:cubicBezTo>
                  <a:cubicBezTo>
                    <a:pt x="318" y="409"/>
                    <a:pt x="318" y="407"/>
                    <a:pt x="318" y="407"/>
                  </a:cubicBezTo>
                  <a:cubicBezTo>
                    <a:pt x="318" y="407"/>
                    <a:pt x="318" y="407"/>
                    <a:pt x="318" y="406"/>
                  </a:cubicBezTo>
                  <a:cubicBezTo>
                    <a:pt x="319" y="406"/>
                    <a:pt x="318" y="405"/>
                    <a:pt x="318" y="404"/>
                  </a:cubicBezTo>
                  <a:cubicBezTo>
                    <a:pt x="318" y="404"/>
                    <a:pt x="318" y="404"/>
                    <a:pt x="318" y="403"/>
                  </a:cubicBezTo>
                  <a:cubicBezTo>
                    <a:pt x="317" y="403"/>
                    <a:pt x="318" y="402"/>
                    <a:pt x="318" y="402"/>
                  </a:cubicBezTo>
                  <a:cubicBezTo>
                    <a:pt x="318" y="402"/>
                    <a:pt x="318" y="401"/>
                    <a:pt x="317" y="401"/>
                  </a:cubicBezTo>
                  <a:cubicBezTo>
                    <a:pt x="317" y="400"/>
                    <a:pt x="317" y="400"/>
                    <a:pt x="317" y="399"/>
                  </a:cubicBezTo>
                  <a:cubicBezTo>
                    <a:pt x="317" y="399"/>
                    <a:pt x="317" y="397"/>
                    <a:pt x="316" y="397"/>
                  </a:cubicBezTo>
                  <a:cubicBezTo>
                    <a:pt x="316" y="396"/>
                    <a:pt x="314" y="395"/>
                    <a:pt x="314" y="394"/>
                  </a:cubicBezTo>
                  <a:cubicBezTo>
                    <a:pt x="313" y="393"/>
                    <a:pt x="313" y="393"/>
                    <a:pt x="313" y="393"/>
                  </a:cubicBezTo>
                  <a:cubicBezTo>
                    <a:pt x="313" y="392"/>
                    <a:pt x="314" y="393"/>
                    <a:pt x="314" y="392"/>
                  </a:cubicBezTo>
                  <a:cubicBezTo>
                    <a:pt x="314" y="392"/>
                    <a:pt x="314" y="392"/>
                    <a:pt x="314" y="392"/>
                  </a:cubicBezTo>
                  <a:cubicBezTo>
                    <a:pt x="314" y="391"/>
                    <a:pt x="314" y="389"/>
                    <a:pt x="314" y="389"/>
                  </a:cubicBezTo>
                  <a:cubicBezTo>
                    <a:pt x="314" y="389"/>
                    <a:pt x="314" y="388"/>
                    <a:pt x="314" y="388"/>
                  </a:cubicBezTo>
                  <a:cubicBezTo>
                    <a:pt x="315" y="387"/>
                    <a:pt x="317" y="388"/>
                    <a:pt x="317" y="388"/>
                  </a:cubicBezTo>
                  <a:cubicBezTo>
                    <a:pt x="317" y="388"/>
                    <a:pt x="317" y="387"/>
                    <a:pt x="317" y="387"/>
                  </a:cubicBezTo>
                  <a:cubicBezTo>
                    <a:pt x="317" y="387"/>
                    <a:pt x="317" y="386"/>
                    <a:pt x="317" y="386"/>
                  </a:cubicBezTo>
                  <a:cubicBezTo>
                    <a:pt x="317" y="386"/>
                    <a:pt x="316" y="385"/>
                    <a:pt x="316" y="385"/>
                  </a:cubicBezTo>
                  <a:cubicBezTo>
                    <a:pt x="316" y="385"/>
                    <a:pt x="317" y="384"/>
                    <a:pt x="317" y="384"/>
                  </a:cubicBezTo>
                  <a:cubicBezTo>
                    <a:pt x="317" y="384"/>
                    <a:pt x="317" y="383"/>
                    <a:pt x="317" y="381"/>
                  </a:cubicBezTo>
                  <a:cubicBezTo>
                    <a:pt x="317" y="381"/>
                    <a:pt x="317" y="381"/>
                    <a:pt x="317" y="380"/>
                  </a:cubicBezTo>
                  <a:cubicBezTo>
                    <a:pt x="317" y="380"/>
                    <a:pt x="317" y="380"/>
                    <a:pt x="317" y="380"/>
                  </a:cubicBezTo>
                  <a:cubicBezTo>
                    <a:pt x="317" y="379"/>
                    <a:pt x="318" y="379"/>
                    <a:pt x="318" y="379"/>
                  </a:cubicBezTo>
                  <a:cubicBezTo>
                    <a:pt x="318" y="378"/>
                    <a:pt x="316" y="378"/>
                    <a:pt x="316" y="378"/>
                  </a:cubicBezTo>
                  <a:cubicBezTo>
                    <a:pt x="315" y="378"/>
                    <a:pt x="315" y="379"/>
                    <a:pt x="315" y="379"/>
                  </a:cubicBezTo>
                  <a:cubicBezTo>
                    <a:pt x="315" y="379"/>
                    <a:pt x="314" y="378"/>
                    <a:pt x="314" y="378"/>
                  </a:cubicBezTo>
                  <a:cubicBezTo>
                    <a:pt x="313" y="378"/>
                    <a:pt x="312" y="378"/>
                    <a:pt x="311" y="378"/>
                  </a:cubicBezTo>
                  <a:cubicBezTo>
                    <a:pt x="311" y="378"/>
                    <a:pt x="310" y="378"/>
                    <a:pt x="309" y="378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08" y="377"/>
                    <a:pt x="308" y="377"/>
                    <a:pt x="309" y="377"/>
                  </a:cubicBezTo>
                  <a:cubicBezTo>
                    <a:pt x="309" y="376"/>
                    <a:pt x="310" y="377"/>
                    <a:pt x="310" y="376"/>
                  </a:cubicBezTo>
                  <a:cubicBezTo>
                    <a:pt x="310" y="376"/>
                    <a:pt x="311" y="376"/>
                    <a:pt x="311" y="376"/>
                  </a:cubicBezTo>
                  <a:cubicBezTo>
                    <a:pt x="312" y="376"/>
                    <a:pt x="312" y="376"/>
                    <a:pt x="313" y="375"/>
                  </a:cubicBezTo>
                  <a:cubicBezTo>
                    <a:pt x="313" y="375"/>
                    <a:pt x="314" y="374"/>
                    <a:pt x="315" y="375"/>
                  </a:cubicBezTo>
                  <a:cubicBezTo>
                    <a:pt x="315" y="375"/>
                    <a:pt x="314" y="376"/>
                    <a:pt x="314" y="376"/>
                  </a:cubicBezTo>
                  <a:cubicBezTo>
                    <a:pt x="314" y="376"/>
                    <a:pt x="315" y="377"/>
                    <a:pt x="315" y="377"/>
                  </a:cubicBezTo>
                  <a:cubicBezTo>
                    <a:pt x="315" y="376"/>
                    <a:pt x="315" y="376"/>
                    <a:pt x="316" y="376"/>
                  </a:cubicBezTo>
                  <a:cubicBezTo>
                    <a:pt x="316" y="376"/>
                    <a:pt x="317" y="376"/>
                    <a:pt x="317" y="376"/>
                  </a:cubicBezTo>
                  <a:cubicBezTo>
                    <a:pt x="318" y="376"/>
                    <a:pt x="318" y="375"/>
                    <a:pt x="318" y="375"/>
                  </a:cubicBezTo>
                  <a:cubicBezTo>
                    <a:pt x="319" y="375"/>
                    <a:pt x="319" y="375"/>
                    <a:pt x="319" y="375"/>
                  </a:cubicBezTo>
                  <a:cubicBezTo>
                    <a:pt x="319" y="374"/>
                    <a:pt x="319" y="374"/>
                    <a:pt x="319" y="374"/>
                  </a:cubicBezTo>
                  <a:cubicBezTo>
                    <a:pt x="319" y="373"/>
                    <a:pt x="319" y="373"/>
                    <a:pt x="320" y="372"/>
                  </a:cubicBezTo>
                  <a:cubicBezTo>
                    <a:pt x="320" y="372"/>
                    <a:pt x="320" y="372"/>
                    <a:pt x="320" y="371"/>
                  </a:cubicBezTo>
                  <a:cubicBezTo>
                    <a:pt x="320" y="371"/>
                    <a:pt x="320" y="370"/>
                    <a:pt x="321" y="369"/>
                  </a:cubicBezTo>
                  <a:cubicBezTo>
                    <a:pt x="321" y="369"/>
                    <a:pt x="320" y="368"/>
                    <a:pt x="321" y="367"/>
                  </a:cubicBezTo>
                  <a:cubicBezTo>
                    <a:pt x="321" y="367"/>
                    <a:pt x="321" y="366"/>
                    <a:pt x="322" y="366"/>
                  </a:cubicBezTo>
                  <a:cubicBezTo>
                    <a:pt x="322" y="365"/>
                    <a:pt x="322" y="365"/>
                    <a:pt x="322" y="365"/>
                  </a:cubicBezTo>
                  <a:cubicBezTo>
                    <a:pt x="323" y="364"/>
                    <a:pt x="323" y="364"/>
                    <a:pt x="323" y="363"/>
                  </a:cubicBezTo>
                  <a:cubicBezTo>
                    <a:pt x="323" y="363"/>
                    <a:pt x="323" y="362"/>
                    <a:pt x="324" y="362"/>
                  </a:cubicBezTo>
                  <a:cubicBezTo>
                    <a:pt x="324" y="362"/>
                    <a:pt x="324" y="361"/>
                    <a:pt x="324" y="361"/>
                  </a:cubicBezTo>
                  <a:cubicBezTo>
                    <a:pt x="324" y="361"/>
                    <a:pt x="323" y="360"/>
                    <a:pt x="323" y="360"/>
                  </a:cubicBezTo>
                  <a:cubicBezTo>
                    <a:pt x="323" y="360"/>
                    <a:pt x="322" y="360"/>
                    <a:pt x="321" y="360"/>
                  </a:cubicBezTo>
                  <a:cubicBezTo>
                    <a:pt x="321" y="359"/>
                    <a:pt x="320" y="359"/>
                    <a:pt x="320" y="358"/>
                  </a:cubicBezTo>
                  <a:cubicBezTo>
                    <a:pt x="320" y="358"/>
                    <a:pt x="320" y="358"/>
                    <a:pt x="320" y="358"/>
                  </a:cubicBezTo>
                  <a:cubicBezTo>
                    <a:pt x="320" y="357"/>
                    <a:pt x="319" y="357"/>
                    <a:pt x="319" y="357"/>
                  </a:cubicBezTo>
                  <a:cubicBezTo>
                    <a:pt x="319" y="357"/>
                    <a:pt x="319" y="356"/>
                    <a:pt x="319" y="356"/>
                  </a:cubicBezTo>
                  <a:cubicBezTo>
                    <a:pt x="319" y="356"/>
                    <a:pt x="319" y="356"/>
                    <a:pt x="319" y="355"/>
                  </a:cubicBezTo>
                  <a:cubicBezTo>
                    <a:pt x="319" y="355"/>
                    <a:pt x="318" y="355"/>
                    <a:pt x="318" y="354"/>
                  </a:cubicBezTo>
                  <a:cubicBezTo>
                    <a:pt x="318" y="354"/>
                    <a:pt x="318" y="354"/>
                    <a:pt x="319" y="354"/>
                  </a:cubicBezTo>
                  <a:cubicBezTo>
                    <a:pt x="319" y="354"/>
                    <a:pt x="320" y="354"/>
                    <a:pt x="321" y="354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21" y="353"/>
                    <a:pt x="322" y="353"/>
                    <a:pt x="322" y="353"/>
                  </a:cubicBezTo>
                  <a:cubicBezTo>
                    <a:pt x="323" y="353"/>
                    <a:pt x="323" y="353"/>
                    <a:pt x="324" y="353"/>
                  </a:cubicBezTo>
                  <a:cubicBezTo>
                    <a:pt x="324" y="354"/>
                    <a:pt x="324" y="354"/>
                    <a:pt x="325" y="354"/>
                  </a:cubicBezTo>
                  <a:cubicBezTo>
                    <a:pt x="325" y="355"/>
                    <a:pt x="325" y="355"/>
                    <a:pt x="326" y="355"/>
                  </a:cubicBezTo>
                  <a:cubicBezTo>
                    <a:pt x="326" y="355"/>
                    <a:pt x="327" y="355"/>
                    <a:pt x="327" y="355"/>
                  </a:cubicBezTo>
                  <a:cubicBezTo>
                    <a:pt x="327" y="355"/>
                    <a:pt x="327" y="355"/>
                    <a:pt x="327" y="355"/>
                  </a:cubicBezTo>
                  <a:cubicBezTo>
                    <a:pt x="327" y="354"/>
                    <a:pt x="327" y="354"/>
                    <a:pt x="327" y="354"/>
                  </a:cubicBezTo>
                  <a:cubicBezTo>
                    <a:pt x="328" y="353"/>
                    <a:pt x="329" y="352"/>
                    <a:pt x="329" y="351"/>
                  </a:cubicBezTo>
                  <a:cubicBezTo>
                    <a:pt x="330" y="350"/>
                    <a:pt x="330" y="349"/>
                    <a:pt x="331" y="348"/>
                  </a:cubicBezTo>
                  <a:cubicBezTo>
                    <a:pt x="331" y="347"/>
                    <a:pt x="331" y="346"/>
                    <a:pt x="331" y="346"/>
                  </a:cubicBezTo>
                  <a:cubicBezTo>
                    <a:pt x="331" y="346"/>
                    <a:pt x="331" y="346"/>
                    <a:pt x="330" y="346"/>
                  </a:cubicBezTo>
                  <a:cubicBezTo>
                    <a:pt x="330" y="346"/>
                    <a:pt x="330" y="346"/>
                    <a:pt x="329" y="346"/>
                  </a:cubicBezTo>
                  <a:cubicBezTo>
                    <a:pt x="329" y="346"/>
                    <a:pt x="329" y="347"/>
                    <a:pt x="329" y="347"/>
                  </a:cubicBezTo>
                  <a:cubicBezTo>
                    <a:pt x="328" y="347"/>
                    <a:pt x="328" y="347"/>
                    <a:pt x="327" y="347"/>
                  </a:cubicBezTo>
                  <a:cubicBezTo>
                    <a:pt x="326" y="346"/>
                    <a:pt x="326" y="346"/>
                    <a:pt x="326" y="345"/>
                  </a:cubicBezTo>
                  <a:cubicBezTo>
                    <a:pt x="325" y="345"/>
                    <a:pt x="326" y="345"/>
                    <a:pt x="326" y="345"/>
                  </a:cubicBezTo>
                  <a:cubicBezTo>
                    <a:pt x="327" y="345"/>
                    <a:pt x="327" y="344"/>
                    <a:pt x="328" y="344"/>
                  </a:cubicBezTo>
                  <a:cubicBezTo>
                    <a:pt x="328" y="344"/>
                    <a:pt x="328" y="343"/>
                    <a:pt x="329" y="343"/>
                  </a:cubicBezTo>
                  <a:cubicBezTo>
                    <a:pt x="329" y="343"/>
                    <a:pt x="329" y="343"/>
                    <a:pt x="329" y="343"/>
                  </a:cubicBezTo>
                  <a:cubicBezTo>
                    <a:pt x="330" y="343"/>
                    <a:pt x="330" y="343"/>
                    <a:pt x="330" y="342"/>
                  </a:cubicBezTo>
                  <a:cubicBezTo>
                    <a:pt x="330" y="342"/>
                    <a:pt x="331" y="342"/>
                    <a:pt x="331" y="342"/>
                  </a:cubicBezTo>
                  <a:cubicBezTo>
                    <a:pt x="331" y="342"/>
                    <a:pt x="331" y="341"/>
                    <a:pt x="332" y="341"/>
                  </a:cubicBezTo>
                  <a:cubicBezTo>
                    <a:pt x="332" y="341"/>
                    <a:pt x="333" y="341"/>
                    <a:pt x="333" y="341"/>
                  </a:cubicBezTo>
                  <a:cubicBezTo>
                    <a:pt x="333" y="342"/>
                    <a:pt x="333" y="342"/>
                    <a:pt x="333" y="343"/>
                  </a:cubicBezTo>
                  <a:cubicBezTo>
                    <a:pt x="333" y="343"/>
                    <a:pt x="333" y="343"/>
                    <a:pt x="334" y="343"/>
                  </a:cubicBezTo>
                  <a:cubicBezTo>
                    <a:pt x="334" y="343"/>
                    <a:pt x="335" y="343"/>
                    <a:pt x="336" y="343"/>
                  </a:cubicBezTo>
                  <a:cubicBezTo>
                    <a:pt x="336" y="343"/>
                    <a:pt x="337" y="342"/>
                    <a:pt x="338" y="342"/>
                  </a:cubicBezTo>
                  <a:cubicBezTo>
                    <a:pt x="338" y="341"/>
                    <a:pt x="339" y="340"/>
                    <a:pt x="340" y="340"/>
                  </a:cubicBezTo>
                  <a:cubicBezTo>
                    <a:pt x="340" y="339"/>
                    <a:pt x="340" y="339"/>
                    <a:pt x="340" y="338"/>
                  </a:cubicBezTo>
                  <a:cubicBezTo>
                    <a:pt x="340" y="338"/>
                    <a:pt x="340" y="338"/>
                    <a:pt x="340" y="337"/>
                  </a:cubicBezTo>
                  <a:cubicBezTo>
                    <a:pt x="340" y="337"/>
                    <a:pt x="340" y="337"/>
                    <a:pt x="340" y="336"/>
                  </a:cubicBezTo>
                  <a:cubicBezTo>
                    <a:pt x="340" y="336"/>
                    <a:pt x="340" y="336"/>
                    <a:pt x="340" y="336"/>
                  </a:cubicBezTo>
                  <a:cubicBezTo>
                    <a:pt x="339" y="336"/>
                    <a:pt x="340" y="335"/>
                    <a:pt x="340" y="335"/>
                  </a:cubicBezTo>
                  <a:cubicBezTo>
                    <a:pt x="340" y="334"/>
                    <a:pt x="339" y="334"/>
                    <a:pt x="339" y="333"/>
                  </a:cubicBezTo>
                  <a:cubicBezTo>
                    <a:pt x="338" y="333"/>
                    <a:pt x="338" y="333"/>
                    <a:pt x="339" y="332"/>
                  </a:cubicBezTo>
                  <a:cubicBezTo>
                    <a:pt x="340" y="332"/>
                    <a:pt x="342" y="332"/>
                    <a:pt x="343" y="333"/>
                  </a:cubicBezTo>
                  <a:cubicBezTo>
                    <a:pt x="343" y="333"/>
                    <a:pt x="343" y="334"/>
                    <a:pt x="343" y="335"/>
                  </a:cubicBezTo>
                  <a:cubicBezTo>
                    <a:pt x="343" y="336"/>
                    <a:pt x="343" y="335"/>
                    <a:pt x="344" y="335"/>
                  </a:cubicBezTo>
                  <a:cubicBezTo>
                    <a:pt x="345" y="335"/>
                    <a:pt x="345" y="336"/>
                    <a:pt x="346" y="335"/>
                  </a:cubicBezTo>
                  <a:cubicBezTo>
                    <a:pt x="347" y="335"/>
                    <a:pt x="348" y="334"/>
                    <a:pt x="348" y="334"/>
                  </a:cubicBezTo>
                  <a:cubicBezTo>
                    <a:pt x="349" y="333"/>
                    <a:pt x="350" y="333"/>
                    <a:pt x="351" y="332"/>
                  </a:cubicBezTo>
                  <a:cubicBezTo>
                    <a:pt x="352" y="332"/>
                    <a:pt x="353" y="332"/>
                    <a:pt x="353" y="331"/>
                  </a:cubicBezTo>
                  <a:cubicBezTo>
                    <a:pt x="353" y="330"/>
                    <a:pt x="352" y="330"/>
                    <a:pt x="352" y="329"/>
                  </a:cubicBezTo>
                  <a:cubicBezTo>
                    <a:pt x="352" y="329"/>
                    <a:pt x="352" y="329"/>
                    <a:pt x="351" y="328"/>
                  </a:cubicBezTo>
                  <a:cubicBezTo>
                    <a:pt x="351" y="328"/>
                    <a:pt x="350" y="327"/>
                    <a:pt x="349" y="327"/>
                  </a:cubicBezTo>
                  <a:cubicBezTo>
                    <a:pt x="349" y="326"/>
                    <a:pt x="348" y="326"/>
                    <a:pt x="347" y="326"/>
                  </a:cubicBezTo>
                  <a:cubicBezTo>
                    <a:pt x="347" y="326"/>
                    <a:pt x="347" y="326"/>
                    <a:pt x="347" y="325"/>
                  </a:cubicBezTo>
                  <a:cubicBezTo>
                    <a:pt x="346" y="325"/>
                    <a:pt x="346" y="325"/>
                    <a:pt x="346" y="325"/>
                  </a:cubicBezTo>
                  <a:cubicBezTo>
                    <a:pt x="346" y="325"/>
                    <a:pt x="346" y="324"/>
                    <a:pt x="346" y="324"/>
                  </a:cubicBezTo>
                  <a:cubicBezTo>
                    <a:pt x="346" y="323"/>
                    <a:pt x="346" y="322"/>
                    <a:pt x="346" y="322"/>
                  </a:cubicBezTo>
                  <a:cubicBezTo>
                    <a:pt x="346" y="322"/>
                    <a:pt x="346" y="321"/>
                    <a:pt x="347" y="321"/>
                  </a:cubicBezTo>
                  <a:cubicBezTo>
                    <a:pt x="347" y="321"/>
                    <a:pt x="347" y="320"/>
                    <a:pt x="347" y="321"/>
                  </a:cubicBezTo>
                  <a:cubicBezTo>
                    <a:pt x="348" y="321"/>
                    <a:pt x="347" y="322"/>
                    <a:pt x="348" y="323"/>
                  </a:cubicBezTo>
                  <a:cubicBezTo>
                    <a:pt x="348" y="323"/>
                    <a:pt x="349" y="323"/>
                    <a:pt x="349" y="323"/>
                  </a:cubicBezTo>
                  <a:cubicBezTo>
                    <a:pt x="350" y="323"/>
                    <a:pt x="351" y="323"/>
                    <a:pt x="351" y="324"/>
                  </a:cubicBezTo>
                  <a:cubicBezTo>
                    <a:pt x="352" y="324"/>
                    <a:pt x="351" y="324"/>
                    <a:pt x="352" y="324"/>
                  </a:cubicBezTo>
                  <a:cubicBezTo>
                    <a:pt x="352" y="324"/>
                    <a:pt x="353" y="324"/>
                    <a:pt x="353" y="324"/>
                  </a:cubicBezTo>
                  <a:cubicBezTo>
                    <a:pt x="354" y="324"/>
                    <a:pt x="353" y="323"/>
                    <a:pt x="353" y="322"/>
                  </a:cubicBezTo>
                  <a:cubicBezTo>
                    <a:pt x="353" y="322"/>
                    <a:pt x="354" y="321"/>
                    <a:pt x="354" y="321"/>
                  </a:cubicBezTo>
                  <a:cubicBezTo>
                    <a:pt x="354" y="321"/>
                    <a:pt x="355" y="322"/>
                    <a:pt x="355" y="322"/>
                  </a:cubicBezTo>
                  <a:cubicBezTo>
                    <a:pt x="355" y="323"/>
                    <a:pt x="355" y="323"/>
                    <a:pt x="355" y="323"/>
                  </a:cubicBezTo>
                  <a:cubicBezTo>
                    <a:pt x="356" y="323"/>
                    <a:pt x="356" y="323"/>
                    <a:pt x="356" y="323"/>
                  </a:cubicBezTo>
                  <a:cubicBezTo>
                    <a:pt x="357" y="323"/>
                    <a:pt x="357" y="322"/>
                    <a:pt x="357" y="322"/>
                  </a:cubicBezTo>
                  <a:cubicBezTo>
                    <a:pt x="358" y="322"/>
                    <a:pt x="358" y="321"/>
                    <a:pt x="359" y="321"/>
                  </a:cubicBezTo>
                  <a:cubicBezTo>
                    <a:pt x="359" y="321"/>
                    <a:pt x="360" y="320"/>
                    <a:pt x="360" y="321"/>
                  </a:cubicBezTo>
                  <a:cubicBezTo>
                    <a:pt x="360" y="321"/>
                    <a:pt x="360" y="321"/>
                    <a:pt x="360" y="322"/>
                  </a:cubicBezTo>
                  <a:cubicBezTo>
                    <a:pt x="360" y="322"/>
                    <a:pt x="360" y="323"/>
                    <a:pt x="360" y="323"/>
                  </a:cubicBezTo>
                  <a:cubicBezTo>
                    <a:pt x="360" y="324"/>
                    <a:pt x="360" y="324"/>
                    <a:pt x="360" y="324"/>
                  </a:cubicBezTo>
                  <a:cubicBezTo>
                    <a:pt x="360" y="325"/>
                    <a:pt x="360" y="325"/>
                    <a:pt x="360" y="325"/>
                  </a:cubicBezTo>
                  <a:cubicBezTo>
                    <a:pt x="360" y="326"/>
                    <a:pt x="360" y="325"/>
                    <a:pt x="361" y="325"/>
                  </a:cubicBezTo>
                  <a:cubicBezTo>
                    <a:pt x="361" y="325"/>
                    <a:pt x="361" y="325"/>
                    <a:pt x="362" y="325"/>
                  </a:cubicBezTo>
                  <a:cubicBezTo>
                    <a:pt x="362" y="325"/>
                    <a:pt x="363" y="325"/>
                    <a:pt x="363" y="325"/>
                  </a:cubicBezTo>
                  <a:cubicBezTo>
                    <a:pt x="363" y="325"/>
                    <a:pt x="363" y="324"/>
                    <a:pt x="364" y="324"/>
                  </a:cubicBezTo>
                  <a:cubicBezTo>
                    <a:pt x="364" y="324"/>
                    <a:pt x="365" y="324"/>
                    <a:pt x="365" y="324"/>
                  </a:cubicBezTo>
                  <a:cubicBezTo>
                    <a:pt x="366" y="324"/>
                    <a:pt x="366" y="324"/>
                    <a:pt x="366" y="324"/>
                  </a:cubicBezTo>
                  <a:cubicBezTo>
                    <a:pt x="366" y="323"/>
                    <a:pt x="367" y="323"/>
                    <a:pt x="367" y="323"/>
                  </a:cubicBezTo>
                  <a:cubicBezTo>
                    <a:pt x="367" y="323"/>
                    <a:pt x="367" y="323"/>
                    <a:pt x="367" y="323"/>
                  </a:cubicBezTo>
                  <a:cubicBezTo>
                    <a:pt x="368" y="323"/>
                    <a:pt x="368" y="323"/>
                    <a:pt x="368" y="323"/>
                  </a:cubicBezTo>
                  <a:cubicBezTo>
                    <a:pt x="368" y="324"/>
                    <a:pt x="368" y="324"/>
                    <a:pt x="368" y="325"/>
                  </a:cubicBezTo>
                  <a:cubicBezTo>
                    <a:pt x="367" y="325"/>
                    <a:pt x="367" y="325"/>
                    <a:pt x="366" y="326"/>
                  </a:cubicBezTo>
                  <a:cubicBezTo>
                    <a:pt x="365" y="326"/>
                    <a:pt x="365" y="326"/>
                    <a:pt x="364" y="327"/>
                  </a:cubicBezTo>
                  <a:cubicBezTo>
                    <a:pt x="362" y="327"/>
                    <a:pt x="361" y="328"/>
                    <a:pt x="359" y="329"/>
                  </a:cubicBezTo>
                  <a:cubicBezTo>
                    <a:pt x="359" y="329"/>
                    <a:pt x="358" y="330"/>
                    <a:pt x="357" y="330"/>
                  </a:cubicBezTo>
                  <a:cubicBezTo>
                    <a:pt x="357" y="330"/>
                    <a:pt x="356" y="331"/>
                    <a:pt x="357" y="331"/>
                  </a:cubicBezTo>
                  <a:cubicBezTo>
                    <a:pt x="357" y="332"/>
                    <a:pt x="357" y="331"/>
                    <a:pt x="357" y="331"/>
                  </a:cubicBezTo>
                  <a:cubicBezTo>
                    <a:pt x="358" y="331"/>
                    <a:pt x="359" y="330"/>
                    <a:pt x="359" y="330"/>
                  </a:cubicBezTo>
                  <a:cubicBezTo>
                    <a:pt x="360" y="330"/>
                    <a:pt x="361" y="329"/>
                    <a:pt x="362" y="328"/>
                  </a:cubicBezTo>
                  <a:cubicBezTo>
                    <a:pt x="363" y="328"/>
                    <a:pt x="364" y="327"/>
                    <a:pt x="365" y="327"/>
                  </a:cubicBezTo>
                  <a:cubicBezTo>
                    <a:pt x="366" y="326"/>
                    <a:pt x="367" y="326"/>
                    <a:pt x="368" y="326"/>
                  </a:cubicBezTo>
                  <a:cubicBezTo>
                    <a:pt x="369" y="325"/>
                    <a:pt x="369" y="325"/>
                    <a:pt x="370" y="324"/>
                  </a:cubicBezTo>
                  <a:cubicBezTo>
                    <a:pt x="370" y="324"/>
                    <a:pt x="370" y="324"/>
                    <a:pt x="370" y="323"/>
                  </a:cubicBezTo>
                  <a:cubicBezTo>
                    <a:pt x="370" y="323"/>
                    <a:pt x="370" y="323"/>
                    <a:pt x="370" y="323"/>
                  </a:cubicBezTo>
                  <a:cubicBezTo>
                    <a:pt x="370" y="321"/>
                    <a:pt x="372" y="320"/>
                    <a:pt x="374" y="320"/>
                  </a:cubicBezTo>
                  <a:cubicBezTo>
                    <a:pt x="375" y="319"/>
                    <a:pt x="375" y="319"/>
                    <a:pt x="376" y="319"/>
                  </a:cubicBezTo>
                  <a:cubicBezTo>
                    <a:pt x="377" y="319"/>
                    <a:pt x="378" y="319"/>
                    <a:pt x="379" y="319"/>
                  </a:cubicBezTo>
                  <a:cubicBezTo>
                    <a:pt x="380" y="318"/>
                    <a:pt x="381" y="318"/>
                    <a:pt x="381" y="318"/>
                  </a:cubicBezTo>
                  <a:cubicBezTo>
                    <a:pt x="382" y="317"/>
                    <a:pt x="383" y="317"/>
                    <a:pt x="383" y="316"/>
                  </a:cubicBezTo>
                  <a:cubicBezTo>
                    <a:pt x="384" y="316"/>
                    <a:pt x="385" y="315"/>
                    <a:pt x="386" y="315"/>
                  </a:cubicBezTo>
                  <a:cubicBezTo>
                    <a:pt x="388" y="314"/>
                    <a:pt x="389" y="314"/>
                    <a:pt x="389" y="314"/>
                  </a:cubicBezTo>
                  <a:cubicBezTo>
                    <a:pt x="391" y="313"/>
                    <a:pt x="392" y="312"/>
                    <a:pt x="393" y="311"/>
                  </a:cubicBezTo>
                  <a:cubicBezTo>
                    <a:pt x="393" y="310"/>
                    <a:pt x="393" y="310"/>
                    <a:pt x="394" y="310"/>
                  </a:cubicBezTo>
                  <a:cubicBezTo>
                    <a:pt x="394" y="309"/>
                    <a:pt x="395" y="309"/>
                    <a:pt x="395" y="309"/>
                  </a:cubicBezTo>
                  <a:cubicBezTo>
                    <a:pt x="396" y="309"/>
                    <a:pt x="397" y="308"/>
                    <a:pt x="397" y="307"/>
                  </a:cubicBezTo>
                  <a:cubicBezTo>
                    <a:pt x="397" y="307"/>
                    <a:pt x="397" y="306"/>
                    <a:pt x="397" y="306"/>
                  </a:cubicBezTo>
                  <a:cubicBezTo>
                    <a:pt x="397" y="306"/>
                    <a:pt x="397" y="306"/>
                    <a:pt x="396" y="306"/>
                  </a:cubicBezTo>
                  <a:cubicBezTo>
                    <a:pt x="396" y="306"/>
                    <a:pt x="396" y="306"/>
                    <a:pt x="396" y="305"/>
                  </a:cubicBezTo>
                  <a:cubicBezTo>
                    <a:pt x="396" y="305"/>
                    <a:pt x="395" y="305"/>
                    <a:pt x="395" y="305"/>
                  </a:cubicBezTo>
                  <a:cubicBezTo>
                    <a:pt x="395" y="305"/>
                    <a:pt x="396" y="304"/>
                    <a:pt x="396" y="304"/>
                  </a:cubicBezTo>
                  <a:cubicBezTo>
                    <a:pt x="396" y="304"/>
                    <a:pt x="396" y="303"/>
                    <a:pt x="396" y="303"/>
                  </a:cubicBezTo>
                  <a:cubicBezTo>
                    <a:pt x="397" y="303"/>
                    <a:pt x="397" y="303"/>
                    <a:pt x="398" y="302"/>
                  </a:cubicBezTo>
                  <a:cubicBezTo>
                    <a:pt x="399" y="302"/>
                    <a:pt x="400" y="302"/>
                    <a:pt x="400" y="301"/>
                  </a:cubicBezTo>
                  <a:cubicBezTo>
                    <a:pt x="401" y="300"/>
                    <a:pt x="402" y="300"/>
                    <a:pt x="402" y="299"/>
                  </a:cubicBezTo>
                  <a:cubicBezTo>
                    <a:pt x="403" y="299"/>
                    <a:pt x="403" y="299"/>
                    <a:pt x="403" y="299"/>
                  </a:cubicBezTo>
                  <a:cubicBezTo>
                    <a:pt x="403" y="298"/>
                    <a:pt x="404" y="298"/>
                    <a:pt x="404" y="298"/>
                  </a:cubicBezTo>
                  <a:cubicBezTo>
                    <a:pt x="404" y="298"/>
                    <a:pt x="405" y="298"/>
                    <a:pt x="406" y="297"/>
                  </a:cubicBezTo>
                  <a:cubicBezTo>
                    <a:pt x="406" y="297"/>
                    <a:pt x="406" y="296"/>
                    <a:pt x="406" y="296"/>
                  </a:cubicBezTo>
                  <a:cubicBezTo>
                    <a:pt x="406" y="295"/>
                    <a:pt x="406" y="295"/>
                    <a:pt x="406" y="294"/>
                  </a:cubicBezTo>
                  <a:cubicBezTo>
                    <a:pt x="406" y="293"/>
                    <a:pt x="406" y="293"/>
                    <a:pt x="405" y="292"/>
                  </a:cubicBezTo>
                  <a:cubicBezTo>
                    <a:pt x="405" y="292"/>
                    <a:pt x="405" y="292"/>
                    <a:pt x="405" y="292"/>
                  </a:cubicBezTo>
                  <a:cubicBezTo>
                    <a:pt x="405" y="292"/>
                    <a:pt x="404" y="292"/>
                    <a:pt x="404" y="291"/>
                  </a:cubicBezTo>
                  <a:cubicBezTo>
                    <a:pt x="403" y="291"/>
                    <a:pt x="404" y="291"/>
                    <a:pt x="404" y="290"/>
                  </a:cubicBezTo>
                  <a:cubicBezTo>
                    <a:pt x="404" y="290"/>
                    <a:pt x="405" y="290"/>
                    <a:pt x="404" y="289"/>
                  </a:cubicBezTo>
                  <a:cubicBezTo>
                    <a:pt x="404" y="289"/>
                    <a:pt x="403" y="289"/>
                    <a:pt x="403" y="289"/>
                  </a:cubicBezTo>
                  <a:cubicBezTo>
                    <a:pt x="403" y="289"/>
                    <a:pt x="403" y="289"/>
                    <a:pt x="402" y="289"/>
                  </a:cubicBezTo>
                  <a:cubicBezTo>
                    <a:pt x="402" y="288"/>
                    <a:pt x="402" y="288"/>
                    <a:pt x="401" y="287"/>
                  </a:cubicBezTo>
                  <a:cubicBezTo>
                    <a:pt x="402" y="287"/>
                    <a:pt x="402" y="287"/>
                    <a:pt x="402" y="286"/>
                  </a:cubicBezTo>
                  <a:cubicBezTo>
                    <a:pt x="402" y="286"/>
                    <a:pt x="402" y="285"/>
                    <a:pt x="401" y="285"/>
                  </a:cubicBezTo>
                  <a:cubicBezTo>
                    <a:pt x="402" y="285"/>
                    <a:pt x="402" y="285"/>
                    <a:pt x="402" y="284"/>
                  </a:cubicBezTo>
                  <a:cubicBezTo>
                    <a:pt x="402" y="284"/>
                    <a:pt x="402" y="283"/>
                    <a:pt x="402" y="283"/>
                  </a:cubicBezTo>
                  <a:cubicBezTo>
                    <a:pt x="402" y="281"/>
                    <a:pt x="401" y="281"/>
                    <a:pt x="400" y="281"/>
                  </a:cubicBezTo>
                  <a:cubicBezTo>
                    <a:pt x="400" y="281"/>
                    <a:pt x="399" y="280"/>
                    <a:pt x="399" y="280"/>
                  </a:cubicBezTo>
                  <a:cubicBezTo>
                    <a:pt x="399" y="279"/>
                    <a:pt x="399" y="279"/>
                    <a:pt x="399" y="279"/>
                  </a:cubicBezTo>
                  <a:cubicBezTo>
                    <a:pt x="399" y="278"/>
                    <a:pt x="399" y="277"/>
                    <a:pt x="399" y="277"/>
                  </a:cubicBezTo>
                  <a:cubicBezTo>
                    <a:pt x="400" y="276"/>
                    <a:pt x="400" y="277"/>
                    <a:pt x="400" y="278"/>
                  </a:cubicBezTo>
                  <a:cubicBezTo>
                    <a:pt x="401" y="278"/>
                    <a:pt x="401" y="279"/>
                    <a:pt x="401" y="279"/>
                  </a:cubicBezTo>
                  <a:cubicBezTo>
                    <a:pt x="401" y="280"/>
                    <a:pt x="402" y="280"/>
                    <a:pt x="402" y="280"/>
                  </a:cubicBezTo>
                  <a:cubicBezTo>
                    <a:pt x="403" y="281"/>
                    <a:pt x="404" y="282"/>
                    <a:pt x="404" y="282"/>
                  </a:cubicBezTo>
                  <a:cubicBezTo>
                    <a:pt x="405" y="283"/>
                    <a:pt x="406" y="283"/>
                    <a:pt x="407" y="282"/>
                  </a:cubicBezTo>
                  <a:cubicBezTo>
                    <a:pt x="407" y="282"/>
                    <a:pt x="407" y="281"/>
                    <a:pt x="407" y="281"/>
                  </a:cubicBezTo>
                  <a:cubicBezTo>
                    <a:pt x="408" y="280"/>
                    <a:pt x="408" y="279"/>
                    <a:pt x="409" y="279"/>
                  </a:cubicBezTo>
                  <a:cubicBezTo>
                    <a:pt x="410" y="279"/>
                    <a:pt x="411" y="279"/>
                    <a:pt x="412" y="279"/>
                  </a:cubicBezTo>
                  <a:cubicBezTo>
                    <a:pt x="412" y="279"/>
                    <a:pt x="412" y="279"/>
                    <a:pt x="412" y="280"/>
                  </a:cubicBezTo>
                  <a:cubicBezTo>
                    <a:pt x="413" y="280"/>
                    <a:pt x="412" y="281"/>
                    <a:pt x="412" y="281"/>
                  </a:cubicBezTo>
                  <a:cubicBezTo>
                    <a:pt x="412" y="282"/>
                    <a:pt x="412" y="282"/>
                    <a:pt x="412" y="283"/>
                  </a:cubicBezTo>
                  <a:cubicBezTo>
                    <a:pt x="412" y="283"/>
                    <a:pt x="412" y="284"/>
                    <a:pt x="412" y="285"/>
                  </a:cubicBezTo>
                  <a:cubicBezTo>
                    <a:pt x="412" y="285"/>
                    <a:pt x="411" y="286"/>
                    <a:pt x="411" y="286"/>
                  </a:cubicBezTo>
                  <a:cubicBezTo>
                    <a:pt x="411" y="287"/>
                    <a:pt x="411" y="287"/>
                    <a:pt x="411" y="288"/>
                  </a:cubicBezTo>
                  <a:cubicBezTo>
                    <a:pt x="411" y="289"/>
                    <a:pt x="412" y="288"/>
                    <a:pt x="412" y="288"/>
                  </a:cubicBezTo>
                  <a:cubicBezTo>
                    <a:pt x="413" y="288"/>
                    <a:pt x="414" y="288"/>
                    <a:pt x="415" y="287"/>
                  </a:cubicBezTo>
                  <a:cubicBezTo>
                    <a:pt x="416" y="287"/>
                    <a:pt x="417" y="287"/>
                    <a:pt x="417" y="287"/>
                  </a:cubicBezTo>
                  <a:cubicBezTo>
                    <a:pt x="418" y="287"/>
                    <a:pt x="419" y="287"/>
                    <a:pt x="419" y="288"/>
                  </a:cubicBezTo>
                  <a:cubicBezTo>
                    <a:pt x="419" y="288"/>
                    <a:pt x="418" y="288"/>
                    <a:pt x="418" y="289"/>
                  </a:cubicBezTo>
                  <a:cubicBezTo>
                    <a:pt x="417" y="289"/>
                    <a:pt x="416" y="290"/>
                    <a:pt x="416" y="290"/>
                  </a:cubicBezTo>
                  <a:cubicBezTo>
                    <a:pt x="415" y="291"/>
                    <a:pt x="413" y="291"/>
                    <a:pt x="412" y="291"/>
                  </a:cubicBezTo>
                  <a:cubicBezTo>
                    <a:pt x="412" y="292"/>
                    <a:pt x="411" y="293"/>
                    <a:pt x="411" y="293"/>
                  </a:cubicBezTo>
                  <a:cubicBezTo>
                    <a:pt x="410" y="293"/>
                    <a:pt x="410" y="294"/>
                    <a:pt x="410" y="294"/>
                  </a:cubicBezTo>
                  <a:cubicBezTo>
                    <a:pt x="410" y="294"/>
                    <a:pt x="411" y="293"/>
                    <a:pt x="412" y="293"/>
                  </a:cubicBezTo>
                  <a:cubicBezTo>
                    <a:pt x="413" y="293"/>
                    <a:pt x="414" y="292"/>
                    <a:pt x="415" y="291"/>
                  </a:cubicBezTo>
                  <a:cubicBezTo>
                    <a:pt x="417" y="290"/>
                    <a:pt x="419" y="289"/>
                    <a:pt x="421" y="289"/>
                  </a:cubicBezTo>
                  <a:cubicBezTo>
                    <a:pt x="423" y="288"/>
                    <a:pt x="425" y="287"/>
                    <a:pt x="427" y="286"/>
                  </a:cubicBezTo>
                  <a:cubicBezTo>
                    <a:pt x="428" y="286"/>
                    <a:pt x="429" y="285"/>
                    <a:pt x="431" y="284"/>
                  </a:cubicBezTo>
                  <a:cubicBezTo>
                    <a:pt x="432" y="284"/>
                    <a:pt x="433" y="284"/>
                    <a:pt x="434" y="283"/>
                  </a:cubicBezTo>
                  <a:cubicBezTo>
                    <a:pt x="434" y="283"/>
                    <a:pt x="435" y="283"/>
                    <a:pt x="435" y="283"/>
                  </a:cubicBezTo>
                  <a:cubicBezTo>
                    <a:pt x="436" y="282"/>
                    <a:pt x="438" y="282"/>
                    <a:pt x="439" y="282"/>
                  </a:cubicBezTo>
                  <a:cubicBezTo>
                    <a:pt x="440" y="283"/>
                    <a:pt x="441" y="283"/>
                    <a:pt x="441" y="282"/>
                  </a:cubicBezTo>
                  <a:cubicBezTo>
                    <a:pt x="442" y="281"/>
                    <a:pt x="441" y="281"/>
                    <a:pt x="441" y="280"/>
                  </a:cubicBezTo>
                  <a:cubicBezTo>
                    <a:pt x="440" y="280"/>
                    <a:pt x="439" y="279"/>
                    <a:pt x="439" y="279"/>
                  </a:cubicBezTo>
                  <a:cubicBezTo>
                    <a:pt x="439" y="278"/>
                    <a:pt x="439" y="277"/>
                    <a:pt x="439" y="277"/>
                  </a:cubicBezTo>
                  <a:cubicBezTo>
                    <a:pt x="439" y="276"/>
                    <a:pt x="439" y="276"/>
                    <a:pt x="440" y="275"/>
                  </a:cubicBezTo>
                  <a:cubicBezTo>
                    <a:pt x="440" y="274"/>
                    <a:pt x="440" y="274"/>
                    <a:pt x="441" y="273"/>
                  </a:cubicBezTo>
                  <a:cubicBezTo>
                    <a:pt x="441" y="272"/>
                    <a:pt x="440" y="272"/>
                    <a:pt x="441" y="271"/>
                  </a:cubicBezTo>
                  <a:cubicBezTo>
                    <a:pt x="441" y="270"/>
                    <a:pt x="443" y="270"/>
                    <a:pt x="443" y="271"/>
                  </a:cubicBezTo>
                  <a:cubicBezTo>
                    <a:pt x="444" y="269"/>
                    <a:pt x="446" y="267"/>
                    <a:pt x="446" y="267"/>
                  </a:cubicBezTo>
                  <a:cubicBezTo>
                    <a:pt x="446" y="266"/>
                    <a:pt x="446" y="262"/>
                    <a:pt x="446" y="262"/>
                  </a:cubicBezTo>
                  <a:cubicBezTo>
                    <a:pt x="446" y="261"/>
                    <a:pt x="446" y="259"/>
                    <a:pt x="446" y="258"/>
                  </a:cubicBezTo>
                  <a:cubicBezTo>
                    <a:pt x="446" y="258"/>
                    <a:pt x="445" y="257"/>
                    <a:pt x="444" y="256"/>
                  </a:cubicBezTo>
                  <a:cubicBezTo>
                    <a:pt x="444" y="255"/>
                    <a:pt x="445" y="255"/>
                    <a:pt x="445" y="254"/>
                  </a:cubicBezTo>
                  <a:cubicBezTo>
                    <a:pt x="445" y="254"/>
                    <a:pt x="446" y="253"/>
                    <a:pt x="446" y="252"/>
                  </a:cubicBezTo>
                  <a:cubicBezTo>
                    <a:pt x="446" y="252"/>
                    <a:pt x="446" y="249"/>
                    <a:pt x="446" y="249"/>
                  </a:cubicBezTo>
                  <a:cubicBezTo>
                    <a:pt x="446" y="248"/>
                    <a:pt x="445" y="247"/>
                    <a:pt x="445" y="247"/>
                  </a:cubicBezTo>
                  <a:cubicBezTo>
                    <a:pt x="445" y="246"/>
                    <a:pt x="447" y="246"/>
                    <a:pt x="447" y="245"/>
                  </a:cubicBezTo>
                  <a:cubicBezTo>
                    <a:pt x="448" y="245"/>
                    <a:pt x="449" y="242"/>
                    <a:pt x="450" y="241"/>
                  </a:cubicBezTo>
                  <a:cubicBezTo>
                    <a:pt x="450" y="240"/>
                    <a:pt x="451" y="237"/>
                    <a:pt x="451" y="237"/>
                  </a:cubicBezTo>
                  <a:cubicBezTo>
                    <a:pt x="451" y="236"/>
                    <a:pt x="452" y="234"/>
                    <a:pt x="452" y="234"/>
                  </a:cubicBezTo>
                  <a:cubicBezTo>
                    <a:pt x="452" y="233"/>
                    <a:pt x="452" y="232"/>
                    <a:pt x="452" y="232"/>
                  </a:cubicBezTo>
                  <a:cubicBezTo>
                    <a:pt x="452" y="231"/>
                    <a:pt x="451" y="230"/>
                    <a:pt x="451" y="229"/>
                  </a:cubicBez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4D9A052D-2182-4373-B50B-4E5598E58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7308" y="3574395"/>
              <a:ext cx="1179673" cy="284179"/>
            </a:xfrm>
            <a:custGeom>
              <a:avLst/>
              <a:gdLst>
                <a:gd name="T0" fmla="*/ 211 w 298"/>
                <a:gd name="T1" fmla="*/ 62 h 72"/>
                <a:gd name="T2" fmla="*/ 216 w 298"/>
                <a:gd name="T3" fmla="*/ 58 h 72"/>
                <a:gd name="T4" fmla="*/ 217 w 298"/>
                <a:gd name="T5" fmla="*/ 54 h 72"/>
                <a:gd name="T6" fmla="*/ 226 w 298"/>
                <a:gd name="T7" fmla="*/ 48 h 72"/>
                <a:gd name="T8" fmla="*/ 240 w 298"/>
                <a:gd name="T9" fmla="*/ 44 h 72"/>
                <a:gd name="T10" fmla="*/ 243 w 298"/>
                <a:gd name="T11" fmla="*/ 41 h 72"/>
                <a:gd name="T12" fmla="*/ 248 w 298"/>
                <a:gd name="T13" fmla="*/ 38 h 72"/>
                <a:gd name="T14" fmla="*/ 254 w 298"/>
                <a:gd name="T15" fmla="*/ 37 h 72"/>
                <a:gd name="T16" fmla="*/ 257 w 298"/>
                <a:gd name="T17" fmla="*/ 31 h 72"/>
                <a:gd name="T18" fmla="*/ 263 w 298"/>
                <a:gd name="T19" fmla="*/ 27 h 72"/>
                <a:gd name="T20" fmla="*/ 265 w 298"/>
                <a:gd name="T21" fmla="*/ 30 h 72"/>
                <a:gd name="T22" fmla="*/ 272 w 298"/>
                <a:gd name="T23" fmla="*/ 26 h 72"/>
                <a:gd name="T24" fmla="*/ 279 w 298"/>
                <a:gd name="T25" fmla="*/ 22 h 72"/>
                <a:gd name="T26" fmla="*/ 286 w 298"/>
                <a:gd name="T27" fmla="*/ 23 h 72"/>
                <a:gd name="T28" fmla="*/ 293 w 298"/>
                <a:gd name="T29" fmla="*/ 14 h 72"/>
                <a:gd name="T30" fmla="*/ 296 w 298"/>
                <a:gd name="T31" fmla="*/ 11 h 72"/>
                <a:gd name="T32" fmla="*/ 298 w 298"/>
                <a:gd name="T33" fmla="*/ 4 h 72"/>
                <a:gd name="T34" fmla="*/ 214 w 298"/>
                <a:gd name="T35" fmla="*/ 3 h 72"/>
                <a:gd name="T36" fmla="*/ 104 w 298"/>
                <a:gd name="T37" fmla="*/ 2 h 72"/>
                <a:gd name="T38" fmla="*/ 77 w 298"/>
                <a:gd name="T39" fmla="*/ 0 h 72"/>
                <a:gd name="T40" fmla="*/ 30 w 298"/>
                <a:gd name="T41" fmla="*/ 8 h 72"/>
                <a:gd name="T42" fmla="*/ 28 w 298"/>
                <a:gd name="T43" fmla="*/ 8 h 72"/>
                <a:gd name="T44" fmla="*/ 28 w 298"/>
                <a:gd name="T45" fmla="*/ 5 h 72"/>
                <a:gd name="T46" fmla="*/ 26 w 298"/>
                <a:gd name="T47" fmla="*/ 6 h 72"/>
                <a:gd name="T48" fmla="*/ 25 w 298"/>
                <a:gd name="T49" fmla="*/ 14 h 72"/>
                <a:gd name="T50" fmla="*/ 25 w 298"/>
                <a:gd name="T51" fmla="*/ 17 h 72"/>
                <a:gd name="T52" fmla="*/ 22 w 298"/>
                <a:gd name="T53" fmla="*/ 18 h 72"/>
                <a:gd name="T54" fmla="*/ 23 w 298"/>
                <a:gd name="T55" fmla="*/ 20 h 72"/>
                <a:gd name="T56" fmla="*/ 22 w 298"/>
                <a:gd name="T57" fmla="*/ 25 h 72"/>
                <a:gd name="T58" fmla="*/ 21 w 298"/>
                <a:gd name="T59" fmla="*/ 27 h 72"/>
                <a:gd name="T60" fmla="*/ 20 w 298"/>
                <a:gd name="T61" fmla="*/ 29 h 72"/>
                <a:gd name="T62" fmla="*/ 21 w 298"/>
                <a:gd name="T63" fmla="*/ 34 h 72"/>
                <a:gd name="T64" fmla="*/ 19 w 298"/>
                <a:gd name="T65" fmla="*/ 36 h 72"/>
                <a:gd name="T66" fmla="*/ 17 w 298"/>
                <a:gd name="T67" fmla="*/ 38 h 72"/>
                <a:gd name="T68" fmla="*/ 14 w 298"/>
                <a:gd name="T69" fmla="*/ 40 h 72"/>
                <a:gd name="T70" fmla="*/ 13 w 298"/>
                <a:gd name="T71" fmla="*/ 43 h 72"/>
                <a:gd name="T72" fmla="*/ 14 w 298"/>
                <a:gd name="T73" fmla="*/ 46 h 72"/>
                <a:gd name="T74" fmla="*/ 13 w 298"/>
                <a:gd name="T75" fmla="*/ 49 h 72"/>
                <a:gd name="T76" fmla="*/ 9 w 298"/>
                <a:gd name="T77" fmla="*/ 49 h 72"/>
                <a:gd name="T78" fmla="*/ 8 w 298"/>
                <a:gd name="T79" fmla="*/ 54 h 72"/>
                <a:gd name="T80" fmla="*/ 8 w 298"/>
                <a:gd name="T81" fmla="*/ 51 h 72"/>
                <a:gd name="T82" fmla="*/ 6 w 298"/>
                <a:gd name="T83" fmla="*/ 55 h 72"/>
                <a:gd name="T84" fmla="*/ 8 w 298"/>
                <a:gd name="T85" fmla="*/ 56 h 72"/>
                <a:gd name="T86" fmla="*/ 6 w 298"/>
                <a:gd name="T87" fmla="*/ 59 h 72"/>
                <a:gd name="T88" fmla="*/ 6 w 298"/>
                <a:gd name="T89" fmla="*/ 62 h 72"/>
                <a:gd name="T90" fmla="*/ 7 w 298"/>
                <a:gd name="T91" fmla="*/ 64 h 72"/>
                <a:gd name="T92" fmla="*/ 5 w 298"/>
                <a:gd name="T93" fmla="*/ 66 h 72"/>
                <a:gd name="T94" fmla="*/ 0 w 298"/>
                <a:gd name="T95" fmla="*/ 72 h 72"/>
                <a:gd name="T96" fmla="*/ 207 w 298"/>
                <a:gd name="T97" fmla="*/ 6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8" h="72">
                  <a:moveTo>
                    <a:pt x="207" y="62"/>
                  </a:moveTo>
                  <a:cubicBezTo>
                    <a:pt x="208" y="61"/>
                    <a:pt x="209" y="60"/>
                    <a:pt x="210" y="60"/>
                  </a:cubicBezTo>
                  <a:cubicBezTo>
                    <a:pt x="210" y="60"/>
                    <a:pt x="211" y="62"/>
                    <a:pt x="211" y="62"/>
                  </a:cubicBezTo>
                  <a:cubicBezTo>
                    <a:pt x="211" y="62"/>
                    <a:pt x="213" y="61"/>
                    <a:pt x="213" y="61"/>
                  </a:cubicBezTo>
                  <a:cubicBezTo>
                    <a:pt x="214" y="61"/>
                    <a:pt x="215" y="60"/>
                    <a:pt x="216" y="60"/>
                  </a:cubicBezTo>
                  <a:cubicBezTo>
                    <a:pt x="216" y="60"/>
                    <a:pt x="217" y="59"/>
                    <a:pt x="216" y="58"/>
                  </a:cubicBezTo>
                  <a:cubicBezTo>
                    <a:pt x="216" y="58"/>
                    <a:pt x="216" y="57"/>
                    <a:pt x="216" y="57"/>
                  </a:cubicBezTo>
                  <a:cubicBezTo>
                    <a:pt x="216" y="57"/>
                    <a:pt x="217" y="56"/>
                    <a:pt x="217" y="56"/>
                  </a:cubicBezTo>
                  <a:cubicBezTo>
                    <a:pt x="217" y="55"/>
                    <a:pt x="217" y="54"/>
                    <a:pt x="217" y="54"/>
                  </a:cubicBezTo>
                  <a:cubicBezTo>
                    <a:pt x="217" y="54"/>
                    <a:pt x="220" y="51"/>
                    <a:pt x="220" y="51"/>
                  </a:cubicBezTo>
                  <a:cubicBezTo>
                    <a:pt x="220" y="51"/>
                    <a:pt x="224" y="48"/>
                    <a:pt x="224" y="48"/>
                  </a:cubicBezTo>
                  <a:cubicBezTo>
                    <a:pt x="224" y="48"/>
                    <a:pt x="226" y="48"/>
                    <a:pt x="226" y="48"/>
                  </a:cubicBezTo>
                  <a:cubicBezTo>
                    <a:pt x="235" y="48"/>
                    <a:pt x="235" y="48"/>
                    <a:pt x="235" y="48"/>
                  </a:cubicBezTo>
                  <a:cubicBezTo>
                    <a:pt x="235" y="48"/>
                    <a:pt x="238" y="45"/>
                    <a:pt x="238" y="45"/>
                  </a:cubicBezTo>
                  <a:cubicBezTo>
                    <a:pt x="239" y="44"/>
                    <a:pt x="240" y="44"/>
                    <a:pt x="240" y="44"/>
                  </a:cubicBezTo>
                  <a:cubicBezTo>
                    <a:pt x="240" y="43"/>
                    <a:pt x="242" y="43"/>
                    <a:pt x="242" y="43"/>
                  </a:cubicBezTo>
                  <a:cubicBezTo>
                    <a:pt x="242" y="43"/>
                    <a:pt x="243" y="43"/>
                    <a:pt x="243" y="42"/>
                  </a:cubicBezTo>
                  <a:cubicBezTo>
                    <a:pt x="243" y="42"/>
                    <a:pt x="243" y="41"/>
                    <a:pt x="243" y="41"/>
                  </a:cubicBezTo>
                  <a:cubicBezTo>
                    <a:pt x="244" y="41"/>
                    <a:pt x="245" y="41"/>
                    <a:pt x="245" y="41"/>
                  </a:cubicBezTo>
                  <a:cubicBezTo>
                    <a:pt x="245" y="40"/>
                    <a:pt x="246" y="40"/>
                    <a:pt x="247" y="39"/>
                  </a:cubicBezTo>
                  <a:cubicBezTo>
                    <a:pt x="247" y="39"/>
                    <a:pt x="247" y="39"/>
                    <a:pt x="248" y="38"/>
                  </a:cubicBezTo>
                  <a:cubicBezTo>
                    <a:pt x="248" y="38"/>
                    <a:pt x="250" y="38"/>
                    <a:pt x="250" y="38"/>
                  </a:cubicBezTo>
                  <a:cubicBezTo>
                    <a:pt x="251" y="38"/>
                    <a:pt x="252" y="38"/>
                    <a:pt x="252" y="38"/>
                  </a:cubicBezTo>
                  <a:cubicBezTo>
                    <a:pt x="253" y="38"/>
                    <a:pt x="253" y="37"/>
                    <a:pt x="254" y="37"/>
                  </a:cubicBezTo>
                  <a:cubicBezTo>
                    <a:pt x="254" y="36"/>
                    <a:pt x="255" y="35"/>
                    <a:pt x="255" y="34"/>
                  </a:cubicBezTo>
                  <a:cubicBezTo>
                    <a:pt x="255" y="34"/>
                    <a:pt x="255" y="33"/>
                    <a:pt x="255" y="32"/>
                  </a:cubicBezTo>
                  <a:cubicBezTo>
                    <a:pt x="256" y="32"/>
                    <a:pt x="257" y="31"/>
                    <a:pt x="257" y="31"/>
                  </a:cubicBezTo>
                  <a:cubicBezTo>
                    <a:pt x="258" y="32"/>
                    <a:pt x="259" y="32"/>
                    <a:pt x="259" y="32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60" y="29"/>
                    <a:pt x="262" y="27"/>
                    <a:pt x="263" y="27"/>
                  </a:cubicBezTo>
                  <a:cubicBezTo>
                    <a:pt x="263" y="27"/>
                    <a:pt x="264" y="26"/>
                    <a:pt x="265" y="26"/>
                  </a:cubicBezTo>
                  <a:cubicBezTo>
                    <a:pt x="265" y="26"/>
                    <a:pt x="266" y="28"/>
                    <a:pt x="266" y="28"/>
                  </a:cubicBezTo>
                  <a:cubicBezTo>
                    <a:pt x="266" y="28"/>
                    <a:pt x="265" y="29"/>
                    <a:pt x="265" y="30"/>
                  </a:cubicBezTo>
                  <a:cubicBezTo>
                    <a:pt x="265" y="30"/>
                    <a:pt x="267" y="31"/>
                    <a:pt x="268" y="31"/>
                  </a:cubicBezTo>
                  <a:cubicBezTo>
                    <a:pt x="269" y="30"/>
                    <a:pt x="270" y="30"/>
                    <a:pt x="271" y="29"/>
                  </a:cubicBezTo>
                  <a:cubicBezTo>
                    <a:pt x="271" y="28"/>
                    <a:pt x="271" y="27"/>
                    <a:pt x="272" y="26"/>
                  </a:cubicBezTo>
                  <a:cubicBezTo>
                    <a:pt x="273" y="25"/>
                    <a:pt x="273" y="24"/>
                    <a:pt x="274" y="24"/>
                  </a:cubicBezTo>
                  <a:cubicBezTo>
                    <a:pt x="276" y="23"/>
                    <a:pt x="277" y="24"/>
                    <a:pt x="278" y="23"/>
                  </a:cubicBezTo>
                  <a:cubicBezTo>
                    <a:pt x="278" y="23"/>
                    <a:pt x="279" y="23"/>
                    <a:pt x="279" y="22"/>
                  </a:cubicBezTo>
                  <a:cubicBezTo>
                    <a:pt x="280" y="22"/>
                    <a:pt x="280" y="23"/>
                    <a:pt x="281" y="23"/>
                  </a:cubicBezTo>
                  <a:cubicBezTo>
                    <a:pt x="282" y="24"/>
                    <a:pt x="283" y="25"/>
                    <a:pt x="284" y="25"/>
                  </a:cubicBezTo>
                  <a:cubicBezTo>
                    <a:pt x="284" y="24"/>
                    <a:pt x="285" y="24"/>
                    <a:pt x="286" y="23"/>
                  </a:cubicBezTo>
                  <a:cubicBezTo>
                    <a:pt x="286" y="23"/>
                    <a:pt x="288" y="18"/>
                    <a:pt x="289" y="17"/>
                  </a:cubicBezTo>
                  <a:cubicBezTo>
                    <a:pt x="290" y="16"/>
                    <a:pt x="291" y="15"/>
                    <a:pt x="292" y="15"/>
                  </a:cubicBezTo>
                  <a:cubicBezTo>
                    <a:pt x="292" y="14"/>
                    <a:pt x="293" y="13"/>
                    <a:pt x="293" y="14"/>
                  </a:cubicBezTo>
                  <a:cubicBezTo>
                    <a:pt x="294" y="14"/>
                    <a:pt x="296" y="14"/>
                    <a:pt x="296" y="15"/>
                  </a:cubicBezTo>
                  <a:cubicBezTo>
                    <a:pt x="297" y="15"/>
                    <a:pt x="296" y="13"/>
                    <a:pt x="296" y="13"/>
                  </a:cubicBezTo>
                  <a:cubicBezTo>
                    <a:pt x="296" y="12"/>
                    <a:pt x="295" y="12"/>
                    <a:pt x="296" y="11"/>
                  </a:cubicBezTo>
                  <a:cubicBezTo>
                    <a:pt x="296" y="10"/>
                    <a:pt x="297" y="10"/>
                    <a:pt x="297" y="9"/>
                  </a:cubicBezTo>
                  <a:cubicBezTo>
                    <a:pt x="297" y="9"/>
                    <a:pt x="296" y="7"/>
                    <a:pt x="296" y="7"/>
                  </a:cubicBezTo>
                  <a:cubicBezTo>
                    <a:pt x="296" y="6"/>
                    <a:pt x="298" y="4"/>
                    <a:pt x="298" y="4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60" y="3"/>
                    <a:pt x="260" y="3"/>
                    <a:pt x="260" y="3"/>
                  </a:cubicBezTo>
                  <a:cubicBezTo>
                    <a:pt x="214" y="3"/>
                    <a:pt x="214" y="3"/>
                    <a:pt x="214" y="3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9"/>
                    <a:pt x="29" y="9"/>
                  </a:cubicBezTo>
                  <a:cubicBezTo>
                    <a:pt x="29" y="9"/>
                    <a:pt x="29" y="10"/>
                    <a:pt x="28" y="9"/>
                  </a:cubicBezTo>
                  <a:cubicBezTo>
                    <a:pt x="28" y="9"/>
                    <a:pt x="28" y="9"/>
                    <a:pt x="28" y="8"/>
                  </a:cubicBezTo>
                  <a:cubicBezTo>
                    <a:pt x="28" y="8"/>
                    <a:pt x="27" y="8"/>
                    <a:pt x="27" y="8"/>
                  </a:cubicBezTo>
                  <a:cubicBezTo>
                    <a:pt x="27" y="8"/>
                    <a:pt x="28" y="7"/>
                    <a:pt x="28" y="7"/>
                  </a:cubicBezTo>
                  <a:cubicBezTo>
                    <a:pt x="28" y="6"/>
                    <a:pt x="28" y="5"/>
                    <a:pt x="28" y="5"/>
                  </a:cubicBezTo>
                  <a:cubicBezTo>
                    <a:pt x="28" y="4"/>
                    <a:pt x="27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7"/>
                    <a:pt x="26" y="8"/>
                    <a:pt x="26" y="8"/>
                  </a:cubicBezTo>
                  <a:cubicBezTo>
                    <a:pt x="27" y="10"/>
                    <a:pt x="27" y="12"/>
                    <a:pt x="27" y="14"/>
                  </a:cubicBezTo>
                  <a:cubicBezTo>
                    <a:pt x="26" y="14"/>
                    <a:pt x="26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5"/>
                  </a:cubicBezTo>
                  <a:cubicBezTo>
                    <a:pt x="24" y="16"/>
                    <a:pt x="24" y="16"/>
                    <a:pt x="25" y="17"/>
                  </a:cubicBezTo>
                  <a:cubicBezTo>
                    <a:pt x="25" y="17"/>
                    <a:pt x="26" y="18"/>
                    <a:pt x="26" y="18"/>
                  </a:cubicBezTo>
                  <a:cubicBezTo>
                    <a:pt x="26" y="18"/>
                    <a:pt x="25" y="18"/>
                    <a:pt x="25" y="18"/>
                  </a:cubicBezTo>
                  <a:cubicBezTo>
                    <a:pt x="24" y="18"/>
                    <a:pt x="23" y="18"/>
                    <a:pt x="22" y="18"/>
                  </a:cubicBezTo>
                  <a:cubicBezTo>
                    <a:pt x="22" y="18"/>
                    <a:pt x="21" y="18"/>
                    <a:pt x="21" y="18"/>
                  </a:cubicBezTo>
                  <a:cubicBezTo>
                    <a:pt x="21" y="18"/>
                    <a:pt x="21" y="19"/>
                    <a:pt x="22" y="19"/>
                  </a:cubicBezTo>
                  <a:cubicBezTo>
                    <a:pt x="22" y="20"/>
                    <a:pt x="23" y="20"/>
                    <a:pt x="23" y="20"/>
                  </a:cubicBezTo>
                  <a:cubicBezTo>
                    <a:pt x="23" y="21"/>
                    <a:pt x="24" y="21"/>
                    <a:pt x="24" y="22"/>
                  </a:cubicBezTo>
                  <a:cubicBezTo>
                    <a:pt x="24" y="22"/>
                    <a:pt x="24" y="23"/>
                    <a:pt x="24" y="24"/>
                  </a:cubicBezTo>
                  <a:cubicBezTo>
                    <a:pt x="23" y="24"/>
                    <a:pt x="23" y="24"/>
                    <a:pt x="22" y="25"/>
                  </a:cubicBezTo>
                  <a:cubicBezTo>
                    <a:pt x="22" y="25"/>
                    <a:pt x="22" y="26"/>
                    <a:pt x="22" y="26"/>
                  </a:cubicBezTo>
                  <a:cubicBezTo>
                    <a:pt x="22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7"/>
                  </a:cubicBezTo>
                  <a:cubicBezTo>
                    <a:pt x="21" y="27"/>
                    <a:pt x="21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9"/>
                    <a:pt x="20" y="29"/>
                  </a:cubicBezTo>
                  <a:cubicBezTo>
                    <a:pt x="20" y="29"/>
                    <a:pt x="22" y="32"/>
                    <a:pt x="22" y="33"/>
                  </a:cubicBezTo>
                  <a:cubicBezTo>
                    <a:pt x="22" y="33"/>
                    <a:pt x="23" y="33"/>
                    <a:pt x="22" y="34"/>
                  </a:cubicBezTo>
                  <a:cubicBezTo>
                    <a:pt x="22" y="34"/>
                    <a:pt x="22" y="34"/>
                    <a:pt x="21" y="34"/>
                  </a:cubicBezTo>
                  <a:cubicBezTo>
                    <a:pt x="21" y="33"/>
                    <a:pt x="21" y="33"/>
                    <a:pt x="20" y="33"/>
                  </a:cubicBezTo>
                  <a:cubicBezTo>
                    <a:pt x="20" y="33"/>
                    <a:pt x="19" y="33"/>
                    <a:pt x="18" y="34"/>
                  </a:cubicBezTo>
                  <a:cubicBezTo>
                    <a:pt x="18" y="34"/>
                    <a:pt x="18" y="35"/>
                    <a:pt x="19" y="36"/>
                  </a:cubicBezTo>
                  <a:cubicBezTo>
                    <a:pt x="19" y="36"/>
                    <a:pt x="20" y="36"/>
                    <a:pt x="20" y="36"/>
                  </a:cubicBezTo>
                  <a:cubicBezTo>
                    <a:pt x="20" y="37"/>
                    <a:pt x="19" y="37"/>
                    <a:pt x="19" y="37"/>
                  </a:cubicBezTo>
                  <a:cubicBezTo>
                    <a:pt x="18" y="37"/>
                    <a:pt x="18" y="37"/>
                    <a:pt x="17" y="38"/>
                  </a:cubicBezTo>
                  <a:cubicBezTo>
                    <a:pt x="17" y="38"/>
                    <a:pt x="17" y="38"/>
                    <a:pt x="16" y="39"/>
                  </a:cubicBezTo>
                  <a:cubicBezTo>
                    <a:pt x="16" y="39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3" y="40"/>
                    <a:pt x="13" y="39"/>
                    <a:pt x="12" y="40"/>
                  </a:cubicBezTo>
                  <a:cubicBezTo>
                    <a:pt x="12" y="41"/>
                    <a:pt x="12" y="42"/>
                    <a:pt x="12" y="4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3"/>
                    <a:pt x="14" y="43"/>
                    <a:pt x="15" y="43"/>
                  </a:cubicBezTo>
                  <a:cubicBezTo>
                    <a:pt x="15" y="44"/>
                    <a:pt x="15" y="44"/>
                    <a:pt x="15" y="45"/>
                  </a:cubicBezTo>
                  <a:cubicBezTo>
                    <a:pt x="15" y="45"/>
                    <a:pt x="14" y="45"/>
                    <a:pt x="14" y="46"/>
                  </a:cubicBezTo>
                  <a:cubicBezTo>
                    <a:pt x="13" y="46"/>
                    <a:pt x="12" y="46"/>
                    <a:pt x="12" y="47"/>
                  </a:cubicBezTo>
                  <a:cubicBezTo>
                    <a:pt x="12" y="48"/>
                    <a:pt x="13" y="48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9"/>
                    <a:pt x="12" y="49"/>
                    <a:pt x="12" y="49"/>
                  </a:cubicBezTo>
                  <a:cubicBezTo>
                    <a:pt x="12" y="49"/>
                    <a:pt x="11" y="48"/>
                    <a:pt x="11" y="48"/>
                  </a:cubicBezTo>
                  <a:cubicBezTo>
                    <a:pt x="10" y="48"/>
                    <a:pt x="10" y="48"/>
                    <a:pt x="9" y="49"/>
                  </a:cubicBezTo>
                  <a:cubicBezTo>
                    <a:pt x="9" y="49"/>
                    <a:pt x="9" y="50"/>
                    <a:pt x="9" y="51"/>
                  </a:cubicBezTo>
                  <a:cubicBezTo>
                    <a:pt x="10" y="52"/>
                    <a:pt x="10" y="52"/>
                    <a:pt x="9" y="53"/>
                  </a:cubicBezTo>
                  <a:cubicBezTo>
                    <a:pt x="9" y="53"/>
                    <a:pt x="8" y="54"/>
                    <a:pt x="8" y="54"/>
                  </a:cubicBezTo>
                  <a:cubicBezTo>
                    <a:pt x="8" y="54"/>
                    <a:pt x="8" y="54"/>
                    <a:pt x="8" y="53"/>
                  </a:cubicBezTo>
                  <a:cubicBezTo>
                    <a:pt x="8" y="53"/>
                    <a:pt x="8" y="53"/>
                    <a:pt x="8" y="52"/>
                  </a:cubicBezTo>
                  <a:cubicBezTo>
                    <a:pt x="8" y="52"/>
                    <a:pt x="8" y="52"/>
                    <a:pt x="8" y="51"/>
                  </a:cubicBezTo>
                  <a:cubicBezTo>
                    <a:pt x="6" y="51"/>
                    <a:pt x="6" y="52"/>
                    <a:pt x="6" y="53"/>
                  </a:cubicBezTo>
                  <a:cubicBezTo>
                    <a:pt x="5" y="54"/>
                    <a:pt x="4" y="54"/>
                    <a:pt x="4" y="55"/>
                  </a:cubicBezTo>
                  <a:cubicBezTo>
                    <a:pt x="5" y="55"/>
                    <a:pt x="5" y="55"/>
                    <a:pt x="6" y="55"/>
                  </a:cubicBezTo>
                  <a:cubicBezTo>
                    <a:pt x="6" y="55"/>
                    <a:pt x="6" y="54"/>
                    <a:pt x="7" y="54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5"/>
                    <a:pt x="8" y="56"/>
                  </a:cubicBezTo>
                  <a:cubicBezTo>
                    <a:pt x="8" y="56"/>
                    <a:pt x="7" y="57"/>
                    <a:pt x="7" y="57"/>
                  </a:cubicBezTo>
                  <a:cubicBezTo>
                    <a:pt x="7" y="57"/>
                    <a:pt x="7" y="58"/>
                    <a:pt x="7" y="58"/>
                  </a:cubicBezTo>
                  <a:cubicBezTo>
                    <a:pt x="7" y="58"/>
                    <a:pt x="6" y="59"/>
                    <a:pt x="6" y="59"/>
                  </a:cubicBezTo>
                  <a:cubicBezTo>
                    <a:pt x="6" y="59"/>
                    <a:pt x="5" y="59"/>
                    <a:pt x="5" y="59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1"/>
                    <a:pt x="6" y="61"/>
                    <a:pt x="6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4"/>
                    <a:pt x="7" y="65"/>
                    <a:pt x="7" y="65"/>
                  </a:cubicBezTo>
                  <a:cubicBezTo>
                    <a:pt x="7" y="65"/>
                    <a:pt x="7" y="66"/>
                    <a:pt x="7" y="66"/>
                  </a:cubicBezTo>
                  <a:cubicBezTo>
                    <a:pt x="6" y="66"/>
                    <a:pt x="5" y="66"/>
                    <a:pt x="5" y="66"/>
                  </a:cubicBezTo>
                  <a:cubicBezTo>
                    <a:pt x="4" y="67"/>
                    <a:pt x="4" y="69"/>
                    <a:pt x="4" y="69"/>
                  </a:cubicBezTo>
                  <a:cubicBezTo>
                    <a:pt x="3" y="70"/>
                    <a:pt x="1" y="69"/>
                    <a:pt x="0" y="70"/>
                  </a:cubicBezTo>
                  <a:cubicBezTo>
                    <a:pt x="0" y="71"/>
                    <a:pt x="0" y="71"/>
                    <a:pt x="0" y="72"/>
                  </a:cubicBezTo>
                  <a:cubicBezTo>
                    <a:pt x="206" y="72"/>
                    <a:pt x="206" y="72"/>
                    <a:pt x="206" y="72"/>
                  </a:cubicBezTo>
                  <a:cubicBezTo>
                    <a:pt x="206" y="72"/>
                    <a:pt x="207" y="65"/>
                    <a:pt x="207" y="65"/>
                  </a:cubicBezTo>
                  <a:cubicBezTo>
                    <a:pt x="207" y="64"/>
                    <a:pt x="207" y="62"/>
                    <a:pt x="207" y="62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4AA02263-3B88-46FB-9833-E18BD29FD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448" y="1877579"/>
              <a:ext cx="1040888" cy="660882"/>
            </a:xfrm>
            <a:custGeom>
              <a:avLst/>
              <a:gdLst>
                <a:gd name="T0" fmla="*/ 193 w 263"/>
                <a:gd name="T1" fmla="*/ 147 h 167"/>
                <a:gd name="T2" fmla="*/ 203 w 263"/>
                <a:gd name="T3" fmla="*/ 150 h 167"/>
                <a:gd name="T4" fmla="*/ 207 w 263"/>
                <a:gd name="T5" fmla="*/ 154 h 167"/>
                <a:gd name="T6" fmla="*/ 212 w 263"/>
                <a:gd name="T7" fmla="*/ 153 h 167"/>
                <a:gd name="T8" fmla="*/ 214 w 263"/>
                <a:gd name="T9" fmla="*/ 149 h 167"/>
                <a:gd name="T10" fmla="*/ 219 w 263"/>
                <a:gd name="T11" fmla="*/ 151 h 167"/>
                <a:gd name="T12" fmla="*/ 222 w 263"/>
                <a:gd name="T13" fmla="*/ 151 h 167"/>
                <a:gd name="T14" fmla="*/ 227 w 263"/>
                <a:gd name="T15" fmla="*/ 150 h 167"/>
                <a:gd name="T16" fmla="*/ 229 w 263"/>
                <a:gd name="T17" fmla="*/ 149 h 167"/>
                <a:gd name="T18" fmla="*/ 232 w 263"/>
                <a:gd name="T19" fmla="*/ 150 h 167"/>
                <a:gd name="T20" fmla="*/ 235 w 263"/>
                <a:gd name="T21" fmla="*/ 150 h 167"/>
                <a:gd name="T22" fmla="*/ 236 w 263"/>
                <a:gd name="T23" fmla="*/ 152 h 167"/>
                <a:gd name="T24" fmla="*/ 239 w 263"/>
                <a:gd name="T25" fmla="*/ 154 h 167"/>
                <a:gd name="T26" fmla="*/ 244 w 263"/>
                <a:gd name="T27" fmla="*/ 155 h 167"/>
                <a:gd name="T28" fmla="*/ 244 w 263"/>
                <a:gd name="T29" fmla="*/ 156 h 167"/>
                <a:gd name="T30" fmla="*/ 249 w 263"/>
                <a:gd name="T31" fmla="*/ 156 h 167"/>
                <a:gd name="T32" fmla="*/ 251 w 263"/>
                <a:gd name="T33" fmla="*/ 159 h 167"/>
                <a:gd name="T34" fmla="*/ 254 w 263"/>
                <a:gd name="T35" fmla="*/ 159 h 167"/>
                <a:gd name="T36" fmla="*/ 253 w 263"/>
                <a:gd name="T37" fmla="*/ 162 h 167"/>
                <a:gd name="T38" fmla="*/ 257 w 263"/>
                <a:gd name="T39" fmla="*/ 166 h 167"/>
                <a:gd name="T40" fmla="*/ 258 w 263"/>
                <a:gd name="T41" fmla="*/ 166 h 167"/>
                <a:gd name="T42" fmla="*/ 261 w 263"/>
                <a:gd name="T43" fmla="*/ 167 h 167"/>
                <a:gd name="T44" fmla="*/ 262 w 263"/>
                <a:gd name="T45" fmla="*/ 165 h 167"/>
                <a:gd name="T46" fmla="*/ 260 w 263"/>
                <a:gd name="T47" fmla="*/ 162 h 167"/>
                <a:gd name="T48" fmla="*/ 260 w 263"/>
                <a:gd name="T49" fmla="*/ 160 h 167"/>
                <a:gd name="T50" fmla="*/ 256 w 263"/>
                <a:gd name="T51" fmla="*/ 156 h 167"/>
                <a:gd name="T52" fmla="*/ 256 w 263"/>
                <a:gd name="T53" fmla="*/ 154 h 167"/>
                <a:gd name="T54" fmla="*/ 259 w 263"/>
                <a:gd name="T55" fmla="*/ 151 h 167"/>
                <a:gd name="T56" fmla="*/ 259 w 263"/>
                <a:gd name="T57" fmla="*/ 147 h 167"/>
                <a:gd name="T58" fmla="*/ 261 w 263"/>
                <a:gd name="T59" fmla="*/ 146 h 167"/>
                <a:gd name="T60" fmla="*/ 260 w 263"/>
                <a:gd name="T61" fmla="*/ 142 h 167"/>
                <a:gd name="T62" fmla="*/ 261 w 263"/>
                <a:gd name="T63" fmla="*/ 141 h 167"/>
                <a:gd name="T64" fmla="*/ 263 w 263"/>
                <a:gd name="T65" fmla="*/ 140 h 167"/>
                <a:gd name="T66" fmla="*/ 263 w 263"/>
                <a:gd name="T67" fmla="*/ 138 h 167"/>
                <a:gd name="T68" fmla="*/ 262 w 263"/>
                <a:gd name="T69" fmla="*/ 133 h 167"/>
                <a:gd name="T70" fmla="*/ 258 w 263"/>
                <a:gd name="T71" fmla="*/ 132 h 167"/>
                <a:gd name="T72" fmla="*/ 258 w 263"/>
                <a:gd name="T73" fmla="*/ 130 h 167"/>
                <a:gd name="T74" fmla="*/ 258 w 263"/>
                <a:gd name="T75" fmla="*/ 129 h 167"/>
                <a:gd name="T76" fmla="*/ 260 w 263"/>
                <a:gd name="T77" fmla="*/ 128 h 167"/>
                <a:gd name="T78" fmla="*/ 260 w 263"/>
                <a:gd name="T79" fmla="*/ 124 h 167"/>
                <a:gd name="T80" fmla="*/ 257 w 263"/>
                <a:gd name="T81" fmla="*/ 122 h 167"/>
                <a:gd name="T82" fmla="*/ 257 w 263"/>
                <a:gd name="T83" fmla="*/ 120 h 167"/>
                <a:gd name="T84" fmla="*/ 262 w 263"/>
                <a:gd name="T85" fmla="*/ 120 h 167"/>
                <a:gd name="T86" fmla="*/ 262 w 263"/>
                <a:gd name="T87" fmla="*/ 32 h 167"/>
                <a:gd name="T88" fmla="*/ 261 w 263"/>
                <a:gd name="T89" fmla="*/ 30 h 167"/>
                <a:gd name="T90" fmla="*/ 258 w 263"/>
                <a:gd name="T91" fmla="*/ 28 h 167"/>
                <a:gd name="T92" fmla="*/ 254 w 263"/>
                <a:gd name="T93" fmla="*/ 27 h 167"/>
                <a:gd name="T94" fmla="*/ 251 w 263"/>
                <a:gd name="T95" fmla="*/ 21 h 167"/>
                <a:gd name="T96" fmla="*/ 249 w 263"/>
                <a:gd name="T97" fmla="*/ 17 h 167"/>
                <a:gd name="T98" fmla="*/ 249 w 263"/>
                <a:gd name="T99" fmla="*/ 15 h 167"/>
                <a:gd name="T100" fmla="*/ 251 w 263"/>
                <a:gd name="T101" fmla="*/ 14 h 167"/>
                <a:gd name="T102" fmla="*/ 255 w 263"/>
                <a:gd name="T103" fmla="*/ 11 h 167"/>
                <a:gd name="T104" fmla="*/ 258 w 263"/>
                <a:gd name="T105" fmla="*/ 6 h 167"/>
                <a:gd name="T106" fmla="*/ 258 w 263"/>
                <a:gd name="T107" fmla="*/ 0 h 167"/>
                <a:gd name="T108" fmla="*/ 0 w 263"/>
                <a:gd name="T109" fmla="*/ 0 h 167"/>
                <a:gd name="T110" fmla="*/ 0 w 263"/>
                <a:gd name="T111" fmla="*/ 47 h 167"/>
                <a:gd name="T112" fmla="*/ 0 w 263"/>
                <a:gd name="T113" fmla="*/ 143 h 167"/>
                <a:gd name="T114" fmla="*/ 192 w 263"/>
                <a:gd name="T115" fmla="*/ 143 h 167"/>
                <a:gd name="T116" fmla="*/ 193 w 263"/>
                <a:gd name="T117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167">
                  <a:moveTo>
                    <a:pt x="193" y="147"/>
                  </a:moveTo>
                  <a:cubicBezTo>
                    <a:pt x="193" y="147"/>
                    <a:pt x="203" y="150"/>
                    <a:pt x="203" y="150"/>
                  </a:cubicBezTo>
                  <a:cubicBezTo>
                    <a:pt x="203" y="150"/>
                    <a:pt x="207" y="154"/>
                    <a:pt x="207" y="154"/>
                  </a:cubicBezTo>
                  <a:cubicBezTo>
                    <a:pt x="207" y="155"/>
                    <a:pt x="212" y="153"/>
                    <a:pt x="212" y="153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9"/>
                    <a:pt x="219" y="151"/>
                    <a:pt x="219" y="151"/>
                  </a:cubicBezTo>
                  <a:cubicBezTo>
                    <a:pt x="220" y="151"/>
                    <a:pt x="221" y="151"/>
                    <a:pt x="222" y="151"/>
                  </a:cubicBezTo>
                  <a:cubicBezTo>
                    <a:pt x="222" y="151"/>
                    <a:pt x="227" y="150"/>
                    <a:pt x="227" y="150"/>
                  </a:cubicBezTo>
                  <a:cubicBezTo>
                    <a:pt x="228" y="150"/>
                    <a:pt x="229" y="149"/>
                    <a:pt x="229" y="149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35" y="150"/>
                    <a:pt x="235" y="150"/>
                    <a:pt x="235" y="150"/>
                  </a:cubicBezTo>
                  <a:cubicBezTo>
                    <a:pt x="235" y="150"/>
                    <a:pt x="236" y="152"/>
                    <a:pt x="236" y="152"/>
                  </a:cubicBezTo>
                  <a:cubicBezTo>
                    <a:pt x="236" y="153"/>
                    <a:pt x="239" y="154"/>
                    <a:pt x="239" y="154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4" y="156"/>
                    <a:pt x="244" y="156"/>
                    <a:pt x="244" y="156"/>
                  </a:cubicBezTo>
                  <a:cubicBezTo>
                    <a:pt x="249" y="156"/>
                    <a:pt x="249" y="156"/>
                    <a:pt x="249" y="156"/>
                  </a:cubicBezTo>
                  <a:cubicBezTo>
                    <a:pt x="249" y="156"/>
                    <a:pt x="251" y="159"/>
                    <a:pt x="251" y="159"/>
                  </a:cubicBezTo>
                  <a:cubicBezTo>
                    <a:pt x="251" y="159"/>
                    <a:pt x="254" y="159"/>
                    <a:pt x="254" y="159"/>
                  </a:cubicBezTo>
                  <a:cubicBezTo>
                    <a:pt x="254" y="159"/>
                    <a:pt x="253" y="162"/>
                    <a:pt x="253" y="162"/>
                  </a:cubicBezTo>
                  <a:cubicBezTo>
                    <a:pt x="253" y="162"/>
                    <a:pt x="257" y="166"/>
                    <a:pt x="257" y="166"/>
                  </a:cubicBezTo>
                  <a:cubicBezTo>
                    <a:pt x="258" y="166"/>
                    <a:pt x="258" y="166"/>
                    <a:pt x="258" y="166"/>
                  </a:cubicBezTo>
                  <a:cubicBezTo>
                    <a:pt x="261" y="167"/>
                    <a:pt x="261" y="167"/>
                    <a:pt x="261" y="167"/>
                  </a:cubicBezTo>
                  <a:cubicBezTo>
                    <a:pt x="261" y="167"/>
                    <a:pt x="262" y="165"/>
                    <a:pt x="262" y="165"/>
                  </a:cubicBezTo>
                  <a:cubicBezTo>
                    <a:pt x="262" y="165"/>
                    <a:pt x="260" y="162"/>
                    <a:pt x="260" y="162"/>
                  </a:cubicBezTo>
                  <a:cubicBezTo>
                    <a:pt x="260" y="161"/>
                    <a:pt x="260" y="161"/>
                    <a:pt x="260" y="160"/>
                  </a:cubicBezTo>
                  <a:cubicBezTo>
                    <a:pt x="260" y="160"/>
                    <a:pt x="256" y="157"/>
                    <a:pt x="256" y="156"/>
                  </a:cubicBezTo>
                  <a:cubicBezTo>
                    <a:pt x="256" y="156"/>
                    <a:pt x="256" y="154"/>
                    <a:pt x="256" y="154"/>
                  </a:cubicBezTo>
                  <a:cubicBezTo>
                    <a:pt x="256" y="154"/>
                    <a:pt x="259" y="151"/>
                    <a:pt x="259" y="151"/>
                  </a:cubicBezTo>
                  <a:cubicBezTo>
                    <a:pt x="259" y="151"/>
                    <a:pt x="259" y="148"/>
                    <a:pt x="259" y="147"/>
                  </a:cubicBezTo>
                  <a:cubicBezTo>
                    <a:pt x="259" y="147"/>
                    <a:pt x="261" y="146"/>
                    <a:pt x="261" y="146"/>
                  </a:cubicBezTo>
                  <a:cubicBezTo>
                    <a:pt x="261" y="145"/>
                    <a:pt x="260" y="142"/>
                    <a:pt x="260" y="142"/>
                  </a:cubicBezTo>
                  <a:cubicBezTo>
                    <a:pt x="260" y="141"/>
                    <a:pt x="261" y="141"/>
                    <a:pt x="261" y="141"/>
                  </a:cubicBezTo>
                  <a:cubicBezTo>
                    <a:pt x="262" y="140"/>
                    <a:pt x="263" y="140"/>
                    <a:pt x="263" y="140"/>
                  </a:cubicBezTo>
                  <a:cubicBezTo>
                    <a:pt x="263" y="139"/>
                    <a:pt x="263" y="138"/>
                    <a:pt x="263" y="138"/>
                  </a:cubicBezTo>
                  <a:cubicBezTo>
                    <a:pt x="263" y="137"/>
                    <a:pt x="262" y="133"/>
                    <a:pt x="262" y="133"/>
                  </a:cubicBezTo>
                  <a:cubicBezTo>
                    <a:pt x="262" y="133"/>
                    <a:pt x="258" y="132"/>
                    <a:pt x="258" y="132"/>
                  </a:cubicBezTo>
                  <a:cubicBezTo>
                    <a:pt x="258" y="130"/>
                    <a:pt x="258" y="130"/>
                    <a:pt x="258" y="130"/>
                  </a:cubicBezTo>
                  <a:cubicBezTo>
                    <a:pt x="258" y="129"/>
                    <a:pt x="258" y="129"/>
                    <a:pt x="258" y="129"/>
                  </a:cubicBezTo>
                  <a:cubicBezTo>
                    <a:pt x="260" y="128"/>
                    <a:pt x="260" y="128"/>
                    <a:pt x="260" y="128"/>
                  </a:cubicBezTo>
                  <a:cubicBezTo>
                    <a:pt x="260" y="128"/>
                    <a:pt x="260" y="125"/>
                    <a:pt x="260" y="124"/>
                  </a:cubicBezTo>
                  <a:cubicBezTo>
                    <a:pt x="260" y="124"/>
                    <a:pt x="258" y="122"/>
                    <a:pt x="257" y="122"/>
                  </a:cubicBezTo>
                  <a:cubicBezTo>
                    <a:pt x="257" y="121"/>
                    <a:pt x="257" y="120"/>
                    <a:pt x="257" y="120"/>
                  </a:cubicBezTo>
                  <a:cubicBezTo>
                    <a:pt x="262" y="120"/>
                    <a:pt x="262" y="120"/>
                    <a:pt x="262" y="120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32"/>
                    <a:pt x="262" y="30"/>
                    <a:pt x="261" y="30"/>
                  </a:cubicBezTo>
                  <a:cubicBezTo>
                    <a:pt x="261" y="29"/>
                    <a:pt x="258" y="28"/>
                    <a:pt x="258" y="28"/>
                  </a:cubicBezTo>
                  <a:cubicBezTo>
                    <a:pt x="258" y="28"/>
                    <a:pt x="254" y="27"/>
                    <a:pt x="254" y="27"/>
                  </a:cubicBezTo>
                  <a:cubicBezTo>
                    <a:pt x="254" y="27"/>
                    <a:pt x="251" y="22"/>
                    <a:pt x="251" y="21"/>
                  </a:cubicBezTo>
                  <a:cubicBezTo>
                    <a:pt x="250" y="21"/>
                    <a:pt x="249" y="17"/>
                    <a:pt x="249" y="17"/>
                  </a:cubicBezTo>
                  <a:cubicBezTo>
                    <a:pt x="249" y="17"/>
                    <a:pt x="249" y="15"/>
                    <a:pt x="249" y="15"/>
                  </a:cubicBezTo>
                  <a:cubicBezTo>
                    <a:pt x="249" y="15"/>
                    <a:pt x="250" y="15"/>
                    <a:pt x="251" y="14"/>
                  </a:cubicBezTo>
                  <a:cubicBezTo>
                    <a:pt x="251" y="14"/>
                    <a:pt x="255" y="11"/>
                    <a:pt x="255" y="11"/>
                  </a:cubicBezTo>
                  <a:cubicBezTo>
                    <a:pt x="255" y="11"/>
                    <a:pt x="258" y="6"/>
                    <a:pt x="258" y="6"/>
                  </a:cubicBezTo>
                  <a:cubicBezTo>
                    <a:pt x="259" y="6"/>
                    <a:pt x="258" y="0"/>
                    <a:pt x="25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92" y="143"/>
                    <a:pt x="192" y="143"/>
                    <a:pt x="192" y="143"/>
                  </a:cubicBezTo>
                  <a:lnTo>
                    <a:pt x="193" y="14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7A590DE0-712E-46D3-91C9-59AE3DC0C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2369" y="3823877"/>
              <a:ext cx="662534" cy="515488"/>
            </a:xfrm>
            <a:custGeom>
              <a:avLst/>
              <a:gdLst>
                <a:gd name="T0" fmla="*/ 84 w 167"/>
                <a:gd name="T1" fmla="*/ 5 h 130"/>
                <a:gd name="T2" fmla="*/ 81 w 167"/>
                <a:gd name="T3" fmla="*/ 2 h 130"/>
                <a:gd name="T4" fmla="*/ 37 w 167"/>
                <a:gd name="T5" fmla="*/ 0 h 130"/>
                <a:gd name="T6" fmla="*/ 25 w 167"/>
                <a:gd name="T7" fmla="*/ 3 h 130"/>
                <a:gd name="T8" fmla="*/ 9 w 167"/>
                <a:gd name="T9" fmla="*/ 9 h 130"/>
                <a:gd name="T10" fmla="*/ 2 w 167"/>
                <a:gd name="T11" fmla="*/ 22 h 130"/>
                <a:gd name="T12" fmla="*/ 16 w 167"/>
                <a:gd name="T13" fmla="*/ 30 h 130"/>
                <a:gd name="T14" fmla="*/ 24 w 167"/>
                <a:gd name="T15" fmla="*/ 45 h 130"/>
                <a:gd name="T16" fmla="*/ 41 w 167"/>
                <a:gd name="T17" fmla="*/ 66 h 130"/>
                <a:gd name="T18" fmla="*/ 50 w 167"/>
                <a:gd name="T19" fmla="*/ 78 h 130"/>
                <a:gd name="T20" fmla="*/ 55 w 167"/>
                <a:gd name="T21" fmla="*/ 83 h 130"/>
                <a:gd name="T22" fmla="*/ 65 w 167"/>
                <a:gd name="T23" fmla="*/ 97 h 130"/>
                <a:gd name="T24" fmla="*/ 75 w 167"/>
                <a:gd name="T25" fmla="*/ 114 h 130"/>
                <a:gd name="T26" fmla="*/ 78 w 167"/>
                <a:gd name="T27" fmla="*/ 124 h 130"/>
                <a:gd name="T28" fmla="*/ 84 w 167"/>
                <a:gd name="T29" fmla="*/ 129 h 130"/>
                <a:gd name="T30" fmla="*/ 88 w 167"/>
                <a:gd name="T31" fmla="*/ 124 h 130"/>
                <a:gd name="T32" fmla="*/ 93 w 167"/>
                <a:gd name="T33" fmla="*/ 125 h 130"/>
                <a:gd name="T34" fmla="*/ 91 w 167"/>
                <a:gd name="T35" fmla="*/ 123 h 130"/>
                <a:gd name="T36" fmla="*/ 88 w 167"/>
                <a:gd name="T37" fmla="*/ 121 h 130"/>
                <a:gd name="T38" fmla="*/ 87 w 167"/>
                <a:gd name="T39" fmla="*/ 116 h 130"/>
                <a:gd name="T40" fmla="*/ 87 w 167"/>
                <a:gd name="T41" fmla="*/ 112 h 130"/>
                <a:gd name="T42" fmla="*/ 88 w 167"/>
                <a:gd name="T43" fmla="*/ 111 h 130"/>
                <a:gd name="T44" fmla="*/ 90 w 167"/>
                <a:gd name="T45" fmla="*/ 117 h 130"/>
                <a:gd name="T46" fmla="*/ 94 w 167"/>
                <a:gd name="T47" fmla="*/ 115 h 130"/>
                <a:gd name="T48" fmla="*/ 94 w 167"/>
                <a:gd name="T49" fmla="*/ 120 h 130"/>
                <a:gd name="T50" fmla="*/ 100 w 167"/>
                <a:gd name="T51" fmla="*/ 118 h 130"/>
                <a:gd name="T52" fmla="*/ 98 w 167"/>
                <a:gd name="T53" fmla="*/ 115 h 130"/>
                <a:gd name="T54" fmla="*/ 92 w 167"/>
                <a:gd name="T55" fmla="*/ 112 h 130"/>
                <a:gd name="T56" fmla="*/ 93 w 167"/>
                <a:gd name="T57" fmla="*/ 110 h 130"/>
                <a:gd name="T58" fmla="*/ 97 w 167"/>
                <a:gd name="T59" fmla="*/ 109 h 130"/>
                <a:gd name="T60" fmla="*/ 99 w 167"/>
                <a:gd name="T61" fmla="*/ 108 h 130"/>
                <a:gd name="T62" fmla="*/ 104 w 167"/>
                <a:gd name="T63" fmla="*/ 112 h 130"/>
                <a:gd name="T64" fmla="*/ 109 w 167"/>
                <a:gd name="T65" fmla="*/ 110 h 130"/>
                <a:gd name="T66" fmla="*/ 105 w 167"/>
                <a:gd name="T67" fmla="*/ 107 h 130"/>
                <a:gd name="T68" fmla="*/ 108 w 167"/>
                <a:gd name="T69" fmla="*/ 105 h 130"/>
                <a:gd name="T70" fmla="*/ 110 w 167"/>
                <a:gd name="T71" fmla="*/ 110 h 130"/>
                <a:gd name="T72" fmla="*/ 116 w 167"/>
                <a:gd name="T73" fmla="*/ 108 h 130"/>
                <a:gd name="T74" fmla="*/ 120 w 167"/>
                <a:gd name="T75" fmla="*/ 106 h 130"/>
                <a:gd name="T76" fmla="*/ 120 w 167"/>
                <a:gd name="T77" fmla="*/ 103 h 130"/>
                <a:gd name="T78" fmla="*/ 118 w 167"/>
                <a:gd name="T79" fmla="*/ 101 h 130"/>
                <a:gd name="T80" fmla="*/ 125 w 167"/>
                <a:gd name="T81" fmla="*/ 101 h 130"/>
                <a:gd name="T82" fmla="*/ 128 w 167"/>
                <a:gd name="T83" fmla="*/ 98 h 130"/>
                <a:gd name="T84" fmla="*/ 131 w 167"/>
                <a:gd name="T85" fmla="*/ 92 h 130"/>
                <a:gd name="T86" fmla="*/ 137 w 167"/>
                <a:gd name="T87" fmla="*/ 92 h 130"/>
                <a:gd name="T88" fmla="*/ 141 w 167"/>
                <a:gd name="T89" fmla="*/ 87 h 130"/>
                <a:gd name="T90" fmla="*/ 144 w 167"/>
                <a:gd name="T91" fmla="*/ 85 h 130"/>
                <a:gd name="T92" fmla="*/ 142 w 167"/>
                <a:gd name="T93" fmla="*/ 80 h 130"/>
                <a:gd name="T94" fmla="*/ 147 w 167"/>
                <a:gd name="T95" fmla="*/ 74 h 130"/>
                <a:gd name="T96" fmla="*/ 154 w 167"/>
                <a:gd name="T97" fmla="*/ 66 h 130"/>
                <a:gd name="T98" fmla="*/ 159 w 167"/>
                <a:gd name="T99" fmla="*/ 60 h 130"/>
                <a:gd name="T100" fmla="*/ 164 w 167"/>
                <a:gd name="T101" fmla="*/ 5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130">
                  <a:moveTo>
                    <a:pt x="128" y="17"/>
                  </a:moveTo>
                  <a:cubicBezTo>
                    <a:pt x="89" y="16"/>
                    <a:pt x="89" y="16"/>
                    <a:pt x="89" y="16"/>
                  </a:cubicBezTo>
                  <a:cubicBezTo>
                    <a:pt x="89" y="16"/>
                    <a:pt x="89" y="11"/>
                    <a:pt x="89" y="11"/>
                  </a:cubicBezTo>
                  <a:cubicBezTo>
                    <a:pt x="89" y="11"/>
                    <a:pt x="85" y="5"/>
                    <a:pt x="85" y="5"/>
                  </a:cubicBezTo>
                  <a:cubicBezTo>
                    <a:pt x="85" y="5"/>
                    <a:pt x="84" y="5"/>
                    <a:pt x="84" y="5"/>
                  </a:cubicBezTo>
                  <a:cubicBezTo>
                    <a:pt x="84" y="5"/>
                    <a:pt x="83" y="5"/>
                    <a:pt x="82" y="5"/>
                  </a:cubicBezTo>
                  <a:cubicBezTo>
                    <a:pt x="82" y="5"/>
                    <a:pt x="81" y="6"/>
                    <a:pt x="81" y="6"/>
                  </a:cubicBezTo>
                  <a:cubicBezTo>
                    <a:pt x="81" y="6"/>
                    <a:pt x="80" y="5"/>
                    <a:pt x="80" y="5"/>
                  </a:cubicBezTo>
                  <a:cubicBezTo>
                    <a:pt x="80" y="5"/>
                    <a:pt x="81" y="4"/>
                    <a:pt x="81" y="4"/>
                  </a:cubicBezTo>
                  <a:cubicBezTo>
                    <a:pt x="81" y="4"/>
                    <a:pt x="81" y="2"/>
                    <a:pt x="81" y="2"/>
                  </a:cubicBezTo>
                  <a:cubicBezTo>
                    <a:pt x="81" y="2"/>
                    <a:pt x="75" y="2"/>
                    <a:pt x="75" y="2"/>
                  </a:cubicBezTo>
                  <a:cubicBezTo>
                    <a:pt x="75" y="2"/>
                    <a:pt x="66" y="1"/>
                    <a:pt x="66" y="1"/>
                  </a:cubicBezTo>
                  <a:cubicBezTo>
                    <a:pt x="66" y="1"/>
                    <a:pt x="47" y="0"/>
                    <a:pt x="47" y="0"/>
                  </a:cubicBezTo>
                  <a:cubicBezTo>
                    <a:pt x="47" y="0"/>
                    <a:pt x="42" y="0"/>
                    <a:pt x="42" y="0"/>
                  </a:cubicBezTo>
                  <a:cubicBezTo>
                    <a:pt x="41" y="0"/>
                    <a:pt x="38" y="0"/>
                    <a:pt x="37" y="0"/>
                  </a:cubicBezTo>
                  <a:cubicBezTo>
                    <a:pt x="36" y="1"/>
                    <a:pt x="35" y="1"/>
                    <a:pt x="35" y="0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3" y="0"/>
                    <a:pt x="32" y="1"/>
                    <a:pt x="31" y="2"/>
                  </a:cubicBezTo>
                  <a:cubicBezTo>
                    <a:pt x="31" y="2"/>
                    <a:pt x="30" y="2"/>
                    <a:pt x="29" y="2"/>
                  </a:cubicBezTo>
                  <a:cubicBezTo>
                    <a:pt x="29" y="2"/>
                    <a:pt x="26" y="3"/>
                    <a:pt x="25" y="3"/>
                  </a:cubicBezTo>
                  <a:cubicBezTo>
                    <a:pt x="24" y="3"/>
                    <a:pt x="24" y="4"/>
                    <a:pt x="23" y="4"/>
                  </a:cubicBezTo>
                  <a:cubicBezTo>
                    <a:pt x="22" y="4"/>
                    <a:pt x="22" y="5"/>
                    <a:pt x="22" y="5"/>
                  </a:cubicBezTo>
                  <a:cubicBezTo>
                    <a:pt x="22" y="5"/>
                    <a:pt x="20" y="5"/>
                    <a:pt x="19" y="5"/>
                  </a:cubicBezTo>
                  <a:cubicBezTo>
                    <a:pt x="19" y="5"/>
                    <a:pt x="18" y="6"/>
                    <a:pt x="18" y="6"/>
                  </a:cubicBezTo>
                  <a:cubicBezTo>
                    <a:pt x="18" y="6"/>
                    <a:pt x="9" y="9"/>
                    <a:pt x="9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5" y="14"/>
                    <a:pt x="4" y="14"/>
                  </a:cubicBezTo>
                  <a:cubicBezTo>
                    <a:pt x="4" y="15"/>
                    <a:pt x="3" y="16"/>
                    <a:pt x="2" y="17"/>
                  </a:cubicBezTo>
                  <a:cubicBezTo>
                    <a:pt x="1" y="17"/>
                    <a:pt x="1" y="20"/>
                    <a:pt x="1" y="21"/>
                  </a:cubicBezTo>
                  <a:cubicBezTo>
                    <a:pt x="0" y="22"/>
                    <a:pt x="1" y="22"/>
                    <a:pt x="2" y="22"/>
                  </a:cubicBezTo>
                  <a:cubicBezTo>
                    <a:pt x="2" y="23"/>
                    <a:pt x="3" y="23"/>
                    <a:pt x="3" y="24"/>
                  </a:cubicBezTo>
                  <a:cubicBezTo>
                    <a:pt x="4" y="24"/>
                    <a:pt x="5" y="25"/>
                    <a:pt x="7" y="25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9" y="27"/>
                    <a:pt x="10" y="28"/>
                    <a:pt x="11" y="29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8" y="30"/>
                    <a:pt x="18" y="31"/>
                    <a:pt x="18" y="32"/>
                  </a:cubicBezTo>
                  <a:cubicBezTo>
                    <a:pt x="18" y="33"/>
                    <a:pt x="19" y="35"/>
                    <a:pt x="19" y="36"/>
                  </a:cubicBezTo>
                  <a:cubicBezTo>
                    <a:pt x="19" y="36"/>
                    <a:pt x="21" y="39"/>
                    <a:pt x="22" y="39"/>
                  </a:cubicBezTo>
                  <a:cubicBezTo>
                    <a:pt x="22" y="40"/>
                    <a:pt x="22" y="42"/>
                    <a:pt x="22" y="43"/>
                  </a:cubicBezTo>
                  <a:cubicBezTo>
                    <a:pt x="22" y="45"/>
                    <a:pt x="24" y="45"/>
                    <a:pt x="24" y="45"/>
                  </a:cubicBezTo>
                  <a:cubicBezTo>
                    <a:pt x="25" y="46"/>
                    <a:pt x="26" y="48"/>
                    <a:pt x="27" y="49"/>
                  </a:cubicBezTo>
                  <a:cubicBezTo>
                    <a:pt x="27" y="50"/>
                    <a:pt x="28" y="52"/>
                    <a:pt x="28" y="53"/>
                  </a:cubicBezTo>
                  <a:cubicBezTo>
                    <a:pt x="29" y="53"/>
                    <a:pt x="35" y="57"/>
                    <a:pt x="36" y="57"/>
                  </a:cubicBezTo>
                  <a:cubicBezTo>
                    <a:pt x="37" y="58"/>
                    <a:pt x="40" y="62"/>
                    <a:pt x="40" y="62"/>
                  </a:cubicBezTo>
                  <a:cubicBezTo>
                    <a:pt x="40" y="63"/>
                    <a:pt x="40" y="66"/>
                    <a:pt x="41" y="66"/>
                  </a:cubicBezTo>
                  <a:cubicBezTo>
                    <a:pt x="41" y="67"/>
                    <a:pt x="45" y="69"/>
                    <a:pt x="46" y="69"/>
                  </a:cubicBezTo>
                  <a:cubicBezTo>
                    <a:pt x="47" y="70"/>
                    <a:pt x="48" y="72"/>
                    <a:pt x="49" y="72"/>
                  </a:cubicBezTo>
                  <a:cubicBezTo>
                    <a:pt x="50" y="73"/>
                    <a:pt x="50" y="74"/>
                    <a:pt x="50" y="74"/>
                  </a:cubicBezTo>
                  <a:cubicBezTo>
                    <a:pt x="50" y="74"/>
                    <a:pt x="49" y="75"/>
                    <a:pt x="49" y="76"/>
                  </a:cubicBezTo>
                  <a:cubicBezTo>
                    <a:pt x="49" y="76"/>
                    <a:pt x="50" y="78"/>
                    <a:pt x="50" y="78"/>
                  </a:cubicBezTo>
                  <a:cubicBezTo>
                    <a:pt x="50" y="78"/>
                    <a:pt x="51" y="78"/>
                    <a:pt x="52" y="79"/>
                  </a:cubicBezTo>
                  <a:cubicBezTo>
                    <a:pt x="53" y="79"/>
                    <a:pt x="52" y="79"/>
                    <a:pt x="52" y="80"/>
                  </a:cubicBezTo>
                  <a:cubicBezTo>
                    <a:pt x="52" y="80"/>
                    <a:pt x="53" y="81"/>
                    <a:pt x="53" y="81"/>
                  </a:cubicBezTo>
                  <a:cubicBezTo>
                    <a:pt x="53" y="81"/>
                    <a:pt x="53" y="82"/>
                    <a:pt x="53" y="82"/>
                  </a:cubicBezTo>
                  <a:cubicBezTo>
                    <a:pt x="54" y="82"/>
                    <a:pt x="55" y="83"/>
                    <a:pt x="55" y="83"/>
                  </a:cubicBezTo>
                  <a:cubicBezTo>
                    <a:pt x="56" y="83"/>
                    <a:pt x="56" y="85"/>
                    <a:pt x="56" y="85"/>
                  </a:cubicBezTo>
                  <a:cubicBezTo>
                    <a:pt x="56" y="86"/>
                    <a:pt x="56" y="86"/>
                    <a:pt x="57" y="86"/>
                  </a:cubicBezTo>
                  <a:cubicBezTo>
                    <a:pt x="57" y="86"/>
                    <a:pt x="61" y="88"/>
                    <a:pt x="62" y="88"/>
                  </a:cubicBezTo>
                  <a:cubicBezTo>
                    <a:pt x="62" y="89"/>
                    <a:pt x="64" y="91"/>
                    <a:pt x="65" y="92"/>
                  </a:cubicBezTo>
                  <a:cubicBezTo>
                    <a:pt x="65" y="92"/>
                    <a:pt x="65" y="96"/>
                    <a:pt x="65" y="97"/>
                  </a:cubicBezTo>
                  <a:cubicBezTo>
                    <a:pt x="66" y="97"/>
                    <a:pt x="67" y="99"/>
                    <a:pt x="67" y="99"/>
                  </a:cubicBezTo>
                  <a:cubicBezTo>
                    <a:pt x="68" y="100"/>
                    <a:pt x="67" y="104"/>
                    <a:pt x="68" y="104"/>
                  </a:cubicBezTo>
                  <a:cubicBezTo>
                    <a:pt x="68" y="104"/>
                    <a:pt x="68" y="105"/>
                    <a:pt x="68" y="106"/>
                  </a:cubicBezTo>
                  <a:cubicBezTo>
                    <a:pt x="68" y="106"/>
                    <a:pt x="68" y="107"/>
                    <a:pt x="68" y="108"/>
                  </a:cubicBezTo>
                  <a:cubicBezTo>
                    <a:pt x="68" y="108"/>
                    <a:pt x="75" y="114"/>
                    <a:pt x="75" y="114"/>
                  </a:cubicBezTo>
                  <a:cubicBezTo>
                    <a:pt x="75" y="114"/>
                    <a:pt x="75" y="115"/>
                    <a:pt x="75" y="115"/>
                  </a:cubicBezTo>
                  <a:cubicBezTo>
                    <a:pt x="75" y="116"/>
                    <a:pt x="75" y="117"/>
                    <a:pt x="76" y="117"/>
                  </a:cubicBezTo>
                  <a:cubicBezTo>
                    <a:pt x="76" y="117"/>
                    <a:pt x="76" y="118"/>
                    <a:pt x="77" y="119"/>
                  </a:cubicBezTo>
                  <a:cubicBezTo>
                    <a:pt x="78" y="120"/>
                    <a:pt x="78" y="120"/>
                    <a:pt x="78" y="121"/>
                  </a:cubicBezTo>
                  <a:cubicBezTo>
                    <a:pt x="78" y="122"/>
                    <a:pt x="78" y="124"/>
                    <a:pt x="78" y="124"/>
                  </a:cubicBezTo>
                  <a:cubicBezTo>
                    <a:pt x="78" y="125"/>
                    <a:pt x="78" y="128"/>
                    <a:pt x="78" y="128"/>
                  </a:cubicBezTo>
                  <a:cubicBezTo>
                    <a:pt x="78" y="129"/>
                    <a:pt x="79" y="129"/>
                    <a:pt x="80" y="129"/>
                  </a:cubicBezTo>
                  <a:cubicBezTo>
                    <a:pt x="80" y="129"/>
                    <a:pt x="82" y="129"/>
                    <a:pt x="82" y="129"/>
                  </a:cubicBezTo>
                  <a:cubicBezTo>
                    <a:pt x="83" y="129"/>
                    <a:pt x="83" y="130"/>
                    <a:pt x="83" y="130"/>
                  </a:cubicBezTo>
                  <a:cubicBezTo>
                    <a:pt x="84" y="130"/>
                    <a:pt x="84" y="130"/>
                    <a:pt x="84" y="129"/>
                  </a:cubicBezTo>
                  <a:cubicBezTo>
                    <a:pt x="84" y="129"/>
                    <a:pt x="84" y="129"/>
                    <a:pt x="85" y="128"/>
                  </a:cubicBezTo>
                  <a:cubicBezTo>
                    <a:pt x="85" y="128"/>
                    <a:pt x="85" y="127"/>
                    <a:pt x="86" y="127"/>
                  </a:cubicBezTo>
                  <a:cubicBezTo>
                    <a:pt x="86" y="126"/>
                    <a:pt x="87" y="126"/>
                    <a:pt x="87" y="125"/>
                  </a:cubicBezTo>
                  <a:cubicBezTo>
                    <a:pt x="87" y="125"/>
                    <a:pt x="87" y="124"/>
                    <a:pt x="87" y="124"/>
                  </a:cubicBezTo>
                  <a:cubicBezTo>
                    <a:pt x="87" y="124"/>
                    <a:pt x="87" y="124"/>
                    <a:pt x="88" y="124"/>
                  </a:cubicBezTo>
                  <a:cubicBezTo>
                    <a:pt x="88" y="124"/>
                    <a:pt x="88" y="125"/>
                    <a:pt x="89" y="125"/>
                  </a:cubicBezTo>
                  <a:cubicBezTo>
                    <a:pt x="89" y="125"/>
                    <a:pt x="90" y="125"/>
                    <a:pt x="90" y="126"/>
                  </a:cubicBezTo>
                  <a:cubicBezTo>
                    <a:pt x="90" y="126"/>
                    <a:pt x="90" y="127"/>
                    <a:pt x="90" y="127"/>
                  </a:cubicBezTo>
                  <a:cubicBezTo>
                    <a:pt x="90" y="128"/>
                    <a:pt x="91" y="127"/>
                    <a:pt x="91" y="127"/>
                  </a:cubicBezTo>
                  <a:cubicBezTo>
                    <a:pt x="92" y="126"/>
                    <a:pt x="92" y="126"/>
                    <a:pt x="93" y="125"/>
                  </a:cubicBezTo>
                  <a:cubicBezTo>
                    <a:pt x="93" y="125"/>
                    <a:pt x="94" y="125"/>
                    <a:pt x="94" y="124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2" y="123"/>
                    <a:pt x="91" y="123"/>
                    <a:pt x="91" y="123"/>
                  </a:cubicBezTo>
                  <a:cubicBezTo>
                    <a:pt x="91" y="123"/>
                    <a:pt x="90" y="124"/>
                    <a:pt x="90" y="124"/>
                  </a:cubicBezTo>
                  <a:cubicBezTo>
                    <a:pt x="90" y="124"/>
                    <a:pt x="89" y="124"/>
                    <a:pt x="89" y="123"/>
                  </a:cubicBezTo>
                  <a:cubicBezTo>
                    <a:pt x="89" y="123"/>
                    <a:pt x="89" y="123"/>
                    <a:pt x="89" y="122"/>
                  </a:cubicBezTo>
                  <a:cubicBezTo>
                    <a:pt x="89" y="122"/>
                    <a:pt x="89" y="122"/>
                    <a:pt x="89" y="121"/>
                  </a:cubicBezTo>
                  <a:cubicBezTo>
                    <a:pt x="88" y="121"/>
                    <a:pt x="88" y="121"/>
                    <a:pt x="88" y="121"/>
                  </a:cubicBezTo>
                  <a:cubicBezTo>
                    <a:pt x="88" y="121"/>
                    <a:pt x="87" y="120"/>
                    <a:pt x="87" y="120"/>
                  </a:cubicBezTo>
                  <a:cubicBezTo>
                    <a:pt x="87" y="120"/>
                    <a:pt x="87" y="119"/>
                    <a:pt x="87" y="119"/>
                  </a:cubicBezTo>
                  <a:cubicBezTo>
                    <a:pt x="87" y="119"/>
                    <a:pt x="88" y="118"/>
                    <a:pt x="88" y="118"/>
                  </a:cubicBezTo>
                  <a:cubicBezTo>
                    <a:pt x="88" y="118"/>
                    <a:pt x="88" y="117"/>
                    <a:pt x="88" y="117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7" y="115"/>
                    <a:pt x="87" y="115"/>
                    <a:pt x="87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8" y="114"/>
                    <a:pt x="88" y="113"/>
                    <a:pt x="88" y="113"/>
                  </a:cubicBezTo>
                  <a:cubicBezTo>
                    <a:pt x="88" y="113"/>
                    <a:pt x="88" y="112"/>
                    <a:pt x="87" y="112"/>
                  </a:cubicBezTo>
                  <a:cubicBezTo>
                    <a:pt x="87" y="112"/>
                    <a:pt x="87" y="112"/>
                    <a:pt x="87" y="111"/>
                  </a:cubicBezTo>
                  <a:cubicBezTo>
                    <a:pt x="87" y="111"/>
                    <a:pt x="87" y="111"/>
                    <a:pt x="86" y="111"/>
                  </a:cubicBezTo>
                  <a:cubicBezTo>
                    <a:pt x="86" y="111"/>
                    <a:pt x="86" y="111"/>
                    <a:pt x="86" y="111"/>
                  </a:cubicBezTo>
                  <a:cubicBezTo>
                    <a:pt x="86" y="111"/>
                    <a:pt x="86" y="111"/>
                    <a:pt x="87" y="111"/>
                  </a:cubicBezTo>
                  <a:cubicBezTo>
                    <a:pt x="87" y="111"/>
                    <a:pt x="87" y="111"/>
                    <a:pt x="88" y="111"/>
                  </a:cubicBezTo>
                  <a:cubicBezTo>
                    <a:pt x="88" y="111"/>
                    <a:pt x="88" y="112"/>
                    <a:pt x="88" y="112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0" y="112"/>
                    <a:pt x="90" y="113"/>
                    <a:pt x="90" y="113"/>
                  </a:cubicBezTo>
                  <a:cubicBezTo>
                    <a:pt x="90" y="114"/>
                    <a:pt x="90" y="115"/>
                    <a:pt x="90" y="116"/>
                  </a:cubicBezTo>
                  <a:cubicBezTo>
                    <a:pt x="90" y="116"/>
                    <a:pt x="90" y="117"/>
                    <a:pt x="90" y="117"/>
                  </a:cubicBezTo>
                  <a:cubicBezTo>
                    <a:pt x="90" y="117"/>
                    <a:pt x="90" y="117"/>
                    <a:pt x="91" y="117"/>
                  </a:cubicBezTo>
                  <a:cubicBezTo>
                    <a:pt x="91" y="117"/>
                    <a:pt x="91" y="118"/>
                    <a:pt x="92" y="118"/>
                  </a:cubicBezTo>
                  <a:cubicBezTo>
                    <a:pt x="92" y="118"/>
                    <a:pt x="93" y="118"/>
                    <a:pt x="93" y="118"/>
                  </a:cubicBezTo>
                  <a:cubicBezTo>
                    <a:pt x="93" y="117"/>
                    <a:pt x="93" y="117"/>
                    <a:pt x="93" y="117"/>
                  </a:cubicBezTo>
                  <a:cubicBezTo>
                    <a:pt x="93" y="116"/>
                    <a:pt x="93" y="115"/>
                    <a:pt x="94" y="115"/>
                  </a:cubicBezTo>
                  <a:cubicBezTo>
                    <a:pt x="95" y="115"/>
                    <a:pt x="94" y="116"/>
                    <a:pt x="94" y="116"/>
                  </a:cubicBezTo>
                  <a:cubicBezTo>
                    <a:pt x="94" y="117"/>
                    <a:pt x="93" y="117"/>
                    <a:pt x="94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4" y="119"/>
                    <a:pt x="94" y="119"/>
                    <a:pt x="94" y="119"/>
                  </a:cubicBezTo>
                  <a:cubicBezTo>
                    <a:pt x="94" y="119"/>
                    <a:pt x="94" y="120"/>
                    <a:pt x="94" y="120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5" y="121"/>
                    <a:pt x="95" y="121"/>
                    <a:pt x="96" y="121"/>
                  </a:cubicBezTo>
                  <a:cubicBezTo>
                    <a:pt x="96" y="121"/>
                    <a:pt x="97" y="120"/>
                    <a:pt x="98" y="120"/>
                  </a:cubicBezTo>
                  <a:cubicBezTo>
                    <a:pt x="98" y="119"/>
                    <a:pt x="99" y="119"/>
                    <a:pt x="99" y="119"/>
                  </a:cubicBezTo>
                  <a:cubicBezTo>
                    <a:pt x="99" y="118"/>
                    <a:pt x="99" y="118"/>
                    <a:pt x="100" y="118"/>
                  </a:cubicBezTo>
                  <a:cubicBezTo>
                    <a:pt x="100" y="118"/>
                    <a:pt x="101" y="117"/>
                    <a:pt x="101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99" y="116"/>
                    <a:pt x="99" y="116"/>
                    <a:pt x="99" y="115"/>
                  </a:cubicBezTo>
                  <a:cubicBezTo>
                    <a:pt x="99" y="115"/>
                    <a:pt x="98" y="115"/>
                    <a:pt x="98" y="115"/>
                  </a:cubicBezTo>
                  <a:cubicBezTo>
                    <a:pt x="98" y="115"/>
                    <a:pt x="97" y="114"/>
                    <a:pt x="97" y="114"/>
                  </a:cubicBezTo>
                  <a:cubicBezTo>
                    <a:pt x="97" y="114"/>
                    <a:pt x="96" y="114"/>
                    <a:pt x="96" y="114"/>
                  </a:cubicBezTo>
                  <a:cubicBezTo>
                    <a:pt x="96" y="114"/>
                    <a:pt x="95" y="114"/>
                    <a:pt x="95" y="114"/>
                  </a:cubicBezTo>
                  <a:cubicBezTo>
                    <a:pt x="95" y="113"/>
                    <a:pt x="94" y="113"/>
                    <a:pt x="94" y="113"/>
                  </a:cubicBezTo>
                  <a:cubicBezTo>
                    <a:pt x="93" y="113"/>
                    <a:pt x="93" y="113"/>
                    <a:pt x="92" y="112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2" y="112"/>
                    <a:pt x="91" y="112"/>
                    <a:pt x="91" y="111"/>
                  </a:cubicBezTo>
                  <a:cubicBezTo>
                    <a:pt x="91" y="111"/>
                    <a:pt x="91" y="111"/>
                    <a:pt x="91" y="11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3" y="110"/>
                    <a:pt x="93" y="110"/>
                    <a:pt x="93" y="110"/>
                  </a:cubicBezTo>
                  <a:cubicBezTo>
                    <a:pt x="93" y="110"/>
                    <a:pt x="93" y="109"/>
                    <a:pt x="93" y="109"/>
                  </a:cubicBezTo>
                  <a:cubicBezTo>
                    <a:pt x="94" y="109"/>
                    <a:pt x="94" y="109"/>
                    <a:pt x="94" y="109"/>
                  </a:cubicBezTo>
                  <a:cubicBezTo>
                    <a:pt x="94" y="109"/>
                    <a:pt x="95" y="109"/>
                    <a:pt x="96" y="109"/>
                  </a:cubicBezTo>
                  <a:cubicBezTo>
                    <a:pt x="96" y="109"/>
                    <a:pt x="96" y="110"/>
                    <a:pt x="96" y="110"/>
                  </a:cubicBezTo>
                  <a:cubicBezTo>
                    <a:pt x="96" y="110"/>
                    <a:pt x="97" y="110"/>
                    <a:pt x="97" y="109"/>
                  </a:cubicBezTo>
                  <a:cubicBezTo>
                    <a:pt x="97" y="109"/>
                    <a:pt x="97" y="109"/>
                    <a:pt x="98" y="109"/>
                  </a:cubicBezTo>
                  <a:cubicBezTo>
                    <a:pt x="98" y="109"/>
                    <a:pt x="98" y="109"/>
                    <a:pt x="98" y="108"/>
                  </a:cubicBezTo>
                  <a:cubicBezTo>
                    <a:pt x="98" y="108"/>
                    <a:pt x="98" y="108"/>
                    <a:pt x="98" y="108"/>
                  </a:cubicBezTo>
                  <a:cubicBezTo>
                    <a:pt x="98" y="107"/>
                    <a:pt x="99" y="107"/>
                    <a:pt x="99" y="108"/>
                  </a:cubicBezTo>
                  <a:cubicBezTo>
                    <a:pt x="99" y="108"/>
                    <a:pt x="99" y="108"/>
                    <a:pt x="99" y="108"/>
                  </a:cubicBezTo>
                  <a:cubicBezTo>
                    <a:pt x="99" y="109"/>
                    <a:pt x="99" y="109"/>
                    <a:pt x="99" y="110"/>
                  </a:cubicBezTo>
                  <a:cubicBezTo>
                    <a:pt x="100" y="110"/>
                    <a:pt x="100" y="111"/>
                    <a:pt x="101" y="111"/>
                  </a:cubicBezTo>
                  <a:cubicBezTo>
                    <a:pt x="101" y="111"/>
                    <a:pt x="102" y="112"/>
                    <a:pt x="102" y="112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3" y="112"/>
                    <a:pt x="104" y="112"/>
                    <a:pt x="104" y="112"/>
                  </a:cubicBezTo>
                  <a:cubicBezTo>
                    <a:pt x="104" y="113"/>
                    <a:pt x="105" y="113"/>
                    <a:pt x="105" y="113"/>
                  </a:cubicBezTo>
                  <a:cubicBezTo>
                    <a:pt x="106" y="114"/>
                    <a:pt x="106" y="113"/>
                    <a:pt x="107" y="113"/>
                  </a:cubicBezTo>
                  <a:cubicBezTo>
                    <a:pt x="107" y="112"/>
                    <a:pt x="108" y="112"/>
                    <a:pt x="108" y="112"/>
                  </a:cubicBezTo>
                  <a:cubicBezTo>
                    <a:pt x="108" y="112"/>
                    <a:pt x="108" y="111"/>
                    <a:pt x="109" y="111"/>
                  </a:cubicBezTo>
                  <a:cubicBezTo>
                    <a:pt x="109" y="111"/>
                    <a:pt x="109" y="111"/>
                    <a:pt x="109" y="110"/>
                  </a:cubicBezTo>
                  <a:cubicBezTo>
                    <a:pt x="109" y="110"/>
                    <a:pt x="109" y="109"/>
                    <a:pt x="109" y="109"/>
                  </a:cubicBezTo>
                  <a:cubicBezTo>
                    <a:pt x="109" y="109"/>
                    <a:pt x="108" y="109"/>
                    <a:pt x="108" y="109"/>
                  </a:cubicBezTo>
                  <a:cubicBezTo>
                    <a:pt x="108" y="109"/>
                    <a:pt x="108" y="109"/>
                    <a:pt x="107" y="109"/>
                  </a:cubicBezTo>
                  <a:cubicBezTo>
                    <a:pt x="107" y="108"/>
                    <a:pt x="107" y="108"/>
                    <a:pt x="106" y="108"/>
                  </a:cubicBezTo>
                  <a:cubicBezTo>
                    <a:pt x="106" y="107"/>
                    <a:pt x="106" y="107"/>
                    <a:pt x="105" y="107"/>
                  </a:cubicBezTo>
                  <a:cubicBezTo>
                    <a:pt x="105" y="106"/>
                    <a:pt x="105" y="106"/>
                    <a:pt x="104" y="106"/>
                  </a:cubicBezTo>
                  <a:cubicBezTo>
                    <a:pt x="104" y="106"/>
                    <a:pt x="105" y="106"/>
                    <a:pt x="105" y="105"/>
                  </a:cubicBezTo>
                  <a:cubicBezTo>
                    <a:pt x="106" y="105"/>
                    <a:pt x="107" y="106"/>
                    <a:pt x="107" y="106"/>
                  </a:cubicBezTo>
                  <a:cubicBezTo>
                    <a:pt x="108" y="106"/>
                    <a:pt x="108" y="106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9" y="105"/>
                    <a:pt x="109" y="106"/>
                    <a:pt x="109" y="106"/>
                  </a:cubicBezTo>
                  <a:cubicBezTo>
                    <a:pt x="109" y="106"/>
                    <a:pt x="109" y="106"/>
                    <a:pt x="108" y="107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8" y="108"/>
                    <a:pt x="109" y="109"/>
                    <a:pt x="109" y="109"/>
                  </a:cubicBezTo>
                  <a:cubicBezTo>
                    <a:pt x="109" y="109"/>
                    <a:pt x="110" y="109"/>
                    <a:pt x="110" y="110"/>
                  </a:cubicBezTo>
                  <a:cubicBezTo>
                    <a:pt x="110" y="110"/>
                    <a:pt x="110" y="110"/>
                    <a:pt x="111" y="110"/>
                  </a:cubicBezTo>
                  <a:cubicBezTo>
                    <a:pt x="111" y="110"/>
                    <a:pt x="112" y="109"/>
                    <a:pt x="112" y="109"/>
                  </a:cubicBezTo>
                  <a:cubicBezTo>
                    <a:pt x="112" y="109"/>
                    <a:pt x="113" y="109"/>
                    <a:pt x="114" y="109"/>
                  </a:cubicBezTo>
                  <a:cubicBezTo>
                    <a:pt x="114" y="109"/>
                    <a:pt x="115" y="109"/>
                    <a:pt x="115" y="109"/>
                  </a:cubicBezTo>
                  <a:cubicBezTo>
                    <a:pt x="116" y="109"/>
                    <a:pt x="116" y="109"/>
                    <a:pt x="116" y="108"/>
                  </a:cubicBezTo>
                  <a:cubicBezTo>
                    <a:pt x="116" y="108"/>
                    <a:pt x="116" y="108"/>
                    <a:pt x="116" y="107"/>
                  </a:cubicBezTo>
                  <a:cubicBezTo>
                    <a:pt x="117" y="107"/>
                    <a:pt x="116" y="107"/>
                    <a:pt x="117" y="107"/>
                  </a:cubicBezTo>
                  <a:cubicBezTo>
                    <a:pt x="117" y="106"/>
                    <a:pt x="117" y="107"/>
                    <a:pt x="118" y="107"/>
                  </a:cubicBezTo>
                  <a:cubicBezTo>
                    <a:pt x="118" y="107"/>
                    <a:pt x="119" y="107"/>
                    <a:pt x="119" y="106"/>
                  </a:cubicBezTo>
                  <a:cubicBezTo>
                    <a:pt x="119" y="106"/>
                    <a:pt x="119" y="106"/>
                    <a:pt x="120" y="106"/>
                  </a:cubicBezTo>
                  <a:cubicBezTo>
                    <a:pt x="120" y="106"/>
                    <a:pt x="120" y="106"/>
                    <a:pt x="120" y="106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0" y="104"/>
                    <a:pt x="121" y="104"/>
                    <a:pt x="121" y="104"/>
                  </a:cubicBezTo>
                  <a:cubicBezTo>
                    <a:pt x="121" y="104"/>
                    <a:pt x="121" y="104"/>
                    <a:pt x="120" y="104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19" y="102"/>
                    <a:pt x="119" y="102"/>
                    <a:pt x="118" y="102"/>
                  </a:cubicBezTo>
                  <a:cubicBezTo>
                    <a:pt x="118" y="102"/>
                    <a:pt x="118" y="101"/>
                    <a:pt x="117" y="100"/>
                  </a:cubicBezTo>
                  <a:cubicBezTo>
                    <a:pt x="117" y="100"/>
                    <a:pt x="117" y="100"/>
                    <a:pt x="117" y="99"/>
                  </a:cubicBezTo>
                  <a:cubicBezTo>
                    <a:pt x="118" y="99"/>
                    <a:pt x="118" y="100"/>
                    <a:pt x="118" y="100"/>
                  </a:cubicBezTo>
                  <a:cubicBezTo>
                    <a:pt x="118" y="100"/>
                    <a:pt x="118" y="101"/>
                    <a:pt x="118" y="101"/>
                  </a:cubicBezTo>
                  <a:cubicBezTo>
                    <a:pt x="119" y="101"/>
                    <a:pt x="119" y="102"/>
                    <a:pt x="119" y="102"/>
                  </a:cubicBezTo>
                  <a:cubicBezTo>
                    <a:pt x="120" y="102"/>
                    <a:pt x="120" y="102"/>
                    <a:pt x="121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3" y="101"/>
                    <a:pt x="124" y="101"/>
                    <a:pt x="124" y="101"/>
                  </a:cubicBezTo>
                  <a:cubicBezTo>
                    <a:pt x="125" y="101"/>
                    <a:pt x="125" y="101"/>
                    <a:pt x="125" y="101"/>
                  </a:cubicBezTo>
                  <a:cubicBezTo>
                    <a:pt x="126" y="101"/>
                    <a:pt x="126" y="101"/>
                    <a:pt x="126" y="100"/>
                  </a:cubicBezTo>
                  <a:cubicBezTo>
                    <a:pt x="126" y="100"/>
                    <a:pt x="126" y="100"/>
                    <a:pt x="126" y="100"/>
                  </a:cubicBezTo>
                  <a:cubicBezTo>
                    <a:pt x="126" y="99"/>
                    <a:pt x="125" y="99"/>
                    <a:pt x="125" y="99"/>
                  </a:cubicBezTo>
                  <a:cubicBezTo>
                    <a:pt x="125" y="99"/>
                    <a:pt x="125" y="98"/>
                    <a:pt x="126" y="98"/>
                  </a:cubicBezTo>
                  <a:cubicBezTo>
                    <a:pt x="126" y="98"/>
                    <a:pt x="127" y="98"/>
                    <a:pt x="128" y="98"/>
                  </a:cubicBezTo>
                  <a:cubicBezTo>
                    <a:pt x="128" y="97"/>
                    <a:pt x="129" y="97"/>
                    <a:pt x="129" y="96"/>
                  </a:cubicBezTo>
                  <a:cubicBezTo>
                    <a:pt x="129" y="96"/>
                    <a:pt x="130" y="95"/>
                    <a:pt x="130" y="95"/>
                  </a:cubicBezTo>
                  <a:cubicBezTo>
                    <a:pt x="130" y="95"/>
                    <a:pt x="130" y="94"/>
                    <a:pt x="130" y="94"/>
                  </a:cubicBezTo>
                  <a:cubicBezTo>
                    <a:pt x="130" y="94"/>
                    <a:pt x="131" y="94"/>
                    <a:pt x="131" y="93"/>
                  </a:cubicBezTo>
                  <a:cubicBezTo>
                    <a:pt x="131" y="93"/>
                    <a:pt x="131" y="93"/>
                    <a:pt x="131" y="92"/>
                  </a:cubicBezTo>
                  <a:cubicBezTo>
                    <a:pt x="131" y="92"/>
                    <a:pt x="132" y="91"/>
                    <a:pt x="132" y="91"/>
                  </a:cubicBezTo>
                  <a:cubicBezTo>
                    <a:pt x="133" y="91"/>
                    <a:pt x="133" y="91"/>
                    <a:pt x="134" y="91"/>
                  </a:cubicBezTo>
                  <a:cubicBezTo>
                    <a:pt x="134" y="91"/>
                    <a:pt x="134" y="91"/>
                    <a:pt x="135" y="91"/>
                  </a:cubicBezTo>
                  <a:cubicBezTo>
                    <a:pt x="135" y="91"/>
                    <a:pt x="135" y="91"/>
                    <a:pt x="135" y="92"/>
                  </a:cubicBezTo>
                  <a:cubicBezTo>
                    <a:pt x="136" y="92"/>
                    <a:pt x="136" y="92"/>
                    <a:pt x="137" y="92"/>
                  </a:cubicBezTo>
                  <a:cubicBezTo>
                    <a:pt x="137" y="91"/>
                    <a:pt x="138" y="92"/>
                    <a:pt x="138" y="91"/>
                  </a:cubicBezTo>
                  <a:cubicBezTo>
                    <a:pt x="138" y="91"/>
                    <a:pt x="138" y="90"/>
                    <a:pt x="138" y="90"/>
                  </a:cubicBezTo>
                  <a:cubicBezTo>
                    <a:pt x="138" y="89"/>
                    <a:pt x="139" y="89"/>
                    <a:pt x="139" y="89"/>
                  </a:cubicBezTo>
                  <a:cubicBezTo>
                    <a:pt x="139" y="89"/>
                    <a:pt x="140" y="88"/>
                    <a:pt x="140" y="88"/>
                  </a:cubicBezTo>
                  <a:cubicBezTo>
                    <a:pt x="140" y="88"/>
                    <a:pt x="141" y="87"/>
                    <a:pt x="141" y="87"/>
                  </a:cubicBezTo>
                  <a:cubicBezTo>
                    <a:pt x="141" y="87"/>
                    <a:pt x="141" y="86"/>
                    <a:pt x="142" y="86"/>
                  </a:cubicBezTo>
                  <a:cubicBezTo>
                    <a:pt x="142" y="86"/>
                    <a:pt x="142" y="86"/>
                    <a:pt x="142" y="86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6"/>
                    <a:pt x="144" y="86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4"/>
                    <a:pt x="145" y="83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1"/>
                    <a:pt x="143" y="81"/>
                    <a:pt x="143" y="81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8"/>
                    <a:pt x="144" y="79"/>
                    <a:pt x="144" y="79"/>
                  </a:cubicBezTo>
                  <a:cubicBezTo>
                    <a:pt x="145" y="78"/>
                    <a:pt x="146" y="78"/>
                    <a:pt x="146" y="77"/>
                  </a:cubicBezTo>
                  <a:cubicBezTo>
                    <a:pt x="146" y="77"/>
                    <a:pt x="147" y="76"/>
                    <a:pt x="147" y="75"/>
                  </a:cubicBezTo>
                  <a:cubicBezTo>
                    <a:pt x="147" y="75"/>
                    <a:pt x="147" y="74"/>
                    <a:pt x="147" y="74"/>
                  </a:cubicBezTo>
                  <a:cubicBezTo>
                    <a:pt x="148" y="73"/>
                    <a:pt x="148" y="72"/>
                    <a:pt x="149" y="72"/>
                  </a:cubicBezTo>
                  <a:cubicBezTo>
                    <a:pt x="149" y="71"/>
                    <a:pt x="149" y="71"/>
                    <a:pt x="150" y="70"/>
                  </a:cubicBezTo>
                  <a:cubicBezTo>
                    <a:pt x="151" y="70"/>
                    <a:pt x="151" y="69"/>
                    <a:pt x="151" y="68"/>
                  </a:cubicBezTo>
                  <a:cubicBezTo>
                    <a:pt x="152" y="68"/>
                    <a:pt x="152" y="67"/>
                    <a:pt x="153" y="67"/>
                  </a:cubicBezTo>
                  <a:cubicBezTo>
                    <a:pt x="153" y="66"/>
                    <a:pt x="154" y="66"/>
                    <a:pt x="154" y="66"/>
                  </a:cubicBezTo>
                  <a:cubicBezTo>
                    <a:pt x="154" y="65"/>
                    <a:pt x="154" y="65"/>
                    <a:pt x="155" y="64"/>
                  </a:cubicBezTo>
                  <a:cubicBezTo>
                    <a:pt x="155" y="64"/>
                    <a:pt x="155" y="64"/>
                    <a:pt x="155" y="63"/>
                  </a:cubicBezTo>
                  <a:cubicBezTo>
                    <a:pt x="156" y="63"/>
                    <a:pt x="156" y="63"/>
                    <a:pt x="156" y="63"/>
                  </a:cubicBezTo>
                  <a:cubicBezTo>
                    <a:pt x="157" y="62"/>
                    <a:pt x="157" y="62"/>
                    <a:pt x="158" y="61"/>
                  </a:cubicBezTo>
                  <a:cubicBezTo>
                    <a:pt x="158" y="61"/>
                    <a:pt x="159" y="61"/>
                    <a:pt x="159" y="60"/>
                  </a:cubicBezTo>
                  <a:cubicBezTo>
                    <a:pt x="159" y="60"/>
                    <a:pt x="160" y="60"/>
                    <a:pt x="160" y="60"/>
                  </a:cubicBezTo>
                  <a:cubicBezTo>
                    <a:pt x="160" y="60"/>
                    <a:pt x="160" y="60"/>
                    <a:pt x="161" y="59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2" y="59"/>
                    <a:pt x="162" y="59"/>
                    <a:pt x="163" y="59"/>
                  </a:cubicBezTo>
                  <a:cubicBezTo>
                    <a:pt x="163" y="59"/>
                    <a:pt x="164" y="58"/>
                    <a:pt x="164" y="58"/>
                  </a:cubicBezTo>
                  <a:cubicBezTo>
                    <a:pt x="165" y="58"/>
                    <a:pt x="165" y="58"/>
                    <a:pt x="166" y="57"/>
                  </a:cubicBezTo>
                  <a:cubicBezTo>
                    <a:pt x="166" y="57"/>
                    <a:pt x="166" y="57"/>
                    <a:pt x="167" y="57"/>
                  </a:cubicBezTo>
                  <a:cubicBezTo>
                    <a:pt x="167" y="57"/>
                    <a:pt x="167" y="57"/>
                    <a:pt x="167" y="57"/>
                  </a:cubicBezTo>
                  <a:lnTo>
                    <a:pt x="128" y="17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E4ADE0DB-D19C-47B6-9408-85FDBF55C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0223" y="2626029"/>
              <a:ext cx="102437" cy="127219"/>
            </a:xfrm>
            <a:custGeom>
              <a:avLst/>
              <a:gdLst>
                <a:gd name="T0" fmla="*/ 18 w 26"/>
                <a:gd name="T1" fmla="*/ 25 h 32"/>
                <a:gd name="T2" fmla="*/ 18 w 26"/>
                <a:gd name="T3" fmla="*/ 24 h 32"/>
                <a:gd name="T4" fmla="*/ 19 w 26"/>
                <a:gd name="T5" fmla="*/ 23 h 32"/>
                <a:gd name="T6" fmla="*/ 19 w 26"/>
                <a:gd name="T7" fmla="*/ 21 h 32"/>
                <a:gd name="T8" fmla="*/ 20 w 26"/>
                <a:gd name="T9" fmla="*/ 20 h 32"/>
                <a:gd name="T10" fmla="*/ 21 w 26"/>
                <a:gd name="T11" fmla="*/ 22 h 32"/>
                <a:gd name="T12" fmla="*/ 20 w 26"/>
                <a:gd name="T13" fmla="*/ 25 h 32"/>
                <a:gd name="T14" fmla="*/ 19 w 26"/>
                <a:gd name="T15" fmla="*/ 26 h 32"/>
                <a:gd name="T16" fmla="*/ 18 w 26"/>
                <a:gd name="T17" fmla="*/ 26 h 32"/>
                <a:gd name="T18" fmla="*/ 17 w 26"/>
                <a:gd name="T19" fmla="*/ 25 h 32"/>
                <a:gd name="T20" fmla="*/ 17 w 26"/>
                <a:gd name="T21" fmla="*/ 24 h 32"/>
                <a:gd name="T22" fmla="*/ 16 w 26"/>
                <a:gd name="T23" fmla="*/ 23 h 32"/>
                <a:gd name="T24" fmla="*/ 16 w 26"/>
                <a:gd name="T25" fmla="*/ 24 h 32"/>
                <a:gd name="T26" fmla="*/ 17 w 26"/>
                <a:gd name="T27" fmla="*/ 25 h 32"/>
                <a:gd name="T28" fmla="*/ 23 w 26"/>
                <a:gd name="T29" fmla="*/ 16 h 32"/>
                <a:gd name="T30" fmla="*/ 23 w 26"/>
                <a:gd name="T31" fmla="*/ 17 h 32"/>
                <a:gd name="T32" fmla="*/ 22 w 26"/>
                <a:gd name="T33" fmla="*/ 18 h 32"/>
                <a:gd name="T34" fmla="*/ 21 w 26"/>
                <a:gd name="T35" fmla="*/ 20 h 32"/>
                <a:gd name="T36" fmla="*/ 22 w 26"/>
                <a:gd name="T37" fmla="*/ 21 h 32"/>
                <a:gd name="T38" fmla="*/ 23 w 26"/>
                <a:gd name="T39" fmla="*/ 23 h 32"/>
                <a:gd name="T40" fmla="*/ 23 w 26"/>
                <a:gd name="T41" fmla="*/ 26 h 32"/>
                <a:gd name="T42" fmla="*/ 24 w 26"/>
                <a:gd name="T43" fmla="*/ 25 h 32"/>
                <a:gd name="T44" fmla="*/ 26 w 26"/>
                <a:gd name="T45" fmla="*/ 25 h 32"/>
                <a:gd name="T46" fmla="*/ 24 w 26"/>
                <a:gd name="T47" fmla="*/ 17 h 32"/>
                <a:gd name="T48" fmla="*/ 16 w 26"/>
                <a:gd name="T49" fmla="*/ 4 h 32"/>
                <a:gd name="T50" fmla="*/ 1 w 26"/>
                <a:gd name="T51" fmla="*/ 0 h 32"/>
                <a:gd name="T52" fmla="*/ 0 w 26"/>
                <a:gd name="T53" fmla="*/ 30 h 32"/>
                <a:gd name="T54" fmla="*/ 3 w 26"/>
                <a:gd name="T55" fmla="*/ 32 h 32"/>
                <a:gd name="T56" fmla="*/ 4 w 26"/>
                <a:gd name="T57" fmla="*/ 31 h 32"/>
                <a:gd name="T58" fmla="*/ 7 w 26"/>
                <a:gd name="T59" fmla="*/ 31 h 32"/>
                <a:gd name="T60" fmla="*/ 9 w 26"/>
                <a:gd name="T61" fmla="*/ 30 h 32"/>
                <a:gd name="T62" fmla="*/ 12 w 26"/>
                <a:gd name="T63" fmla="*/ 30 h 32"/>
                <a:gd name="T64" fmla="*/ 13 w 26"/>
                <a:gd name="T65" fmla="*/ 29 h 32"/>
                <a:gd name="T66" fmla="*/ 14 w 26"/>
                <a:gd name="T67" fmla="*/ 27 h 32"/>
                <a:gd name="T68" fmla="*/ 14 w 26"/>
                <a:gd name="T69" fmla="*/ 25 h 32"/>
                <a:gd name="T70" fmla="*/ 15 w 26"/>
                <a:gd name="T71" fmla="*/ 23 h 32"/>
                <a:gd name="T72" fmla="*/ 15 w 26"/>
                <a:gd name="T73" fmla="*/ 21 h 32"/>
                <a:gd name="T74" fmla="*/ 15 w 26"/>
                <a:gd name="T75" fmla="*/ 20 h 32"/>
                <a:gd name="T76" fmla="*/ 15 w 26"/>
                <a:gd name="T77" fmla="*/ 19 h 32"/>
                <a:gd name="T78" fmla="*/ 14 w 26"/>
                <a:gd name="T79" fmla="*/ 18 h 32"/>
                <a:gd name="T80" fmla="*/ 15 w 26"/>
                <a:gd name="T81" fmla="*/ 17 h 32"/>
                <a:gd name="T82" fmla="*/ 16 w 26"/>
                <a:gd name="T83" fmla="*/ 17 h 32"/>
                <a:gd name="T84" fmla="*/ 16 w 26"/>
                <a:gd name="T85" fmla="*/ 14 h 32"/>
                <a:gd name="T86" fmla="*/ 16 w 26"/>
                <a:gd name="T87" fmla="*/ 11 h 32"/>
                <a:gd name="T88" fmla="*/ 17 w 26"/>
                <a:gd name="T89" fmla="*/ 11 h 32"/>
                <a:gd name="T90" fmla="*/ 18 w 26"/>
                <a:gd name="T91" fmla="*/ 12 h 32"/>
                <a:gd name="T92" fmla="*/ 19 w 26"/>
                <a:gd name="T93" fmla="*/ 14 h 32"/>
                <a:gd name="T94" fmla="*/ 19 w 26"/>
                <a:gd name="T95" fmla="*/ 15 h 32"/>
                <a:gd name="T96" fmla="*/ 21 w 26"/>
                <a:gd name="T97" fmla="*/ 14 h 32"/>
                <a:gd name="T98" fmla="*/ 17 w 26"/>
                <a:gd name="T99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" h="32">
                  <a:moveTo>
                    <a:pt x="18" y="25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2"/>
                    <a:pt x="19" y="22"/>
                  </a:cubicBezTo>
                  <a:cubicBezTo>
                    <a:pt x="19" y="22"/>
                    <a:pt x="19" y="21"/>
                    <a:pt x="19" y="21"/>
                  </a:cubicBezTo>
                  <a:cubicBezTo>
                    <a:pt x="19" y="21"/>
                    <a:pt x="19" y="21"/>
                    <a:pt x="19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19"/>
                    <a:pt x="21" y="19"/>
                    <a:pt x="21" y="20"/>
                  </a:cubicBezTo>
                  <a:cubicBezTo>
                    <a:pt x="21" y="21"/>
                    <a:pt x="21" y="21"/>
                    <a:pt x="21" y="22"/>
                  </a:cubicBezTo>
                  <a:cubicBezTo>
                    <a:pt x="21" y="23"/>
                    <a:pt x="21" y="24"/>
                    <a:pt x="21" y="24"/>
                  </a:cubicBezTo>
                  <a:cubicBezTo>
                    <a:pt x="21" y="25"/>
                    <a:pt x="21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5"/>
                  </a:cubicBezTo>
                  <a:close/>
                  <a:moveTo>
                    <a:pt x="17" y="25"/>
                  </a:moveTo>
                  <a:cubicBezTo>
                    <a:pt x="17" y="25"/>
                    <a:pt x="17" y="25"/>
                    <a:pt x="17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3"/>
                    <a:pt x="17" y="22"/>
                  </a:cubicBezTo>
                  <a:cubicBezTo>
                    <a:pt x="17" y="22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4"/>
                    <a:pt x="16" y="24"/>
                  </a:cubicBezTo>
                  <a:cubicBezTo>
                    <a:pt x="16" y="24"/>
                    <a:pt x="16" y="24"/>
                    <a:pt x="16" y="25"/>
                  </a:cubicBezTo>
                  <a:cubicBezTo>
                    <a:pt x="16" y="25"/>
                    <a:pt x="16" y="25"/>
                    <a:pt x="17" y="25"/>
                  </a:cubicBezTo>
                  <a:close/>
                  <a:moveTo>
                    <a:pt x="24" y="17"/>
                  </a:moveTo>
                  <a:cubicBezTo>
                    <a:pt x="23" y="16"/>
                    <a:pt x="23" y="16"/>
                    <a:pt x="23" y="16"/>
                  </a:cubicBezTo>
                  <a:cubicBezTo>
                    <a:pt x="23" y="16"/>
                    <a:pt x="23" y="16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1" y="18"/>
                    <a:pt x="21" y="19"/>
                  </a:cubicBezTo>
                  <a:cubicBezTo>
                    <a:pt x="21" y="19"/>
                    <a:pt x="21" y="19"/>
                    <a:pt x="21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1"/>
                  </a:cubicBezTo>
                  <a:cubicBezTo>
                    <a:pt x="22" y="21"/>
                    <a:pt x="22" y="21"/>
                    <a:pt x="22" y="22"/>
                  </a:cubicBezTo>
                  <a:cubicBezTo>
                    <a:pt x="23" y="22"/>
                    <a:pt x="23" y="23"/>
                    <a:pt x="23" y="23"/>
                  </a:cubicBezTo>
                  <a:cubicBezTo>
                    <a:pt x="23" y="24"/>
                    <a:pt x="23" y="24"/>
                    <a:pt x="23" y="25"/>
                  </a:cubicBezTo>
                  <a:cubicBezTo>
                    <a:pt x="23" y="25"/>
                    <a:pt x="23" y="26"/>
                    <a:pt x="23" y="26"/>
                  </a:cubicBezTo>
                  <a:cubicBezTo>
                    <a:pt x="23" y="26"/>
                    <a:pt x="24" y="26"/>
                    <a:pt x="24" y="26"/>
                  </a:cubicBezTo>
                  <a:cubicBezTo>
                    <a:pt x="24" y="26"/>
                    <a:pt x="24" y="25"/>
                    <a:pt x="24" y="25"/>
                  </a:cubicBezTo>
                  <a:cubicBezTo>
                    <a:pt x="24" y="25"/>
                    <a:pt x="25" y="25"/>
                    <a:pt x="25" y="25"/>
                  </a:cubicBezTo>
                  <a:cubicBezTo>
                    <a:pt x="25" y="24"/>
                    <a:pt x="26" y="25"/>
                    <a:pt x="26" y="25"/>
                  </a:cubicBezTo>
                  <a:cubicBezTo>
                    <a:pt x="26" y="23"/>
                    <a:pt x="25" y="19"/>
                    <a:pt x="25" y="19"/>
                  </a:cubicBezTo>
                  <a:cubicBezTo>
                    <a:pt x="25" y="19"/>
                    <a:pt x="24" y="17"/>
                    <a:pt x="24" y="17"/>
                  </a:cubicBezTo>
                  <a:close/>
                  <a:moveTo>
                    <a:pt x="17" y="6"/>
                  </a:moveTo>
                  <a:cubicBezTo>
                    <a:pt x="17" y="6"/>
                    <a:pt x="16" y="5"/>
                    <a:pt x="16" y="4"/>
                  </a:cubicBezTo>
                  <a:cubicBezTo>
                    <a:pt x="16" y="4"/>
                    <a:pt x="16" y="0"/>
                    <a:pt x="1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32"/>
                    <a:pt x="2" y="32"/>
                    <a:pt x="3" y="32"/>
                  </a:cubicBezTo>
                  <a:cubicBezTo>
                    <a:pt x="3" y="32"/>
                    <a:pt x="3" y="32"/>
                    <a:pt x="4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5" y="31"/>
                    <a:pt x="6" y="31"/>
                    <a:pt x="6" y="31"/>
                  </a:cubicBezTo>
                  <a:cubicBezTo>
                    <a:pt x="6" y="31"/>
                    <a:pt x="7" y="31"/>
                    <a:pt x="7" y="31"/>
                  </a:cubicBezTo>
                  <a:cubicBezTo>
                    <a:pt x="7" y="31"/>
                    <a:pt x="7" y="31"/>
                    <a:pt x="8" y="31"/>
                  </a:cubicBezTo>
                  <a:cubicBezTo>
                    <a:pt x="8" y="30"/>
                    <a:pt x="8" y="30"/>
                    <a:pt x="9" y="30"/>
                  </a:cubicBezTo>
                  <a:cubicBezTo>
                    <a:pt x="9" y="31"/>
                    <a:pt x="10" y="31"/>
                    <a:pt x="10" y="31"/>
                  </a:cubicBezTo>
                  <a:cubicBezTo>
                    <a:pt x="11" y="31"/>
                    <a:pt x="11" y="31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29"/>
                    <a:pt x="13" y="29"/>
                  </a:cubicBezTo>
                  <a:cubicBezTo>
                    <a:pt x="13" y="29"/>
                    <a:pt x="13" y="29"/>
                    <a:pt x="14" y="28"/>
                  </a:cubicBezTo>
                  <a:cubicBezTo>
                    <a:pt x="14" y="28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4"/>
                  </a:cubicBezTo>
                  <a:cubicBezTo>
                    <a:pt x="15" y="24"/>
                    <a:pt x="15" y="24"/>
                    <a:pt x="15" y="23"/>
                  </a:cubicBezTo>
                  <a:cubicBezTo>
                    <a:pt x="15" y="23"/>
                    <a:pt x="15" y="23"/>
                    <a:pt x="15" y="22"/>
                  </a:cubicBezTo>
                  <a:cubicBezTo>
                    <a:pt x="15" y="22"/>
                    <a:pt x="15" y="22"/>
                    <a:pt x="1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5" y="17"/>
                    <a:pt x="15" y="17"/>
                  </a:cubicBezTo>
                  <a:cubicBezTo>
                    <a:pt x="15" y="17"/>
                    <a:pt x="15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5"/>
                    <a:pt x="16" y="15"/>
                    <a:pt x="16" y="14"/>
                  </a:cubicBezTo>
                  <a:cubicBezTo>
                    <a:pt x="16" y="14"/>
                    <a:pt x="16" y="13"/>
                    <a:pt x="16" y="12"/>
                  </a:cubicBezTo>
                  <a:cubicBezTo>
                    <a:pt x="16" y="12"/>
                    <a:pt x="16" y="12"/>
                    <a:pt x="16" y="11"/>
                  </a:cubicBezTo>
                  <a:cubicBezTo>
                    <a:pt x="16" y="11"/>
                    <a:pt x="16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2"/>
                    <a:pt x="17" y="12"/>
                  </a:cubicBezTo>
                  <a:cubicBezTo>
                    <a:pt x="17" y="12"/>
                    <a:pt x="17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5"/>
                  </a:cubicBezTo>
                  <a:cubicBezTo>
                    <a:pt x="19" y="15"/>
                    <a:pt x="20" y="15"/>
                    <a:pt x="20" y="15"/>
                  </a:cubicBezTo>
                  <a:cubicBezTo>
                    <a:pt x="20" y="15"/>
                    <a:pt x="21" y="15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6"/>
                    <a:pt x="17" y="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A957E606-E698-4971-8AA0-17134C019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5593" y="2583071"/>
              <a:ext cx="796362" cy="459313"/>
            </a:xfrm>
            <a:custGeom>
              <a:avLst/>
              <a:gdLst>
                <a:gd name="T0" fmla="*/ 191 w 201"/>
                <a:gd name="T1" fmla="*/ 85 h 116"/>
                <a:gd name="T2" fmla="*/ 188 w 201"/>
                <a:gd name="T3" fmla="*/ 79 h 116"/>
                <a:gd name="T4" fmla="*/ 183 w 201"/>
                <a:gd name="T5" fmla="*/ 77 h 116"/>
                <a:gd name="T6" fmla="*/ 186 w 201"/>
                <a:gd name="T7" fmla="*/ 67 h 116"/>
                <a:gd name="T8" fmla="*/ 188 w 201"/>
                <a:gd name="T9" fmla="*/ 64 h 116"/>
                <a:gd name="T10" fmla="*/ 186 w 201"/>
                <a:gd name="T11" fmla="*/ 58 h 116"/>
                <a:gd name="T12" fmla="*/ 191 w 201"/>
                <a:gd name="T13" fmla="*/ 52 h 116"/>
                <a:gd name="T14" fmla="*/ 196 w 201"/>
                <a:gd name="T15" fmla="*/ 45 h 116"/>
                <a:gd name="T16" fmla="*/ 201 w 201"/>
                <a:gd name="T17" fmla="*/ 41 h 116"/>
                <a:gd name="T18" fmla="*/ 199 w 201"/>
                <a:gd name="T19" fmla="*/ 39 h 116"/>
                <a:gd name="T20" fmla="*/ 194 w 201"/>
                <a:gd name="T21" fmla="*/ 38 h 116"/>
                <a:gd name="T22" fmla="*/ 193 w 201"/>
                <a:gd name="T23" fmla="*/ 36 h 116"/>
                <a:gd name="T24" fmla="*/ 188 w 201"/>
                <a:gd name="T25" fmla="*/ 30 h 116"/>
                <a:gd name="T26" fmla="*/ 189 w 201"/>
                <a:gd name="T27" fmla="*/ 29 h 116"/>
                <a:gd name="T28" fmla="*/ 188 w 201"/>
                <a:gd name="T29" fmla="*/ 26 h 116"/>
                <a:gd name="T30" fmla="*/ 187 w 201"/>
                <a:gd name="T31" fmla="*/ 23 h 116"/>
                <a:gd name="T32" fmla="*/ 188 w 201"/>
                <a:gd name="T33" fmla="*/ 20 h 116"/>
                <a:gd name="T34" fmla="*/ 182 w 201"/>
                <a:gd name="T35" fmla="*/ 18 h 116"/>
                <a:gd name="T36" fmla="*/ 180 w 201"/>
                <a:gd name="T37" fmla="*/ 14 h 116"/>
                <a:gd name="T38" fmla="*/ 26 w 201"/>
                <a:gd name="T39" fmla="*/ 12 h 116"/>
                <a:gd name="T40" fmla="*/ 24 w 201"/>
                <a:gd name="T41" fmla="*/ 1 h 116"/>
                <a:gd name="T42" fmla="*/ 18 w 201"/>
                <a:gd name="T43" fmla="*/ 4 h 116"/>
                <a:gd name="T44" fmla="*/ 14 w 201"/>
                <a:gd name="T45" fmla="*/ 6 h 116"/>
                <a:gd name="T46" fmla="*/ 12 w 201"/>
                <a:gd name="T47" fmla="*/ 6 h 116"/>
                <a:gd name="T48" fmla="*/ 9 w 201"/>
                <a:gd name="T49" fmla="*/ 9 h 116"/>
                <a:gd name="T50" fmla="*/ 6 w 201"/>
                <a:gd name="T51" fmla="*/ 10 h 116"/>
                <a:gd name="T52" fmla="*/ 1 w 201"/>
                <a:gd name="T53" fmla="*/ 13 h 116"/>
                <a:gd name="T54" fmla="*/ 0 w 201"/>
                <a:gd name="T55" fmla="*/ 116 h 116"/>
                <a:gd name="T56" fmla="*/ 169 w 201"/>
                <a:gd name="T57" fmla="*/ 111 h 116"/>
                <a:gd name="T58" fmla="*/ 179 w 201"/>
                <a:gd name="T59" fmla="*/ 110 h 116"/>
                <a:gd name="T60" fmla="*/ 182 w 201"/>
                <a:gd name="T61" fmla="*/ 109 h 116"/>
                <a:gd name="T62" fmla="*/ 185 w 201"/>
                <a:gd name="T63" fmla="*/ 109 h 116"/>
                <a:gd name="T64" fmla="*/ 195 w 201"/>
                <a:gd name="T65" fmla="*/ 99 h 116"/>
                <a:gd name="T66" fmla="*/ 199 w 201"/>
                <a:gd name="T67" fmla="*/ 95 h 116"/>
                <a:gd name="T68" fmla="*/ 192 w 201"/>
                <a:gd name="T69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1" h="116">
                  <a:moveTo>
                    <a:pt x="192" y="88"/>
                  </a:move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3" y="77"/>
                    <a:pt x="183" y="77"/>
                    <a:pt x="183" y="77"/>
                  </a:cubicBezTo>
                  <a:cubicBezTo>
                    <a:pt x="183" y="69"/>
                    <a:pt x="183" y="69"/>
                    <a:pt x="183" y="69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6" y="61"/>
                    <a:pt x="186" y="61"/>
                    <a:pt x="186" y="61"/>
                  </a:cubicBezTo>
                  <a:cubicBezTo>
                    <a:pt x="186" y="58"/>
                    <a:pt x="186" y="58"/>
                    <a:pt x="186" y="58"/>
                  </a:cubicBezTo>
                  <a:cubicBezTo>
                    <a:pt x="191" y="54"/>
                    <a:pt x="191" y="54"/>
                    <a:pt x="191" y="54"/>
                  </a:cubicBezTo>
                  <a:cubicBezTo>
                    <a:pt x="191" y="52"/>
                    <a:pt x="191" y="52"/>
                    <a:pt x="191" y="52"/>
                  </a:cubicBezTo>
                  <a:cubicBezTo>
                    <a:pt x="194" y="50"/>
                    <a:pt x="194" y="50"/>
                    <a:pt x="194" y="50"/>
                  </a:cubicBezTo>
                  <a:cubicBezTo>
                    <a:pt x="196" y="45"/>
                    <a:pt x="196" y="45"/>
                    <a:pt x="196" y="45"/>
                  </a:cubicBezTo>
                  <a:cubicBezTo>
                    <a:pt x="197" y="43"/>
                    <a:pt x="197" y="43"/>
                    <a:pt x="197" y="43"/>
                  </a:cubicBezTo>
                  <a:cubicBezTo>
                    <a:pt x="201" y="41"/>
                    <a:pt x="201" y="41"/>
                    <a:pt x="201" y="41"/>
                  </a:cubicBezTo>
                  <a:cubicBezTo>
                    <a:pt x="200" y="41"/>
                    <a:pt x="200" y="41"/>
                    <a:pt x="200" y="41"/>
                  </a:cubicBezTo>
                  <a:cubicBezTo>
                    <a:pt x="200" y="41"/>
                    <a:pt x="199" y="39"/>
                    <a:pt x="199" y="39"/>
                  </a:cubicBezTo>
                  <a:cubicBezTo>
                    <a:pt x="199" y="38"/>
                    <a:pt x="198" y="38"/>
                    <a:pt x="198" y="38"/>
                  </a:cubicBezTo>
                  <a:cubicBezTo>
                    <a:pt x="197" y="38"/>
                    <a:pt x="195" y="38"/>
                    <a:pt x="194" y="38"/>
                  </a:cubicBezTo>
                  <a:cubicBezTo>
                    <a:pt x="193" y="38"/>
                    <a:pt x="193" y="37"/>
                    <a:pt x="193" y="37"/>
                  </a:cubicBezTo>
                  <a:cubicBezTo>
                    <a:pt x="193" y="37"/>
                    <a:pt x="193" y="36"/>
                    <a:pt x="193" y="36"/>
                  </a:cubicBezTo>
                  <a:cubicBezTo>
                    <a:pt x="192" y="36"/>
                    <a:pt x="191" y="36"/>
                    <a:pt x="190" y="36"/>
                  </a:cubicBezTo>
                  <a:cubicBezTo>
                    <a:pt x="190" y="36"/>
                    <a:pt x="188" y="30"/>
                    <a:pt x="188" y="30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9" y="30"/>
                    <a:pt x="189" y="29"/>
                    <a:pt x="189" y="29"/>
                  </a:cubicBezTo>
                  <a:cubicBezTo>
                    <a:pt x="189" y="29"/>
                    <a:pt x="188" y="28"/>
                    <a:pt x="188" y="27"/>
                  </a:cubicBezTo>
                  <a:cubicBezTo>
                    <a:pt x="188" y="27"/>
                    <a:pt x="188" y="26"/>
                    <a:pt x="188" y="26"/>
                  </a:cubicBezTo>
                  <a:cubicBezTo>
                    <a:pt x="188" y="26"/>
                    <a:pt x="188" y="24"/>
                    <a:pt x="188" y="24"/>
                  </a:cubicBezTo>
                  <a:cubicBezTo>
                    <a:pt x="188" y="23"/>
                    <a:pt x="187" y="23"/>
                    <a:pt x="187" y="23"/>
                  </a:cubicBezTo>
                  <a:cubicBezTo>
                    <a:pt x="187" y="22"/>
                    <a:pt x="187" y="22"/>
                    <a:pt x="187" y="22"/>
                  </a:cubicBezTo>
                  <a:cubicBezTo>
                    <a:pt x="187" y="22"/>
                    <a:pt x="188" y="20"/>
                    <a:pt x="188" y="20"/>
                  </a:cubicBezTo>
                  <a:cubicBezTo>
                    <a:pt x="188" y="20"/>
                    <a:pt x="184" y="18"/>
                    <a:pt x="184" y="18"/>
                  </a:cubicBezTo>
                  <a:cubicBezTo>
                    <a:pt x="184" y="17"/>
                    <a:pt x="183" y="18"/>
                    <a:pt x="182" y="18"/>
                  </a:cubicBezTo>
                  <a:cubicBezTo>
                    <a:pt x="182" y="18"/>
                    <a:pt x="181" y="18"/>
                    <a:pt x="181" y="18"/>
                  </a:cubicBezTo>
                  <a:cubicBezTo>
                    <a:pt x="181" y="18"/>
                    <a:pt x="180" y="15"/>
                    <a:pt x="180" y="14"/>
                  </a:cubicBezTo>
                  <a:cubicBezTo>
                    <a:pt x="180" y="14"/>
                    <a:pt x="178" y="12"/>
                    <a:pt x="178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1"/>
                    <a:pt x="24" y="1"/>
                  </a:cubicBezTo>
                  <a:cubicBezTo>
                    <a:pt x="23" y="1"/>
                    <a:pt x="23" y="2"/>
                    <a:pt x="22" y="2"/>
                  </a:cubicBezTo>
                  <a:cubicBezTo>
                    <a:pt x="20" y="3"/>
                    <a:pt x="19" y="3"/>
                    <a:pt x="18" y="4"/>
                  </a:cubicBezTo>
                  <a:cubicBezTo>
                    <a:pt x="17" y="5"/>
                    <a:pt x="16" y="5"/>
                    <a:pt x="15" y="6"/>
                  </a:cubicBezTo>
                  <a:cubicBezTo>
                    <a:pt x="15" y="6"/>
                    <a:pt x="14" y="6"/>
                    <a:pt x="14" y="6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3" y="5"/>
                    <a:pt x="12" y="6"/>
                    <a:pt x="12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8"/>
                    <a:pt x="10" y="8"/>
                    <a:pt x="9" y="9"/>
                  </a:cubicBezTo>
                  <a:cubicBezTo>
                    <a:pt x="9" y="9"/>
                    <a:pt x="8" y="9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5" y="11"/>
                    <a:pt x="5" y="11"/>
                    <a:pt x="4" y="12"/>
                  </a:cubicBezTo>
                  <a:cubicBezTo>
                    <a:pt x="3" y="12"/>
                    <a:pt x="2" y="13"/>
                    <a:pt x="1" y="13"/>
                  </a:cubicBezTo>
                  <a:cubicBezTo>
                    <a:pt x="1" y="13"/>
                    <a:pt x="0" y="13"/>
                    <a:pt x="0" y="14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9" y="111"/>
                    <a:pt x="169" y="111"/>
                    <a:pt x="169" y="111"/>
                  </a:cubicBezTo>
                  <a:cubicBezTo>
                    <a:pt x="176" y="112"/>
                    <a:pt x="176" y="112"/>
                    <a:pt x="176" y="112"/>
                  </a:cubicBezTo>
                  <a:cubicBezTo>
                    <a:pt x="176" y="111"/>
                    <a:pt x="178" y="110"/>
                    <a:pt x="179" y="110"/>
                  </a:cubicBezTo>
                  <a:cubicBezTo>
                    <a:pt x="179" y="110"/>
                    <a:pt x="180" y="110"/>
                    <a:pt x="180" y="110"/>
                  </a:cubicBezTo>
                  <a:cubicBezTo>
                    <a:pt x="181" y="110"/>
                    <a:pt x="182" y="109"/>
                    <a:pt x="182" y="109"/>
                  </a:cubicBezTo>
                  <a:cubicBezTo>
                    <a:pt x="183" y="109"/>
                    <a:pt x="183" y="109"/>
                    <a:pt x="184" y="108"/>
                  </a:cubicBezTo>
                  <a:cubicBezTo>
                    <a:pt x="184" y="108"/>
                    <a:pt x="185" y="108"/>
                    <a:pt x="185" y="109"/>
                  </a:cubicBezTo>
                  <a:cubicBezTo>
                    <a:pt x="185" y="105"/>
                    <a:pt x="185" y="105"/>
                    <a:pt x="185" y="105"/>
                  </a:cubicBezTo>
                  <a:cubicBezTo>
                    <a:pt x="195" y="99"/>
                    <a:pt x="195" y="99"/>
                    <a:pt x="195" y="99"/>
                  </a:cubicBezTo>
                  <a:cubicBezTo>
                    <a:pt x="198" y="98"/>
                    <a:pt x="198" y="98"/>
                    <a:pt x="198" y="98"/>
                  </a:cubicBezTo>
                  <a:cubicBezTo>
                    <a:pt x="199" y="95"/>
                    <a:pt x="199" y="95"/>
                    <a:pt x="199" y="95"/>
                  </a:cubicBezTo>
                  <a:cubicBezTo>
                    <a:pt x="198" y="94"/>
                    <a:pt x="198" y="94"/>
                    <a:pt x="198" y="94"/>
                  </a:cubicBezTo>
                  <a:lnTo>
                    <a:pt x="192" y="8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F43CCDD4-8D71-496F-A239-6030AAE1C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006" y="1826361"/>
              <a:ext cx="1105325" cy="804623"/>
            </a:xfrm>
            <a:custGeom>
              <a:avLst/>
              <a:gdLst>
                <a:gd name="T0" fmla="*/ 262 w 279"/>
                <a:gd name="T1" fmla="*/ 99 h 203"/>
                <a:gd name="T2" fmla="*/ 254 w 279"/>
                <a:gd name="T3" fmla="*/ 94 h 203"/>
                <a:gd name="T4" fmla="*/ 253 w 279"/>
                <a:gd name="T5" fmla="*/ 86 h 203"/>
                <a:gd name="T6" fmla="*/ 262 w 279"/>
                <a:gd name="T7" fmla="*/ 72 h 203"/>
                <a:gd name="T8" fmla="*/ 267 w 279"/>
                <a:gd name="T9" fmla="*/ 61 h 203"/>
                <a:gd name="T10" fmla="*/ 277 w 279"/>
                <a:gd name="T11" fmla="*/ 36 h 203"/>
                <a:gd name="T12" fmla="*/ 277 w 279"/>
                <a:gd name="T13" fmla="*/ 23 h 203"/>
                <a:gd name="T14" fmla="*/ 191 w 279"/>
                <a:gd name="T15" fmla="*/ 11 h 203"/>
                <a:gd name="T16" fmla="*/ 181 w 279"/>
                <a:gd name="T17" fmla="*/ 14 h 203"/>
                <a:gd name="T18" fmla="*/ 173 w 279"/>
                <a:gd name="T19" fmla="*/ 15 h 203"/>
                <a:gd name="T20" fmla="*/ 165 w 279"/>
                <a:gd name="T21" fmla="*/ 19 h 203"/>
                <a:gd name="T22" fmla="*/ 151 w 279"/>
                <a:gd name="T23" fmla="*/ 24 h 203"/>
                <a:gd name="T24" fmla="*/ 137 w 279"/>
                <a:gd name="T25" fmla="*/ 24 h 203"/>
                <a:gd name="T26" fmla="*/ 124 w 279"/>
                <a:gd name="T27" fmla="*/ 28 h 203"/>
                <a:gd name="T28" fmla="*/ 115 w 279"/>
                <a:gd name="T29" fmla="*/ 28 h 203"/>
                <a:gd name="T30" fmla="*/ 109 w 279"/>
                <a:gd name="T31" fmla="*/ 26 h 203"/>
                <a:gd name="T32" fmla="*/ 101 w 279"/>
                <a:gd name="T33" fmla="*/ 26 h 203"/>
                <a:gd name="T34" fmla="*/ 84 w 279"/>
                <a:gd name="T35" fmla="*/ 32 h 203"/>
                <a:gd name="T36" fmla="*/ 69 w 279"/>
                <a:gd name="T37" fmla="*/ 32 h 203"/>
                <a:gd name="T38" fmla="*/ 59 w 279"/>
                <a:gd name="T39" fmla="*/ 12 h 203"/>
                <a:gd name="T40" fmla="*/ 49 w 279"/>
                <a:gd name="T41" fmla="*/ 2 h 203"/>
                <a:gd name="T42" fmla="*/ 40 w 279"/>
                <a:gd name="T43" fmla="*/ 3 h 203"/>
                <a:gd name="T44" fmla="*/ 35 w 279"/>
                <a:gd name="T45" fmla="*/ 1 h 203"/>
                <a:gd name="T46" fmla="*/ 29 w 279"/>
                <a:gd name="T47" fmla="*/ 2 h 203"/>
                <a:gd name="T48" fmla="*/ 24 w 279"/>
                <a:gd name="T49" fmla="*/ 2 h 203"/>
                <a:gd name="T50" fmla="*/ 21 w 279"/>
                <a:gd name="T51" fmla="*/ 6 h 203"/>
                <a:gd name="T52" fmla="*/ 21 w 279"/>
                <a:gd name="T53" fmla="*/ 22 h 203"/>
                <a:gd name="T54" fmla="*/ 22 w 279"/>
                <a:gd name="T55" fmla="*/ 32 h 203"/>
                <a:gd name="T56" fmla="*/ 21 w 279"/>
                <a:gd name="T57" fmla="*/ 37 h 203"/>
                <a:gd name="T58" fmla="*/ 20 w 279"/>
                <a:gd name="T59" fmla="*/ 53 h 203"/>
                <a:gd name="T60" fmla="*/ 19 w 279"/>
                <a:gd name="T61" fmla="*/ 62 h 203"/>
                <a:gd name="T62" fmla="*/ 17 w 279"/>
                <a:gd name="T63" fmla="*/ 81 h 203"/>
                <a:gd name="T64" fmla="*/ 17 w 279"/>
                <a:gd name="T65" fmla="*/ 87 h 203"/>
                <a:gd name="T66" fmla="*/ 16 w 279"/>
                <a:gd name="T67" fmla="*/ 101 h 203"/>
                <a:gd name="T68" fmla="*/ 15 w 279"/>
                <a:gd name="T69" fmla="*/ 108 h 203"/>
                <a:gd name="T70" fmla="*/ 14 w 279"/>
                <a:gd name="T71" fmla="*/ 118 h 203"/>
                <a:gd name="T72" fmla="*/ 15 w 279"/>
                <a:gd name="T73" fmla="*/ 122 h 203"/>
                <a:gd name="T74" fmla="*/ 13 w 279"/>
                <a:gd name="T75" fmla="*/ 124 h 203"/>
                <a:gd name="T76" fmla="*/ 11 w 279"/>
                <a:gd name="T77" fmla="*/ 133 h 203"/>
                <a:gd name="T78" fmla="*/ 7 w 279"/>
                <a:gd name="T79" fmla="*/ 141 h 203"/>
                <a:gd name="T80" fmla="*/ 6 w 279"/>
                <a:gd name="T81" fmla="*/ 144 h 203"/>
                <a:gd name="T82" fmla="*/ 5 w 279"/>
                <a:gd name="T83" fmla="*/ 151 h 203"/>
                <a:gd name="T84" fmla="*/ 3 w 279"/>
                <a:gd name="T85" fmla="*/ 156 h 203"/>
                <a:gd name="T86" fmla="*/ 4 w 279"/>
                <a:gd name="T87" fmla="*/ 160 h 203"/>
                <a:gd name="T88" fmla="*/ 6 w 279"/>
                <a:gd name="T89" fmla="*/ 161 h 203"/>
                <a:gd name="T90" fmla="*/ 0 w 279"/>
                <a:gd name="T91" fmla="*/ 164 h 203"/>
                <a:gd name="T92" fmla="*/ 3 w 279"/>
                <a:gd name="T93" fmla="*/ 170 h 203"/>
                <a:gd name="T94" fmla="*/ 6 w 279"/>
                <a:gd name="T95" fmla="*/ 176 h 203"/>
                <a:gd name="T96" fmla="*/ 5 w 279"/>
                <a:gd name="T97" fmla="*/ 180 h 203"/>
                <a:gd name="T98" fmla="*/ 7 w 279"/>
                <a:gd name="T99" fmla="*/ 196 h 203"/>
                <a:gd name="T100" fmla="*/ 9 w 279"/>
                <a:gd name="T101" fmla="*/ 200 h 203"/>
                <a:gd name="T102" fmla="*/ 260 w 279"/>
                <a:gd name="T10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9" h="203">
                  <a:moveTo>
                    <a:pt x="262" y="113"/>
                  </a:moveTo>
                  <a:cubicBezTo>
                    <a:pt x="262" y="111"/>
                    <a:pt x="263" y="110"/>
                    <a:pt x="263" y="109"/>
                  </a:cubicBezTo>
                  <a:cubicBezTo>
                    <a:pt x="263" y="107"/>
                    <a:pt x="261" y="106"/>
                    <a:pt x="262" y="104"/>
                  </a:cubicBezTo>
                  <a:cubicBezTo>
                    <a:pt x="263" y="104"/>
                    <a:pt x="265" y="101"/>
                    <a:pt x="264" y="100"/>
                  </a:cubicBezTo>
                  <a:cubicBezTo>
                    <a:pt x="263" y="100"/>
                    <a:pt x="262" y="100"/>
                    <a:pt x="262" y="99"/>
                  </a:cubicBezTo>
                  <a:cubicBezTo>
                    <a:pt x="262" y="99"/>
                    <a:pt x="262" y="97"/>
                    <a:pt x="262" y="97"/>
                  </a:cubicBezTo>
                  <a:cubicBezTo>
                    <a:pt x="261" y="96"/>
                    <a:pt x="261" y="97"/>
                    <a:pt x="260" y="97"/>
                  </a:cubicBezTo>
                  <a:cubicBezTo>
                    <a:pt x="260" y="97"/>
                    <a:pt x="260" y="97"/>
                    <a:pt x="259" y="97"/>
                  </a:cubicBezTo>
                  <a:cubicBezTo>
                    <a:pt x="258" y="96"/>
                    <a:pt x="257" y="95"/>
                    <a:pt x="256" y="95"/>
                  </a:cubicBezTo>
                  <a:cubicBezTo>
                    <a:pt x="256" y="96"/>
                    <a:pt x="254" y="95"/>
                    <a:pt x="254" y="94"/>
                  </a:cubicBezTo>
                  <a:cubicBezTo>
                    <a:pt x="254" y="94"/>
                    <a:pt x="254" y="93"/>
                    <a:pt x="254" y="93"/>
                  </a:cubicBezTo>
                  <a:cubicBezTo>
                    <a:pt x="254" y="92"/>
                    <a:pt x="254" y="91"/>
                    <a:pt x="253" y="91"/>
                  </a:cubicBezTo>
                  <a:cubicBezTo>
                    <a:pt x="253" y="90"/>
                    <a:pt x="252" y="90"/>
                    <a:pt x="252" y="90"/>
                  </a:cubicBezTo>
                  <a:cubicBezTo>
                    <a:pt x="252" y="89"/>
                    <a:pt x="253" y="89"/>
                    <a:pt x="253" y="89"/>
                  </a:cubicBezTo>
                  <a:cubicBezTo>
                    <a:pt x="254" y="88"/>
                    <a:pt x="253" y="87"/>
                    <a:pt x="253" y="86"/>
                  </a:cubicBezTo>
                  <a:cubicBezTo>
                    <a:pt x="254" y="84"/>
                    <a:pt x="255" y="84"/>
                    <a:pt x="256" y="82"/>
                  </a:cubicBezTo>
                  <a:cubicBezTo>
                    <a:pt x="257" y="81"/>
                    <a:pt x="257" y="79"/>
                    <a:pt x="257" y="78"/>
                  </a:cubicBezTo>
                  <a:cubicBezTo>
                    <a:pt x="258" y="77"/>
                    <a:pt x="258" y="75"/>
                    <a:pt x="259" y="74"/>
                  </a:cubicBezTo>
                  <a:cubicBezTo>
                    <a:pt x="259" y="73"/>
                    <a:pt x="259" y="73"/>
                    <a:pt x="260" y="73"/>
                  </a:cubicBezTo>
                  <a:cubicBezTo>
                    <a:pt x="260" y="72"/>
                    <a:pt x="261" y="72"/>
                    <a:pt x="262" y="72"/>
                  </a:cubicBezTo>
                  <a:cubicBezTo>
                    <a:pt x="263" y="71"/>
                    <a:pt x="263" y="71"/>
                    <a:pt x="263" y="70"/>
                  </a:cubicBezTo>
                  <a:cubicBezTo>
                    <a:pt x="264" y="69"/>
                    <a:pt x="264" y="68"/>
                    <a:pt x="265" y="67"/>
                  </a:cubicBezTo>
                  <a:cubicBezTo>
                    <a:pt x="266" y="66"/>
                    <a:pt x="266" y="65"/>
                    <a:pt x="266" y="64"/>
                  </a:cubicBezTo>
                  <a:cubicBezTo>
                    <a:pt x="266" y="63"/>
                    <a:pt x="266" y="63"/>
                    <a:pt x="267" y="62"/>
                  </a:cubicBezTo>
                  <a:cubicBezTo>
                    <a:pt x="267" y="61"/>
                    <a:pt x="267" y="61"/>
                    <a:pt x="267" y="61"/>
                  </a:cubicBezTo>
                  <a:cubicBezTo>
                    <a:pt x="266" y="60"/>
                    <a:pt x="266" y="60"/>
                    <a:pt x="266" y="60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70" y="53"/>
                    <a:pt x="270" y="53"/>
                    <a:pt x="270" y="53"/>
                  </a:cubicBezTo>
                  <a:cubicBezTo>
                    <a:pt x="270" y="53"/>
                    <a:pt x="272" y="46"/>
                    <a:pt x="272" y="46"/>
                  </a:cubicBezTo>
                  <a:cubicBezTo>
                    <a:pt x="272" y="46"/>
                    <a:pt x="277" y="36"/>
                    <a:pt x="277" y="36"/>
                  </a:cubicBezTo>
                  <a:cubicBezTo>
                    <a:pt x="277" y="36"/>
                    <a:pt x="277" y="35"/>
                    <a:pt x="277" y="34"/>
                  </a:cubicBezTo>
                  <a:cubicBezTo>
                    <a:pt x="278" y="34"/>
                    <a:pt x="279" y="31"/>
                    <a:pt x="279" y="31"/>
                  </a:cubicBezTo>
                  <a:cubicBezTo>
                    <a:pt x="278" y="28"/>
                    <a:pt x="278" y="28"/>
                    <a:pt x="278" y="28"/>
                  </a:cubicBezTo>
                  <a:cubicBezTo>
                    <a:pt x="278" y="28"/>
                    <a:pt x="277" y="26"/>
                    <a:pt x="277" y="26"/>
                  </a:cubicBezTo>
                  <a:cubicBezTo>
                    <a:pt x="277" y="25"/>
                    <a:pt x="277" y="23"/>
                    <a:pt x="277" y="23"/>
                  </a:cubicBezTo>
                  <a:cubicBezTo>
                    <a:pt x="277" y="23"/>
                    <a:pt x="273" y="21"/>
                    <a:pt x="273" y="21"/>
                  </a:cubicBezTo>
                  <a:cubicBezTo>
                    <a:pt x="272" y="21"/>
                    <a:pt x="269" y="19"/>
                    <a:pt x="269" y="19"/>
                  </a:cubicBezTo>
                  <a:cubicBezTo>
                    <a:pt x="264" y="11"/>
                    <a:pt x="264" y="11"/>
                    <a:pt x="264" y="11"/>
                  </a:cubicBezTo>
                  <a:cubicBezTo>
                    <a:pt x="193" y="11"/>
                    <a:pt x="193" y="11"/>
                    <a:pt x="193" y="11"/>
                  </a:cubicBezTo>
                  <a:cubicBezTo>
                    <a:pt x="192" y="11"/>
                    <a:pt x="192" y="11"/>
                    <a:pt x="191" y="11"/>
                  </a:cubicBezTo>
                  <a:cubicBezTo>
                    <a:pt x="191" y="12"/>
                    <a:pt x="190" y="12"/>
                    <a:pt x="190" y="12"/>
                  </a:cubicBezTo>
                  <a:cubicBezTo>
                    <a:pt x="189" y="13"/>
                    <a:pt x="189" y="13"/>
                    <a:pt x="188" y="14"/>
                  </a:cubicBezTo>
                  <a:cubicBezTo>
                    <a:pt x="187" y="14"/>
                    <a:pt x="187" y="14"/>
                    <a:pt x="186" y="14"/>
                  </a:cubicBezTo>
                  <a:cubicBezTo>
                    <a:pt x="185" y="14"/>
                    <a:pt x="183" y="14"/>
                    <a:pt x="182" y="14"/>
                  </a:cubicBezTo>
                  <a:cubicBezTo>
                    <a:pt x="182" y="14"/>
                    <a:pt x="181" y="14"/>
                    <a:pt x="181" y="14"/>
                  </a:cubicBezTo>
                  <a:cubicBezTo>
                    <a:pt x="181" y="14"/>
                    <a:pt x="180" y="14"/>
                    <a:pt x="180" y="14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78" y="15"/>
                    <a:pt x="177" y="15"/>
                    <a:pt x="177" y="15"/>
                  </a:cubicBezTo>
                  <a:cubicBezTo>
                    <a:pt x="176" y="15"/>
                    <a:pt x="176" y="16"/>
                    <a:pt x="175" y="15"/>
                  </a:cubicBezTo>
                  <a:cubicBezTo>
                    <a:pt x="175" y="15"/>
                    <a:pt x="174" y="15"/>
                    <a:pt x="173" y="15"/>
                  </a:cubicBezTo>
                  <a:cubicBezTo>
                    <a:pt x="172" y="15"/>
                    <a:pt x="171" y="15"/>
                    <a:pt x="171" y="15"/>
                  </a:cubicBezTo>
                  <a:cubicBezTo>
                    <a:pt x="170" y="16"/>
                    <a:pt x="170" y="16"/>
                    <a:pt x="170" y="16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8" y="18"/>
                    <a:pt x="167" y="18"/>
                    <a:pt x="166" y="19"/>
                  </a:cubicBezTo>
                  <a:cubicBezTo>
                    <a:pt x="166" y="19"/>
                    <a:pt x="165" y="19"/>
                    <a:pt x="165" y="19"/>
                  </a:cubicBezTo>
                  <a:cubicBezTo>
                    <a:pt x="164" y="19"/>
                    <a:pt x="163" y="19"/>
                    <a:pt x="163" y="19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20"/>
                    <a:pt x="161" y="20"/>
                    <a:pt x="160" y="20"/>
                  </a:cubicBezTo>
                  <a:cubicBezTo>
                    <a:pt x="159" y="20"/>
                    <a:pt x="158" y="20"/>
                    <a:pt x="157" y="21"/>
                  </a:cubicBezTo>
                  <a:cubicBezTo>
                    <a:pt x="155" y="21"/>
                    <a:pt x="153" y="23"/>
                    <a:pt x="151" y="24"/>
                  </a:cubicBezTo>
                  <a:cubicBezTo>
                    <a:pt x="150" y="25"/>
                    <a:pt x="149" y="25"/>
                    <a:pt x="148" y="25"/>
                  </a:cubicBezTo>
                  <a:cubicBezTo>
                    <a:pt x="147" y="26"/>
                    <a:pt x="145" y="26"/>
                    <a:pt x="144" y="26"/>
                  </a:cubicBezTo>
                  <a:cubicBezTo>
                    <a:pt x="143" y="26"/>
                    <a:pt x="141" y="26"/>
                    <a:pt x="140" y="26"/>
                  </a:cubicBezTo>
                  <a:cubicBezTo>
                    <a:pt x="139" y="25"/>
                    <a:pt x="139" y="25"/>
                    <a:pt x="138" y="25"/>
                  </a:cubicBezTo>
                  <a:cubicBezTo>
                    <a:pt x="138" y="24"/>
                    <a:pt x="137" y="24"/>
                    <a:pt x="137" y="24"/>
                  </a:cubicBezTo>
                  <a:cubicBezTo>
                    <a:pt x="136" y="24"/>
                    <a:pt x="135" y="24"/>
                    <a:pt x="135" y="24"/>
                  </a:cubicBezTo>
                  <a:cubicBezTo>
                    <a:pt x="134" y="25"/>
                    <a:pt x="133" y="25"/>
                    <a:pt x="133" y="25"/>
                  </a:cubicBezTo>
                  <a:cubicBezTo>
                    <a:pt x="132" y="26"/>
                    <a:pt x="131" y="26"/>
                    <a:pt x="130" y="27"/>
                  </a:cubicBezTo>
                  <a:cubicBezTo>
                    <a:pt x="129" y="28"/>
                    <a:pt x="128" y="28"/>
                    <a:pt x="127" y="29"/>
                  </a:cubicBezTo>
                  <a:cubicBezTo>
                    <a:pt x="126" y="29"/>
                    <a:pt x="125" y="28"/>
                    <a:pt x="124" y="28"/>
                  </a:cubicBezTo>
                  <a:cubicBezTo>
                    <a:pt x="123" y="28"/>
                    <a:pt x="122" y="28"/>
                    <a:pt x="122" y="28"/>
                  </a:cubicBezTo>
                  <a:cubicBezTo>
                    <a:pt x="121" y="28"/>
                    <a:pt x="120" y="28"/>
                    <a:pt x="120" y="29"/>
                  </a:cubicBezTo>
                  <a:cubicBezTo>
                    <a:pt x="119" y="29"/>
                    <a:pt x="119" y="30"/>
                    <a:pt x="118" y="30"/>
                  </a:cubicBezTo>
                  <a:cubicBezTo>
                    <a:pt x="118" y="31"/>
                    <a:pt x="117" y="31"/>
                    <a:pt x="116" y="30"/>
                  </a:cubicBezTo>
                  <a:cubicBezTo>
                    <a:pt x="115" y="30"/>
                    <a:pt x="116" y="29"/>
                    <a:pt x="115" y="28"/>
                  </a:cubicBezTo>
                  <a:cubicBezTo>
                    <a:pt x="115" y="28"/>
                    <a:pt x="115" y="28"/>
                    <a:pt x="115" y="27"/>
                  </a:cubicBezTo>
                  <a:cubicBezTo>
                    <a:pt x="114" y="27"/>
                    <a:pt x="114" y="27"/>
                    <a:pt x="113" y="27"/>
                  </a:cubicBezTo>
                  <a:cubicBezTo>
                    <a:pt x="112" y="26"/>
                    <a:pt x="112" y="26"/>
                    <a:pt x="111" y="26"/>
                  </a:cubicBezTo>
                  <a:cubicBezTo>
                    <a:pt x="111" y="26"/>
                    <a:pt x="110" y="26"/>
                    <a:pt x="110" y="26"/>
                  </a:cubicBezTo>
                  <a:cubicBezTo>
                    <a:pt x="110" y="26"/>
                    <a:pt x="109" y="26"/>
                    <a:pt x="109" y="26"/>
                  </a:cubicBezTo>
                  <a:cubicBezTo>
                    <a:pt x="108" y="26"/>
                    <a:pt x="108" y="26"/>
                    <a:pt x="107" y="26"/>
                  </a:cubicBezTo>
                  <a:cubicBezTo>
                    <a:pt x="107" y="26"/>
                    <a:pt x="107" y="26"/>
                    <a:pt x="106" y="25"/>
                  </a:cubicBezTo>
                  <a:cubicBezTo>
                    <a:pt x="105" y="25"/>
                    <a:pt x="104" y="25"/>
                    <a:pt x="103" y="25"/>
                  </a:cubicBezTo>
                  <a:cubicBezTo>
                    <a:pt x="103" y="25"/>
                    <a:pt x="102" y="25"/>
                    <a:pt x="102" y="25"/>
                  </a:cubicBezTo>
                  <a:cubicBezTo>
                    <a:pt x="102" y="26"/>
                    <a:pt x="101" y="26"/>
                    <a:pt x="101" y="26"/>
                  </a:cubicBezTo>
                  <a:cubicBezTo>
                    <a:pt x="100" y="27"/>
                    <a:pt x="98" y="26"/>
                    <a:pt x="96" y="26"/>
                  </a:cubicBezTo>
                  <a:cubicBezTo>
                    <a:pt x="96" y="26"/>
                    <a:pt x="95" y="26"/>
                    <a:pt x="95" y="26"/>
                  </a:cubicBezTo>
                  <a:cubicBezTo>
                    <a:pt x="94" y="26"/>
                    <a:pt x="93" y="27"/>
                    <a:pt x="92" y="27"/>
                  </a:cubicBezTo>
                  <a:cubicBezTo>
                    <a:pt x="91" y="28"/>
                    <a:pt x="90" y="28"/>
                    <a:pt x="89" y="29"/>
                  </a:cubicBezTo>
                  <a:cubicBezTo>
                    <a:pt x="88" y="30"/>
                    <a:pt x="86" y="31"/>
                    <a:pt x="84" y="32"/>
                  </a:cubicBezTo>
                  <a:cubicBezTo>
                    <a:pt x="83" y="32"/>
                    <a:pt x="82" y="33"/>
                    <a:pt x="81" y="33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7" y="33"/>
                    <a:pt x="76" y="33"/>
                    <a:pt x="75" y="33"/>
                  </a:cubicBezTo>
                  <a:cubicBezTo>
                    <a:pt x="74" y="33"/>
                    <a:pt x="73" y="33"/>
                    <a:pt x="72" y="33"/>
                  </a:cubicBezTo>
                  <a:cubicBezTo>
                    <a:pt x="71" y="33"/>
                    <a:pt x="70" y="32"/>
                    <a:pt x="69" y="32"/>
                  </a:cubicBezTo>
                  <a:cubicBezTo>
                    <a:pt x="68" y="32"/>
                    <a:pt x="66" y="31"/>
                    <a:pt x="64" y="30"/>
                  </a:cubicBezTo>
                  <a:cubicBezTo>
                    <a:pt x="62" y="29"/>
                    <a:pt x="62" y="26"/>
                    <a:pt x="62" y="24"/>
                  </a:cubicBezTo>
                  <a:cubicBezTo>
                    <a:pt x="61" y="22"/>
                    <a:pt x="61" y="20"/>
                    <a:pt x="61" y="18"/>
                  </a:cubicBezTo>
                  <a:cubicBezTo>
                    <a:pt x="61" y="17"/>
                    <a:pt x="60" y="16"/>
                    <a:pt x="60" y="15"/>
                  </a:cubicBezTo>
                  <a:cubicBezTo>
                    <a:pt x="60" y="14"/>
                    <a:pt x="59" y="13"/>
                    <a:pt x="59" y="12"/>
                  </a:cubicBezTo>
                  <a:cubicBezTo>
                    <a:pt x="59" y="11"/>
                    <a:pt x="58" y="11"/>
                    <a:pt x="58" y="10"/>
                  </a:cubicBezTo>
                  <a:cubicBezTo>
                    <a:pt x="58" y="9"/>
                    <a:pt x="58" y="8"/>
                    <a:pt x="57" y="8"/>
                  </a:cubicBezTo>
                  <a:cubicBezTo>
                    <a:pt x="57" y="7"/>
                    <a:pt x="55" y="6"/>
                    <a:pt x="54" y="6"/>
                  </a:cubicBezTo>
                  <a:cubicBezTo>
                    <a:pt x="53" y="5"/>
                    <a:pt x="53" y="4"/>
                    <a:pt x="52" y="4"/>
                  </a:cubicBezTo>
                  <a:cubicBezTo>
                    <a:pt x="51" y="3"/>
                    <a:pt x="50" y="2"/>
                    <a:pt x="49" y="2"/>
                  </a:cubicBezTo>
                  <a:cubicBezTo>
                    <a:pt x="48" y="2"/>
                    <a:pt x="47" y="3"/>
                    <a:pt x="47" y="3"/>
                  </a:cubicBezTo>
                  <a:cubicBezTo>
                    <a:pt x="46" y="4"/>
                    <a:pt x="45" y="4"/>
                    <a:pt x="43" y="4"/>
                  </a:cubicBezTo>
                  <a:cubicBezTo>
                    <a:pt x="43" y="4"/>
                    <a:pt x="42" y="4"/>
                    <a:pt x="42" y="4"/>
                  </a:cubicBezTo>
                  <a:cubicBezTo>
                    <a:pt x="41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2"/>
                    <a:pt x="39" y="2"/>
                    <a:pt x="39" y="2"/>
                  </a:cubicBezTo>
                  <a:cubicBezTo>
                    <a:pt x="39" y="2"/>
                    <a:pt x="38" y="1"/>
                    <a:pt x="38" y="1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37" y="0"/>
                    <a:pt x="36" y="0"/>
                    <a:pt x="36" y="0"/>
                  </a:cubicBezTo>
                  <a:cubicBezTo>
                    <a:pt x="36" y="0"/>
                    <a:pt x="35" y="1"/>
                    <a:pt x="35" y="1"/>
                  </a:cubicBezTo>
                  <a:cubicBezTo>
                    <a:pt x="35" y="1"/>
                    <a:pt x="34" y="1"/>
                    <a:pt x="34" y="2"/>
                  </a:cubicBezTo>
                  <a:cubicBezTo>
                    <a:pt x="34" y="2"/>
                    <a:pt x="33" y="2"/>
                    <a:pt x="33" y="2"/>
                  </a:cubicBezTo>
                  <a:cubicBezTo>
                    <a:pt x="33" y="2"/>
                    <a:pt x="32" y="2"/>
                    <a:pt x="32" y="3"/>
                  </a:cubicBezTo>
                  <a:cubicBezTo>
                    <a:pt x="32" y="3"/>
                    <a:pt x="32" y="3"/>
                    <a:pt x="31" y="3"/>
                  </a:cubicBezTo>
                  <a:cubicBezTo>
                    <a:pt x="31" y="3"/>
                    <a:pt x="30" y="3"/>
                    <a:pt x="29" y="2"/>
                  </a:cubicBezTo>
                  <a:cubicBezTo>
                    <a:pt x="29" y="2"/>
                    <a:pt x="28" y="2"/>
                    <a:pt x="28" y="2"/>
                  </a:cubicBezTo>
                  <a:cubicBezTo>
                    <a:pt x="28" y="2"/>
                    <a:pt x="28" y="1"/>
                    <a:pt x="28" y="1"/>
                  </a:cubicBezTo>
                  <a:cubicBezTo>
                    <a:pt x="27" y="1"/>
                    <a:pt x="27" y="2"/>
                    <a:pt x="27" y="2"/>
                  </a:cubicBezTo>
                  <a:cubicBezTo>
                    <a:pt x="26" y="3"/>
                    <a:pt x="26" y="3"/>
                    <a:pt x="25" y="2"/>
                  </a:cubicBezTo>
                  <a:cubicBezTo>
                    <a:pt x="25" y="2"/>
                    <a:pt x="25" y="2"/>
                    <a:pt x="24" y="2"/>
                  </a:cubicBezTo>
                  <a:cubicBezTo>
                    <a:pt x="24" y="2"/>
                    <a:pt x="23" y="2"/>
                    <a:pt x="22" y="1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1" y="1"/>
                    <a:pt x="21" y="2"/>
                    <a:pt x="21" y="3"/>
                  </a:cubicBezTo>
                  <a:cubicBezTo>
                    <a:pt x="21" y="3"/>
                    <a:pt x="21" y="4"/>
                    <a:pt x="21" y="4"/>
                  </a:cubicBezTo>
                  <a:cubicBezTo>
                    <a:pt x="21" y="5"/>
                    <a:pt x="21" y="6"/>
                    <a:pt x="21" y="6"/>
                  </a:cubicBezTo>
                  <a:cubicBezTo>
                    <a:pt x="21" y="7"/>
                    <a:pt x="21" y="7"/>
                    <a:pt x="22" y="8"/>
                  </a:cubicBezTo>
                  <a:cubicBezTo>
                    <a:pt x="22" y="9"/>
                    <a:pt x="22" y="10"/>
                    <a:pt x="22" y="10"/>
                  </a:cubicBezTo>
                  <a:cubicBezTo>
                    <a:pt x="22" y="11"/>
                    <a:pt x="22" y="12"/>
                    <a:pt x="21" y="13"/>
                  </a:cubicBezTo>
                  <a:cubicBezTo>
                    <a:pt x="21" y="14"/>
                    <a:pt x="21" y="15"/>
                    <a:pt x="21" y="16"/>
                  </a:cubicBezTo>
                  <a:cubicBezTo>
                    <a:pt x="21" y="18"/>
                    <a:pt x="21" y="20"/>
                    <a:pt x="21" y="22"/>
                  </a:cubicBezTo>
                  <a:cubicBezTo>
                    <a:pt x="21" y="22"/>
                    <a:pt x="21" y="23"/>
                    <a:pt x="21" y="24"/>
                  </a:cubicBezTo>
                  <a:cubicBezTo>
                    <a:pt x="21" y="25"/>
                    <a:pt x="21" y="26"/>
                    <a:pt x="21" y="27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2" y="29"/>
                    <a:pt x="22" y="29"/>
                    <a:pt x="22" y="30"/>
                  </a:cubicBezTo>
                  <a:cubicBezTo>
                    <a:pt x="22" y="31"/>
                    <a:pt x="22" y="31"/>
                    <a:pt x="22" y="32"/>
                  </a:cubicBezTo>
                  <a:cubicBezTo>
                    <a:pt x="23" y="32"/>
                    <a:pt x="22" y="33"/>
                    <a:pt x="23" y="33"/>
                  </a:cubicBezTo>
                  <a:cubicBezTo>
                    <a:pt x="22" y="33"/>
                    <a:pt x="23" y="34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6"/>
                    <a:pt x="21" y="36"/>
                    <a:pt x="21" y="37"/>
                  </a:cubicBezTo>
                  <a:cubicBezTo>
                    <a:pt x="21" y="37"/>
                    <a:pt x="21" y="38"/>
                    <a:pt x="21" y="38"/>
                  </a:cubicBezTo>
                  <a:cubicBezTo>
                    <a:pt x="21" y="39"/>
                    <a:pt x="22" y="39"/>
                    <a:pt x="22" y="40"/>
                  </a:cubicBezTo>
                  <a:cubicBezTo>
                    <a:pt x="22" y="41"/>
                    <a:pt x="21" y="42"/>
                    <a:pt x="21" y="43"/>
                  </a:cubicBezTo>
                  <a:cubicBezTo>
                    <a:pt x="20" y="44"/>
                    <a:pt x="20" y="45"/>
                    <a:pt x="20" y="46"/>
                  </a:cubicBezTo>
                  <a:cubicBezTo>
                    <a:pt x="20" y="48"/>
                    <a:pt x="20" y="51"/>
                    <a:pt x="20" y="53"/>
                  </a:cubicBezTo>
                  <a:cubicBezTo>
                    <a:pt x="20" y="54"/>
                    <a:pt x="21" y="55"/>
                    <a:pt x="20" y="56"/>
                  </a:cubicBezTo>
                  <a:cubicBezTo>
                    <a:pt x="20" y="56"/>
                    <a:pt x="20" y="57"/>
                    <a:pt x="20" y="57"/>
                  </a:cubicBezTo>
                  <a:cubicBezTo>
                    <a:pt x="19" y="57"/>
                    <a:pt x="20" y="58"/>
                    <a:pt x="20" y="58"/>
                  </a:cubicBezTo>
                  <a:cubicBezTo>
                    <a:pt x="20" y="59"/>
                    <a:pt x="20" y="60"/>
                    <a:pt x="19" y="61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3"/>
                    <a:pt x="19" y="64"/>
                    <a:pt x="19" y="64"/>
                  </a:cubicBezTo>
                  <a:cubicBezTo>
                    <a:pt x="19" y="65"/>
                    <a:pt x="18" y="66"/>
                    <a:pt x="18" y="67"/>
                  </a:cubicBezTo>
                  <a:cubicBezTo>
                    <a:pt x="18" y="67"/>
                    <a:pt x="17" y="68"/>
                    <a:pt x="17" y="69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79"/>
                    <a:pt x="17" y="80"/>
                    <a:pt x="17" y="81"/>
                  </a:cubicBezTo>
                  <a:cubicBezTo>
                    <a:pt x="17" y="81"/>
                    <a:pt x="17" y="81"/>
                    <a:pt x="17" y="82"/>
                  </a:cubicBezTo>
                  <a:cubicBezTo>
                    <a:pt x="17" y="82"/>
                    <a:pt x="17" y="82"/>
                    <a:pt x="18" y="82"/>
                  </a:cubicBezTo>
                  <a:cubicBezTo>
                    <a:pt x="17" y="83"/>
                    <a:pt x="17" y="83"/>
                    <a:pt x="17" y="82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6"/>
                    <a:pt x="16" y="86"/>
                    <a:pt x="17" y="87"/>
                  </a:cubicBezTo>
                  <a:cubicBezTo>
                    <a:pt x="17" y="88"/>
                    <a:pt x="17" y="89"/>
                    <a:pt x="17" y="90"/>
                  </a:cubicBezTo>
                  <a:cubicBezTo>
                    <a:pt x="17" y="91"/>
                    <a:pt x="16" y="92"/>
                    <a:pt x="16" y="92"/>
                  </a:cubicBezTo>
                  <a:cubicBezTo>
                    <a:pt x="16" y="93"/>
                    <a:pt x="16" y="93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1"/>
                    <a:pt x="16" y="102"/>
                  </a:cubicBezTo>
                  <a:cubicBezTo>
                    <a:pt x="16" y="102"/>
                    <a:pt x="16" y="102"/>
                    <a:pt x="15" y="103"/>
                  </a:cubicBezTo>
                  <a:cubicBezTo>
                    <a:pt x="15" y="103"/>
                    <a:pt x="15" y="104"/>
                    <a:pt x="15" y="104"/>
                  </a:cubicBezTo>
                  <a:cubicBezTo>
                    <a:pt x="15" y="105"/>
                    <a:pt x="15" y="105"/>
                    <a:pt x="15" y="106"/>
                  </a:cubicBezTo>
                  <a:cubicBezTo>
                    <a:pt x="15" y="106"/>
                    <a:pt x="15" y="107"/>
                    <a:pt x="15" y="108"/>
                  </a:cubicBezTo>
                  <a:cubicBezTo>
                    <a:pt x="15" y="109"/>
                    <a:pt x="15" y="110"/>
                    <a:pt x="15" y="111"/>
                  </a:cubicBezTo>
                  <a:cubicBezTo>
                    <a:pt x="15" y="111"/>
                    <a:pt x="14" y="112"/>
                    <a:pt x="14" y="113"/>
                  </a:cubicBezTo>
                  <a:cubicBezTo>
                    <a:pt x="14" y="113"/>
                    <a:pt x="14" y="114"/>
                    <a:pt x="14" y="115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9"/>
                    <a:pt x="13" y="119"/>
                    <a:pt x="13" y="120"/>
                  </a:cubicBezTo>
                  <a:cubicBezTo>
                    <a:pt x="13" y="121"/>
                    <a:pt x="13" y="122"/>
                    <a:pt x="14" y="122"/>
                  </a:cubicBezTo>
                  <a:cubicBezTo>
                    <a:pt x="14" y="122"/>
                    <a:pt x="14" y="121"/>
                    <a:pt x="15" y="121"/>
                  </a:cubicBezTo>
                  <a:cubicBezTo>
                    <a:pt x="15" y="121"/>
                    <a:pt x="15" y="122"/>
                    <a:pt x="15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3" y="124"/>
                    <a:pt x="13" y="123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3" y="123"/>
                    <a:pt x="13" y="123"/>
                    <a:pt x="13" y="124"/>
                  </a:cubicBezTo>
                  <a:cubicBezTo>
                    <a:pt x="12" y="124"/>
                    <a:pt x="13" y="125"/>
                    <a:pt x="13" y="126"/>
                  </a:cubicBezTo>
                  <a:cubicBezTo>
                    <a:pt x="13" y="126"/>
                    <a:pt x="13" y="126"/>
                    <a:pt x="12" y="126"/>
                  </a:cubicBezTo>
                  <a:cubicBezTo>
                    <a:pt x="12" y="127"/>
                    <a:pt x="12" y="128"/>
                    <a:pt x="12" y="129"/>
                  </a:cubicBezTo>
                  <a:cubicBezTo>
                    <a:pt x="12" y="130"/>
                    <a:pt x="12" y="130"/>
                    <a:pt x="11" y="131"/>
                  </a:cubicBezTo>
                  <a:cubicBezTo>
                    <a:pt x="11" y="132"/>
                    <a:pt x="11" y="132"/>
                    <a:pt x="11" y="133"/>
                  </a:cubicBezTo>
                  <a:cubicBezTo>
                    <a:pt x="11" y="133"/>
                    <a:pt x="10" y="134"/>
                    <a:pt x="10" y="134"/>
                  </a:cubicBezTo>
                  <a:cubicBezTo>
                    <a:pt x="10" y="136"/>
                    <a:pt x="10" y="137"/>
                    <a:pt x="10" y="138"/>
                  </a:cubicBezTo>
                  <a:cubicBezTo>
                    <a:pt x="9" y="138"/>
                    <a:pt x="9" y="139"/>
                    <a:pt x="9" y="139"/>
                  </a:cubicBezTo>
                  <a:cubicBezTo>
                    <a:pt x="9" y="140"/>
                    <a:pt x="8" y="141"/>
                    <a:pt x="8" y="141"/>
                  </a:cubicBezTo>
                  <a:cubicBezTo>
                    <a:pt x="8" y="141"/>
                    <a:pt x="7" y="141"/>
                    <a:pt x="7" y="141"/>
                  </a:cubicBezTo>
                  <a:cubicBezTo>
                    <a:pt x="7" y="141"/>
                    <a:pt x="6" y="141"/>
                    <a:pt x="6" y="142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6" y="143"/>
                  </a:cubicBezTo>
                  <a:cubicBezTo>
                    <a:pt x="6" y="143"/>
                    <a:pt x="6" y="144"/>
                    <a:pt x="6" y="144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6" y="146"/>
                    <a:pt x="6" y="147"/>
                    <a:pt x="6" y="147"/>
                  </a:cubicBezTo>
                  <a:cubicBezTo>
                    <a:pt x="6" y="148"/>
                    <a:pt x="5" y="148"/>
                    <a:pt x="5" y="149"/>
                  </a:cubicBezTo>
                  <a:cubicBezTo>
                    <a:pt x="5" y="150"/>
                    <a:pt x="5" y="150"/>
                    <a:pt x="5" y="151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4" y="152"/>
                    <a:pt x="4" y="153"/>
                    <a:pt x="4" y="153"/>
                  </a:cubicBezTo>
                  <a:cubicBezTo>
                    <a:pt x="4" y="153"/>
                    <a:pt x="4" y="154"/>
                    <a:pt x="4" y="154"/>
                  </a:cubicBezTo>
                  <a:cubicBezTo>
                    <a:pt x="4" y="155"/>
                    <a:pt x="4" y="155"/>
                    <a:pt x="4" y="155"/>
                  </a:cubicBezTo>
                  <a:cubicBezTo>
                    <a:pt x="3" y="155"/>
                    <a:pt x="3" y="156"/>
                    <a:pt x="3" y="156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3" y="158"/>
                    <a:pt x="3" y="158"/>
                    <a:pt x="3" y="159"/>
                  </a:cubicBezTo>
                  <a:cubicBezTo>
                    <a:pt x="3" y="159"/>
                    <a:pt x="3" y="159"/>
                    <a:pt x="3" y="160"/>
                  </a:cubicBezTo>
                  <a:cubicBezTo>
                    <a:pt x="3" y="160"/>
                    <a:pt x="3" y="160"/>
                    <a:pt x="3" y="160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4" y="161"/>
                    <a:pt x="5" y="161"/>
                    <a:pt x="5" y="161"/>
                  </a:cubicBezTo>
                  <a:cubicBezTo>
                    <a:pt x="5" y="161"/>
                    <a:pt x="6" y="161"/>
                    <a:pt x="6" y="161"/>
                  </a:cubicBezTo>
                  <a:cubicBezTo>
                    <a:pt x="6" y="161"/>
                    <a:pt x="7" y="160"/>
                    <a:pt x="7" y="160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6" y="161"/>
                    <a:pt x="6" y="161"/>
                  </a:cubicBezTo>
                  <a:cubicBezTo>
                    <a:pt x="5" y="161"/>
                    <a:pt x="4" y="161"/>
                    <a:pt x="3" y="161"/>
                  </a:cubicBezTo>
                  <a:cubicBezTo>
                    <a:pt x="3" y="161"/>
                    <a:pt x="2" y="161"/>
                    <a:pt x="2" y="162"/>
                  </a:cubicBezTo>
                  <a:cubicBezTo>
                    <a:pt x="2" y="162"/>
                    <a:pt x="2" y="162"/>
                    <a:pt x="1" y="162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4"/>
                    <a:pt x="1" y="163"/>
                    <a:pt x="0" y="164"/>
                  </a:cubicBezTo>
                  <a:cubicBezTo>
                    <a:pt x="0" y="165"/>
                    <a:pt x="0" y="165"/>
                    <a:pt x="1" y="166"/>
                  </a:cubicBezTo>
                  <a:cubicBezTo>
                    <a:pt x="1" y="166"/>
                    <a:pt x="1" y="166"/>
                    <a:pt x="1" y="166"/>
                  </a:cubicBezTo>
                  <a:cubicBezTo>
                    <a:pt x="1" y="167"/>
                    <a:pt x="1" y="167"/>
                    <a:pt x="1" y="167"/>
                  </a:cubicBezTo>
                  <a:cubicBezTo>
                    <a:pt x="1" y="168"/>
                    <a:pt x="2" y="168"/>
                    <a:pt x="2" y="168"/>
                  </a:cubicBezTo>
                  <a:cubicBezTo>
                    <a:pt x="2" y="169"/>
                    <a:pt x="3" y="169"/>
                    <a:pt x="3" y="170"/>
                  </a:cubicBezTo>
                  <a:cubicBezTo>
                    <a:pt x="3" y="170"/>
                    <a:pt x="3" y="170"/>
                    <a:pt x="4" y="171"/>
                  </a:cubicBezTo>
                  <a:cubicBezTo>
                    <a:pt x="4" y="171"/>
                    <a:pt x="4" y="171"/>
                    <a:pt x="5" y="172"/>
                  </a:cubicBezTo>
                  <a:cubicBezTo>
                    <a:pt x="5" y="172"/>
                    <a:pt x="5" y="172"/>
                    <a:pt x="5" y="173"/>
                  </a:cubicBezTo>
                  <a:cubicBezTo>
                    <a:pt x="6" y="173"/>
                    <a:pt x="6" y="174"/>
                    <a:pt x="6" y="175"/>
                  </a:cubicBezTo>
                  <a:cubicBezTo>
                    <a:pt x="6" y="176"/>
                    <a:pt x="6" y="176"/>
                    <a:pt x="6" y="176"/>
                  </a:cubicBezTo>
                  <a:cubicBezTo>
                    <a:pt x="6" y="177"/>
                    <a:pt x="6" y="177"/>
                    <a:pt x="6" y="178"/>
                  </a:cubicBezTo>
                  <a:cubicBezTo>
                    <a:pt x="6" y="178"/>
                    <a:pt x="6" y="178"/>
                    <a:pt x="6" y="178"/>
                  </a:cubicBezTo>
                  <a:cubicBezTo>
                    <a:pt x="6" y="179"/>
                    <a:pt x="6" y="179"/>
                    <a:pt x="6" y="179"/>
                  </a:cubicBezTo>
                  <a:cubicBezTo>
                    <a:pt x="6" y="179"/>
                    <a:pt x="6" y="180"/>
                    <a:pt x="5" y="180"/>
                  </a:cubicBezTo>
                  <a:cubicBezTo>
                    <a:pt x="5" y="180"/>
                    <a:pt x="5" y="180"/>
                    <a:pt x="5" y="180"/>
                  </a:cubicBezTo>
                  <a:cubicBezTo>
                    <a:pt x="5" y="190"/>
                    <a:pt x="5" y="190"/>
                    <a:pt x="5" y="190"/>
                  </a:cubicBezTo>
                  <a:cubicBezTo>
                    <a:pt x="5" y="191"/>
                    <a:pt x="5" y="192"/>
                    <a:pt x="5" y="192"/>
                  </a:cubicBezTo>
                  <a:cubicBezTo>
                    <a:pt x="6" y="192"/>
                    <a:pt x="6" y="193"/>
                    <a:pt x="6" y="193"/>
                  </a:cubicBezTo>
                  <a:cubicBezTo>
                    <a:pt x="6" y="194"/>
                    <a:pt x="6" y="194"/>
                    <a:pt x="6" y="194"/>
                  </a:cubicBezTo>
                  <a:cubicBezTo>
                    <a:pt x="6" y="195"/>
                    <a:pt x="6" y="195"/>
                    <a:pt x="7" y="196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7" y="197"/>
                    <a:pt x="7" y="197"/>
                    <a:pt x="7" y="197"/>
                  </a:cubicBezTo>
                  <a:cubicBezTo>
                    <a:pt x="7" y="198"/>
                    <a:pt x="8" y="198"/>
                    <a:pt x="8" y="198"/>
                  </a:cubicBezTo>
                  <a:cubicBezTo>
                    <a:pt x="8" y="198"/>
                    <a:pt x="8" y="199"/>
                    <a:pt x="8" y="199"/>
                  </a:cubicBezTo>
                  <a:cubicBezTo>
                    <a:pt x="8" y="199"/>
                    <a:pt x="8" y="199"/>
                    <a:pt x="9" y="200"/>
                  </a:cubicBezTo>
                  <a:cubicBezTo>
                    <a:pt x="9" y="200"/>
                    <a:pt x="9" y="200"/>
                    <a:pt x="10" y="201"/>
                  </a:cubicBezTo>
                  <a:cubicBezTo>
                    <a:pt x="10" y="201"/>
                    <a:pt x="11" y="201"/>
                    <a:pt x="11" y="202"/>
                  </a:cubicBezTo>
                  <a:cubicBezTo>
                    <a:pt x="11" y="202"/>
                    <a:pt x="12" y="203"/>
                    <a:pt x="12" y="203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260" y="203"/>
                    <a:pt x="260" y="203"/>
                    <a:pt x="260" y="203"/>
                  </a:cubicBezTo>
                  <a:cubicBezTo>
                    <a:pt x="260" y="116"/>
                    <a:pt x="260" y="116"/>
                    <a:pt x="260" y="116"/>
                  </a:cubicBezTo>
                  <a:cubicBezTo>
                    <a:pt x="261" y="116"/>
                    <a:pt x="261" y="114"/>
                    <a:pt x="262" y="113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FF689A18-D51A-4A12-A407-63E07BA87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537" y="3518220"/>
              <a:ext cx="1173065" cy="571663"/>
            </a:xfrm>
            <a:custGeom>
              <a:avLst/>
              <a:gdLst>
                <a:gd name="T0" fmla="*/ 0 w 296"/>
                <a:gd name="T1" fmla="*/ 0 h 144"/>
                <a:gd name="T2" fmla="*/ 104 w 296"/>
                <a:gd name="T3" fmla="*/ 103 h 144"/>
                <a:gd name="T4" fmla="*/ 108 w 296"/>
                <a:gd name="T5" fmla="*/ 105 h 144"/>
                <a:gd name="T6" fmla="*/ 113 w 296"/>
                <a:gd name="T7" fmla="*/ 111 h 144"/>
                <a:gd name="T8" fmla="*/ 119 w 296"/>
                <a:gd name="T9" fmla="*/ 110 h 144"/>
                <a:gd name="T10" fmla="*/ 124 w 296"/>
                <a:gd name="T11" fmla="*/ 112 h 144"/>
                <a:gd name="T12" fmla="*/ 126 w 296"/>
                <a:gd name="T13" fmla="*/ 109 h 144"/>
                <a:gd name="T14" fmla="*/ 129 w 296"/>
                <a:gd name="T15" fmla="*/ 111 h 144"/>
                <a:gd name="T16" fmla="*/ 131 w 296"/>
                <a:gd name="T17" fmla="*/ 114 h 144"/>
                <a:gd name="T18" fmla="*/ 136 w 296"/>
                <a:gd name="T19" fmla="*/ 119 h 144"/>
                <a:gd name="T20" fmla="*/ 140 w 296"/>
                <a:gd name="T21" fmla="*/ 119 h 144"/>
                <a:gd name="T22" fmla="*/ 144 w 296"/>
                <a:gd name="T23" fmla="*/ 121 h 144"/>
                <a:gd name="T24" fmla="*/ 153 w 296"/>
                <a:gd name="T25" fmla="*/ 121 h 144"/>
                <a:gd name="T26" fmla="*/ 160 w 296"/>
                <a:gd name="T27" fmla="*/ 122 h 144"/>
                <a:gd name="T28" fmla="*/ 167 w 296"/>
                <a:gd name="T29" fmla="*/ 123 h 144"/>
                <a:gd name="T30" fmla="*/ 170 w 296"/>
                <a:gd name="T31" fmla="*/ 126 h 144"/>
                <a:gd name="T32" fmla="*/ 174 w 296"/>
                <a:gd name="T33" fmla="*/ 128 h 144"/>
                <a:gd name="T34" fmla="*/ 175 w 296"/>
                <a:gd name="T35" fmla="*/ 132 h 144"/>
                <a:gd name="T36" fmla="*/ 181 w 296"/>
                <a:gd name="T37" fmla="*/ 131 h 144"/>
                <a:gd name="T38" fmla="*/ 184 w 296"/>
                <a:gd name="T39" fmla="*/ 128 h 144"/>
                <a:gd name="T40" fmla="*/ 187 w 296"/>
                <a:gd name="T41" fmla="*/ 131 h 144"/>
                <a:gd name="T42" fmla="*/ 191 w 296"/>
                <a:gd name="T43" fmla="*/ 134 h 144"/>
                <a:gd name="T44" fmla="*/ 196 w 296"/>
                <a:gd name="T45" fmla="*/ 133 h 144"/>
                <a:gd name="T46" fmla="*/ 199 w 296"/>
                <a:gd name="T47" fmla="*/ 133 h 144"/>
                <a:gd name="T48" fmla="*/ 201 w 296"/>
                <a:gd name="T49" fmla="*/ 132 h 144"/>
                <a:gd name="T50" fmla="*/ 201 w 296"/>
                <a:gd name="T51" fmla="*/ 137 h 144"/>
                <a:gd name="T52" fmla="*/ 204 w 296"/>
                <a:gd name="T53" fmla="*/ 137 h 144"/>
                <a:gd name="T54" fmla="*/ 206 w 296"/>
                <a:gd name="T55" fmla="*/ 134 h 144"/>
                <a:gd name="T56" fmla="*/ 208 w 296"/>
                <a:gd name="T57" fmla="*/ 131 h 144"/>
                <a:gd name="T58" fmla="*/ 211 w 296"/>
                <a:gd name="T59" fmla="*/ 130 h 144"/>
                <a:gd name="T60" fmla="*/ 212 w 296"/>
                <a:gd name="T61" fmla="*/ 133 h 144"/>
                <a:gd name="T62" fmla="*/ 215 w 296"/>
                <a:gd name="T63" fmla="*/ 134 h 144"/>
                <a:gd name="T64" fmla="*/ 219 w 296"/>
                <a:gd name="T65" fmla="*/ 131 h 144"/>
                <a:gd name="T66" fmla="*/ 223 w 296"/>
                <a:gd name="T67" fmla="*/ 135 h 144"/>
                <a:gd name="T68" fmla="*/ 227 w 296"/>
                <a:gd name="T69" fmla="*/ 137 h 144"/>
                <a:gd name="T70" fmla="*/ 231 w 296"/>
                <a:gd name="T71" fmla="*/ 139 h 144"/>
                <a:gd name="T72" fmla="*/ 236 w 296"/>
                <a:gd name="T73" fmla="*/ 137 h 144"/>
                <a:gd name="T74" fmla="*/ 238 w 296"/>
                <a:gd name="T75" fmla="*/ 134 h 144"/>
                <a:gd name="T76" fmla="*/ 242 w 296"/>
                <a:gd name="T77" fmla="*/ 132 h 144"/>
                <a:gd name="T78" fmla="*/ 245 w 296"/>
                <a:gd name="T79" fmla="*/ 133 h 144"/>
                <a:gd name="T80" fmla="*/ 248 w 296"/>
                <a:gd name="T81" fmla="*/ 134 h 144"/>
                <a:gd name="T82" fmla="*/ 251 w 296"/>
                <a:gd name="T83" fmla="*/ 133 h 144"/>
                <a:gd name="T84" fmla="*/ 254 w 296"/>
                <a:gd name="T85" fmla="*/ 131 h 144"/>
                <a:gd name="T86" fmla="*/ 257 w 296"/>
                <a:gd name="T87" fmla="*/ 132 h 144"/>
                <a:gd name="T88" fmla="*/ 260 w 296"/>
                <a:gd name="T89" fmla="*/ 132 h 144"/>
                <a:gd name="T90" fmla="*/ 267 w 296"/>
                <a:gd name="T91" fmla="*/ 132 h 144"/>
                <a:gd name="T92" fmla="*/ 269 w 296"/>
                <a:gd name="T93" fmla="*/ 129 h 144"/>
                <a:gd name="T94" fmla="*/ 273 w 296"/>
                <a:gd name="T95" fmla="*/ 131 h 144"/>
                <a:gd name="T96" fmla="*/ 278 w 296"/>
                <a:gd name="T97" fmla="*/ 134 h 144"/>
                <a:gd name="T98" fmla="*/ 279 w 296"/>
                <a:gd name="T99" fmla="*/ 136 h 144"/>
                <a:gd name="T100" fmla="*/ 282 w 296"/>
                <a:gd name="T101" fmla="*/ 138 h 144"/>
                <a:gd name="T102" fmla="*/ 285 w 296"/>
                <a:gd name="T103" fmla="*/ 138 h 144"/>
                <a:gd name="T104" fmla="*/ 285 w 296"/>
                <a:gd name="T105" fmla="*/ 139 h 144"/>
                <a:gd name="T106" fmla="*/ 288 w 296"/>
                <a:gd name="T107" fmla="*/ 141 h 144"/>
                <a:gd name="T108" fmla="*/ 290 w 296"/>
                <a:gd name="T109" fmla="*/ 141 h 144"/>
                <a:gd name="T110" fmla="*/ 292 w 296"/>
                <a:gd name="T111" fmla="*/ 142 h 144"/>
                <a:gd name="T112" fmla="*/ 296 w 296"/>
                <a:gd name="T113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6" h="144">
                  <a:moveTo>
                    <a:pt x="290" y="22"/>
                  </a:moveTo>
                  <a:cubicBezTo>
                    <a:pt x="290" y="0"/>
                    <a:pt x="290" y="0"/>
                    <a:pt x="29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04" y="104"/>
                    <a:pt x="105" y="104"/>
                    <a:pt x="105" y="103"/>
                  </a:cubicBezTo>
                  <a:cubicBezTo>
                    <a:pt x="106" y="103"/>
                    <a:pt x="106" y="103"/>
                    <a:pt x="106" y="103"/>
                  </a:cubicBezTo>
                  <a:cubicBezTo>
                    <a:pt x="107" y="104"/>
                    <a:pt x="108" y="104"/>
                    <a:pt x="108" y="105"/>
                  </a:cubicBezTo>
                  <a:cubicBezTo>
                    <a:pt x="109" y="106"/>
                    <a:pt x="110" y="107"/>
                    <a:pt x="111" y="108"/>
                  </a:cubicBezTo>
                  <a:cubicBezTo>
                    <a:pt x="111" y="108"/>
                    <a:pt x="112" y="109"/>
                    <a:pt x="113" y="110"/>
                  </a:cubicBezTo>
                  <a:cubicBezTo>
                    <a:pt x="113" y="110"/>
                    <a:pt x="113" y="111"/>
                    <a:pt x="113" y="111"/>
                  </a:cubicBezTo>
                  <a:cubicBezTo>
                    <a:pt x="114" y="111"/>
                    <a:pt x="115" y="111"/>
                    <a:pt x="115" y="111"/>
                  </a:cubicBezTo>
                  <a:cubicBezTo>
                    <a:pt x="116" y="111"/>
                    <a:pt x="117" y="111"/>
                    <a:pt x="118" y="111"/>
                  </a:cubicBezTo>
                  <a:cubicBezTo>
                    <a:pt x="118" y="111"/>
                    <a:pt x="119" y="110"/>
                    <a:pt x="119" y="110"/>
                  </a:cubicBezTo>
                  <a:cubicBezTo>
                    <a:pt x="120" y="110"/>
                    <a:pt x="120" y="110"/>
                    <a:pt x="121" y="110"/>
                  </a:cubicBezTo>
                  <a:cubicBezTo>
                    <a:pt x="121" y="110"/>
                    <a:pt x="122" y="111"/>
                    <a:pt x="123" y="111"/>
                  </a:cubicBezTo>
                  <a:cubicBezTo>
                    <a:pt x="123" y="111"/>
                    <a:pt x="124" y="112"/>
                    <a:pt x="124" y="112"/>
                  </a:cubicBezTo>
                  <a:cubicBezTo>
                    <a:pt x="125" y="111"/>
                    <a:pt x="125" y="110"/>
                    <a:pt x="125" y="110"/>
                  </a:cubicBezTo>
                  <a:cubicBezTo>
                    <a:pt x="125" y="109"/>
                    <a:pt x="125" y="109"/>
                    <a:pt x="126" y="108"/>
                  </a:cubicBezTo>
                  <a:cubicBezTo>
                    <a:pt x="126" y="108"/>
                    <a:pt x="126" y="108"/>
                    <a:pt x="126" y="109"/>
                  </a:cubicBezTo>
                  <a:cubicBezTo>
                    <a:pt x="127" y="109"/>
                    <a:pt x="127" y="109"/>
                    <a:pt x="127" y="109"/>
                  </a:cubicBezTo>
                  <a:cubicBezTo>
                    <a:pt x="127" y="110"/>
                    <a:pt x="128" y="110"/>
                    <a:pt x="128" y="110"/>
                  </a:cubicBezTo>
                  <a:cubicBezTo>
                    <a:pt x="128" y="111"/>
                    <a:pt x="129" y="110"/>
                    <a:pt x="129" y="111"/>
                  </a:cubicBezTo>
                  <a:cubicBezTo>
                    <a:pt x="129" y="111"/>
                    <a:pt x="129" y="111"/>
                    <a:pt x="129" y="112"/>
                  </a:cubicBezTo>
                  <a:cubicBezTo>
                    <a:pt x="130" y="112"/>
                    <a:pt x="130" y="113"/>
                    <a:pt x="130" y="113"/>
                  </a:cubicBezTo>
                  <a:cubicBezTo>
                    <a:pt x="131" y="113"/>
                    <a:pt x="131" y="114"/>
                    <a:pt x="131" y="114"/>
                  </a:cubicBezTo>
                  <a:cubicBezTo>
                    <a:pt x="131" y="115"/>
                    <a:pt x="131" y="117"/>
                    <a:pt x="132" y="118"/>
                  </a:cubicBezTo>
                  <a:cubicBezTo>
                    <a:pt x="132" y="118"/>
                    <a:pt x="133" y="118"/>
                    <a:pt x="133" y="118"/>
                  </a:cubicBezTo>
                  <a:cubicBezTo>
                    <a:pt x="134" y="118"/>
                    <a:pt x="135" y="119"/>
                    <a:pt x="136" y="119"/>
                  </a:cubicBezTo>
                  <a:cubicBezTo>
                    <a:pt x="137" y="119"/>
                    <a:pt x="137" y="119"/>
                    <a:pt x="138" y="119"/>
                  </a:cubicBezTo>
                  <a:cubicBezTo>
                    <a:pt x="138" y="118"/>
                    <a:pt x="138" y="118"/>
                    <a:pt x="139" y="118"/>
                  </a:cubicBezTo>
                  <a:cubicBezTo>
                    <a:pt x="139" y="118"/>
                    <a:pt x="140" y="119"/>
                    <a:pt x="140" y="119"/>
                  </a:cubicBezTo>
                  <a:cubicBezTo>
                    <a:pt x="140" y="119"/>
                    <a:pt x="141" y="120"/>
                    <a:pt x="141" y="120"/>
                  </a:cubicBezTo>
                  <a:cubicBezTo>
                    <a:pt x="142" y="120"/>
                    <a:pt x="142" y="121"/>
                    <a:pt x="143" y="121"/>
                  </a:cubicBezTo>
                  <a:cubicBezTo>
                    <a:pt x="143" y="121"/>
                    <a:pt x="144" y="121"/>
                    <a:pt x="144" y="121"/>
                  </a:cubicBezTo>
                  <a:cubicBezTo>
                    <a:pt x="145" y="120"/>
                    <a:pt x="146" y="122"/>
                    <a:pt x="146" y="122"/>
                  </a:cubicBezTo>
                  <a:cubicBezTo>
                    <a:pt x="147" y="122"/>
                    <a:pt x="148" y="122"/>
                    <a:pt x="148" y="121"/>
                  </a:cubicBezTo>
                  <a:cubicBezTo>
                    <a:pt x="150" y="121"/>
                    <a:pt x="152" y="120"/>
                    <a:pt x="153" y="121"/>
                  </a:cubicBezTo>
                  <a:cubicBezTo>
                    <a:pt x="154" y="122"/>
                    <a:pt x="155" y="123"/>
                    <a:pt x="156" y="124"/>
                  </a:cubicBezTo>
                  <a:cubicBezTo>
                    <a:pt x="157" y="124"/>
                    <a:pt x="158" y="124"/>
                    <a:pt x="159" y="123"/>
                  </a:cubicBezTo>
                  <a:cubicBezTo>
                    <a:pt x="159" y="123"/>
                    <a:pt x="159" y="123"/>
                    <a:pt x="160" y="122"/>
                  </a:cubicBezTo>
                  <a:cubicBezTo>
                    <a:pt x="160" y="122"/>
                    <a:pt x="160" y="121"/>
                    <a:pt x="161" y="121"/>
                  </a:cubicBezTo>
                  <a:cubicBezTo>
                    <a:pt x="162" y="121"/>
                    <a:pt x="163" y="121"/>
                    <a:pt x="164" y="122"/>
                  </a:cubicBezTo>
                  <a:cubicBezTo>
                    <a:pt x="165" y="122"/>
                    <a:pt x="166" y="123"/>
                    <a:pt x="167" y="123"/>
                  </a:cubicBezTo>
                  <a:cubicBezTo>
                    <a:pt x="168" y="122"/>
                    <a:pt x="168" y="121"/>
                    <a:pt x="169" y="121"/>
                  </a:cubicBezTo>
                  <a:cubicBezTo>
                    <a:pt x="169" y="122"/>
                    <a:pt x="169" y="123"/>
                    <a:pt x="169" y="123"/>
                  </a:cubicBezTo>
                  <a:cubicBezTo>
                    <a:pt x="169" y="124"/>
                    <a:pt x="170" y="125"/>
                    <a:pt x="170" y="126"/>
                  </a:cubicBezTo>
                  <a:cubicBezTo>
                    <a:pt x="170" y="127"/>
                    <a:pt x="170" y="127"/>
                    <a:pt x="171" y="127"/>
                  </a:cubicBezTo>
                  <a:cubicBezTo>
                    <a:pt x="171" y="127"/>
                    <a:pt x="172" y="128"/>
                    <a:pt x="173" y="128"/>
                  </a:cubicBezTo>
                  <a:cubicBezTo>
                    <a:pt x="174" y="128"/>
                    <a:pt x="174" y="128"/>
                    <a:pt x="174" y="128"/>
                  </a:cubicBezTo>
                  <a:cubicBezTo>
                    <a:pt x="174" y="128"/>
                    <a:pt x="174" y="129"/>
                    <a:pt x="174" y="129"/>
                  </a:cubicBezTo>
                  <a:cubicBezTo>
                    <a:pt x="174" y="129"/>
                    <a:pt x="173" y="131"/>
                    <a:pt x="174" y="131"/>
                  </a:cubicBezTo>
                  <a:cubicBezTo>
                    <a:pt x="174" y="132"/>
                    <a:pt x="175" y="132"/>
                    <a:pt x="175" y="132"/>
                  </a:cubicBezTo>
                  <a:cubicBezTo>
                    <a:pt x="176" y="133"/>
                    <a:pt x="176" y="133"/>
                    <a:pt x="177" y="133"/>
                  </a:cubicBezTo>
                  <a:cubicBezTo>
                    <a:pt x="178" y="133"/>
                    <a:pt x="178" y="133"/>
                    <a:pt x="178" y="132"/>
                  </a:cubicBezTo>
                  <a:cubicBezTo>
                    <a:pt x="179" y="132"/>
                    <a:pt x="180" y="131"/>
                    <a:pt x="181" y="131"/>
                  </a:cubicBezTo>
                  <a:cubicBezTo>
                    <a:pt x="181" y="130"/>
                    <a:pt x="181" y="130"/>
                    <a:pt x="182" y="130"/>
                  </a:cubicBezTo>
                  <a:cubicBezTo>
                    <a:pt x="182" y="129"/>
                    <a:pt x="183" y="129"/>
                    <a:pt x="183" y="129"/>
                  </a:cubicBezTo>
                  <a:cubicBezTo>
                    <a:pt x="183" y="128"/>
                    <a:pt x="184" y="128"/>
                    <a:pt x="184" y="128"/>
                  </a:cubicBezTo>
                  <a:cubicBezTo>
                    <a:pt x="185" y="128"/>
                    <a:pt x="185" y="128"/>
                    <a:pt x="185" y="129"/>
                  </a:cubicBezTo>
                  <a:cubicBezTo>
                    <a:pt x="186" y="129"/>
                    <a:pt x="187" y="129"/>
                    <a:pt x="187" y="130"/>
                  </a:cubicBezTo>
                  <a:cubicBezTo>
                    <a:pt x="187" y="130"/>
                    <a:pt x="187" y="131"/>
                    <a:pt x="187" y="131"/>
                  </a:cubicBezTo>
                  <a:cubicBezTo>
                    <a:pt x="188" y="132"/>
                    <a:pt x="188" y="132"/>
                    <a:pt x="188" y="132"/>
                  </a:cubicBezTo>
                  <a:cubicBezTo>
                    <a:pt x="189" y="132"/>
                    <a:pt x="191" y="131"/>
                    <a:pt x="192" y="132"/>
                  </a:cubicBezTo>
                  <a:cubicBezTo>
                    <a:pt x="192" y="133"/>
                    <a:pt x="191" y="133"/>
                    <a:pt x="191" y="134"/>
                  </a:cubicBezTo>
                  <a:cubicBezTo>
                    <a:pt x="192" y="134"/>
                    <a:pt x="192" y="135"/>
                    <a:pt x="193" y="135"/>
                  </a:cubicBezTo>
                  <a:cubicBezTo>
                    <a:pt x="194" y="135"/>
                    <a:pt x="195" y="135"/>
                    <a:pt x="195" y="134"/>
                  </a:cubicBezTo>
                  <a:cubicBezTo>
                    <a:pt x="195" y="134"/>
                    <a:pt x="195" y="134"/>
                    <a:pt x="196" y="133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197" y="132"/>
                    <a:pt x="197" y="132"/>
                    <a:pt x="198" y="133"/>
                  </a:cubicBezTo>
                  <a:cubicBezTo>
                    <a:pt x="198" y="133"/>
                    <a:pt x="198" y="133"/>
                    <a:pt x="199" y="133"/>
                  </a:cubicBezTo>
                  <a:cubicBezTo>
                    <a:pt x="199" y="133"/>
                    <a:pt x="199" y="133"/>
                    <a:pt x="199" y="132"/>
                  </a:cubicBezTo>
                  <a:cubicBezTo>
                    <a:pt x="200" y="132"/>
                    <a:pt x="200" y="131"/>
                    <a:pt x="200" y="131"/>
                  </a:cubicBezTo>
                  <a:cubicBezTo>
                    <a:pt x="201" y="131"/>
                    <a:pt x="201" y="132"/>
                    <a:pt x="201" y="132"/>
                  </a:cubicBezTo>
                  <a:cubicBezTo>
                    <a:pt x="201" y="133"/>
                    <a:pt x="201" y="133"/>
                    <a:pt x="201" y="134"/>
                  </a:cubicBezTo>
                  <a:cubicBezTo>
                    <a:pt x="201" y="134"/>
                    <a:pt x="201" y="135"/>
                    <a:pt x="201" y="135"/>
                  </a:cubicBezTo>
                  <a:cubicBezTo>
                    <a:pt x="201" y="136"/>
                    <a:pt x="201" y="136"/>
                    <a:pt x="201" y="137"/>
                  </a:cubicBezTo>
                  <a:cubicBezTo>
                    <a:pt x="201" y="138"/>
                    <a:pt x="202" y="139"/>
                    <a:pt x="204" y="139"/>
                  </a:cubicBezTo>
                  <a:cubicBezTo>
                    <a:pt x="204" y="139"/>
                    <a:pt x="204" y="138"/>
                    <a:pt x="204" y="138"/>
                  </a:cubicBezTo>
                  <a:cubicBezTo>
                    <a:pt x="204" y="137"/>
                    <a:pt x="205" y="137"/>
                    <a:pt x="204" y="137"/>
                  </a:cubicBezTo>
                  <a:cubicBezTo>
                    <a:pt x="204" y="136"/>
                    <a:pt x="204" y="136"/>
                    <a:pt x="204" y="135"/>
                  </a:cubicBezTo>
                  <a:cubicBezTo>
                    <a:pt x="204" y="135"/>
                    <a:pt x="205" y="134"/>
                    <a:pt x="205" y="134"/>
                  </a:cubicBezTo>
                  <a:cubicBezTo>
                    <a:pt x="205" y="134"/>
                    <a:pt x="206" y="134"/>
                    <a:pt x="206" y="134"/>
                  </a:cubicBezTo>
                  <a:cubicBezTo>
                    <a:pt x="206" y="134"/>
                    <a:pt x="206" y="134"/>
                    <a:pt x="206" y="134"/>
                  </a:cubicBezTo>
                  <a:cubicBezTo>
                    <a:pt x="206" y="133"/>
                    <a:pt x="207" y="133"/>
                    <a:pt x="208" y="133"/>
                  </a:cubicBezTo>
                  <a:cubicBezTo>
                    <a:pt x="208" y="132"/>
                    <a:pt x="208" y="132"/>
                    <a:pt x="208" y="131"/>
                  </a:cubicBezTo>
                  <a:cubicBezTo>
                    <a:pt x="208" y="131"/>
                    <a:pt x="208" y="130"/>
                    <a:pt x="208" y="130"/>
                  </a:cubicBezTo>
                  <a:cubicBezTo>
                    <a:pt x="209" y="130"/>
                    <a:pt x="210" y="130"/>
                    <a:pt x="210" y="130"/>
                  </a:cubicBezTo>
                  <a:cubicBezTo>
                    <a:pt x="210" y="130"/>
                    <a:pt x="210" y="130"/>
                    <a:pt x="211" y="130"/>
                  </a:cubicBezTo>
                  <a:cubicBezTo>
                    <a:pt x="211" y="131"/>
                    <a:pt x="212" y="132"/>
                    <a:pt x="212" y="132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2" y="133"/>
                    <a:pt x="212" y="134"/>
                    <a:pt x="212" y="133"/>
                  </a:cubicBezTo>
                  <a:cubicBezTo>
                    <a:pt x="213" y="133"/>
                    <a:pt x="213" y="133"/>
                    <a:pt x="213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5" y="133"/>
                    <a:pt x="215" y="134"/>
                    <a:pt x="215" y="134"/>
                  </a:cubicBezTo>
                  <a:cubicBezTo>
                    <a:pt x="216" y="135"/>
                    <a:pt x="217" y="134"/>
                    <a:pt x="218" y="134"/>
                  </a:cubicBezTo>
                  <a:cubicBezTo>
                    <a:pt x="218" y="133"/>
                    <a:pt x="218" y="133"/>
                    <a:pt x="219" y="132"/>
                  </a:cubicBezTo>
                  <a:cubicBezTo>
                    <a:pt x="219" y="132"/>
                    <a:pt x="219" y="132"/>
                    <a:pt x="219" y="131"/>
                  </a:cubicBezTo>
                  <a:cubicBezTo>
                    <a:pt x="220" y="130"/>
                    <a:pt x="221" y="131"/>
                    <a:pt x="221" y="132"/>
                  </a:cubicBezTo>
                  <a:cubicBezTo>
                    <a:pt x="221" y="133"/>
                    <a:pt x="221" y="133"/>
                    <a:pt x="220" y="133"/>
                  </a:cubicBezTo>
                  <a:cubicBezTo>
                    <a:pt x="219" y="134"/>
                    <a:pt x="223" y="135"/>
                    <a:pt x="223" y="135"/>
                  </a:cubicBezTo>
                  <a:cubicBezTo>
                    <a:pt x="224" y="135"/>
                    <a:pt x="224" y="136"/>
                    <a:pt x="224" y="136"/>
                  </a:cubicBezTo>
                  <a:cubicBezTo>
                    <a:pt x="224" y="136"/>
                    <a:pt x="224" y="137"/>
                    <a:pt x="225" y="137"/>
                  </a:cubicBezTo>
                  <a:cubicBezTo>
                    <a:pt x="225" y="137"/>
                    <a:pt x="226" y="137"/>
                    <a:pt x="227" y="137"/>
                  </a:cubicBezTo>
                  <a:cubicBezTo>
                    <a:pt x="228" y="137"/>
                    <a:pt x="228" y="138"/>
                    <a:pt x="229" y="139"/>
                  </a:cubicBezTo>
                  <a:cubicBezTo>
                    <a:pt x="229" y="139"/>
                    <a:pt x="230" y="141"/>
                    <a:pt x="230" y="141"/>
                  </a:cubicBezTo>
                  <a:cubicBezTo>
                    <a:pt x="231" y="140"/>
                    <a:pt x="231" y="139"/>
                    <a:pt x="231" y="139"/>
                  </a:cubicBezTo>
                  <a:cubicBezTo>
                    <a:pt x="231" y="138"/>
                    <a:pt x="231" y="137"/>
                    <a:pt x="232" y="137"/>
                  </a:cubicBezTo>
                  <a:cubicBezTo>
                    <a:pt x="232" y="137"/>
                    <a:pt x="233" y="137"/>
                    <a:pt x="234" y="137"/>
                  </a:cubicBezTo>
                  <a:cubicBezTo>
                    <a:pt x="234" y="137"/>
                    <a:pt x="235" y="138"/>
                    <a:pt x="236" y="137"/>
                  </a:cubicBezTo>
                  <a:cubicBezTo>
                    <a:pt x="236" y="137"/>
                    <a:pt x="236" y="136"/>
                    <a:pt x="236" y="136"/>
                  </a:cubicBezTo>
                  <a:cubicBezTo>
                    <a:pt x="236" y="135"/>
                    <a:pt x="236" y="135"/>
                    <a:pt x="237" y="135"/>
                  </a:cubicBezTo>
                  <a:cubicBezTo>
                    <a:pt x="237" y="134"/>
                    <a:pt x="238" y="134"/>
                    <a:pt x="238" y="134"/>
                  </a:cubicBezTo>
                  <a:cubicBezTo>
                    <a:pt x="239" y="134"/>
                    <a:pt x="240" y="134"/>
                    <a:pt x="240" y="134"/>
                  </a:cubicBezTo>
                  <a:cubicBezTo>
                    <a:pt x="241" y="134"/>
                    <a:pt x="241" y="134"/>
                    <a:pt x="242" y="133"/>
                  </a:cubicBezTo>
                  <a:cubicBezTo>
                    <a:pt x="242" y="133"/>
                    <a:pt x="242" y="133"/>
                    <a:pt x="242" y="132"/>
                  </a:cubicBezTo>
                  <a:cubicBezTo>
                    <a:pt x="243" y="132"/>
                    <a:pt x="243" y="133"/>
                    <a:pt x="243" y="133"/>
                  </a:cubicBezTo>
                  <a:cubicBezTo>
                    <a:pt x="244" y="133"/>
                    <a:pt x="244" y="132"/>
                    <a:pt x="245" y="132"/>
                  </a:cubicBezTo>
                  <a:cubicBezTo>
                    <a:pt x="245" y="132"/>
                    <a:pt x="245" y="133"/>
                    <a:pt x="245" y="133"/>
                  </a:cubicBezTo>
                  <a:cubicBezTo>
                    <a:pt x="245" y="133"/>
                    <a:pt x="246" y="133"/>
                    <a:pt x="246" y="133"/>
                  </a:cubicBezTo>
                  <a:cubicBezTo>
                    <a:pt x="247" y="134"/>
                    <a:pt x="247" y="134"/>
                    <a:pt x="247" y="134"/>
                  </a:cubicBezTo>
                  <a:cubicBezTo>
                    <a:pt x="247" y="134"/>
                    <a:pt x="248" y="134"/>
                    <a:pt x="248" y="134"/>
                  </a:cubicBezTo>
                  <a:cubicBezTo>
                    <a:pt x="248" y="134"/>
                    <a:pt x="248" y="134"/>
                    <a:pt x="249" y="133"/>
                  </a:cubicBezTo>
                  <a:cubicBezTo>
                    <a:pt x="249" y="133"/>
                    <a:pt x="250" y="133"/>
                    <a:pt x="250" y="133"/>
                  </a:cubicBezTo>
                  <a:cubicBezTo>
                    <a:pt x="251" y="133"/>
                    <a:pt x="251" y="133"/>
                    <a:pt x="251" y="133"/>
                  </a:cubicBezTo>
                  <a:cubicBezTo>
                    <a:pt x="251" y="132"/>
                    <a:pt x="251" y="132"/>
                    <a:pt x="251" y="132"/>
                  </a:cubicBezTo>
                  <a:cubicBezTo>
                    <a:pt x="252" y="131"/>
                    <a:pt x="253" y="132"/>
                    <a:pt x="254" y="131"/>
                  </a:cubicBezTo>
                  <a:cubicBezTo>
                    <a:pt x="254" y="131"/>
                    <a:pt x="254" y="131"/>
                    <a:pt x="254" y="131"/>
                  </a:cubicBezTo>
                  <a:cubicBezTo>
                    <a:pt x="255" y="131"/>
                    <a:pt x="255" y="130"/>
                    <a:pt x="256" y="130"/>
                  </a:cubicBezTo>
                  <a:cubicBezTo>
                    <a:pt x="256" y="130"/>
                    <a:pt x="256" y="130"/>
                    <a:pt x="257" y="131"/>
                  </a:cubicBezTo>
                  <a:cubicBezTo>
                    <a:pt x="257" y="131"/>
                    <a:pt x="257" y="131"/>
                    <a:pt x="257" y="132"/>
                  </a:cubicBezTo>
                  <a:cubicBezTo>
                    <a:pt x="258" y="132"/>
                    <a:pt x="258" y="132"/>
                    <a:pt x="258" y="132"/>
                  </a:cubicBezTo>
                  <a:cubicBezTo>
                    <a:pt x="259" y="132"/>
                    <a:pt x="259" y="132"/>
                    <a:pt x="259" y="132"/>
                  </a:cubicBezTo>
                  <a:cubicBezTo>
                    <a:pt x="259" y="132"/>
                    <a:pt x="260" y="132"/>
                    <a:pt x="260" y="132"/>
                  </a:cubicBezTo>
                  <a:cubicBezTo>
                    <a:pt x="260" y="133"/>
                    <a:pt x="260" y="133"/>
                    <a:pt x="261" y="133"/>
                  </a:cubicBezTo>
                  <a:cubicBezTo>
                    <a:pt x="262" y="133"/>
                    <a:pt x="263" y="133"/>
                    <a:pt x="264" y="133"/>
                  </a:cubicBezTo>
                  <a:cubicBezTo>
                    <a:pt x="265" y="133"/>
                    <a:pt x="266" y="133"/>
                    <a:pt x="267" y="132"/>
                  </a:cubicBezTo>
                  <a:cubicBezTo>
                    <a:pt x="267" y="132"/>
                    <a:pt x="267" y="131"/>
                    <a:pt x="268" y="131"/>
                  </a:cubicBezTo>
                  <a:cubicBezTo>
                    <a:pt x="268" y="131"/>
                    <a:pt x="268" y="131"/>
                    <a:pt x="268" y="131"/>
                  </a:cubicBezTo>
                  <a:cubicBezTo>
                    <a:pt x="268" y="130"/>
                    <a:pt x="268" y="129"/>
                    <a:pt x="269" y="129"/>
                  </a:cubicBezTo>
                  <a:cubicBezTo>
                    <a:pt x="270" y="129"/>
                    <a:pt x="271" y="129"/>
                    <a:pt x="272" y="130"/>
                  </a:cubicBezTo>
                  <a:cubicBezTo>
                    <a:pt x="272" y="130"/>
                    <a:pt x="272" y="132"/>
                    <a:pt x="273" y="132"/>
                  </a:cubicBezTo>
                  <a:cubicBezTo>
                    <a:pt x="273" y="132"/>
                    <a:pt x="273" y="131"/>
                    <a:pt x="273" y="131"/>
                  </a:cubicBezTo>
                  <a:cubicBezTo>
                    <a:pt x="274" y="131"/>
                    <a:pt x="274" y="131"/>
                    <a:pt x="274" y="132"/>
                  </a:cubicBezTo>
                  <a:cubicBezTo>
                    <a:pt x="274" y="133"/>
                    <a:pt x="275" y="133"/>
                    <a:pt x="276" y="133"/>
                  </a:cubicBezTo>
                  <a:cubicBezTo>
                    <a:pt x="277" y="133"/>
                    <a:pt x="278" y="133"/>
                    <a:pt x="278" y="134"/>
                  </a:cubicBezTo>
                  <a:cubicBezTo>
                    <a:pt x="278" y="134"/>
                    <a:pt x="278" y="135"/>
                    <a:pt x="278" y="135"/>
                  </a:cubicBezTo>
                  <a:cubicBezTo>
                    <a:pt x="279" y="135"/>
                    <a:pt x="279" y="135"/>
                    <a:pt x="279" y="136"/>
                  </a:cubicBezTo>
                  <a:cubicBezTo>
                    <a:pt x="279" y="136"/>
                    <a:pt x="279" y="136"/>
                    <a:pt x="279" y="136"/>
                  </a:cubicBezTo>
                  <a:cubicBezTo>
                    <a:pt x="280" y="137"/>
                    <a:pt x="280" y="137"/>
                    <a:pt x="280" y="137"/>
                  </a:cubicBezTo>
                  <a:cubicBezTo>
                    <a:pt x="280" y="137"/>
                    <a:pt x="281" y="137"/>
                    <a:pt x="281" y="137"/>
                  </a:cubicBezTo>
                  <a:cubicBezTo>
                    <a:pt x="281" y="137"/>
                    <a:pt x="281" y="138"/>
                    <a:pt x="282" y="138"/>
                  </a:cubicBezTo>
                  <a:cubicBezTo>
                    <a:pt x="282" y="138"/>
                    <a:pt x="282" y="139"/>
                    <a:pt x="282" y="139"/>
                  </a:cubicBezTo>
                  <a:cubicBezTo>
                    <a:pt x="283" y="139"/>
                    <a:pt x="283" y="138"/>
                    <a:pt x="283" y="138"/>
                  </a:cubicBezTo>
                  <a:cubicBezTo>
                    <a:pt x="283" y="138"/>
                    <a:pt x="284" y="137"/>
                    <a:pt x="285" y="138"/>
                  </a:cubicBezTo>
                  <a:cubicBezTo>
                    <a:pt x="285" y="138"/>
                    <a:pt x="284" y="138"/>
                    <a:pt x="284" y="138"/>
                  </a:cubicBezTo>
                  <a:cubicBezTo>
                    <a:pt x="284" y="138"/>
                    <a:pt x="285" y="138"/>
                    <a:pt x="285" y="138"/>
                  </a:cubicBezTo>
                  <a:cubicBezTo>
                    <a:pt x="285" y="139"/>
                    <a:pt x="285" y="139"/>
                    <a:pt x="285" y="139"/>
                  </a:cubicBezTo>
                  <a:cubicBezTo>
                    <a:pt x="285" y="140"/>
                    <a:pt x="286" y="140"/>
                    <a:pt x="286" y="140"/>
                  </a:cubicBezTo>
                  <a:cubicBezTo>
                    <a:pt x="286" y="140"/>
                    <a:pt x="286" y="140"/>
                    <a:pt x="286" y="140"/>
                  </a:cubicBezTo>
                  <a:cubicBezTo>
                    <a:pt x="287" y="141"/>
                    <a:pt x="288" y="141"/>
                    <a:pt x="288" y="141"/>
                  </a:cubicBezTo>
                  <a:cubicBezTo>
                    <a:pt x="288" y="141"/>
                    <a:pt x="288" y="140"/>
                    <a:pt x="289" y="140"/>
                  </a:cubicBezTo>
                  <a:cubicBezTo>
                    <a:pt x="289" y="140"/>
                    <a:pt x="289" y="140"/>
                    <a:pt x="289" y="141"/>
                  </a:cubicBezTo>
                  <a:cubicBezTo>
                    <a:pt x="290" y="141"/>
                    <a:pt x="290" y="141"/>
                    <a:pt x="290" y="141"/>
                  </a:cubicBezTo>
                  <a:cubicBezTo>
                    <a:pt x="290" y="141"/>
                    <a:pt x="291" y="141"/>
                    <a:pt x="291" y="141"/>
                  </a:cubicBezTo>
                  <a:cubicBezTo>
                    <a:pt x="291" y="141"/>
                    <a:pt x="291" y="141"/>
                    <a:pt x="291" y="142"/>
                  </a:cubicBezTo>
                  <a:cubicBezTo>
                    <a:pt x="292" y="142"/>
                    <a:pt x="292" y="142"/>
                    <a:pt x="292" y="142"/>
                  </a:cubicBezTo>
                  <a:cubicBezTo>
                    <a:pt x="293" y="143"/>
                    <a:pt x="293" y="143"/>
                    <a:pt x="293" y="144"/>
                  </a:cubicBezTo>
                  <a:cubicBezTo>
                    <a:pt x="295" y="142"/>
                    <a:pt x="295" y="142"/>
                    <a:pt x="295" y="142"/>
                  </a:cubicBezTo>
                  <a:cubicBezTo>
                    <a:pt x="296" y="72"/>
                    <a:pt x="296" y="72"/>
                    <a:pt x="296" y="72"/>
                  </a:cubicBezTo>
                  <a:cubicBezTo>
                    <a:pt x="296" y="65"/>
                    <a:pt x="296" y="65"/>
                    <a:pt x="296" y="65"/>
                  </a:cubicBezTo>
                  <a:lnTo>
                    <a:pt x="290" y="22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FECB9D2B-A025-4B3A-A6F0-62FC8DA9E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5756" y="2637594"/>
              <a:ext cx="589837" cy="639403"/>
            </a:xfrm>
            <a:custGeom>
              <a:avLst/>
              <a:gdLst>
                <a:gd name="T0" fmla="*/ 135 w 149"/>
                <a:gd name="T1" fmla="*/ 4 h 161"/>
                <a:gd name="T2" fmla="*/ 120 w 149"/>
                <a:gd name="T3" fmla="*/ 11 h 161"/>
                <a:gd name="T4" fmla="*/ 115 w 149"/>
                <a:gd name="T5" fmla="*/ 15 h 161"/>
                <a:gd name="T6" fmla="*/ 109 w 149"/>
                <a:gd name="T7" fmla="*/ 19 h 161"/>
                <a:gd name="T8" fmla="*/ 107 w 149"/>
                <a:gd name="T9" fmla="*/ 21 h 161"/>
                <a:gd name="T10" fmla="*/ 99 w 149"/>
                <a:gd name="T11" fmla="*/ 21 h 161"/>
                <a:gd name="T12" fmla="*/ 95 w 149"/>
                <a:gd name="T13" fmla="*/ 21 h 161"/>
                <a:gd name="T14" fmla="*/ 89 w 149"/>
                <a:gd name="T15" fmla="*/ 24 h 161"/>
                <a:gd name="T16" fmla="*/ 83 w 149"/>
                <a:gd name="T17" fmla="*/ 26 h 161"/>
                <a:gd name="T18" fmla="*/ 80 w 149"/>
                <a:gd name="T19" fmla="*/ 26 h 161"/>
                <a:gd name="T20" fmla="*/ 75 w 149"/>
                <a:gd name="T21" fmla="*/ 24 h 161"/>
                <a:gd name="T22" fmla="*/ 72 w 149"/>
                <a:gd name="T23" fmla="*/ 23 h 161"/>
                <a:gd name="T24" fmla="*/ 68 w 149"/>
                <a:gd name="T25" fmla="*/ 24 h 161"/>
                <a:gd name="T26" fmla="*/ 63 w 149"/>
                <a:gd name="T27" fmla="*/ 25 h 161"/>
                <a:gd name="T28" fmla="*/ 66 w 149"/>
                <a:gd name="T29" fmla="*/ 22 h 161"/>
                <a:gd name="T30" fmla="*/ 72 w 149"/>
                <a:gd name="T31" fmla="*/ 21 h 161"/>
                <a:gd name="T32" fmla="*/ 70 w 149"/>
                <a:gd name="T33" fmla="*/ 20 h 161"/>
                <a:gd name="T34" fmla="*/ 68 w 149"/>
                <a:gd name="T35" fmla="*/ 19 h 161"/>
                <a:gd name="T36" fmla="*/ 63 w 149"/>
                <a:gd name="T37" fmla="*/ 20 h 161"/>
                <a:gd name="T38" fmla="*/ 57 w 149"/>
                <a:gd name="T39" fmla="*/ 15 h 161"/>
                <a:gd name="T40" fmla="*/ 50 w 149"/>
                <a:gd name="T41" fmla="*/ 12 h 161"/>
                <a:gd name="T42" fmla="*/ 1 w 149"/>
                <a:gd name="T43" fmla="*/ 12 h 161"/>
                <a:gd name="T44" fmla="*/ 1 w 149"/>
                <a:gd name="T45" fmla="*/ 128 h 161"/>
                <a:gd name="T46" fmla="*/ 5 w 149"/>
                <a:gd name="T47" fmla="*/ 130 h 161"/>
                <a:gd name="T48" fmla="*/ 9 w 149"/>
                <a:gd name="T49" fmla="*/ 130 h 161"/>
                <a:gd name="T50" fmla="*/ 14 w 149"/>
                <a:gd name="T51" fmla="*/ 130 h 161"/>
                <a:gd name="T52" fmla="*/ 18 w 149"/>
                <a:gd name="T53" fmla="*/ 134 h 161"/>
                <a:gd name="T54" fmla="*/ 20 w 149"/>
                <a:gd name="T55" fmla="*/ 139 h 161"/>
                <a:gd name="T56" fmla="*/ 27 w 149"/>
                <a:gd name="T57" fmla="*/ 144 h 161"/>
                <a:gd name="T58" fmla="*/ 35 w 149"/>
                <a:gd name="T59" fmla="*/ 147 h 161"/>
                <a:gd name="T60" fmla="*/ 42 w 149"/>
                <a:gd name="T61" fmla="*/ 148 h 161"/>
                <a:gd name="T62" fmla="*/ 46 w 149"/>
                <a:gd name="T63" fmla="*/ 148 h 161"/>
                <a:gd name="T64" fmla="*/ 51 w 149"/>
                <a:gd name="T65" fmla="*/ 151 h 161"/>
                <a:gd name="T66" fmla="*/ 55 w 149"/>
                <a:gd name="T67" fmla="*/ 151 h 161"/>
                <a:gd name="T68" fmla="*/ 59 w 149"/>
                <a:gd name="T69" fmla="*/ 149 h 161"/>
                <a:gd name="T70" fmla="*/ 65 w 149"/>
                <a:gd name="T71" fmla="*/ 145 h 161"/>
                <a:gd name="T72" fmla="*/ 67 w 149"/>
                <a:gd name="T73" fmla="*/ 148 h 161"/>
                <a:gd name="T74" fmla="*/ 71 w 149"/>
                <a:gd name="T75" fmla="*/ 153 h 161"/>
                <a:gd name="T76" fmla="*/ 76 w 149"/>
                <a:gd name="T77" fmla="*/ 158 h 161"/>
                <a:gd name="T78" fmla="*/ 81 w 149"/>
                <a:gd name="T79" fmla="*/ 160 h 161"/>
                <a:gd name="T80" fmla="*/ 87 w 149"/>
                <a:gd name="T81" fmla="*/ 155 h 161"/>
                <a:gd name="T82" fmla="*/ 92 w 149"/>
                <a:gd name="T83" fmla="*/ 152 h 161"/>
                <a:gd name="T84" fmla="*/ 92 w 149"/>
                <a:gd name="T85" fmla="*/ 142 h 161"/>
                <a:gd name="T86" fmla="*/ 96 w 149"/>
                <a:gd name="T87" fmla="*/ 134 h 161"/>
                <a:gd name="T88" fmla="*/ 100 w 149"/>
                <a:gd name="T89" fmla="*/ 136 h 161"/>
                <a:gd name="T90" fmla="*/ 100 w 149"/>
                <a:gd name="T91" fmla="*/ 140 h 161"/>
                <a:gd name="T92" fmla="*/ 103 w 149"/>
                <a:gd name="T93" fmla="*/ 137 h 161"/>
                <a:gd name="T94" fmla="*/ 104 w 149"/>
                <a:gd name="T95" fmla="*/ 132 h 161"/>
                <a:gd name="T96" fmla="*/ 106 w 149"/>
                <a:gd name="T97" fmla="*/ 126 h 161"/>
                <a:gd name="T98" fmla="*/ 111 w 149"/>
                <a:gd name="T99" fmla="*/ 122 h 161"/>
                <a:gd name="T100" fmla="*/ 114 w 149"/>
                <a:gd name="T101" fmla="*/ 118 h 161"/>
                <a:gd name="T102" fmla="*/ 119 w 149"/>
                <a:gd name="T103" fmla="*/ 119 h 161"/>
                <a:gd name="T104" fmla="*/ 133 w 149"/>
                <a:gd name="T105" fmla="*/ 109 h 161"/>
                <a:gd name="T106" fmla="*/ 137 w 149"/>
                <a:gd name="T107" fmla="*/ 104 h 161"/>
                <a:gd name="T108" fmla="*/ 138 w 149"/>
                <a:gd name="T109" fmla="*/ 98 h 161"/>
                <a:gd name="T110" fmla="*/ 141 w 149"/>
                <a:gd name="T111" fmla="*/ 93 h 161"/>
                <a:gd name="T112" fmla="*/ 146 w 149"/>
                <a:gd name="T113" fmla="*/ 76 h 161"/>
                <a:gd name="T114" fmla="*/ 146 w 149"/>
                <a:gd name="T115" fmla="*/ 68 h 161"/>
                <a:gd name="T116" fmla="*/ 144 w 149"/>
                <a:gd name="T117" fmla="*/ 61 h 161"/>
                <a:gd name="T118" fmla="*/ 149 w 149"/>
                <a:gd name="T119" fmla="*/ 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9" h="161">
                  <a:moveTo>
                    <a:pt x="146" y="1"/>
                  </a:moveTo>
                  <a:cubicBezTo>
                    <a:pt x="145" y="1"/>
                    <a:pt x="143" y="2"/>
                    <a:pt x="142" y="2"/>
                  </a:cubicBezTo>
                  <a:cubicBezTo>
                    <a:pt x="140" y="3"/>
                    <a:pt x="138" y="4"/>
                    <a:pt x="135" y="4"/>
                  </a:cubicBezTo>
                  <a:cubicBezTo>
                    <a:pt x="134" y="5"/>
                    <a:pt x="132" y="6"/>
                    <a:pt x="130" y="7"/>
                  </a:cubicBezTo>
                  <a:cubicBezTo>
                    <a:pt x="128" y="7"/>
                    <a:pt x="127" y="8"/>
                    <a:pt x="125" y="8"/>
                  </a:cubicBezTo>
                  <a:cubicBezTo>
                    <a:pt x="123" y="9"/>
                    <a:pt x="122" y="10"/>
                    <a:pt x="120" y="11"/>
                  </a:cubicBezTo>
                  <a:cubicBezTo>
                    <a:pt x="119" y="11"/>
                    <a:pt x="118" y="12"/>
                    <a:pt x="118" y="13"/>
                  </a:cubicBezTo>
                  <a:cubicBezTo>
                    <a:pt x="117" y="13"/>
                    <a:pt x="117" y="14"/>
                    <a:pt x="116" y="14"/>
                  </a:cubicBezTo>
                  <a:cubicBezTo>
                    <a:pt x="116" y="15"/>
                    <a:pt x="115" y="15"/>
                    <a:pt x="115" y="15"/>
                  </a:cubicBezTo>
                  <a:cubicBezTo>
                    <a:pt x="115" y="15"/>
                    <a:pt x="115" y="16"/>
                    <a:pt x="114" y="16"/>
                  </a:cubicBezTo>
                  <a:cubicBezTo>
                    <a:pt x="113" y="16"/>
                    <a:pt x="112" y="17"/>
                    <a:pt x="112" y="18"/>
                  </a:cubicBezTo>
                  <a:cubicBezTo>
                    <a:pt x="111" y="18"/>
                    <a:pt x="110" y="19"/>
                    <a:pt x="109" y="19"/>
                  </a:cubicBezTo>
                  <a:cubicBezTo>
                    <a:pt x="108" y="20"/>
                    <a:pt x="108" y="20"/>
                    <a:pt x="108" y="21"/>
                  </a:cubicBezTo>
                  <a:cubicBezTo>
                    <a:pt x="108" y="21"/>
                    <a:pt x="108" y="21"/>
                    <a:pt x="107" y="21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5" y="21"/>
                    <a:pt x="104" y="21"/>
                    <a:pt x="102" y="21"/>
                  </a:cubicBezTo>
                  <a:cubicBezTo>
                    <a:pt x="102" y="21"/>
                    <a:pt x="101" y="21"/>
                    <a:pt x="101" y="21"/>
                  </a:cubicBezTo>
                  <a:cubicBezTo>
                    <a:pt x="100" y="21"/>
                    <a:pt x="100" y="21"/>
                    <a:pt x="99" y="21"/>
                  </a:cubicBezTo>
                  <a:cubicBezTo>
                    <a:pt x="99" y="21"/>
                    <a:pt x="98" y="21"/>
                    <a:pt x="98" y="21"/>
                  </a:cubicBezTo>
                  <a:cubicBezTo>
                    <a:pt x="97" y="21"/>
                    <a:pt x="97" y="21"/>
                    <a:pt x="96" y="21"/>
                  </a:cubicBezTo>
                  <a:cubicBezTo>
                    <a:pt x="96" y="21"/>
                    <a:pt x="95" y="21"/>
                    <a:pt x="95" y="21"/>
                  </a:cubicBezTo>
                  <a:cubicBezTo>
                    <a:pt x="95" y="21"/>
                    <a:pt x="94" y="22"/>
                    <a:pt x="94" y="22"/>
                  </a:cubicBezTo>
                  <a:cubicBezTo>
                    <a:pt x="94" y="22"/>
                    <a:pt x="93" y="22"/>
                    <a:pt x="93" y="22"/>
                  </a:cubicBezTo>
                  <a:cubicBezTo>
                    <a:pt x="91" y="23"/>
                    <a:pt x="90" y="23"/>
                    <a:pt x="89" y="24"/>
                  </a:cubicBezTo>
                  <a:cubicBezTo>
                    <a:pt x="88" y="24"/>
                    <a:pt x="87" y="24"/>
                    <a:pt x="87" y="24"/>
                  </a:cubicBezTo>
                  <a:cubicBezTo>
                    <a:pt x="86" y="24"/>
                    <a:pt x="86" y="25"/>
                    <a:pt x="85" y="25"/>
                  </a:cubicBezTo>
                  <a:cubicBezTo>
                    <a:pt x="85" y="25"/>
                    <a:pt x="84" y="25"/>
                    <a:pt x="83" y="26"/>
                  </a:cubicBezTo>
                  <a:cubicBezTo>
                    <a:pt x="83" y="26"/>
                    <a:pt x="82" y="26"/>
                    <a:pt x="82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79" y="26"/>
                    <a:pt x="79" y="26"/>
                    <a:pt x="79" y="25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6" y="25"/>
                    <a:pt x="76" y="25"/>
                    <a:pt x="75" y="24"/>
                  </a:cubicBezTo>
                  <a:cubicBezTo>
                    <a:pt x="75" y="24"/>
                    <a:pt x="74" y="24"/>
                    <a:pt x="74" y="24"/>
                  </a:cubicBezTo>
                  <a:cubicBezTo>
                    <a:pt x="74" y="24"/>
                    <a:pt x="73" y="24"/>
                    <a:pt x="73" y="24"/>
                  </a:cubicBezTo>
                  <a:cubicBezTo>
                    <a:pt x="73" y="24"/>
                    <a:pt x="72" y="24"/>
                    <a:pt x="72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69" y="23"/>
                    <a:pt x="69" y="23"/>
                  </a:cubicBezTo>
                  <a:cubicBezTo>
                    <a:pt x="69" y="24"/>
                    <a:pt x="68" y="24"/>
                    <a:pt x="68" y="24"/>
                  </a:cubicBezTo>
                  <a:cubicBezTo>
                    <a:pt x="68" y="24"/>
                    <a:pt x="67" y="24"/>
                    <a:pt x="67" y="24"/>
                  </a:cubicBezTo>
                  <a:cubicBezTo>
                    <a:pt x="66" y="25"/>
                    <a:pt x="66" y="25"/>
                    <a:pt x="65" y="25"/>
                  </a:cubicBezTo>
                  <a:cubicBezTo>
                    <a:pt x="64" y="25"/>
                    <a:pt x="63" y="25"/>
                    <a:pt x="63" y="25"/>
                  </a:cubicBezTo>
                  <a:cubicBezTo>
                    <a:pt x="62" y="25"/>
                    <a:pt x="61" y="25"/>
                    <a:pt x="62" y="25"/>
                  </a:cubicBezTo>
                  <a:cubicBezTo>
                    <a:pt x="62" y="24"/>
                    <a:pt x="63" y="23"/>
                    <a:pt x="63" y="23"/>
                  </a:cubicBezTo>
                  <a:cubicBezTo>
                    <a:pt x="64" y="22"/>
                    <a:pt x="65" y="22"/>
                    <a:pt x="66" y="22"/>
                  </a:cubicBezTo>
                  <a:cubicBezTo>
                    <a:pt x="67" y="22"/>
                    <a:pt x="68" y="22"/>
                    <a:pt x="69" y="22"/>
                  </a:cubicBezTo>
                  <a:cubicBezTo>
                    <a:pt x="69" y="22"/>
                    <a:pt x="70" y="22"/>
                    <a:pt x="70" y="22"/>
                  </a:cubicBezTo>
                  <a:cubicBezTo>
                    <a:pt x="71" y="21"/>
                    <a:pt x="71" y="21"/>
                    <a:pt x="72" y="21"/>
                  </a:cubicBezTo>
                  <a:cubicBezTo>
                    <a:pt x="72" y="21"/>
                    <a:pt x="72" y="20"/>
                    <a:pt x="72" y="20"/>
                  </a:cubicBezTo>
                  <a:cubicBezTo>
                    <a:pt x="72" y="20"/>
                    <a:pt x="71" y="20"/>
                    <a:pt x="71" y="20"/>
                  </a:cubicBezTo>
                  <a:cubicBezTo>
                    <a:pt x="71" y="20"/>
                    <a:pt x="70" y="20"/>
                    <a:pt x="70" y="20"/>
                  </a:cubicBezTo>
                  <a:cubicBezTo>
                    <a:pt x="70" y="20"/>
                    <a:pt x="69" y="20"/>
                    <a:pt x="69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19"/>
                    <a:pt x="67" y="20"/>
                    <a:pt x="66" y="20"/>
                  </a:cubicBezTo>
                  <a:cubicBezTo>
                    <a:pt x="66" y="21"/>
                    <a:pt x="65" y="21"/>
                    <a:pt x="65" y="20"/>
                  </a:cubicBezTo>
                  <a:cubicBezTo>
                    <a:pt x="64" y="20"/>
                    <a:pt x="64" y="20"/>
                    <a:pt x="63" y="20"/>
                  </a:cubicBezTo>
                  <a:cubicBezTo>
                    <a:pt x="63" y="19"/>
                    <a:pt x="62" y="19"/>
                    <a:pt x="62" y="18"/>
                  </a:cubicBezTo>
                  <a:cubicBezTo>
                    <a:pt x="61" y="17"/>
                    <a:pt x="60" y="16"/>
                    <a:pt x="58" y="16"/>
                  </a:cubicBezTo>
                  <a:cubicBezTo>
                    <a:pt x="58" y="15"/>
                    <a:pt x="57" y="15"/>
                    <a:pt x="57" y="15"/>
                  </a:cubicBezTo>
                  <a:cubicBezTo>
                    <a:pt x="56" y="15"/>
                    <a:pt x="56" y="14"/>
                    <a:pt x="56" y="14"/>
                  </a:cubicBezTo>
                  <a:cubicBezTo>
                    <a:pt x="55" y="14"/>
                    <a:pt x="54" y="13"/>
                    <a:pt x="52" y="13"/>
                  </a:cubicBezTo>
                  <a:cubicBezTo>
                    <a:pt x="51" y="12"/>
                    <a:pt x="51" y="12"/>
                    <a:pt x="50" y="12"/>
                  </a:cubicBezTo>
                  <a:cubicBezTo>
                    <a:pt x="49" y="12"/>
                    <a:pt x="48" y="12"/>
                    <a:pt x="47" y="12"/>
                  </a:cubicBezTo>
                  <a:cubicBezTo>
                    <a:pt x="47" y="12"/>
                    <a:pt x="47" y="11"/>
                    <a:pt x="47" y="1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1" y="128"/>
                    <a:pt x="1" y="128"/>
                  </a:cubicBezTo>
                  <a:cubicBezTo>
                    <a:pt x="1" y="128"/>
                    <a:pt x="2" y="128"/>
                    <a:pt x="2" y="128"/>
                  </a:cubicBezTo>
                  <a:cubicBezTo>
                    <a:pt x="3" y="128"/>
                    <a:pt x="3" y="128"/>
                    <a:pt x="4" y="129"/>
                  </a:cubicBezTo>
                  <a:cubicBezTo>
                    <a:pt x="4" y="129"/>
                    <a:pt x="4" y="130"/>
                    <a:pt x="5" y="130"/>
                  </a:cubicBezTo>
                  <a:cubicBezTo>
                    <a:pt x="5" y="130"/>
                    <a:pt x="6" y="131"/>
                    <a:pt x="7" y="131"/>
                  </a:cubicBezTo>
                  <a:cubicBezTo>
                    <a:pt x="7" y="131"/>
                    <a:pt x="8" y="131"/>
                    <a:pt x="8" y="131"/>
                  </a:cubicBezTo>
                  <a:cubicBezTo>
                    <a:pt x="8" y="130"/>
                    <a:pt x="9" y="130"/>
                    <a:pt x="9" y="130"/>
                  </a:cubicBezTo>
                  <a:cubicBezTo>
                    <a:pt x="10" y="130"/>
                    <a:pt x="11" y="129"/>
                    <a:pt x="11" y="129"/>
                  </a:cubicBezTo>
                  <a:cubicBezTo>
                    <a:pt x="12" y="129"/>
                    <a:pt x="13" y="129"/>
                    <a:pt x="13" y="129"/>
                  </a:cubicBezTo>
                  <a:cubicBezTo>
                    <a:pt x="13" y="130"/>
                    <a:pt x="13" y="130"/>
                    <a:pt x="14" y="130"/>
                  </a:cubicBezTo>
                  <a:cubicBezTo>
                    <a:pt x="14" y="131"/>
                    <a:pt x="15" y="132"/>
                    <a:pt x="16" y="132"/>
                  </a:cubicBezTo>
                  <a:cubicBezTo>
                    <a:pt x="16" y="132"/>
                    <a:pt x="17" y="133"/>
                    <a:pt x="17" y="133"/>
                  </a:cubicBezTo>
                  <a:cubicBezTo>
                    <a:pt x="17" y="133"/>
                    <a:pt x="18" y="134"/>
                    <a:pt x="18" y="134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6"/>
                    <a:pt x="19" y="136"/>
                    <a:pt x="19" y="136"/>
                  </a:cubicBezTo>
                  <a:cubicBezTo>
                    <a:pt x="19" y="137"/>
                    <a:pt x="19" y="138"/>
                    <a:pt x="20" y="139"/>
                  </a:cubicBezTo>
                  <a:cubicBezTo>
                    <a:pt x="20" y="140"/>
                    <a:pt x="21" y="141"/>
                    <a:pt x="21" y="142"/>
                  </a:cubicBezTo>
                  <a:cubicBezTo>
                    <a:pt x="22" y="143"/>
                    <a:pt x="22" y="144"/>
                    <a:pt x="23" y="144"/>
                  </a:cubicBezTo>
                  <a:cubicBezTo>
                    <a:pt x="25" y="144"/>
                    <a:pt x="26" y="144"/>
                    <a:pt x="27" y="144"/>
                  </a:cubicBezTo>
                  <a:cubicBezTo>
                    <a:pt x="28" y="144"/>
                    <a:pt x="30" y="143"/>
                    <a:pt x="31" y="144"/>
                  </a:cubicBezTo>
                  <a:cubicBezTo>
                    <a:pt x="32" y="144"/>
                    <a:pt x="33" y="145"/>
                    <a:pt x="33" y="145"/>
                  </a:cubicBezTo>
                  <a:cubicBezTo>
                    <a:pt x="34" y="146"/>
                    <a:pt x="34" y="146"/>
                    <a:pt x="35" y="147"/>
                  </a:cubicBezTo>
                  <a:cubicBezTo>
                    <a:pt x="36" y="148"/>
                    <a:pt x="36" y="149"/>
                    <a:pt x="37" y="150"/>
                  </a:cubicBezTo>
                  <a:cubicBezTo>
                    <a:pt x="38" y="151"/>
                    <a:pt x="40" y="150"/>
                    <a:pt x="40" y="150"/>
                  </a:cubicBezTo>
                  <a:cubicBezTo>
                    <a:pt x="41" y="149"/>
                    <a:pt x="41" y="149"/>
                    <a:pt x="42" y="148"/>
                  </a:cubicBezTo>
                  <a:cubicBezTo>
                    <a:pt x="42" y="148"/>
                    <a:pt x="43" y="148"/>
                    <a:pt x="43" y="148"/>
                  </a:cubicBezTo>
                  <a:cubicBezTo>
                    <a:pt x="44" y="148"/>
                    <a:pt x="45" y="147"/>
                    <a:pt x="45" y="147"/>
                  </a:cubicBezTo>
                  <a:cubicBezTo>
                    <a:pt x="46" y="147"/>
                    <a:pt x="46" y="147"/>
                    <a:pt x="46" y="148"/>
                  </a:cubicBezTo>
                  <a:cubicBezTo>
                    <a:pt x="46" y="148"/>
                    <a:pt x="47" y="148"/>
                    <a:pt x="47" y="148"/>
                  </a:cubicBezTo>
                  <a:cubicBezTo>
                    <a:pt x="47" y="148"/>
                    <a:pt x="48" y="149"/>
                    <a:pt x="48" y="149"/>
                  </a:cubicBezTo>
                  <a:cubicBezTo>
                    <a:pt x="49" y="149"/>
                    <a:pt x="50" y="150"/>
                    <a:pt x="51" y="151"/>
                  </a:cubicBezTo>
                  <a:cubicBezTo>
                    <a:pt x="51" y="151"/>
                    <a:pt x="52" y="152"/>
                    <a:pt x="52" y="152"/>
                  </a:cubicBezTo>
                  <a:cubicBezTo>
                    <a:pt x="52" y="152"/>
                    <a:pt x="53" y="151"/>
                    <a:pt x="54" y="151"/>
                  </a:cubicBezTo>
                  <a:cubicBezTo>
                    <a:pt x="54" y="151"/>
                    <a:pt x="54" y="151"/>
                    <a:pt x="55" y="151"/>
                  </a:cubicBezTo>
                  <a:cubicBezTo>
                    <a:pt x="55" y="151"/>
                    <a:pt x="56" y="151"/>
                    <a:pt x="56" y="151"/>
                  </a:cubicBezTo>
                  <a:cubicBezTo>
                    <a:pt x="57" y="151"/>
                    <a:pt x="57" y="151"/>
                    <a:pt x="58" y="150"/>
                  </a:cubicBezTo>
                  <a:cubicBezTo>
                    <a:pt x="58" y="150"/>
                    <a:pt x="59" y="150"/>
                    <a:pt x="59" y="149"/>
                  </a:cubicBezTo>
                  <a:cubicBezTo>
                    <a:pt x="60" y="149"/>
                    <a:pt x="60" y="148"/>
                    <a:pt x="61" y="148"/>
                  </a:cubicBezTo>
                  <a:cubicBezTo>
                    <a:pt x="61" y="147"/>
                    <a:pt x="62" y="146"/>
                    <a:pt x="62" y="146"/>
                  </a:cubicBezTo>
                  <a:cubicBezTo>
                    <a:pt x="63" y="146"/>
                    <a:pt x="64" y="146"/>
                    <a:pt x="65" y="145"/>
                  </a:cubicBezTo>
                  <a:cubicBezTo>
                    <a:pt x="65" y="145"/>
                    <a:pt x="66" y="145"/>
                    <a:pt x="67" y="146"/>
                  </a:cubicBezTo>
                  <a:cubicBezTo>
                    <a:pt x="67" y="146"/>
                    <a:pt x="67" y="146"/>
                    <a:pt x="67" y="147"/>
                  </a:cubicBezTo>
                  <a:cubicBezTo>
                    <a:pt x="67" y="147"/>
                    <a:pt x="67" y="147"/>
                    <a:pt x="67" y="148"/>
                  </a:cubicBezTo>
                  <a:cubicBezTo>
                    <a:pt x="67" y="149"/>
                    <a:pt x="67" y="150"/>
                    <a:pt x="67" y="151"/>
                  </a:cubicBezTo>
                  <a:cubicBezTo>
                    <a:pt x="68" y="151"/>
                    <a:pt x="68" y="152"/>
                    <a:pt x="69" y="153"/>
                  </a:cubicBezTo>
                  <a:cubicBezTo>
                    <a:pt x="70" y="153"/>
                    <a:pt x="70" y="153"/>
                    <a:pt x="71" y="153"/>
                  </a:cubicBezTo>
                  <a:cubicBezTo>
                    <a:pt x="71" y="154"/>
                    <a:pt x="72" y="154"/>
                    <a:pt x="72" y="154"/>
                  </a:cubicBezTo>
                  <a:cubicBezTo>
                    <a:pt x="73" y="154"/>
                    <a:pt x="74" y="155"/>
                    <a:pt x="75" y="156"/>
                  </a:cubicBezTo>
                  <a:cubicBezTo>
                    <a:pt x="76" y="156"/>
                    <a:pt x="76" y="157"/>
                    <a:pt x="76" y="158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1" y="160"/>
                    <a:pt x="84" y="160"/>
                    <a:pt x="85" y="159"/>
                  </a:cubicBezTo>
                  <a:cubicBezTo>
                    <a:pt x="85" y="159"/>
                    <a:pt x="86" y="158"/>
                    <a:pt x="86" y="158"/>
                  </a:cubicBezTo>
                  <a:cubicBezTo>
                    <a:pt x="86" y="158"/>
                    <a:pt x="87" y="156"/>
                    <a:pt x="87" y="155"/>
                  </a:cubicBezTo>
                  <a:cubicBezTo>
                    <a:pt x="87" y="155"/>
                    <a:pt x="87" y="153"/>
                    <a:pt x="87" y="153"/>
                  </a:cubicBezTo>
                  <a:cubicBezTo>
                    <a:pt x="87" y="153"/>
                    <a:pt x="89" y="153"/>
                    <a:pt x="89" y="152"/>
                  </a:cubicBezTo>
                  <a:cubicBezTo>
                    <a:pt x="89" y="152"/>
                    <a:pt x="92" y="152"/>
                    <a:pt x="92" y="152"/>
                  </a:cubicBezTo>
                  <a:cubicBezTo>
                    <a:pt x="92" y="152"/>
                    <a:pt x="91" y="148"/>
                    <a:pt x="91" y="148"/>
                  </a:cubicBezTo>
                  <a:cubicBezTo>
                    <a:pt x="91" y="147"/>
                    <a:pt x="90" y="144"/>
                    <a:pt x="90" y="144"/>
                  </a:cubicBezTo>
                  <a:cubicBezTo>
                    <a:pt x="90" y="144"/>
                    <a:pt x="92" y="142"/>
                    <a:pt x="92" y="142"/>
                  </a:cubicBezTo>
                  <a:cubicBezTo>
                    <a:pt x="92" y="142"/>
                    <a:pt x="93" y="140"/>
                    <a:pt x="93" y="139"/>
                  </a:cubicBezTo>
                  <a:cubicBezTo>
                    <a:pt x="93" y="139"/>
                    <a:pt x="95" y="136"/>
                    <a:pt x="95" y="135"/>
                  </a:cubicBezTo>
                  <a:cubicBezTo>
                    <a:pt x="95" y="135"/>
                    <a:pt x="96" y="134"/>
                    <a:pt x="96" y="134"/>
                  </a:cubicBezTo>
                  <a:cubicBezTo>
                    <a:pt x="96" y="133"/>
                    <a:pt x="97" y="133"/>
                    <a:pt x="97" y="133"/>
                  </a:cubicBezTo>
                  <a:cubicBezTo>
                    <a:pt x="97" y="134"/>
                    <a:pt x="99" y="135"/>
                    <a:pt x="99" y="135"/>
                  </a:cubicBezTo>
                  <a:cubicBezTo>
                    <a:pt x="99" y="135"/>
                    <a:pt x="100" y="136"/>
                    <a:pt x="100" y="136"/>
                  </a:cubicBezTo>
                  <a:cubicBezTo>
                    <a:pt x="100" y="136"/>
                    <a:pt x="101" y="137"/>
                    <a:pt x="101" y="137"/>
                  </a:cubicBezTo>
                  <a:cubicBezTo>
                    <a:pt x="101" y="137"/>
                    <a:pt x="100" y="138"/>
                    <a:pt x="100" y="138"/>
                  </a:cubicBezTo>
                  <a:cubicBezTo>
                    <a:pt x="100" y="138"/>
                    <a:pt x="100" y="140"/>
                    <a:pt x="100" y="140"/>
                  </a:cubicBezTo>
                  <a:cubicBezTo>
                    <a:pt x="100" y="140"/>
                    <a:pt x="102" y="140"/>
                    <a:pt x="102" y="140"/>
                  </a:cubicBezTo>
                  <a:cubicBezTo>
                    <a:pt x="102" y="140"/>
                    <a:pt x="103" y="139"/>
                    <a:pt x="103" y="139"/>
                  </a:cubicBezTo>
                  <a:cubicBezTo>
                    <a:pt x="103" y="138"/>
                    <a:pt x="103" y="137"/>
                    <a:pt x="103" y="137"/>
                  </a:cubicBezTo>
                  <a:cubicBezTo>
                    <a:pt x="105" y="138"/>
                    <a:pt x="105" y="138"/>
                    <a:pt x="105" y="138"/>
                  </a:cubicBezTo>
                  <a:cubicBezTo>
                    <a:pt x="105" y="138"/>
                    <a:pt x="105" y="133"/>
                    <a:pt x="105" y="133"/>
                  </a:cubicBezTo>
                  <a:cubicBezTo>
                    <a:pt x="105" y="133"/>
                    <a:pt x="104" y="132"/>
                    <a:pt x="104" y="132"/>
                  </a:cubicBezTo>
                  <a:cubicBezTo>
                    <a:pt x="104" y="131"/>
                    <a:pt x="105" y="131"/>
                    <a:pt x="105" y="131"/>
                  </a:cubicBezTo>
                  <a:cubicBezTo>
                    <a:pt x="105" y="131"/>
                    <a:pt x="106" y="130"/>
                    <a:pt x="106" y="130"/>
                  </a:cubicBezTo>
                  <a:cubicBezTo>
                    <a:pt x="106" y="130"/>
                    <a:pt x="106" y="126"/>
                    <a:pt x="106" y="126"/>
                  </a:cubicBezTo>
                  <a:cubicBezTo>
                    <a:pt x="106" y="126"/>
                    <a:pt x="107" y="125"/>
                    <a:pt x="108" y="125"/>
                  </a:cubicBezTo>
                  <a:cubicBezTo>
                    <a:pt x="108" y="125"/>
                    <a:pt x="109" y="122"/>
                    <a:pt x="109" y="122"/>
                  </a:cubicBezTo>
                  <a:cubicBezTo>
                    <a:pt x="109" y="122"/>
                    <a:pt x="110" y="122"/>
                    <a:pt x="111" y="122"/>
                  </a:cubicBezTo>
                  <a:cubicBezTo>
                    <a:pt x="111" y="122"/>
                    <a:pt x="112" y="123"/>
                    <a:pt x="112" y="123"/>
                  </a:cubicBezTo>
                  <a:cubicBezTo>
                    <a:pt x="112" y="123"/>
                    <a:pt x="113" y="119"/>
                    <a:pt x="113" y="119"/>
                  </a:cubicBezTo>
                  <a:cubicBezTo>
                    <a:pt x="113" y="119"/>
                    <a:pt x="114" y="118"/>
                    <a:pt x="114" y="118"/>
                  </a:cubicBezTo>
                  <a:cubicBezTo>
                    <a:pt x="115" y="118"/>
                    <a:pt x="115" y="116"/>
                    <a:pt x="116" y="116"/>
                  </a:cubicBezTo>
                  <a:cubicBezTo>
                    <a:pt x="116" y="116"/>
                    <a:pt x="117" y="116"/>
                    <a:pt x="117" y="116"/>
                  </a:cubicBezTo>
                  <a:cubicBezTo>
                    <a:pt x="117" y="116"/>
                    <a:pt x="119" y="119"/>
                    <a:pt x="119" y="119"/>
                  </a:cubicBezTo>
                  <a:cubicBezTo>
                    <a:pt x="119" y="119"/>
                    <a:pt x="121" y="119"/>
                    <a:pt x="121" y="119"/>
                  </a:cubicBezTo>
                  <a:cubicBezTo>
                    <a:pt x="121" y="119"/>
                    <a:pt x="126" y="116"/>
                    <a:pt x="126" y="116"/>
                  </a:cubicBezTo>
                  <a:cubicBezTo>
                    <a:pt x="133" y="109"/>
                    <a:pt x="133" y="109"/>
                    <a:pt x="133" y="109"/>
                  </a:cubicBezTo>
                  <a:cubicBezTo>
                    <a:pt x="133" y="109"/>
                    <a:pt x="134" y="107"/>
                    <a:pt x="134" y="107"/>
                  </a:cubicBezTo>
                  <a:cubicBezTo>
                    <a:pt x="134" y="107"/>
                    <a:pt x="136" y="107"/>
                    <a:pt x="136" y="107"/>
                  </a:cubicBezTo>
                  <a:cubicBezTo>
                    <a:pt x="136" y="107"/>
                    <a:pt x="136" y="104"/>
                    <a:pt x="137" y="104"/>
                  </a:cubicBezTo>
                  <a:cubicBezTo>
                    <a:pt x="137" y="103"/>
                    <a:pt x="138" y="103"/>
                    <a:pt x="138" y="103"/>
                  </a:cubicBezTo>
                  <a:cubicBezTo>
                    <a:pt x="138" y="103"/>
                    <a:pt x="136" y="101"/>
                    <a:pt x="136" y="100"/>
                  </a:cubicBezTo>
                  <a:cubicBezTo>
                    <a:pt x="136" y="100"/>
                    <a:pt x="137" y="98"/>
                    <a:pt x="138" y="98"/>
                  </a:cubicBezTo>
                  <a:cubicBezTo>
                    <a:pt x="138" y="98"/>
                    <a:pt x="139" y="96"/>
                    <a:pt x="139" y="96"/>
                  </a:cubicBezTo>
                  <a:cubicBezTo>
                    <a:pt x="139" y="96"/>
                    <a:pt x="139" y="94"/>
                    <a:pt x="139" y="94"/>
                  </a:cubicBezTo>
                  <a:cubicBezTo>
                    <a:pt x="139" y="94"/>
                    <a:pt x="141" y="93"/>
                    <a:pt x="141" y="93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141" y="85"/>
                    <a:pt x="141" y="85"/>
                    <a:pt x="141" y="85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4" y="73"/>
                    <a:pt x="144" y="72"/>
                  </a:cubicBezTo>
                  <a:cubicBezTo>
                    <a:pt x="144" y="72"/>
                    <a:pt x="145" y="71"/>
                    <a:pt x="145" y="70"/>
                  </a:cubicBezTo>
                  <a:cubicBezTo>
                    <a:pt x="145" y="70"/>
                    <a:pt x="146" y="68"/>
                    <a:pt x="146" y="68"/>
                  </a:cubicBezTo>
                  <a:cubicBezTo>
                    <a:pt x="146" y="68"/>
                    <a:pt x="145" y="66"/>
                    <a:pt x="145" y="66"/>
                  </a:cubicBezTo>
                  <a:cubicBezTo>
                    <a:pt x="145" y="66"/>
                    <a:pt x="143" y="63"/>
                    <a:pt x="143" y="63"/>
                  </a:cubicBezTo>
                  <a:cubicBezTo>
                    <a:pt x="143" y="63"/>
                    <a:pt x="144" y="62"/>
                    <a:pt x="144" y="61"/>
                  </a:cubicBezTo>
                  <a:cubicBezTo>
                    <a:pt x="144" y="61"/>
                    <a:pt x="145" y="61"/>
                    <a:pt x="145" y="61"/>
                  </a:cubicBezTo>
                  <a:cubicBezTo>
                    <a:pt x="147" y="62"/>
                    <a:pt x="147" y="62"/>
                    <a:pt x="147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8" y="0"/>
                    <a:pt x="147" y="0"/>
                    <a:pt x="146" y="1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A60DC027-859B-49D1-8CB3-5041E111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448" y="1258003"/>
              <a:ext cx="1021062" cy="619576"/>
            </a:xfrm>
            <a:custGeom>
              <a:avLst/>
              <a:gdLst>
                <a:gd name="T0" fmla="*/ 258 w 258"/>
                <a:gd name="T1" fmla="*/ 139 h 156"/>
                <a:gd name="T2" fmla="*/ 256 w 258"/>
                <a:gd name="T3" fmla="*/ 134 h 156"/>
                <a:gd name="T4" fmla="*/ 253 w 258"/>
                <a:gd name="T5" fmla="*/ 131 h 156"/>
                <a:gd name="T6" fmla="*/ 252 w 258"/>
                <a:gd name="T7" fmla="*/ 127 h 156"/>
                <a:gd name="T8" fmla="*/ 251 w 258"/>
                <a:gd name="T9" fmla="*/ 123 h 156"/>
                <a:gd name="T10" fmla="*/ 251 w 258"/>
                <a:gd name="T11" fmla="*/ 119 h 156"/>
                <a:gd name="T12" fmla="*/ 252 w 258"/>
                <a:gd name="T13" fmla="*/ 111 h 156"/>
                <a:gd name="T14" fmla="*/ 252 w 258"/>
                <a:gd name="T15" fmla="*/ 109 h 156"/>
                <a:gd name="T16" fmla="*/ 251 w 258"/>
                <a:gd name="T17" fmla="*/ 106 h 156"/>
                <a:gd name="T18" fmla="*/ 249 w 258"/>
                <a:gd name="T19" fmla="*/ 102 h 156"/>
                <a:gd name="T20" fmla="*/ 249 w 258"/>
                <a:gd name="T21" fmla="*/ 90 h 156"/>
                <a:gd name="T22" fmla="*/ 249 w 258"/>
                <a:gd name="T23" fmla="*/ 84 h 156"/>
                <a:gd name="T24" fmla="*/ 248 w 258"/>
                <a:gd name="T25" fmla="*/ 75 h 156"/>
                <a:gd name="T26" fmla="*/ 247 w 258"/>
                <a:gd name="T27" fmla="*/ 69 h 156"/>
                <a:gd name="T28" fmla="*/ 244 w 258"/>
                <a:gd name="T29" fmla="*/ 62 h 156"/>
                <a:gd name="T30" fmla="*/ 241 w 258"/>
                <a:gd name="T31" fmla="*/ 52 h 156"/>
                <a:gd name="T32" fmla="*/ 239 w 258"/>
                <a:gd name="T33" fmla="*/ 47 h 156"/>
                <a:gd name="T34" fmla="*/ 239 w 258"/>
                <a:gd name="T35" fmla="*/ 40 h 156"/>
                <a:gd name="T36" fmla="*/ 239 w 258"/>
                <a:gd name="T37" fmla="*/ 36 h 156"/>
                <a:gd name="T38" fmla="*/ 238 w 258"/>
                <a:gd name="T39" fmla="*/ 33 h 156"/>
                <a:gd name="T40" fmla="*/ 239 w 258"/>
                <a:gd name="T41" fmla="*/ 30 h 156"/>
                <a:gd name="T42" fmla="*/ 238 w 258"/>
                <a:gd name="T43" fmla="*/ 28 h 156"/>
                <a:gd name="T44" fmla="*/ 238 w 258"/>
                <a:gd name="T45" fmla="*/ 27 h 156"/>
                <a:gd name="T46" fmla="*/ 239 w 258"/>
                <a:gd name="T47" fmla="*/ 25 h 156"/>
                <a:gd name="T48" fmla="*/ 238 w 258"/>
                <a:gd name="T49" fmla="*/ 24 h 156"/>
                <a:gd name="T50" fmla="*/ 239 w 258"/>
                <a:gd name="T51" fmla="*/ 21 h 156"/>
                <a:gd name="T52" fmla="*/ 239 w 258"/>
                <a:gd name="T53" fmla="*/ 18 h 156"/>
                <a:gd name="T54" fmla="*/ 239 w 258"/>
                <a:gd name="T55" fmla="*/ 14 h 156"/>
                <a:gd name="T56" fmla="*/ 237 w 258"/>
                <a:gd name="T57" fmla="*/ 8 h 156"/>
                <a:gd name="T58" fmla="*/ 236 w 258"/>
                <a:gd name="T59" fmla="*/ 4 h 156"/>
                <a:gd name="T60" fmla="*/ 236 w 258"/>
                <a:gd name="T61" fmla="*/ 0 h 156"/>
                <a:gd name="T62" fmla="*/ 0 w 258"/>
                <a:gd name="T63" fmla="*/ 0 h 156"/>
                <a:gd name="T64" fmla="*/ 0 w 258"/>
                <a:gd name="T65" fmla="*/ 156 h 156"/>
                <a:gd name="T66" fmla="*/ 258 w 258"/>
                <a:gd name="T67" fmla="*/ 156 h 156"/>
                <a:gd name="T68" fmla="*/ 258 w 258"/>
                <a:gd name="T69" fmla="*/ 13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156">
                  <a:moveTo>
                    <a:pt x="258" y="139"/>
                  </a:moveTo>
                  <a:cubicBezTo>
                    <a:pt x="257" y="139"/>
                    <a:pt x="256" y="135"/>
                    <a:pt x="256" y="134"/>
                  </a:cubicBezTo>
                  <a:cubicBezTo>
                    <a:pt x="255" y="134"/>
                    <a:pt x="254" y="132"/>
                    <a:pt x="253" y="131"/>
                  </a:cubicBezTo>
                  <a:cubicBezTo>
                    <a:pt x="253" y="130"/>
                    <a:pt x="252" y="128"/>
                    <a:pt x="252" y="127"/>
                  </a:cubicBezTo>
                  <a:cubicBezTo>
                    <a:pt x="252" y="126"/>
                    <a:pt x="251" y="124"/>
                    <a:pt x="251" y="123"/>
                  </a:cubicBezTo>
                  <a:cubicBezTo>
                    <a:pt x="251" y="122"/>
                    <a:pt x="251" y="121"/>
                    <a:pt x="251" y="119"/>
                  </a:cubicBezTo>
                  <a:cubicBezTo>
                    <a:pt x="251" y="118"/>
                    <a:pt x="252" y="112"/>
                    <a:pt x="252" y="111"/>
                  </a:cubicBezTo>
                  <a:cubicBezTo>
                    <a:pt x="252" y="111"/>
                    <a:pt x="252" y="110"/>
                    <a:pt x="252" y="109"/>
                  </a:cubicBezTo>
                  <a:cubicBezTo>
                    <a:pt x="252" y="108"/>
                    <a:pt x="251" y="107"/>
                    <a:pt x="251" y="106"/>
                  </a:cubicBezTo>
                  <a:cubicBezTo>
                    <a:pt x="250" y="105"/>
                    <a:pt x="250" y="104"/>
                    <a:pt x="249" y="102"/>
                  </a:cubicBezTo>
                  <a:cubicBezTo>
                    <a:pt x="249" y="100"/>
                    <a:pt x="249" y="92"/>
                    <a:pt x="249" y="90"/>
                  </a:cubicBezTo>
                  <a:cubicBezTo>
                    <a:pt x="249" y="89"/>
                    <a:pt x="249" y="86"/>
                    <a:pt x="249" y="84"/>
                  </a:cubicBezTo>
                  <a:cubicBezTo>
                    <a:pt x="249" y="83"/>
                    <a:pt x="249" y="77"/>
                    <a:pt x="248" y="75"/>
                  </a:cubicBezTo>
                  <a:cubicBezTo>
                    <a:pt x="248" y="74"/>
                    <a:pt x="248" y="71"/>
                    <a:pt x="247" y="69"/>
                  </a:cubicBezTo>
                  <a:cubicBezTo>
                    <a:pt x="247" y="67"/>
                    <a:pt x="244" y="64"/>
                    <a:pt x="244" y="62"/>
                  </a:cubicBezTo>
                  <a:cubicBezTo>
                    <a:pt x="243" y="60"/>
                    <a:pt x="241" y="53"/>
                    <a:pt x="241" y="52"/>
                  </a:cubicBezTo>
                  <a:cubicBezTo>
                    <a:pt x="240" y="50"/>
                    <a:pt x="239" y="49"/>
                    <a:pt x="239" y="47"/>
                  </a:cubicBezTo>
                  <a:cubicBezTo>
                    <a:pt x="239" y="45"/>
                    <a:pt x="239" y="41"/>
                    <a:pt x="239" y="40"/>
                  </a:cubicBezTo>
                  <a:cubicBezTo>
                    <a:pt x="239" y="38"/>
                    <a:pt x="239" y="37"/>
                    <a:pt x="239" y="36"/>
                  </a:cubicBezTo>
                  <a:cubicBezTo>
                    <a:pt x="239" y="35"/>
                    <a:pt x="238" y="34"/>
                    <a:pt x="238" y="33"/>
                  </a:cubicBezTo>
                  <a:cubicBezTo>
                    <a:pt x="238" y="32"/>
                    <a:pt x="239" y="30"/>
                    <a:pt x="239" y="30"/>
                  </a:cubicBezTo>
                  <a:cubicBezTo>
                    <a:pt x="239" y="29"/>
                    <a:pt x="238" y="28"/>
                    <a:pt x="238" y="28"/>
                  </a:cubicBezTo>
                  <a:cubicBezTo>
                    <a:pt x="238" y="28"/>
                    <a:pt x="238" y="27"/>
                    <a:pt x="238" y="27"/>
                  </a:cubicBezTo>
                  <a:cubicBezTo>
                    <a:pt x="239" y="26"/>
                    <a:pt x="239" y="25"/>
                    <a:pt x="239" y="25"/>
                  </a:cubicBezTo>
                  <a:cubicBezTo>
                    <a:pt x="238" y="24"/>
                    <a:pt x="238" y="25"/>
                    <a:pt x="238" y="24"/>
                  </a:cubicBezTo>
                  <a:cubicBezTo>
                    <a:pt x="238" y="23"/>
                    <a:pt x="238" y="21"/>
                    <a:pt x="239" y="21"/>
                  </a:cubicBezTo>
                  <a:cubicBezTo>
                    <a:pt x="239" y="20"/>
                    <a:pt x="239" y="20"/>
                    <a:pt x="239" y="18"/>
                  </a:cubicBezTo>
                  <a:cubicBezTo>
                    <a:pt x="240" y="16"/>
                    <a:pt x="239" y="15"/>
                    <a:pt x="239" y="14"/>
                  </a:cubicBezTo>
                  <a:cubicBezTo>
                    <a:pt x="239" y="14"/>
                    <a:pt x="237" y="9"/>
                    <a:pt x="237" y="8"/>
                  </a:cubicBezTo>
                  <a:cubicBezTo>
                    <a:pt x="237" y="7"/>
                    <a:pt x="236" y="6"/>
                    <a:pt x="236" y="4"/>
                  </a:cubicBezTo>
                  <a:cubicBezTo>
                    <a:pt x="236" y="3"/>
                    <a:pt x="236" y="0"/>
                    <a:pt x="2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258" y="156"/>
                    <a:pt x="258" y="156"/>
                    <a:pt x="258" y="156"/>
                  </a:cubicBezTo>
                  <a:cubicBezTo>
                    <a:pt x="258" y="156"/>
                    <a:pt x="258" y="140"/>
                    <a:pt x="258" y="139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3C45AC45-338B-4586-9FEE-66AFCA2F65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1844" y="3589264"/>
              <a:ext cx="1196195" cy="460965"/>
            </a:xfrm>
            <a:custGeom>
              <a:avLst/>
              <a:gdLst>
                <a:gd name="T0" fmla="*/ 300 w 302"/>
                <a:gd name="T1" fmla="*/ 26 h 116"/>
                <a:gd name="T2" fmla="*/ 293 w 302"/>
                <a:gd name="T3" fmla="*/ 4 h 116"/>
                <a:gd name="T4" fmla="*/ 123 w 302"/>
                <a:gd name="T5" fmla="*/ 0 h 116"/>
                <a:gd name="T6" fmla="*/ 87 w 302"/>
                <a:gd name="T7" fmla="*/ 10 h 116"/>
                <a:gd name="T8" fmla="*/ 72 w 302"/>
                <a:gd name="T9" fmla="*/ 19 h 116"/>
                <a:gd name="T10" fmla="*/ 59 w 302"/>
                <a:gd name="T11" fmla="*/ 22 h 116"/>
                <a:gd name="T12" fmla="*/ 48 w 302"/>
                <a:gd name="T13" fmla="*/ 33 h 116"/>
                <a:gd name="T14" fmla="*/ 37 w 302"/>
                <a:gd name="T15" fmla="*/ 38 h 116"/>
                <a:gd name="T16" fmla="*/ 14 w 302"/>
                <a:gd name="T17" fmla="*/ 47 h 116"/>
                <a:gd name="T18" fmla="*/ 5 w 302"/>
                <a:gd name="T19" fmla="*/ 58 h 116"/>
                <a:gd name="T20" fmla="*/ 52 w 302"/>
                <a:gd name="T21" fmla="*/ 64 h 116"/>
                <a:gd name="T22" fmla="*/ 68 w 302"/>
                <a:gd name="T23" fmla="*/ 59 h 116"/>
                <a:gd name="T24" fmla="*/ 114 w 302"/>
                <a:gd name="T25" fmla="*/ 63 h 116"/>
                <a:gd name="T26" fmla="*/ 122 w 302"/>
                <a:gd name="T27" fmla="*/ 75 h 116"/>
                <a:gd name="T28" fmla="*/ 205 w 302"/>
                <a:gd name="T29" fmla="*/ 114 h 116"/>
                <a:gd name="T30" fmla="*/ 218 w 302"/>
                <a:gd name="T31" fmla="*/ 114 h 116"/>
                <a:gd name="T32" fmla="*/ 222 w 302"/>
                <a:gd name="T33" fmla="*/ 106 h 116"/>
                <a:gd name="T34" fmla="*/ 225 w 302"/>
                <a:gd name="T35" fmla="*/ 104 h 116"/>
                <a:gd name="T36" fmla="*/ 233 w 302"/>
                <a:gd name="T37" fmla="*/ 93 h 116"/>
                <a:gd name="T38" fmla="*/ 240 w 302"/>
                <a:gd name="T39" fmla="*/ 88 h 116"/>
                <a:gd name="T40" fmla="*/ 240 w 302"/>
                <a:gd name="T41" fmla="*/ 83 h 116"/>
                <a:gd name="T42" fmla="*/ 242 w 302"/>
                <a:gd name="T43" fmla="*/ 84 h 116"/>
                <a:gd name="T44" fmla="*/ 252 w 302"/>
                <a:gd name="T45" fmla="*/ 81 h 116"/>
                <a:gd name="T46" fmla="*/ 261 w 302"/>
                <a:gd name="T47" fmla="*/ 79 h 116"/>
                <a:gd name="T48" fmla="*/ 268 w 302"/>
                <a:gd name="T49" fmla="*/ 78 h 116"/>
                <a:gd name="T50" fmla="*/ 274 w 302"/>
                <a:gd name="T51" fmla="*/ 73 h 116"/>
                <a:gd name="T52" fmla="*/ 274 w 302"/>
                <a:gd name="T53" fmla="*/ 69 h 116"/>
                <a:gd name="T54" fmla="*/ 269 w 302"/>
                <a:gd name="T55" fmla="*/ 68 h 116"/>
                <a:gd name="T56" fmla="*/ 261 w 302"/>
                <a:gd name="T57" fmla="*/ 71 h 116"/>
                <a:gd name="T58" fmla="*/ 253 w 302"/>
                <a:gd name="T59" fmla="*/ 65 h 116"/>
                <a:gd name="T60" fmla="*/ 258 w 302"/>
                <a:gd name="T61" fmla="*/ 67 h 116"/>
                <a:gd name="T62" fmla="*/ 265 w 302"/>
                <a:gd name="T63" fmla="*/ 67 h 116"/>
                <a:gd name="T64" fmla="*/ 264 w 302"/>
                <a:gd name="T65" fmla="*/ 61 h 116"/>
                <a:gd name="T66" fmla="*/ 270 w 302"/>
                <a:gd name="T67" fmla="*/ 56 h 116"/>
                <a:gd name="T68" fmla="*/ 259 w 302"/>
                <a:gd name="T69" fmla="*/ 51 h 116"/>
                <a:gd name="T70" fmla="*/ 266 w 302"/>
                <a:gd name="T71" fmla="*/ 51 h 116"/>
                <a:gd name="T72" fmla="*/ 271 w 302"/>
                <a:gd name="T73" fmla="*/ 47 h 116"/>
                <a:gd name="T74" fmla="*/ 274 w 302"/>
                <a:gd name="T75" fmla="*/ 50 h 116"/>
                <a:gd name="T76" fmla="*/ 285 w 302"/>
                <a:gd name="T77" fmla="*/ 52 h 116"/>
                <a:gd name="T78" fmla="*/ 298 w 302"/>
                <a:gd name="T79" fmla="*/ 39 h 116"/>
                <a:gd name="T80" fmla="*/ 291 w 302"/>
                <a:gd name="T81" fmla="*/ 29 h 116"/>
                <a:gd name="T82" fmla="*/ 284 w 302"/>
                <a:gd name="T83" fmla="*/ 38 h 116"/>
                <a:gd name="T84" fmla="*/ 286 w 302"/>
                <a:gd name="T85" fmla="*/ 27 h 116"/>
                <a:gd name="T86" fmla="*/ 274 w 302"/>
                <a:gd name="T87" fmla="*/ 26 h 116"/>
                <a:gd name="T88" fmla="*/ 264 w 302"/>
                <a:gd name="T89" fmla="*/ 26 h 116"/>
                <a:gd name="T90" fmla="*/ 261 w 302"/>
                <a:gd name="T91" fmla="*/ 19 h 116"/>
                <a:gd name="T92" fmla="*/ 264 w 302"/>
                <a:gd name="T93" fmla="*/ 17 h 116"/>
                <a:gd name="T94" fmla="*/ 269 w 302"/>
                <a:gd name="T95" fmla="*/ 24 h 116"/>
                <a:gd name="T96" fmla="*/ 274 w 302"/>
                <a:gd name="T97" fmla="*/ 19 h 116"/>
                <a:gd name="T98" fmla="*/ 279 w 302"/>
                <a:gd name="T99" fmla="*/ 17 h 116"/>
                <a:gd name="T100" fmla="*/ 283 w 302"/>
                <a:gd name="T101" fmla="*/ 15 h 116"/>
                <a:gd name="T102" fmla="*/ 289 w 302"/>
                <a:gd name="T103" fmla="*/ 17 h 116"/>
                <a:gd name="T104" fmla="*/ 294 w 302"/>
                <a:gd name="T105" fmla="*/ 20 h 116"/>
                <a:gd name="T106" fmla="*/ 287 w 302"/>
                <a:gd name="T107" fmla="*/ 4 h 116"/>
                <a:gd name="T108" fmla="*/ 294 w 302"/>
                <a:gd name="T109" fmla="*/ 12 h 116"/>
                <a:gd name="T110" fmla="*/ 302 w 302"/>
                <a:gd name="T111" fmla="*/ 2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2" h="116">
                  <a:moveTo>
                    <a:pt x="298" y="29"/>
                  </a:moveTo>
                  <a:cubicBezTo>
                    <a:pt x="299" y="28"/>
                    <a:pt x="299" y="29"/>
                    <a:pt x="300" y="30"/>
                  </a:cubicBezTo>
                  <a:cubicBezTo>
                    <a:pt x="300" y="30"/>
                    <a:pt x="301" y="31"/>
                    <a:pt x="300" y="31"/>
                  </a:cubicBezTo>
                  <a:cubicBezTo>
                    <a:pt x="300" y="32"/>
                    <a:pt x="299" y="31"/>
                    <a:pt x="299" y="31"/>
                  </a:cubicBezTo>
                  <a:cubicBezTo>
                    <a:pt x="299" y="31"/>
                    <a:pt x="299" y="31"/>
                    <a:pt x="299" y="30"/>
                  </a:cubicBezTo>
                  <a:cubicBezTo>
                    <a:pt x="298" y="30"/>
                    <a:pt x="298" y="30"/>
                    <a:pt x="298" y="29"/>
                  </a:cubicBezTo>
                  <a:close/>
                  <a:moveTo>
                    <a:pt x="300" y="26"/>
                  </a:moveTo>
                  <a:cubicBezTo>
                    <a:pt x="300" y="25"/>
                    <a:pt x="299" y="24"/>
                    <a:pt x="299" y="23"/>
                  </a:cubicBezTo>
                  <a:cubicBezTo>
                    <a:pt x="298" y="21"/>
                    <a:pt x="298" y="20"/>
                    <a:pt x="297" y="19"/>
                  </a:cubicBezTo>
                  <a:cubicBezTo>
                    <a:pt x="297" y="18"/>
                    <a:pt x="296" y="17"/>
                    <a:pt x="296" y="16"/>
                  </a:cubicBezTo>
                  <a:cubicBezTo>
                    <a:pt x="296" y="15"/>
                    <a:pt x="295" y="13"/>
                    <a:pt x="295" y="12"/>
                  </a:cubicBezTo>
                  <a:cubicBezTo>
                    <a:pt x="295" y="11"/>
                    <a:pt x="294" y="10"/>
                    <a:pt x="294" y="9"/>
                  </a:cubicBezTo>
                  <a:cubicBezTo>
                    <a:pt x="294" y="8"/>
                    <a:pt x="294" y="8"/>
                    <a:pt x="294" y="7"/>
                  </a:cubicBezTo>
                  <a:cubicBezTo>
                    <a:pt x="294" y="6"/>
                    <a:pt x="293" y="5"/>
                    <a:pt x="293" y="4"/>
                  </a:cubicBezTo>
                  <a:cubicBezTo>
                    <a:pt x="293" y="3"/>
                    <a:pt x="293" y="2"/>
                    <a:pt x="293" y="2"/>
                  </a:cubicBezTo>
                  <a:cubicBezTo>
                    <a:pt x="291" y="2"/>
                    <a:pt x="291" y="2"/>
                    <a:pt x="291" y="2"/>
                  </a:cubicBezTo>
                  <a:cubicBezTo>
                    <a:pt x="291" y="2"/>
                    <a:pt x="291" y="2"/>
                    <a:pt x="291" y="2"/>
                  </a:cubicBezTo>
                  <a:cubicBezTo>
                    <a:pt x="291" y="2"/>
                    <a:pt x="291" y="2"/>
                    <a:pt x="290" y="2"/>
                  </a:cubicBezTo>
                  <a:cubicBezTo>
                    <a:pt x="290" y="2"/>
                    <a:pt x="290" y="2"/>
                    <a:pt x="290" y="2"/>
                  </a:cubicBezTo>
                  <a:cubicBezTo>
                    <a:pt x="187" y="2"/>
                    <a:pt x="187" y="2"/>
                    <a:pt x="187" y="2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0" y="2"/>
                    <a:pt x="90" y="3"/>
                  </a:cubicBezTo>
                  <a:cubicBezTo>
                    <a:pt x="90" y="3"/>
                    <a:pt x="91" y="5"/>
                    <a:pt x="91" y="5"/>
                  </a:cubicBezTo>
                  <a:cubicBezTo>
                    <a:pt x="91" y="6"/>
                    <a:pt x="90" y="6"/>
                    <a:pt x="90" y="7"/>
                  </a:cubicBezTo>
                  <a:cubicBezTo>
                    <a:pt x="89" y="8"/>
                    <a:pt x="90" y="8"/>
                    <a:pt x="90" y="9"/>
                  </a:cubicBezTo>
                  <a:cubicBezTo>
                    <a:pt x="90" y="9"/>
                    <a:pt x="91" y="11"/>
                    <a:pt x="90" y="11"/>
                  </a:cubicBezTo>
                  <a:cubicBezTo>
                    <a:pt x="90" y="10"/>
                    <a:pt x="88" y="10"/>
                    <a:pt x="87" y="10"/>
                  </a:cubicBezTo>
                  <a:cubicBezTo>
                    <a:pt x="87" y="9"/>
                    <a:pt x="86" y="10"/>
                    <a:pt x="86" y="11"/>
                  </a:cubicBezTo>
                  <a:cubicBezTo>
                    <a:pt x="85" y="11"/>
                    <a:pt x="84" y="12"/>
                    <a:pt x="83" y="13"/>
                  </a:cubicBezTo>
                  <a:cubicBezTo>
                    <a:pt x="82" y="14"/>
                    <a:pt x="80" y="19"/>
                    <a:pt x="80" y="19"/>
                  </a:cubicBezTo>
                  <a:cubicBezTo>
                    <a:pt x="79" y="20"/>
                    <a:pt x="78" y="20"/>
                    <a:pt x="78" y="21"/>
                  </a:cubicBezTo>
                  <a:cubicBezTo>
                    <a:pt x="77" y="21"/>
                    <a:pt x="76" y="20"/>
                    <a:pt x="75" y="19"/>
                  </a:cubicBezTo>
                  <a:cubicBezTo>
                    <a:pt x="74" y="19"/>
                    <a:pt x="74" y="18"/>
                    <a:pt x="73" y="18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71" y="20"/>
                    <a:pt x="70" y="19"/>
                    <a:pt x="68" y="20"/>
                  </a:cubicBezTo>
                  <a:cubicBezTo>
                    <a:pt x="67" y="20"/>
                    <a:pt x="67" y="21"/>
                    <a:pt x="66" y="22"/>
                  </a:cubicBezTo>
                  <a:cubicBezTo>
                    <a:pt x="65" y="23"/>
                    <a:pt x="65" y="24"/>
                    <a:pt x="65" y="25"/>
                  </a:cubicBezTo>
                  <a:cubicBezTo>
                    <a:pt x="64" y="26"/>
                    <a:pt x="63" y="26"/>
                    <a:pt x="62" y="27"/>
                  </a:cubicBezTo>
                  <a:cubicBezTo>
                    <a:pt x="61" y="27"/>
                    <a:pt x="59" y="26"/>
                    <a:pt x="59" y="26"/>
                  </a:cubicBezTo>
                  <a:cubicBezTo>
                    <a:pt x="59" y="25"/>
                    <a:pt x="60" y="24"/>
                    <a:pt x="60" y="24"/>
                  </a:cubicBezTo>
                  <a:cubicBezTo>
                    <a:pt x="60" y="24"/>
                    <a:pt x="59" y="22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6" y="23"/>
                    <a:pt x="54" y="25"/>
                    <a:pt x="54" y="25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8"/>
                    <a:pt x="51" y="27"/>
                  </a:cubicBezTo>
                  <a:cubicBezTo>
                    <a:pt x="51" y="27"/>
                    <a:pt x="50" y="28"/>
                    <a:pt x="49" y="28"/>
                  </a:cubicBezTo>
                  <a:cubicBezTo>
                    <a:pt x="49" y="29"/>
                    <a:pt x="49" y="30"/>
                    <a:pt x="49" y="30"/>
                  </a:cubicBezTo>
                  <a:cubicBezTo>
                    <a:pt x="49" y="31"/>
                    <a:pt x="48" y="32"/>
                    <a:pt x="48" y="33"/>
                  </a:cubicBezTo>
                  <a:cubicBezTo>
                    <a:pt x="47" y="33"/>
                    <a:pt x="47" y="34"/>
                    <a:pt x="46" y="34"/>
                  </a:cubicBezTo>
                  <a:cubicBezTo>
                    <a:pt x="46" y="34"/>
                    <a:pt x="45" y="34"/>
                    <a:pt x="44" y="34"/>
                  </a:cubicBezTo>
                  <a:cubicBezTo>
                    <a:pt x="44" y="34"/>
                    <a:pt x="42" y="34"/>
                    <a:pt x="42" y="34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0" y="36"/>
                    <a:pt x="39" y="36"/>
                    <a:pt x="39" y="37"/>
                  </a:cubicBezTo>
                  <a:cubicBezTo>
                    <a:pt x="39" y="37"/>
                    <a:pt x="38" y="37"/>
                    <a:pt x="37" y="37"/>
                  </a:cubicBezTo>
                  <a:cubicBezTo>
                    <a:pt x="37" y="37"/>
                    <a:pt x="37" y="38"/>
                    <a:pt x="37" y="38"/>
                  </a:cubicBezTo>
                  <a:cubicBezTo>
                    <a:pt x="37" y="39"/>
                    <a:pt x="36" y="39"/>
                    <a:pt x="36" y="39"/>
                  </a:cubicBezTo>
                  <a:cubicBezTo>
                    <a:pt x="36" y="39"/>
                    <a:pt x="34" y="39"/>
                    <a:pt x="34" y="40"/>
                  </a:cubicBezTo>
                  <a:cubicBezTo>
                    <a:pt x="34" y="40"/>
                    <a:pt x="33" y="40"/>
                    <a:pt x="32" y="41"/>
                  </a:cubicBezTo>
                  <a:cubicBezTo>
                    <a:pt x="32" y="41"/>
                    <a:pt x="29" y="44"/>
                    <a:pt x="29" y="44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0" y="44"/>
                    <a:pt x="18" y="44"/>
                    <a:pt x="18" y="44"/>
                  </a:cubicBezTo>
                  <a:cubicBezTo>
                    <a:pt x="18" y="44"/>
                    <a:pt x="14" y="47"/>
                    <a:pt x="14" y="47"/>
                  </a:cubicBezTo>
                  <a:cubicBezTo>
                    <a:pt x="14" y="47"/>
                    <a:pt x="11" y="50"/>
                    <a:pt x="11" y="50"/>
                  </a:cubicBezTo>
                  <a:cubicBezTo>
                    <a:pt x="11" y="50"/>
                    <a:pt x="11" y="51"/>
                    <a:pt x="11" y="52"/>
                  </a:cubicBezTo>
                  <a:cubicBezTo>
                    <a:pt x="11" y="52"/>
                    <a:pt x="10" y="53"/>
                    <a:pt x="10" y="53"/>
                  </a:cubicBezTo>
                  <a:cubicBezTo>
                    <a:pt x="10" y="53"/>
                    <a:pt x="10" y="54"/>
                    <a:pt x="10" y="54"/>
                  </a:cubicBezTo>
                  <a:cubicBezTo>
                    <a:pt x="11" y="55"/>
                    <a:pt x="10" y="56"/>
                    <a:pt x="10" y="56"/>
                  </a:cubicBezTo>
                  <a:cubicBezTo>
                    <a:pt x="9" y="56"/>
                    <a:pt x="8" y="57"/>
                    <a:pt x="7" y="57"/>
                  </a:cubicBezTo>
                  <a:cubicBezTo>
                    <a:pt x="7" y="57"/>
                    <a:pt x="5" y="58"/>
                    <a:pt x="5" y="58"/>
                  </a:cubicBezTo>
                  <a:cubicBezTo>
                    <a:pt x="5" y="58"/>
                    <a:pt x="4" y="56"/>
                    <a:pt x="4" y="56"/>
                  </a:cubicBezTo>
                  <a:cubicBezTo>
                    <a:pt x="3" y="56"/>
                    <a:pt x="2" y="57"/>
                    <a:pt x="1" y="58"/>
                  </a:cubicBezTo>
                  <a:cubicBezTo>
                    <a:pt x="1" y="58"/>
                    <a:pt x="1" y="60"/>
                    <a:pt x="1" y="61"/>
                  </a:cubicBezTo>
                  <a:cubicBezTo>
                    <a:pt x="1" y="61"/>
                    <a:pt x="0" y="68"/>
                    <a:pt x="0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68"/>
                    <a:pt x="51" y="65"/>
                    <a:pt x="51" y="65"/>
                  </a:cubicBezTo>
                  <a:cubicBezTo>
                    <a:pt x="51" y="65"/>
                    <a:pt x="52" y="64"/>
                    <a:pt x="52" y="64"/>
                  </a:cubicBezTo>
                  <a:cubicBezTo>
                    <a:pt x="53" y="64"/>
                    <a:pt x="55" y="64"/>
                    <a:pt x="55" y="64"/>
                  </a:cubicBezTo>
                  <a:cubicBezTo>
                    <a:pt x="55" y="64"/>
                    <a:pt x="55" y="63"/>
                    <a:pt x="56" y="63"/>
                  </a:cubicBezTo>
                  <a:cubicBezTo>
                    <a:pt x="57" y="63"/>
                    <a:pt x="57" y="62"/>
                    <a:pt x="58" y="62"/>
                  </a:cubicBezTo>
                  <a:cubicBezTo>
                    <a:pt x="59" y="62"/>
                    <a:pt x="62" y="61"/>
                    <a:pt x="62" y="61"/>
                  </a:cubicBezTo>
                  <a:cubicBezTo>
                    <a:pt x="63" y="61"/>
                    <a:pt x="64" y="61"/>
                    <a:pt x="64" y="61"/>
                  </a:cubicBezTo>
                  <a:cubicBezTo>
                    <a:pt x="65" y="60"/>
                    <a:pt x="66" y="59"/>
                    <a:pt x="66" y="59"/>
                  </a:cubicBezTo>
                  <a:cubicBezTo>
                    <a:pt x="67" y="59"/>
                    <a:pt x="68" y="59"/>
                    <a:pt x="68" y="59"/>
                  </a:cubicBezTo>
                  <a:cubicBezTo>
                    <a:pt x="68" y="60"/>
                    <a:pt x="69" y="60"/>
                    <a:pt x="70" y="59"/>
                  </a:cubicBezTo>
                  <a:cubicBezTo>
                    <a:pt x="71" y="59"/>
                    <a:pt x="74" y="59"/>
                    <a:pt x="75" y="59"/>
                  </a:cubicBezTo>
                  <a:cubicBezTo>
                    <a:pt x="75" y="59"/>
                    <a:pt x="80" y="59"/>
                    <a:pt x="80" y="59"/>
                  </a:cubicBezTo>
                  <a:cubicBezTo>
                    <a:pt x="80" y="59"/>
                    <a:pt x="99" y="60"/>
                    <a:pt x="99" y="60"/>
                  </a:cubicBezTo>
                  <a:cubicBezTo>
                    <a:pt x="99" y="60"/>
                    <a:pt x="108" y="61"/>
                    <a:pt x="108" y="61"/>
                  </a:cubicBezTo>
                  <a:cubicBezTo>
                    <a:pt x="108" y="61"/>
                    <a:pt x="114" y="61"/>
                    <a:pt x="114" y="61"/>
                  </a:cubicBezTo>
                  <a:cubicBezTo>
                    <a:pt x="114" y="61"/>
                    <a:pt x="114" y="63"/>
                    <a:pt x="114" y="63"/>
                  </a:cubicBezTo>
                  <a:cubicBezTo>
                    <a:pt x="114" y="63"/>
                    <a:pt x="113" y="64"/>
                    <a:pt x="113" y="64"/>
                  </a:cubicBezTo>
                  <a:cubicBezTo>
                    <a:pt x="113" y="64"/>
                    <a:pt x="114" y="65"/>
                    <a:pt x="114" y="65"/>
                  </a:cubicBezTo>
                  <a:cubicBezTo>
                    <a:pt x="114" y="65"/>
                    <a:pt x="115" y="64"/>
                    <a:pt x="115" y="64"/>
                  </a:cubicBezTo>
                  <a:cubicBezTo>
                    <a:pt x="116" y="64"/>
                    <a:pt x="117" y="64"/>
                    <a:pt x="117" y="64"/>
                  </a:cubicBezTo>
                  <a:cubicBezTo>
                    <a:pt x="117" y="64"/>
                    <a:pt x="118" y="64"/>
                    <a:pt x="118" y="64"/>
                  </a:cubicBezTo>
                  <a:cubicBezTo>
                    <a:pt x="118" y="64"/>
                    <a:pt x="122" y="70"/>
                    <a:pt x="122" y="70"/>
                  </a:cubicBezTo>
                  <a:cubicBezTo>
                    <a:pt x="122" y="70"/>
                    <a:pt x="122" y="75"/>
                    <a:pt x="122" y="75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0" y="116"/>
                    <a:pt x="201" y="116"/>
                    <a:pt x="201" y="115"/>
                  </a:cubicBezTo>
                  <a:cubicBezTo>
                    <a:pt x="201" y="115"/>
                    <a:pt x="201" y="115"/>
                    <a:pt x="202" y="115"/>
                  </a:cubicBezTo>
                  <a:cubicBezTo>
                    <a:pt x="202" y="115"/>
                    <a:pt x="202" y="115"/>
                    <a:pt x="203" y="114"/>
                  </a:cubicBezTo>
                  <a:cubicBezTo>
                    <a:pt x="203" y="114"/>
                    <a:pt x="203" y="114"/>
                    <a:pt x="203" y="114"/>
                  </a:cubicBezTo>
                  <a:cubicBezTo>
                    <a:pt x="204" y="114"/>
                    <a:pt x="205" y="114"/>
                    <a:pt x="205" y="114"/>
                  </a:cubicBezTo>
                  <a:cubicBezTo>
                    <a:pt x="206" y="114"/>
                    <a:pt x="206" y="113"/>
                    <a:pt x="206" y="113"/>
                  </a:cubicBezTo>
                  <a:cubicBezTo>
                    <a:pt x="207" y="113"/>
                    <a:pt x="208" y="113"/>
                    <a:pt x="209" y="113"/>
                  </a:cubicBezTo>
                  <a:cubicBezTo>
                    <a:pt x="210" y="113"/>
                    <a:pt x="211" y="113"/>
                    <a:pt x="213" y="113"/>
                  </a:cubicBezTo>
                  <a:cubicBezTo>
                    <a:pt x="213" y="113"/>
                    <a:pt x="214" y="113"/>
                    <a:pt x="215" y="113"/>
                  </a:cubicBezTo>
                  <a:cubicBezTo>
                    <a:pt x="215" y="114"/>
                    <a:pt x="215" y="114"/>
                    <a:pt x="216" y="114"/>
                  </a:cubicBezTo>
                  <a:cubicBezTo>
                    <a:pt x="216" y="114"/>
                    <a:pt x="217" y="114"/>
                    <a:pt x="217" y="114"/>
                  </a:cubicBezTo>
                  <a:cubicBezTo>
                    <a:pt x="218" y="114"/>
                    <a:pt x="218" y="114"/>
                    <a:pt x="218" y="114"/>
                  </a:cubicBezTo>
                  <a:cubicBezTo>
                    <a:pt x="219" y="113"/>
                    <a:pt x="219" y="113"/>
                    <a:pt x="219" y="113"/>
                  </a:cubicBezTo>
                  <a:cubicBezTo>
                    <a:pt x="219" y="112"/>
                    <a:pt x="220" y="112"/>
                    <a:pt x="220" y="111"/>
                  </a:cubicBezTo>
                  <a:cubicBezTo>
                    <a:pt x="220" y="111"/>
                    <a:pt x="220" y="110"/>
                    <a:pt x="220" y="109"/>
                  </a:cubicBezTo>
                  <a:cubicBezTo>
                    <a:pt x="220" y="108"/>
                    <a:pt x="220" y="108"/>
                    <a:pt x="220" y="107"/>
                  </a:cubicBezTo>
                  <a:cubicBezTo>
                    <a:pt x="220" y="106"/>
                    <a:pt x="221" y="106"/>
                    <a:pt x="221" y="106"/>
                  </a:cubicBezTo>
                  <a:cubicBezTo>
                    <a:pt x="221" y="105"/>
                    <a:pt x="221" y="105"/>
                    <a:pt x="221" y="105"/>
                  </a:cubicBezTo>
                  <a:cubicBezTo>
                    <a:pt x="221" y="105"/>
                    <a:pt x="222" y="106"/>
                    <a:pt x="222" y="106"/>
                  </a:cubicBezTo>
                  <a:cubicBezTo>
                    <a:pt x="222" y="107"/>
                    <a:pt x="221" y="107"/>
                    <a:pt x="222" y="108"/>
                  </a:cubicBezTo>
                  <a:cubicBezTo>
                    <a:pt x="222" y="108"/>
                    <a:pt x="222" y="108"/>
                    <a:pt x="222" y="109"/>
                  </a:cubicBezTo>
                  <a:cubicBezTo>
                    <a:pt x="222" y="109"/>
                    <a:pt x="222" y="108"/>
                    <a:pt x="223" y="108"/>
                  </a:cubicBezTo>
                  <a:cubicBezTo>
                    <a:pt x="223" y="108"/>
                    <a:pt x="223" y="107"/>
                    <a:pt x="223" y="107"/>
                  </a:cubicBezTo>
                  <a:cubicBezTo>
                    <a:pt x="223" y="107"/>
                    <a:pt x="223" y="106"/>
                    <a:pt x="223" y="106"/>
                  </a:cubicBezTo>
                  <a:cubicBezTo>
                    <a:pt x="223" y="106"/>
                    <a:pt x="224" y="105"/>
                    <a:pt x="224" y="105"/>
                  </a:cubicBezTo>
                  <a:cubicBezTo>
                    <a:pt x="224" y="105"/>
                    <a:pt x="224" y="104"/>
                    <a:pt x="225" y="104"/>
                  </a:cubicBezTo>
                  <a:cubicBezTo>
                    <a:pt x="225" y="104"/>
                    <a:pt x="225" y="103"/>
                    <a:pt x="225" y="103"/>
                  </a:cubicBezTo>
                  <a:cubicBezTo>
                    <a:pt x="225" y="102"/>
                    <a:pt x="225" y="102"/>
                    <a:pt x="225" y="101"/>
                  </a:cubicBezTo>
                  <a:cubicBezTo>
                    <a:pt x="225" y="100"/>
                    <a:pt x="226" y="100"/>
                    <a:pt x="227" y="100"/>
                  </a:cubicBezTo>
                  <a:cubicBezTo>
                    <a:pt x="228" y="99"/>
                    <a:pt x="228" y="98"/>
                    <a:pt x="229" y="98"/>
                  </a:cubicBezTo>
                  <a:cubicBezTo>
                    <a:pt x="230" y="97"/>
                    <a:pt x="230" y="97"/>
                    <a:pt x="230" y="97"/>
                  </a:cubicBezTo>
                  <a:cubicBezTo>
                    <a:pt x="230" y="96"/>
                    <a:pt x="231" y="96"/>
                    <a:pt x="231" y="95"/>
                  </a:cubicBezTo>
                  <a:cubicBezTo>
                    <a:pt x="231" y="95"/>
                    <a:pt x="232" y="94"/>
                    <a:pt x="233" y="93"/>
                  </a:cubicBezTo>
                  <a:cubicBezTo>
                    <a:pt x="233" y="93"/>
                    <a:pt x="234" y="92"/>
                    <a:pt x="234" y="91"/>
                  </a:cubicBezTo>
                  <a:cubicBezTo>
                    <a:pt x="235" y="91"/>
                    <a:pt x="235" y="91"/>
                    <a:pt x="235" y="91"/>
                  </a:cubicBezTo>
                  <a:cubicBezTo>
                    <a:pt x="235" y="91"/>
                    <a:pt x="235" y="91"/>
                    <a:pt x="236" y="91"/>
                  </a:cubicBezTo>
                  <a:cubicBezTo>
                    <a:pt x="236" y="91"/>
                    <a:pt x="236" y="91"/>
                    <a:pt x="237" y="90"/>
                  </a:cubicBezTo>
                  <a:cubicBezTo>
                    <a:pt x="237" y="90"/>
                    <a:pt x="238" y="89"/>
                    <a:pt x="239" y="89"/>
                  </a:cubicBezTo>
                  <a:cubicBezTo>
                    <a:pt x="239" y="89"/>
                    <a:pt x="239" y="89"/>
                    <a:pt x="240" y="89"/>
                  </a:cubicBezTo>
                  <a:cubicBezTo>
                    <a:pt x="240" y="89"/>
                    <a:pt x="240" y="88"/>
                    <a:pt x="240" y="88"/>
                  </a:cubicBezTo>
                  <a:cubicBezTo>
                    <a:pt x="240" y="88"/>
                    <a:pt x="242" y="87"/>
                    <a:pt x="242" y="87"/>
                  </a:cubicBezTo>
                  <a:cubicBezTo>
                    <a:pt x="242" y="87"/>
                    <a:pt x="241" y="86"/>
                    <a:pt x="241" y="86"/>
                  </a:cubicBezTo>
                  <a:cubicBezTo>
                    <a:pt x="241" y="86"/>
                    <a:pt x="240" y="86"/>
                    <a:pt x="240" y="86"/>
                  </a:cubicBezTo>
                  <a:cubicBezTo>
                    <a:pt x="239" y="86"/>
                    <a:pt x="239" y="85"/>
                    <a:pt x="239" y="85"/>
                  </a:cubicBezTo>
                  <a:cubicBezTo>
                    <a:pt x="239" y="85"/>
                    <a:pt x="238" y="84"/>
                    <a:pt x="238" y="84"/>
                  </a:cubicBezTo>
                  <a:cubicBezTo>
                    <a:pt x="238" y="84"/>
                    <a:pt x="239" y="84"/>
                    <a:pt x="239" y="84"/>
                  </a:cubicBezTo>
                  <a:cubicBezTo>
                    <a:pt x="239" y="84"/>
                    <a:pt x="240" y="83"/>
                    <a:pt x="240" y="83"/>
                  </a:cubicBezTo>
                  <a:cubicBezTo>
                    <a:pt x="241" y="82"/>
                    <a:pt x="240" y="82"/>
                    <a:pt x="239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39" y="80"/>
                    <a:pt x="240" y="80"/>
                    <a:pt x="240" y="80"/>
                  </a:cubicBezTo>
                  <a:cubicBezTo>
                    <a:pt x="240" y="80"/>
                    <a:pt x="241" y="81"/>
                    <a:pt x="241" y="81"/>
                  </a:cubicBezTo>
                  <a:cubicBezTo>
                    <a:pt x="241" y="82"/>
                    <a:pt x="241" y="82"/>
                    <a:pt x="241" y="83"/>
                  </a:cubicBezTo>
                  <a:cubicBezTo>
                    <a:pt x="242" y="83"/>
                    <a:pt x="242" y="83"/>
                    <a:pt x="242" y="83"/>
                  </a:cubicBezTo>
                  <a:cubicBezTo>
                    <a:pt x="242" y="84"/>
                    <a:pt x="242" y="84"/>
                    <a:pt x="242" y="84"/>
                  </a:cubicBezTo>
                  <a:cubicBezTo>
                    <a:pt x="242" y="85"/>
                    <a:pt x="242" y="85"/>
                    <a:pt x="242" y="86"/>
                  </a:cubicBezTo>
                  <a:cubicBezTo>
                    <a:pt x="242" y="86"/>
                    <a:pt x="242" y="87"/>
                    <a:pt x="243" y="86"/>
                  </a:cubicBezTo>
                  <a:cubicBezTo>
                    <a:pt x="243" y="86"/>
                    <a:pt x="244" y="86"/>
                    <a:pt x="244" y="86"/>
                  </a:cubicBezTo>
                  <a:cubicBezTo>
                    <a:pt x="245" y="85"/>
                    <a:pt x="246" y="84"/>
                    <a:pt x="247" y="84"/>
                  </a:cubicBezTo>
                  <a:cubicBezTo>
                    <a:pt x="247" y="83"/>
                    <a:pt x="248" y="82"/>
                    <a:pt x="249" y="82"/>
                  </a:cubicBezTo>
                  <a:cubicBezTo>
                    <a:pt x="249" y="82"/>
                    <a:pt x="250" y="82"/>
                    <a:pt x="250" y="82"/>
                  </a:cubicBezTo>
                  <a:cubicBezTo>
                    <a:pt x="250" y="81"/>
                    <a:pt x="251" y="81"/>
                    <a:pt x="252" y="81"/>
                  </a:cubicBezTo>
                  <a:cubicBezTo>
                    <a:pt x="252" y="81"/>
                    <a:pt x="252" y="81"/>
                    <a:pt x="253" y="81"/>
                  </a:cubicBezTo>
                  <a:cubicBezTo>
                    <a:pt x="253" y="81"/>
                    <a:pt x="253" y="81"/>
                    <a:pt x="254" y="81"/>
                  </a:cubicBezTo>
                  <a:cubicBezTo>
                    <a:pt x="254" y="81"/>
                    <a:pt x="255" y="81"/>
                    <a:pt x="255" y="81"/>
                  </a:cubicBezTo>
                  <a:cubicBezTo>
                    <a:pt x="256" y="81"/>
                    <a:pt x="256" y="80"/>
                    <a:pt x="256" y="80"/>
                  </a:cubicBezTo>
                  <a:cubicBezTo>
                    <a:pt x="257" y="80"/>
                    <a:pt x="258" y="80"/>
                    <a:pt x="259" y="80"/>
                  </a:cubicBezTo>
                  <a:cubicBezTo>
                    <a:pt x="259" y="80"/>
                    <a:pt x="260" y="80"/>
                    <a:pt x="260" y="79"/>
                  </a:cubicBezTo>
                  <a:cubicBezTo>
                    <a:pt x="260" y="79"/>
                    <a:pt x="260" y="79"/>
                    <a:pt x="261" y="79"/>
                  </a:cubicBezTo>
                  <a:cubicBezTo>
                    <a:pt x="261" y="79"/>
                    <a:pt x="261" y="78"/>
                    <a:pt x="262" y="78"/>
                  </a:cubicBezTo>
                  <a:cubicBezTo>
                    <a:pt x="262" y="78"/>
                    <a:pt x="263" y="78"/>
                    <a:pt x="264" y="77"/>
                  </a:cubicBezTo>
                  <a:cubicBezTo>
                    <a:pt x="264" y="77"/>
                    <a:pt x="265" y="77"/>
                    <a:pt x="265" y="78"/>
                  </a:cubicBezTo>
                  <a:cubicBezTo>
                    <a:pt x="265" y="78"/>
                    <a:pt x="265" y="78"/>
                    <a:pt x="265" y="79"/>
                  </a:cubicBezTo>
                  <a:cubicBezTo>
                    <a:pt x="265" y="79"/>
                    <a:pt x="265" y="79"/>
                    <a:pt x="266" y="80"/>
                  </a:cubicBezTo>
                  <a:cubicBezTo>
                    <a:pt x="266" y="80"/>
                    <a:pt x="266" y="80"/>
                    <a:pt x="266" y="79"/>
                  </a:cubicBezTo>
                  <a:cubicBezTo>
                    <a:pt x="267" y="79"/>
                    <a:pt x="266" y="77"/>
                    <a:pt x="268" y="78"/>
                  </a:cubicBezTo>
                  <a:cubicBezTo>
                    <a:pt x="268" y="78"/>
                    <a:pt x="268" y="79"/>
                    <a:pt x="268" y="79"/>
                  </a:cubicBezTo>
                  <a:cubicBezTo>
                    <a:pt x="268" y="79"/>
                    <a:pt x="269" y="79"/>
                    <a:pt x="269" y="79"/>
                  </a:cubicBezTo>
                  <a:cubicBezTo>
                    <a:pt x="270" y="79"/>
                    <a:pt x="270" y="79"/>
                    <a:pt x="271" y="79"/>
                  </a:cubicBezTo>
                  <a:cubicBezTo>
                    <a:pt x="271" y="78"/>
                    <a:pt x="271" y="78"/>
                    <a:pt x="271" y="78"/>
                  </a:cubicBezTo>
                  <a:cubicBezTo>
                    <a:pt x="272" y="77"/>
                    <a:pt x="272" y="76"/>
                    <a:pt x="272" y="75"/>
                  </a:cubicBezTo>
                  <a:cubicBezTo>
                    <a:pt x="273" y="75"/>
                    <a:pt x="273" y="74"/>
                    <a:pt x="273" y="73"/>
                  </a:cubicBezTo>
                  <a:cubicBezTo>
                    <a:pt x="274" y="73"/>
                    <a:pt x="274" y="72"/>
                    <a:pt x="274" y="73"/>
                  </a:cubicBezTo>
                  <a:cubicBezTo>
                    <a:pt x="275" y="73"/>
                    <a:pt x="275" y="73"/>
                    <a:pt x="275" y="73"/>
                  </a:cubicBezTo>
                  <a:cubicBezTo>
                    <a:pt x="275" y="73"/>
                    <a:pt x="275" y="73"/>
                    <a:pt x="276" y="73"/>
                  </a:cubicBezTo>
                  <a:cubicBezTo>
                    <a:pt x="276" y="73"/>
                    <a:pt x="276" y="73"/>
                    <a:pt x="277" y="72"/>
                  </a:cubicBezTo>
                  <a:cubicBezTo>
                    <a:pt x="277" y="72"/>
                    <a:pt x="278" y="71"/>
                    <a:pt x="278" y="71"/>
                  </a:cubicBezTo>
                  <a:cubicBezTo>
                    <a:pt x="278" y="70"/>
                    <a:pt x="279" y="70"/>
                    <a:pt x="278" y="69"/>
                  </a:cubicBezTo>
                  <a:cubicBezTo>
                    <a:pt x="277" y="69"/>
                    <a:pt x="277" y="69"/>
                    <a:pt x="276" y="69"/>
                  </a:cubicBezTo>
                  <a:cubicBezTo>
                    <a:pt x="276" y="69"/>
                    <a:pt x="275" y="69"/>
                    <a:pt x="274" y="69"/>
                  </a:cubicBezTo>
                  <a:cubicBezTo>
                    <a:pt x="273" y="69"/>
                    <a:pt x="273" y="69"/>
                    <a:pt x="273" y="68"/>
                  </a:cubicBezTo>
                  <a:cubicBezTo>
                    <a:pt x="273" y="68"/>
                    <a:pt x="273" y="67"/>
                    <a:pt x="273" y="66"/>
                  </a:cubicBezTo>
                  <a:cubicBezTo>
                    <a:pt x="273" y="66"/>
                    <a:pt x="273" y="66"/>
                    <a:pt x="272" y="66"/>
                  </a:cubicBezTo>
                  <a:cubicBezTo>
                    <a:pt x="272" y="66"/>
                    <a:pt x="272" y="66"/>
                    <a:pt x="272" y="67"/>
                  </a:cubicBezTo>
                  <a:cubicBezTo>
                    <a:pt x="272" y="67"/>
                    <a:pt x="272" y="67"/>
                    <a:pt x="271" y="67"/>
                  </a:cubicBezTo>
                  <a:cubicBezTo>
                    <a:pt x="271" y="67"/>
                    <a:pt x="271" y="68"/>
                    <a:pt x="270" y="68"/>
                  </a:cubicBezTo>
                  <a:cubicBezTo>
                    <a:pt x="269" y="68"/>
                    <a:pt x="269" y="68"/>
                    <a:pt x="269" y="68"/>
                  </a:cubicBezTo>
                  <a:cubicBezTo>
                    <a:pt x="268" y="68"/>
                    <a:pt x="268" y="68"/>
                    <a:pt x="267" y="69"/>
                  </a:cubicBezTo>
                  <a:cubicBezTo>
                    <a:pt x="267" y="69"/>
                    <a:pt x="266" y="69"/>
                    <a:pt x="266" y="69"/>
                  </a:cubicBezTo>
                  <a:cubicBezTo>
                    <a:pt x="266" y="69"/>
                    <a:pt x="265" y="70"/>
                    <a:pt x="265" y="70"/>
                  </a:cubicBezTo>
                  <a:cubicBezTo>
                    <a:pt x="264" y="70"/>
                    <a:pt x="264" y="70"/>
                    <a:pt x="264" y="70"/>
                  </a:cubicBezTo>
                  <a:cubicBezTo>
                    <a:pt x="264" y="70"/>
                    <a:pt x="264" y="70"/>
                    <a:pt x="263" y="70"/>
                  </a:cubicBezTo>
                  <a:cubicBezTo>
                    <a:pt x="263" y="71"/>
                    <a:pt x="263" y="71"/>
                    <a:pt x="262" y="71"/>
                  </a:cubicBezTo>
                  <a:cubicBezTo>
                    <a:pt x="262" y="71"/>
                    <a:pt x="261" y="71"/>
                    <a:pt x="261" y="71"/>
                  </a:cubicBezTo>
                  <a:cubicBezTo>
                    <a:pt x="261" y="71"/>
                    <a:pt x="260" y="71"/>
                    <a:pt x="260" y="71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58" y="70"/>
                    <a:pt x="258" y="70"/>
                    <a:pt x="258" y="70"/>
                  </a:cubicBezTo>
                  <a:cubicBezTo>
                    <a:pt x="258" y="69"/>
                    <a:pt x="257" y="69"/>
                    <a:pt x="257" y="69"/>
                  </a:cubicBezTo>
                  <a:cubicBezTo>
                    <a:pt x="256" y="69"/>
                    <a:pt x="255" y="69"/>
                    <a:pt x="255" y="68"/>
                  </a:cubicBezTo>
                  <a:cubicBezTo>
                    <a:pt x="255" y="68"/>
                    <a:pt x="255" y="67"/>
                    <a:pt x="254" y="67"/>
                  </a:cubicBezTo>
                  <a:cubicBezTo>
                    <a:pt x="254" y="66"/>
                    <a:pt x="254" y="66"/>
                    <a:pt x="253" y="65"/>
                  </a:cubicBezTo>
                  <a:cubicBezTo>
                    <a:pt x="253" y="65"/>
                    <a:pt x="253" y="64"/>
                    <a:pt x="252" y="64"/>
                  </a:cubicBezTo>
                  <a:cubicBezTo>
                    <a:pt x="252" y="64"/>
                    <a:pt x="252" y="64"/>
                    <a:pt x="252" y="64"/>
                  </a:cubicBezTo>
                  <a:cubicBezTo>
                    <a:pt x="253" y="63"/>
                    <a:pt x="253" y="64"/>
                    <a:pt x="254" y="64"/>
                  </a:cubicBezTo>
                  <a:cubicBezTo>
                    <a:pt x="254" y="64"/>
                    <a:pt x="254" y="64"/>
                    <a:pt x="254" y="64"/>
                  </a:cubicBezTo>
                  <a:cubicBezTo>
                    <a:pt x="254" y="65"/>
                    <a:pt x="255" y="65"/>
                    <a:pt x="255" y="65"/>
                  </a:cubicBezTo>
                  <a:cubicBezTo>
                    <a:pt x="255" y="65"/>
                    <a:pt x="255" y="65"/>
                    <a:pt x="256" y="66"/>
                  </a:cubicBezTo>
                  <a:cubicBezTo>
                    <a:pt x="256" y="66"/>
                    <a:pt x="257" y="67"/>
                    <a:pt x="258" y="67"/>
                  </a:cubicBezTo>
                  <a:cubicBezTo>
                    <a:pt x="258" y="67"/>
                    <a:pt x="258" y="68"/>
                    <a:pt x="258" y="68"/>
                  </a:cubicBezTo>
                  <a:cubicBezTo>
                    <a:pt x="259" y="68"/>
                    <a:pt x="259" y="68"/>
                    <a:pt x="259" y="68"/>
                  </a:cubicBezTo>
                  <a:cubicBezTo>
                    <a:pt x="260" y="69"/>
                    <a:pt x="260" y="69"/>
                    <a:pt x="260" y="69"/>
                  </a:cubicBezTo>
                  <a:cubicBezTo>
                    <a:pt x="261" y="69"/>
                    <a:pt x="261" y="69"/>
                    <a:pt x="262" y="68"/>
                  </a:cubicBezTo>
                  <a:cubicBezTo>
                    <a:pt x="262" y="68"/>
                    <a:pt x="263" y="68"/>
                    <a:pt x="263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5" y="67"/>
                    <a:pt x="265" y="67"/>
                  </a:cubicBezTo>
                  <a:cubicBezTo>
                    <a:pt x="265" y="66"/>
                    <a:pt x="265" y="66"/>
                    <a:pt x="265" y="66"/>
                  </a:cubicBezTo>
                  <a:cubicBezTo>
                    <a:pt x="266" y="66"/>
                    <a:pt x="266" y="66"/>
                    <a:pt x="266" y="65"/>
                  </a:cubicBezTo>
                  <a:cubicBezTo>
                    <a:pt x="267" y="65"/>
                    <a:pt x="267" y="65"/>
                    <a:pt x="267" y="65"/>
                  </a:cubicBezTo>
                  <a:cubicBezTo>
                    <a:pt x="268" y="64"/>
                    <a:pt x="268" y="64"/>
                    <a:pt x="268" y="63"/>
                  </a:cubicBezTo>
                  <a:cubicBezTo>
                    <a:pt x="268" y="63"/>
                    <a:pt x="268" y="62"/>
                    <a:pt x="268" y="61"/>
                  </a:cubicBezTo>
                  <a:cubicBezTo>
                    <a:pt x="267" y="60"/>
                    <a:pt x="266" y="61"/>
                    <a:pt x="265" y="61"/>
                  </a:cubicBezTo>
                  <a:cubicBezTo>
                    <a:pt x="265" y="61"/>
                    <a:pt x="265" y="61"/>
                    <a:pt x="264" y="61"/>
                  </a:cubicBezTo>
                  <a:cubicBezTo>
                    <a:pt x="264" y="62"/>
                    <a:pt x="264" y="61"/>
                    <a:pt x="264" y="61"/>
                  </a:cubicBezTo>
                  <a:cubicBezTo>
                    <a:pt x="264" y="61"/>
                    <a:pt x="264" y="61"/>
                    <a:pt x="265" y="60"/>
                  </a:cubicBezTo>
                  <a:cubicBezTo>
                    <a:pt x="265" y="60"/>
                    <a:pt x="265" y="60"/>
                    <a:pt x="265" y="60"/>
                  </a:cubicBezTo>
                  <a:cubicBezTo>
                    <a:pt x="266" y="59"/>
                    <a:pt x="266" y="59"/>
                    <a:pt x="267" y="59"/>
                  </a:cubicBezTo>
                  <a:cubicBezTo>
                    <a:pt x="267" y="59"/>
                    <a:pt x="268" y="60"/>
                    <a:pt x="269" y="59"/>
                  </a:cubicBezTo>
                  <a:cubicBezTo>
                    <a:pt x="269" y="59"/>
                    <a:pt x="270" y="59"/>
                    <a:pt x="270" y="59"/>
                  </a:cubicBezTo>
                  <a:cubicBezTo>
                    <a:pt x="270" y="58"/>
                    <a:pt x="270" y="57"/>
                    <a:pt x="270" y="56"/>
                  </a:cubicBezTo>
                  <a:cubicBezTo>
                    <a:pt x="271" y="56"/>
                    <a:pt x="271" y="56"/>
                    <a:pt x="271" y="55"/>
                  </a:cubicBezTo>
                  <a:cubicBezTo>
                    <a:pt x="270" y="54"/>
                    <a:pt x="268" y="54"/>
                    <a:pt x="267" y="54"/>
                  </a:cubicBezTo>
                  <a:cubicBezTo>
                    <a:pt x="266" y="54"/>
                    <a:pt x="266" y="53"/>
                    <a:pt x="265" y="53"/>
                  </a:cubicBezTo>
                  <a:cubicBezTo>
                    <a:pt x="265" y="53"/>
                    <a:pt x="264" y="53"/>
                    <a:pt x="264" y="53"/>
                  </a:cubicBezTo>
                  <a:cubicBezTo>
                    <a:pt x="264" y="53"/>
                    <a:pt x="263" y="53"/>
                    <a:pt x="263" y="53"/>
                  </a:cubicBezTo>
                  <a:cubicBezTo>
                    <a:pt x="263" y="52"/>
                    <a:pt x="263" y="52"/>
                    <a:pt x="262" y="52"/>
                  </a:cubicBezTo>
                  <a:cubicBezTo>
                    <a:pt x="261" y="52"/>
                    <a:pt x="260" y="51"/>
                    <a:pt x="259" y="51"/>
                  </a:cubicBezTo>
                  <a:cubicBezTo>
                    <a:pt x="259" y="50"/>
                    <a:pt x="258" y="50"/>
                    <a:pt x="258" y="50"/>
                  </a:cubicBezTo>
                  <a:cubicBezTo>
                    <a:pt x="257" y="49"/>
                    <a:pt x="256" y="49"/>
                    <a:pt x="256" y="48"/>
                  </a:cubicBezTo>
                  <a:cubicBezTo>
                    <a:pt x="255" y="48"/>
                    <a:pt x="254" y="48"/>
                    <a:pt x="254" y="47"/>
                  </a:cubicBezTo>
                  <a:cubicBezTo>
                    <a:pt x="255" y="47"/>
                    <a:pt x="256" y="48"/>
                    <a:pt x="257" y="48"/>
                  </a:cubicBezTo>
                  <a:cubicBezTo>
                    <a:pt x="258" y="49"/>
                    <a:pt x="260" y="49"/>
                    <a:pt x="261" y="49"/>
                  </a:cubicBezTo>
                  <a:cubicBezTo>
                    <a:pt x="262" y="50"/>
                    <a:pt x="264" y="50"/>
                    <a:pt x="265" y="50"/>
                  </a:cubicBezTo>
                  <a:cubicBezTo>
                    <a:pt x="265" y="51"/>
                    <a:pt x="266" y="51"/>
                    <a:pt x="266" y="51"/>
                  </a:cubicBezTo>
                  <a:cubicBezTo>
                    <a:pt x="266" y="51"/>
                    <a:pt x="267" y="51"/>
                    <a:pt x="267" y="51"/>
                  </a:cubicBezTo>
                  <a:cubicBezTo>
                    <a:pt x="268" y="51"/>
                    <a:pt x="267" y="50"/>
                    <a:pt x="267" y="49"/>
                  </a:cubicBezTo>
                  <a:cubicBezTo>
                    <a:pt x="266" y="49"/>
                    <a:pt x="266" y="48"/>
                    <a:pt x="266" y="47"/>
                  </a:cubicBezTo>
                  <a:cubicBezTo>
                    <a:pt x="267" y="47"/>
                    <a:pt x="267" y="46"/>
                    <a:pt x="267" y="46"/>
                  </a:cubicBezTo>
                  <a:cubicBezTo>
                    <a:pt x="268" y="45"/>
                    <a:pt x="268" y="45"/>
                    <a:pt x="269" y="45"/>
                  </a:cubicBezTo>
                  <a:cubicBezTo>
                    <a:pt x="270" y="45"/>
                    <a:pt x="271" y="45"/>
                    <a:pt x="271" y="45"/>
                  </a:cubicBezTo>
                  <a:cubicBezTo>
                    <a:pt x="271" y="46"/>
                    <a:pt x="271" y="47"/>
                    <a:pt x="271" y="47"/>
                  </a:cubicBezTo>
                  <a:cubicBezTo>
                    <a:pt x="270" y="47"/>
                    <a:pt x="270" y="47"/>
                    <a:pt x="269" y="46"/>
                  </a:cubicBezTo>
                  <a:cubicBezTo>
                    <a:pt x="269" y="46"/>
                    <a:pt x="268" y="46"/>
                    <a:pt x="268" y="47"/>
                  </a:cubicBezTo>
                  <a:cubicBezTo>
                    <a:pt x="268" y="47"/>
                    <a:pt x="269" y="48"/>
                    <a:pt x="269" y="48"/>
                  </a:cubicBezTo>
                  <a:cubicBezTo>
                    <a:pt x="269" y="49"/>
                    <a:pt x="270" y="49"/>
                    <a:pt x="270" y="50"/>
                  </a:cubicBezTo>
                  <a:cubicBezTo>
                    <a:pt x="270" y="50"/>
                    <a:pt x="270" y="51"/>
                    <a:pt x="271" y="51"/>
                  </a:cubicBezTo>
                  <a:cubicBezTo>
                    <a:pt x="271" y="52"/>
                    <a:pt x="272" y="52"/>
                    <a:pt x="272" y="52"/>
                  </a:cubicBezTo>
                  <a:cubicBezTo>
                    <a:pt x="273" y="51"/>
                    <a:pt x="273" y="50"/>
                    <a:pt x="274" y="50"/>
                  </a:cubicBezTo>
                  <a:cubicBezTo>
                    <a:pt x="275" y="50"/>
                    <a:pt x="275" y="51"/>
                    <a:pt x="276" y="51"/>
                  </a:cubicBezTo>
                  <a:cubicBezTo>
                    <a:pt x="276" y="52"/>
                    <a:pt x="277" y="52"/>
                    <a:pt x="277" y="53"/>
                  </a:cubicBezTo>
                  <a:cubicBezTo>
                    <a:pt x="278" y="53"/>
                    <a:pt x="278" y="53"/>
                    <a:pt x="279" y="53"/>
                  </a:cubicBezTo>
                  <a:cubicBezTo>
                    <a:pt x="279" y="53"/>
                    <a:pt x="280" y="53"/>
                    <a:pt x="281" y="54"/>
                  </a:cubicBezTo>
                  <a:cubicBezTo>
                    <a:pt x="281" y="54"/>
                    <a:pt x="281" y="54"/>
                    <a:pt x="282" y="54"/>
                  </a:cubicBezTo>
                  <a:cubicBezTo>
                    <a:pt x="283" y="54"/>
                    <a:pt x="283" y="54"/>
                    <a:pt x="283" y="53"/>
                  </a:cubicBezTo>
                  <a:cubicBezTo>
                    <a:pt x="284" y="53"/>
                    <a:pt x="285" y="53"/>
                    <a:pt x="285" y="52"/>
                  </a:cubicBezTo>
                  <a:cubicBezTo>
                    <a:pt x="286" y="52"/>
                    <a:pt x="286" y="51"/>
                    <a:pt x="287" y="51"/>
                  </a:cubicBezTo>
                  <a:cubicBezTo>
                    <a:pt x="287" y="50"/>
                    <a:pt x="288" y="49"/>
                    <a:pt x="288" y="49"/>
                  </a:cubicBezTo>
                  <a:cubicBezTo>
                    <a:pt x="289" y="47"/>
                    <a:pt x="289" y="46"/>
                    <a:pt x="290" y="45"/>
                  </a:cubicBezTo>
                  <a:cubicBezTo>
                    <a:pt x="291" y="44"/>
                    <a:pt x="293" y="43"/>
                    <a:pt x="294" y="43"/>
                  </a:cubicBezTo>
                  <a:cubicBezTo>
                    <a:pt x="295" y="43"/>
                    <a:pt x="295" y="43"/>
                    <a:pt x="296" y="43"/>
                  </a:cubicBezTo>
                  <a:cubicBezTo>
                    <a:pt x="296" y="43"/>
                    <a:pt x="296" y="42"/>
                    <a:pt x="296" y="42"/>
                  </a:cubicBezTo>
                  <a:cubicBezTo>
                    <a:pt x="296" y="41"/>
                    <a:pt x="297" y="40"/>
                    <a:pt x="298" y="39"/>
                  </a:cubicBezTo>
                  <a:cubicBezTo>
                    <a:pt x="298" y="39"/>
                    <a:pt x="298" y="38"/>
                    <a:pt x="298" y="38"/>
                  </a:cubicBezTo>
                  <a:cubicBezTo>
                    <a:pt x="298" y="37"/>
                    <a:pt x="298" y="37"/>
                    <a:pt x="298" y="37"/>
                  </a:cubicBezTo>
                  <a:cubicBezTo>
                    <a:pt x="297" y="36"/>
                    <a:pt x="297" y="35"/>
                    <a:pt x="297" y="34"/>
                  </a:cubicBezTo>
                  <a:cubicBezTo>
                    <a:pt x="297" y="34"/>
                    <a:pt x="297" y="33"/>
                    <a:pt x="297" y="33"/>
                  </a:cubicBezTo>
                  <a:cubicBezTo>
                    <a:pt x="297" y="32"/>
                    <a:pt x="297" y="31"/>
                    <a:pt x="296" y="30"/>
                  </a:cubicBezTo>
                  <a:cubicBezTo>
                    <a:pt x="296" y="29"/>
                    <a:pt x="295" y="29"/>
                    <a:pt x="294" y="29"/>
                  </a:cubicBezTo>
                  <a:cubicBezTo>
                    <a:pt x="293" y="29"/>
                    <a:pt x="292" y="28"/>
                    <a:pt x="291" y="29"/>
                  </a:cubicBezTo>
                  <a:cubicBezTo>
                    <a:pt x="290" y="29"/>
                    <a:pt x="289" y="30"/>
                    <a:pt x="288" y="31"/>
                  </a:cubicBezTo>
                  <a:cubicBezTo>
                    <a:pt x="288" y="31"/>
                    <a:pt x="288" y="32"/>
                    <a:pt x="288" y="32"/>
                  </a:cubicBezTo>
                  <a:cubicBezTo>
                    <a:pt x="288" y="33"/>
                    <a:pt x="288" y="34"/>
                    <a:pt x="288" y="35"/>
                  </a:cubicBezTo>
                  <a:cubicBezTo>
                    <a:pt x="288" y="36"/>
                    <a:pt x="288" y="38"/>
                    <a:pt x="288" y="39"/>
                  </a:cubicBezTo>
                  <a:cubicBezTo>
                    <a:pt x="287" y="40"/>
                    <a:pt x="286" y="40"/>
                    <a:pt x="285" y="40"/>
                  </a:cubicBezTo>
                  <a:cubicBezTo>
                    <a:pt x="284" y="39"/>
                    <a:pt x="284" y="39"/>
                    <a:pt x="284" y="39"/>
                  </a:cubicBezTo>
                  <a:cubicBezTo>
                    <a:pt x="283" y="39"/>
                    <a:pt x="283" y="38"/>
                    <a:pt x="284" y="38"/>
                  </a:cubicBezTo>
                  <a:cubicBezTo>
                    <a:pt x="284" y="38"/>
                    <a:pt x="284" y="39"/>
                    <a:pt x="285" y="39"/>
                  </a:cubicBezTo>
                  <a:cubicBezTo>
                    <a:pt x="285" y="39"/>
                    <a:pt x="285" y="39"/>
                    <a:pt x="285" y="38"/>
                  </a:cubicBezTo>
                  <a:cubicBezTo>
                    <a:pt x="285" y="37"/>
                    <a:pt x="286" y="37"/>
                    <a:pt x="286" y="36"/>
                  </a:cubicBezTo>
                  <a:cubicBezTo>
                    <a:pt x="286" y="35"/>
                    <a:pt x="286" y="34"/>
                    <a:pt x="286" y="33"/>
                  </a:cubicBezTo>
                  <a:cubicBezTo>
                    <a:pt x="286" y="32"/>
                    <a:pt x="286" y="31"/>
                    <a:pt x="286" y="30"/>
                  </a:cubicBezTo>
                  <a:cubicBezTo>
                    <a:pt x="285" y="29"/>
                    <a:pt x="286" y="29"/>
                    <a:pt x="286" y="29"/>
                  </a:cubicBezTo>
                  <a:cubicBezTo>
                    <a:pt x="286" y="28"/>
                    <a:pt x="286" y="27"/>
                    <a:pt x="286" y="27"/>
                  </a:cubicBezTo>
                  <a:cubicBezTo>
                    <a:pt x="286" y="27"/>
                    <a:pt x="286" y="26"/>
                    <a:pt x="285" y="26"/>
                  </a:cubicBezTo>
                  <a:cubicBezTo>
                    <a:pt x="281" y="26"/>
                    <a:pt x="281" y="26"/>
                    <a:pt x="281" y="26"/>
                  </a:cubicBezTo>
                  <a:cubicBezTo>
                    <a:pt x="280" y="26"/>
                    <a:pt x="280" y="27"/>
                    <a:pt x="279" y="27"/>
                  </a:cubicBezTo>
                  <a:cubicBezTo>
                    <a:pt x="279" y="27"/>
                    <a:pt x="278" y="27"/>
                    <a:pt x="277" y="28"/>
                  </a:cubicBezTo>
                  <a:cubicBezTo>
                    <a:pt x="277" y="28"/>
                    <a:pt x="277" y="28"/>
                    <a:pt x="276" y="28"/>
                  </a:cubicBezTo>
                  <a:cubicBezTo>
                    <a:pt x="276" y="28"/>
                    <a:pt x="275" y="27"/>
                    <a:pt x="275" y="27"/>
                  </a:cubicBezTo>
                  <a:cubicBezTo>
                    <a:pt x="275" y="27"/>
                    <a:pt x="275" y="26"/>
                    <a:pt x="274" y="26"/>
                  </a:cubicBezTo>
                  <a:cubicBezTo>
                    <a:pt x="274" y="26"/>
                    <a:pt x="273" y="27"/>
                    <a:pt x="273" y="27"/>
                  </a:cubicBezTo>
                  <a:cubicBezTo>
                    <a:pt x="272" y="27"/>
                    <a:pt x="272" y="27"/>
                    <a:pt x="271" y="27"/>
                  </a:cubicBezTo>
                  <a:cubicBezTo>
                    <a:pt x="271" y="27"/>
                    <a:pt x="270" y="28"/>
                    <a:pt x="270" y="28"/>
                  </a:cubicBezTo>
                  <a:cubicBezTo>
                    <a:pt x="270" y="28"/>
                    <a:pt x="270" y="28"/>
                    <a:pt x="270" y="29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3" y="28"/>
                    <a:pt x="262" y="28"/>
                    <a:pt x="263" y="28"/>
                  </a:cubicBezTo>
                  <a:cubicBezTo>
                    <a:pt x="263" y="27"/>
                    <a:pt x="264" y="27"/>
                    <a:pt x="264" y="26"/>
                  </a:cubicBezTo>
                  <a:cubicBezTo>
                    <a:pt x="265" y="26"/>
                    <a:pt x="265" y="25"/>
                    <a:pt x="265" y="25"/>
                  </a:cubicBezTo>
                  <a:cubicBezTo>
                    <a:pt x="264" y="24"/>
                    <a:pt x="264" y="25"/>
                    <a:pt x="263" y="25"/>
                  </a:cubicBezTo>
                  <a:cubicBezTo>
                    <a:pt x="263" y="25"/>
                    <a:pt x="263" y="24"/>
                    <a:pt x="263" y="23"/>
                  </a:cubicBezTo>
                  <a:cubicBezTo>
                    <a:pt x="263" y="23"/>
                    <a:pt x="263" y="23"/>
                    <a:pt x="263" y="22"/>
                  </a:cubicBezTo>
                  <a:cubicBezTo>
                    <a:pt x="263" y="22"/>
                    <a:pt x="262" y="22"/>
                    <a:pt x="262" y="22"/>
                  </a:cubicBezTo>
                  <a:cubicBezTo>
                    <a:pt x="262" y="21"/>
                    <a:pt x="262" y="21"/>
                    <a:pt x="262" y="20"/>
                  </a:cubicBezTo>
                  <a:cubicBezTo>
                    <a:pt x="262" y="20"/>
                    <a:pt x="261" y="20"/>
                    <a:pt x="261" y="19"/>
                  </a:cubicBezTo>
                  <a:cubicBezTo>
                    <a:pt x="262" y="19"/>
                    <a:pt x="262" y="19"/>
                    <a:pt x="262" y="19"/>
                  </a:cubicBezTo>
                  <a:cubicBezTo>
                    <a:pt x="262" y="18"/>
                    <a:pt x="262" y="18"/>
                    <a:pt x="263" y="17"/>
                  </a:cubicBezTo>
                  <a:cubicBezTo>
                    <a:pt x="263" y="17"/>
                    <a:pt x="263" y="16"/>
                    <a:pt x="263" y="15"/>
                  </a:cubicBezTo>
                  <a:cubicBezTo>
                    <a:pt x="263" y="15"/>
                    <a:pt x="264" y="14"/>
                    <a:pt x="264" y="14"/>
                  </a:cubicBezTo>
                  <a:cubicBezTo>
                    <a:pt x="265" y="14"/>
                    <a:pt x="265" y="15"/>
                    <a:pt x="265" y="15"/>
                  </a:cubicBezTo>
                  <a:cubicBezTo>
                    <a:pt x="264" y="15"/>
                    <a:pt x="264" y="16"/>
                    <a:pt x="264" y="16"/>
                  </a:cubicBezTo>
                  <a:cubicBezTo>
                    <a:pt x="264" y="16"/>
                    <a:pt x="264" y="17"/>
                    <a:pt x="264" y="17"/>
                  </a:cubicBezTo>
                  <a:cubicBezTo>
                    <a:pt x="263" y="18"/>
                    <a:pt x="263" y="18"/>
                    <a:pt x="263" y="19"/>
                  </a:cubicBezTo>
                  <a:cubicBezTo>
                    <a:pt x="263" y="20"/>
                    <a:pt x="264" y="20"/>
                    <a:pt x="264" y="21"/>
                  </a:cubicBezTo>
                  <a:cubicBezTo>
                    <a:pt x="264" y="22"/>
                    <a:pt x="265" y="22"/>
                    <a:pt x="265" y="23"/>
                  </a:cubicBezTo>
                  <a:cubicBezTo>
                    <a:pt x="265" y="23"/>
                    <a:pt x="265" y="24"/>
                    <a:pt x="266" y="24"/>
                  </a:cubicBezTo>
                  <a:cubicBezTo>
                    <a:pt x="266" y="24"/>
                    <a:pt x="266" y="23"/>
                    <a:pt x="266" y="23"/>
                  </a:cubicBezTo>
                  <a:cubicBezTo>
                    <a:pt x="267" y="23"/>
                    <a:pt x="267" y="24"/>
                    <a:pt x="268" y="24"/>
                  </a:cubicBezTo>
                  <a:cubicBezTo>
                    <a:pt x="268" y="25"/>
                    <a:pt x="269" y="24"/>
                    <a:pt x="269" y="24"/>
                  </a:cubicBezTo>
                  <a:cubicBezTo>
                    <a:pt x="270" y="24"/>
                    <a:pt x="270" y="24"/>
                    <a:pt x="270" y="24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2" y="24"/>
                    <a:pt x="272" y="24"/>
                    <a:pt x="272" y="23"/>
                  </a:cubicBezTo>
                  <a:cubicBezTo>
                    <a:pt x="273" y="23"/>
                    <a:pt x="274" y="23"/>
                    <a:pt x="275" y="22"/>
                  </a:cubicBezTo>
                  <a:cubicBezTo>
                    <a:pt x="275" y="22"/>
                    <a:pt x="276" y="22"/>
                    <a:pt x="276" y="22"/>
                  </a:cubicBezTo>
                  <a:cubicBezTo>
                    <a:pt x="277" y="22"/>
                    <a:pt x="276" y="21"/>
                    <a:pt x="276" y="21"/>
                  </a:cubicBezTo>
                  <a:cubicBezTo>
                    <a:pt x="275" y="20"/>
                    <a:pt x="275" y="20"/>
                    <a:pt x="274" y="19"/>
                  </a:cubicBezTo>
                  <a:cubicBezTo>
                    <a:pt x="274" y="19"/>
                    <a:pt x="273" y="19"/>
                    <a:pt x="272" y="18"/>
                  </a:cubicBezTo>
                  <a:cubicBezTo>
                    <a:pt x="273" y="17"/>
                    <a:pt x="274" y="19"/>
                    <a:pt x="275" y="19"/>
                  </a:cubicBezTo>
                  <a:cubicBezTo>
                    <a:pt x="276" y="20"/>
                    <a:pt x="277" y="20"/>
                    <a:pt x="278" y="20"/>
                  </a:cubicBezTo>
                  <a:cubicBezTo>
                    <a:pt x="278" y="21"/>
                    <a:pt x="280" y="21"/>
                    <a:pt x="280" y="21"/>
                  </a:cubicBezTo>
                  <a:cubicBezTo>
                    <a:pt x="281" y="20"/>
                    <a:pt x="281" y="20"/>
                    <a:pt x="281" y="19"/>
                  </a:cubicBezTo>
                  <a:cubicBezTo>
                    <a:pt x="280" y="19"/>
                    <a:pt x="280" y="18"/>
                    <a:pt x="279" y="18"/>
                  </a:cubicBezTo>
                  <a:cubicBezTo>
                    <a:pt x="279" y="18"/>
                    <a:pt x="278" y="17"/>
                    <a:pt x="279" y="17"/>
                  </a:cubicBezTo>
                  <a:cubicBezTo>
                    <a:pt x="279" y="17"/>
                    <a:pt x="280" y="18"/>
                    <a:pt x="280" y="19"/>
                  </a:cubicBezTo>
                  <a:cubicBezTo>
                    <a:pt x="281" y="19"/>
                    <a:pt x="282" y="20"/>
                    <a:pt x="282" y="20"/>
                  </a:cubicBezTo>
                  <a:cubicBezTo>
                    <a:pt x="283" y="20"/>
                    <a:pt x="283" y="20"/>
                    <a:pt x="284" y="19"/>
                  </a:cubicBezTo>
                  <a:cubicBezTo>
                    <a:pt x="284" y="19"/>
                    <a:pt x="285" y="19"/>
                    <a:pt x="286" y="19"/>
                  </a:cubicBezTo>
                  <a:cubicBezTo>
                    <a:pt x="286" y="18"/>
                    <a:pt x="285" y="18"/>
                    <a:pt x="285" y="17"/>
                  </a:cubicBezTo>
                  <a:cubicBezTo>
                    <a:pt x="284" y="17"/>
                    <a:pt x="284" y="16"/>
                    <a:pt x="284" y="16"/>
                  </a:cubicBezTo>
                  <a:cubicBezTo>
                    <a:pt x="284" y="16"/>
                    <a:pt x="283" y="15"/>
                    <a:pt x="283" y="15"/>
                  </a:cubicBezTo>
                  <a:cubicBezTo>
                    <a:pt x="283" y="14"/>
                    <a:pt x="283" y="14"/>
                    <a:pt x="282" y="13"/>
                  </a:cubicBezTo>
                  <a:cubicBezTo>
                    <a:pt x="282" y="13"/>
                    <a:pt x="282" y="13"/>
                    <a:pt x="282" y="13"/>
                  </a:cubicBezTo>
                  <a:cubicBezTo>
                    <a:pt x="282" y="12"/>
                    <a:pt x="282" y="13"/>
                    <a:pt x="283" y="13"/>
                  </a:cubicBezTo>
                  <a:cubicBezTo>
                    <a:pt x="283" y="13"/>
                    <a:pt x="284" y="14"/>
                    <a:pt x="284" y="14"/>
                  </a:cubicBezTo>
                  <a:cubicBezTo>
                    <a:pt x="285" y="15"/>
                    <a:pt x="286" y="15"/>
                    <a:pt x="286" y="15"/>
                  </a:cubicBezTo>
                  <a:cubicBezTo>
                    <a:pt x="287" y="16"/>
                    <a:pt x="287" y="16"/>
                    <a:pt x="288" y="17"/>
                  </a:cubicBezTo>
                  <a:cubicBezTo>
                    <a:pt x="288" y="17"/>
                    <a:pt x="289" y="17"/>
                    <a:pt x="289" y="17"/>
                  </a:cubicBezTo>
                  <a:cubicBezTo>
                    <a:pt x="290" y="17"/>
                    <a:pt x="289" y="16"/>
                    <a:pt x="289" y="15"/>
                  </a:cubicBezTo>
                  <a:cubicBezTo>
                    <a:pt x="289" y="15"/>
                    <a:pt x="289" y="14"/>
                    <a:pt x="290" y="14"/>
                  </a:cubicBezTo>
                  <a:cubicBezTo>
                    <a:pt x="290" y="14"/>
                    <a:pt x="290" y="15"/>
                    <a:pt x="290" y="15"/>
                  </a:cubicBezTo>
                  <a:cubicBezTo>
                    <a:pt x="290" y="16"/>
                    <a:pt x="290" y="17"/>
                    <a:pt x="291" y="17"/>
                  </a:cubicBezTo>
                  <a:cubicBezTo>
                    <a:pt x="291" y="18"/>
                    <a:pt x="292" y="19"/>
                    <a:pt x="292" y="20"/>
                  </a:cubicBezTo>
                  <a:cubicBezTo>
                    <a:pt x="293" y="21"/>
                    <a:pt x="294" y="22"/>
                    <a:pt x="295" y="22"/>
                  </a:cubicBezTo>
                  <a:cubicBezTo>
                    <a:pt x="295" y="21"/>
                    <a:pt x="295" y="21"/>
                    <a:pt x="294" y="20"/>
                  </a:cubicBezTo>
                  <a:cubicBezTo>
                    <a:pt x="294" y="20"/>
                    <a:pt x="294" y="19"/>
                    <a:pt x="294" y="19"/>
                  </a:cubicBezTo>
                  <a:cubicBezTo>
                    <a:pt x="294" y="17"/>
                    <a:pt x="293" y="16"/>
                    <a:pt x="293" y="15"/>
                  </a:cubicBezTo>
                  <a:cubicBezTo>
                    <a:pt x="293" y="14"/>
                    <a:pt x="293" y="13"/>
                    <a:pt x="292" y="12"/>
                  </a:cubicBezTo>
                  <a:cubicBezTo>
                    <a:pt x="291" y="11"/>
                    <a:pt x="290" y="10"/>
                    <a:pt x="290" y="9"/>
                  </a:cubicBezTo>
                  <a:cubicBezTo>
                    <a:pt x="289" y="9"/>
                    <a:pt x="288" y="8"/>
                    <a:pt x="288" y="7"/>
                  </a:cubicBezTo>
                  <a:cubicBezTo>
                    <a:pt x="288" y="6"/>
                    <a:pt x="287" y="6"/>
                    <a:pt x="287" y="5"/>
                  </a:cubicBezTo>
                  <a:cubicBezTo>
                    <a:pt x="287" y="5"/>
                    <a:pt x="287" y="4"/>
                    <a:pt x="287" y="4"/>
                  </a:cubicBezTo>
                  <a:cubicBezTo>
                    <a:pt x="287" y="3"/>
                    <a:pt x="288" y="3"/>
                    <a:pt x="288" y="3"/>
                  </a:cubicBezTo>
                  <a:cubicBezTo>
                    <a:pt x="288" y="4"/>
                    <a:pt x="289" y="4"/>
                    <a:pt x="289" y="4"/>
                  </a:cubicBezTo>
                  <a:cubicBezTo>
                    <a:pt x="290" y="4"/>
                    <a:pt x="291" y="4"/>
                    <a:pt x="292" y="4"/>
                  </a:cubicBezTo>
                  <a:cubicBezTo>
                    <a:pt x="292" y="5"/>
                    <a:pt x="292" y="5"/>
                    <a:pt x="292" y="6"/>
                  </a:cubicBezTo>
                  <a:cubicBezTo>
                    <a:pt x="292" y="7"/>
                    <a:pt x="293" y="7"/>
                    <a:pt x="293" y="8"/>
                  </a:cubicBezTo>
                  <a:cubicBezTo>
                    <a:pt x="293" y="9"/>
                    <a:pt x="294" y="10"/>
                    <a:pt x="294" y="10"/>
                  </a:cubicBezTo>
                  <a:cubicBezTo>
                    <a:pt x="293" y="11"/>
                    <a:pt x="294" y="11"/>
                    <a:pt x="294" y="12"/>
                  </a:cubicBezTo>
                  <a:cubicBezTo>
                    <a:pt x="294" y="12"/>
                    <a:pt x="294" y="13"/>
                    <a:pt x="294" y="13"/>
                  </a:cubicBezTo>
                  <a:cubicBezTo>
                    <a:pt x="294" y="14"/>
                    <a:pt x="295" y="15"/>
                    <a:pt x="295" y="16"/>
                  </a:cubicBezTo>
                  <a:cubicBezTo>
                    <a:pt x="296" y="17"/>
                    <a:pt x="296" y="19"/>
                    <a:pt x="297" y="20"/>
                  </a:cubicBezTo>
                  <a:cubicBezTo>
                    <a:pt x="297" y="21"/>
                    <a:pt x="297" y="22"/>
                    <a:pt x="298" y="23"/>
                  </a:cubicBezTo>
                  <a:cubicBezTo>
                    <a:pt x="298" y="23"/>
                    <a:pt x="299" y="24"/>
                    <a:pt x="299" y="24"/>
                  </a:cubicBezTo>
                  <a:cubicBezTo>
                    <a:pt x="300" y="25"/>
                    <a:pt x="300" y="26"/>
                    <a:pt x="300" y="27"/>
                  </a:cubicBezTo>
                  <a:cubicBezTo>
                    <a:pt x="301" y="28"/>
                    <a:pt x="301" y="29"/>
                    <a:pt x="302" y="29"/>
                  </a:cubicBezTo>
                  <a:cubicBezTo>
                    <a:pt x="301" y="28"/>
                    <a:pt x="301" y="27"/>
                    <a:pt x="300" y="2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C3C0C7AD-B4FA-4CFA-8F60-AEEA6BBE5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784" y="3518220"/>
              <a:ext cx="827755" cy="935148"/>
            </a:xfrm>
            <a:custGeom>
              <a:avLst/>
              <a:gdLst>
                <a:gd name="T0" fmla="*/ 1 w 209"/>
                <a:gd name="T1" fmla="*/ 0 h 236"/>
                <a:gd name="T2" fmla="*/ 0 w 209"/>
                <a:gd name="T3" fmla="*/ 236 h 236"/>
                <a:gd name="T4" fmla="*/ 29 w 209"/>
                <a:gd name="T5" fmla="*/ 236 h 236"/>
                <a:gd name="T6" fmla="*/ 29 w 209"/>
                <a:gd name="T7" fmla="*/ 218 h 236"/>
                <a:gd name="T8" fmla="*/ 88 w 209"/>
                <a:gd name="T9" fmla="*/ 218 h 236"/>
                <a:gd name="T10" fmla="*/ 86 w 209"/>
                <a:gd name="T11" fmla="*/ 217 h 236"/>
                <a:gd name="T12" fmla="*/ 84 w 209"/>
                <a:gd name="T13" fmla="*/ 216 h 236"/>
                <a:gd name="T14" fmla="*/ 84 w 209"/>
                <a:gd name="T15" fmla="*/ 214 h 236"/>
                <a:gd name="T16" fmla="*/ 84 w 209"/>
                <a:gd name="T17" fmla="*/ 213 h 236"/>
                <a:gd name="T18" fmla="*/ 85 w 209"/>
                <a:gd name="T19" fmla="*/ 212 h 236"/>
                <a:gd name="T20" fmla="*/ 84 w 209"/>
                <a:gd name="T21" fmla="*/ 211 h 236"/>
                <a:gd name="T22" fmla="*/ 84 w 209"/>
                <a:gd name="T23" fmla="*/ 211 h 236"/>
                <a:gd name="T24" fmla="*/ 84 w 209"/>
                <a:gd name="T25" fmla="*/ 209 h 236"/>
                <a:gd name="T26" fmla="*/ 207 w 209"/>
                <a:gd name="T27" fmla="*/ 210 h 236"/>
                <a:gd name="T28" fmla="*/ 208 w 209"/>
                <a:gd name="T29" fmla="*/ 21 h 236"/>
                <a:gd name="T30" fmla="*/ 209 w 209"/>
                <a:gd name="T31" fmla="*/ 21 h 236"/>
                <a:gd name="T32" fmla="*/ 209 w 209"/>
                <a:gd name="T33" fmla="*/ 0 h 236"/>
                <a:gd name="T34" fmla="*/ 1 w 209"/>
                <a:gd name="T3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9" h="236">
                  <a:moveTo>
                    <a:pt x="1" y="0"/>
                  </a:moveTo>
                  <a:cubicBezTo>
                    <a:pt x="0" y="236"/>
                    <a:pt x="0" y="236"/>
                    <a:pt x="0" y="236"/>
                  </a:cubicBezTo>
                  <a:cubicBezTo>
                    <a:pt x="29" y="236"/>
                    <a:pt x="29" y="236"/>
                    <a:pt x="29" y="236"/>
                  </a:cubicBezTo>
                  <a:cubicBezTo>
                    <a:pt x="29" y="218"/>
                    <a:pt x="29" y="218"/>
                    <a:pt x="29" y="218"/>
                  </a:cubicBezTo>
                  <a:cubicBezTo>
                    <a:pt x="88" y="218"/>
                    <a:pt x="88" y="218"/>
                    <a:pt x="88" y="218"/>
                  </a:cubicBezTo>
                  <a:cubicBezTo>
                    <a:pt x="88" y="218"/>
                    <a:pt x="87" y="217"/>
                    <a:pt x="86" y="217"/>
                  </a:cubicBezTo>
                  <a:cubicBezTo>
                    <a:pt x="86" y="217"/>
                    <a:pt x="85" y="216"/>
                    <a:pt x="84" y="216"/>
                  </a:cubicBezTo>
                  <a:cubicBezTo>
                    <a:pt x="84" y="215"/>
                    <a:pt x="84" y="214"/>
                    <a:pt x="84" y="214"/>
                  </a:cubicBezTo>
                  <a:cubicBezTo>
                    <a:pt x="84" y="214"/>
                    <a:pt x="84" y="213"/>
                    <a:pt x="84" y="213"/>
                  </a:cubicBezTo>
                  <a:cubicBezTo>
                    <a:pt x="85" y="212"/>
                    <a:pt x="85" y="212"/>
                    <a:pt x="85" y="212"/>
                  </a:cubicBezTo>
                  <a:cubicBezTo>
                    <a:pt x="84" y="211"/>
                    <a:pt x="84" y="211"/>
                    <a:pt x="84" y="211"/>
                  </a:cubicBezTo>
                  <a:cubicBezTo>
                    <a:pt x="84" y="211"/>
                    <a:pt x="84" y="211"/>
                    <a:pt x="84" y="211"/>
                  </a:cubicBezTo>
                  <a:cubicBezTo>
                    <a:pt x="84" y="211"/>
                    <a:pt x="84" y="209"/>
                    <a:pt x="84" y="209"/>
                  </a:cubicBezTo>
                  <a:cubicBezTo>
                    <a:pt x="207" y="210"/>
                    <a:pt x="207" y="210"/>
                    <a:pt x="207" y="210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209" y="21"/>
                    <a:pt x="209" y="21"/>
                    <a:pt x="209" y="21"/>
                  </a:cubicBezTo>
                  <a:cubicBezTo>
                    <a:pt x="209" y="0"/>
                    <a:pt x="209" y="0"/>
                    <a:pt x="209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3ABDD5E4-E85B-4140-BC60-CD1E1B8F6F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8030" y="2059322"/>
              <a:ext cx="1077237" cy="849234"/>
            </a:xfrm>
            <a:custGeom>
              <a:avLst/>
              <a:gdLst>
                <a:gd name="T0" fmla="*/ 207 w 272"/>
                <a:gd name="T1" fmla="*/ 195 h 214"/>
                <a:gd name="T2" fmla="*/ 207 w 272"/>
                <a:gd name="T3" fmla="*/ 198 h 214"/>
                <a:gd name="T4" fmla="*/ 211 w 272"/>
                <a:gd name="T5" fmla="*/ 197 h 214"/>
                <a:gd name="T6" fmla="*/ 217 w 272"/>
                <a:gd name="T7" fmla="*/ 196 h 214"/>
                <a:gd name="T8" fmla="*/ 222 w 272"/>
                <a:gd name="T9" fmla="*/ 194 h 214"/>
                <a:gd name="T10" fmla="*/ 236 w 272"/>
                <a:gd name="T11" fmla="*/ 192 h 214"/>
                <a:gd name="T12" fmla="*/ 248 w 272"/>
                <a:gd name="T13" fmla="*/ 190 h 214"/>
                <a:gd name="T14" fmla="*/ 255 w 272"/>
                <a:gd name="T15" fmla="*/ 187 h 214"/>
                <a:gd name="T16" fmla="*/ 249 w 272"/>
                <a:gd name="T17" fmla="*/ 192 h 214"/>
                <a:gd name="T18" fmla="*/ 250 w 272"/>
                <a:gd name="T19" fmla="*/ 194 h 214"/>
                <a:gd name="T20" fmla="*/ 260 w 272"/>
                <a:gd name="T21" fmla="*/ 189 h 214"/>
                <a:gd name="T22" fmla="*/ 269 w 272"/>
                <a:gd name="T23" fmla="*/ 188 h 214"/>
                <a:gd name="T24" fmla="*/ 269 w 272"/>
                <a:gd name="T25" fmla="*/ 189 h 214"/>
                <a:gd name="T26" fmla="*/ 261 w 272"/>
                <a:gd name="T27" fmla="*/ 193 h 214"/>
                <a:gd name="T28" fmla="*/ 254 w 272"/>
                <a:gd name="T29" fmla="*/ 196 h 214"/>
                <a:gd name="T30" fmla="*/ 250 w 272"/>
                <a:gd name="T31" fmla="*/ 197 h 214"/>
                <a:gd name="T32" fmla="*/ 241 w 272"/>
                <a:gd name="T33" fmla="*/ 200 h 214"/>
                <a:gd name="T34" fmla="*/ 233 w 272"/>
                <a:gd name="T35" fmla="*/ 202 h 214"/>
                <a:gd name="T36" fmla="*/ 227 w 272"/>
                <a:gd name="T37" fmla="*/ 204 h 214"/>
                <a:gd name="T38" fmla="*/ 220 w 272"/>
                <a:gd name="T39" fmla="*/ 206 h 214"/>
                <a:gd name="T40" fmla="*/ 211 w 272"/>
                <a:gd name="T41" fmla="*/ 208 h 214"/>
                <a:gd name="T42" fmla="*/ 206 w 272"/>
                <a:gd name="T43" fmla="*/ 208 h 214"/>
                <a:gd name="T44" fmla="*/ 203 w 272"/>
                <a:gd name="T45" fmla="*/ 209 h 214"/>
                <a:gd name="T46" fmla="*/ 198 w 272"/>
                <a:gd name="T47" fmla="*/ 207 h 214"/>
                <a:gd name="T48" fmla="*/ 202 w 272"/>
                <a:gd name="T49" fmla="*/ 191 h 214"/>
                <a:gd name="T50" fmla="*/ 167 w 272"/>
                <a:gd name="T51" fmla="*/ 169 h 214"/>
                <a:gd name="T52" fmla="*/ 162 w 272"/>
                <a:gd name="T53" fmla="*/ 159 h 214"/>
                <a:gd name="T54" fmla="*/ 158 w 272"/>
                <a:gd name="T55" fmla="*/ 150 h 214"/>
                <a:gd name="T56" fmla="*/ 0 w 272"/>
                <a:gd name="T57" fmla="*/ 132 h 214"/>
                <a:gd name="T58" fmla="*/ 18 w 272"/>
                <a:gd name="T59" fmla="*/ 120 h 214"/>
                <a:gd name="T60" fmla="*/ 24 w 272"/>
                <a:gd name="T61" fmla="*/ 113 h 214"/>
                <a:gd name="T62" fmla="*/ 30 w 272"/>
                <a:gd name="T63" fmla="*/ 103 h 214"/>
                <a:gd name="T64" fmla="*/ 26 w 272"/>
                <a:gd name="T65" fmla="*/ 94 h 214"/>
                <a:gd name="T66" fmla="*/ 35 w 272"/>
                <a:gd name="T67" fmla="*/ 82 h 214"/>
                <a:gd name="T68" fmla="*/ 73 w 272"/>
                <a:gd name="T69" fmla="*/ 84 h 214"/>
                <a:gd name="T70" fmla="*/ 101 w 272"/>
                <a:gd name="T71" fmla="*/ 83 h 214"/>
                <a:gd name="T72" fmla="*/ 123 w 272"/>
                <a:gd name="T73" fmla="*/ 68 h 214"/>
                <a:gd name="T74" fmla="*/ 122 w 272"/>
                <a:gd name="T75" fmla="*/ 60 h 214"/>
                <a:gd name="T76" fmla="*/ 124 w 272"/>
                <a:gd name="T77" fmla="*/ 55 h 214"/>
                <a:gd name="T78" fmla="*/ 124 w 272"/>
                <a:gd name="T79" fmla="*/ 51 h 214"/>
                <a:gd name="T80" fmla="*/ 122 w 272"/>
                <a:gd name="T81" fmla="*/ 50 h 214"/>
                <a:gd name="T82" fmla="*/ 119 w 272"/>
                <a:gd name="T83" fmla="*/ 46 h 214"/>
                <a:gd name="T84" fmla="*/ 125 w 272"/>
                <a:gd name="T85" fmla="*/ 39 h 214"/>
                <a:gd name="T86" fmla="*/ 133 w 272"/>
                <a:gd name="T87" fmla="*/ 33 h 214"/>
                <a:gd name="T88" fmla="*/ 139 w 272"/>
                <a:gd name="T89" fmla="*/ 25 h 214"/>
                <a:gd name="T90" fmla="*/ 168 w 272"/>
                <a:gd name="T91" fmla="*/ 2 h 214"/>
                <a:gd name="T92" fmla="*/ 220 w 272"/>
                <a:gd name="T93" fmla="*/ 8 h 214"/>
                <a:gd name="T94" fmla="*/ 222 w 272"/>
                <a:gd name="T95" fmla="*/ 28 h 214"/>
                <a:gd name="T96" fmla="*/ 218 w 272"/>
                <a:gd name="T97" fmla="*/ 47 h 214"/>
                <a:gd name="T98" fmla="*/ 218 w 272"/>
                <a:gd name="T99" fmla="*/ 68 h 214"/>
                <a:gd name="T100" fmla="*/ 223 w 272"/>
                <a:gd name="T101" fmla="*/ 70 h 214"/>
                <a:gd name="T102" fmla="*/ 215 w 272"/>
                <a:gd name="T103" fmla="*/ 161 h 214"/>
                <a:gd name="T104" fmla="*/ 208 w 272"/>
                <a:gd name="T105" fmla="*/ 188 h 214"/>
                <a:gd name="T106" fmla="*/ 190 w 272"/>
                <a:gd name="T107" fmla="*/ 213 h 214"/>
                <a:gd name="T108" fmla="*/ 196 w 272"/>
                <a:gd name="T109" fmla="*/ 20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2" h="214">
                  <a:moveTo>
                    <a:pt x="208" y="188"/>
                  </a:moveTo>
                  <a:cubicBezTo>
                    <a:pt x="211" y="191"/>
                    <a:pt x="211" y="191"/>
                    <a:pt x="211" y="191"/>
                  </a:cubicBezTo>
                  <a:cubicBezTo>
                    <a:pt x="210" y="191"/>
                    <a:pt x="210" y="191"/>
                    <a:pt x="210" y="191"/>
                  </a:cubicBezTo>
                  <a:cubicBezTo>
                    <a:pt x="210" y="191"/>
                    <a:pt x="209" y="191"/>
                    <a:pt x="209" y="192"/>
                  </a:cubicBezTo>
                  <a:cubicBezTo>
                    <a:pt x="209" y="192"/>
                    <a:pt x="209" y="193"/>
                    <a:pt x="208" y="193"/>
                  </a:cubicBezTo>
                  <a:cubicBezTo>
                    <a:pt x="208" y="194"/>
                    <a:pt x="207" y="194"/>
                    <a:pt x="207" y="195"/>
                  </a:cubicBezTo>
                  <a:cubicBezTo>
                    <a:pt x="207" y="195"/>
                    <a:pt x="207" y="196"/>
                    <a:pt x="206" y="196"/>
                  </a:cubicBezTo>
                  <a:cubicBezTo>
                    <a:pt x="206" y="197"/>
                    <a:pt x="206" y="197"/>
                    <a:pt x="206" y="197"/>
                  </a:cubicBezTo>
                  <a:cubicBezTo>
                    <a:pt x="206" y="197"/>
                    <a:pt x="206" y="198"/>
                    <a:pt x="206" y="198"/>
                  </a:cubicBezTo>
                  <a:cubicBezTo>
                    <a:pt x="206" y="199"/>
                    <a:pt x="206" y="199"/>
                    <a:pt x="206" y="200"/>
                  </a:cubicBezTo>
                  <a:cubicBezTo>
                    <a:pt x="207" y="200"/>
                    <a:pt x="208" y="200"/>
                    <a:pt x="207" y="199"/>
                  </a:cubicBezTo>
                  <a:cubicBezTo>
                    <a:pt x="207" y="199"/>
                    <a:pt x="207" y="199"/>
                    <a:pt x="207" y="198"/>
                  </a:cubicBezTo>
                  <a:cubicBezTo>
                    <a:pt x="208" y="198"/>
                    <a:pt x="208" y="198"/>
                    <a:pt x="208" y="198"/>
                  </a:cubicBezTo>
                  <a:cubicBezTo>
                    <a:pt x="208" y="198"/>
                    <a:pt x="209" y="198"/>
                    <a:pt x="209" y="198"/>
                  </a:cubicBezTo>
                  <a:cubicBezTo>
                    <a:pt x="209" y="198"/>
                    <a:pt x="209" y="198"/>
                    <a:pt x="209" y="198"/>
                  </a:cubicBezTo>
                  <a:cubicBezTo>
                    <a:pt x="208" y="197"/>
                    <a:pt x="208" y="197"/>
                    <a:pt x="208" y="197"/>
                  </a:cubicBezTo>
                  <a:cubicBezTo>
                    <a:pt x="209" y="197"/>
                    <a:pt x="209" y="197"/>
                    <a:pt x="210" y="197"/>
                  </a:cubicBezTo>
                  <a:cubicBezTo>
                    <a:pt x="210" y="197"/>
                    <a:pt x="211" y="197"/>
                    <a:pt x="211" y="197"/>
                  </a:cubicBezTo>
                  <a:cubicBezTo>
                    <a:pt x="211" y="197"/>
                    <a:pt x="211" y="196"/>
                    <a:pt x="211" y="196"/>
                  </a:cubicBezTo>
                  <a:cubicBezTo>
                    <a:pt x="212" y="196"/>
                    <a:pt x="212" y="195"/>
                    <a:pt x="212" y="195"/>
                  </a:cubicBezTo>
                  <a:cubicBezTo>
                    <a:pt x="212" y="195"/>
                    <a:pt x="213" y="195"/>
                    <a:pt x="213" y="195"/>
                  </a:cubicBezTo>
                  <a:cubicBezTo>
                    <a:pt x="214" y="195"/>
                    <a:pt x="214" y="195"/>
                    <a:pt x="214" y="195"/>
                  </a:cubicBezTo>
                  <a:cubicBezTo>
                    <a:pt x="215" y="195"/>
                    <a:pt x="215" y="195"/>
                    <a:pt x="216" y="195"/>
                  </a:cubicBezTo>
                  <a:cubicBezTo>
                    <a:pt x="216" y="196"/>
                    <a:pt x="217" y="196"/>
                    <a:pt x="217" y="196"/>
                  </a:cubicBezTo>
                  <a:cubicBezTo>
                    <a:pt x="217" y="196"/>
                    <a:pt x="218" y="195"/>
                    <a:pt x="218" y="195"/>
                  </a:cubicBezTo>
                  <a:cubicBezTo>
                    <a:pt x="218" y="195"/>
                    <a:pt x="218" y="195"/>
                    <a:pt x="218" y="195"/>
                  </a:cubicBezTo>
                  <a:cubicBezTo>
                    <a:pt x="218" y="195"/>
                    <a:pt x="218" y="194"/>
                    <a:pt x="218" y="194"/>
                  </a:cubicBezTo>
                  <a:cubicBezTo>
                    <a:pt x="219" y="194"/>
                    <a:pt x="219" y="194"/>
                    <a:pt x="219" y="195"/>
                  </a:cubicBezTo>
                  <a:cubicBezTo>
                    <a:pt x="220" y="195"/>
                    <a:pt x="220" y="195"/>
                    <a:pt x="221" y="194"/>
                  </a:cubicBezTo>
                  <a:cubicBezTo>
                    <a:pt x="221" y="194"/>
                    <a:pt x="221" y="194"/>
                    <a:pt x="222" y="194"/>
                  </a:cubicBezTo>
                  <a:cubicBezTo>
                    <a:pt x="223" y="194"/>
                    <a:pt x="223" y="194"/>
                    <a:pt x="224" y="194"/>
                  </a:cubicBezTo>
                  <a:cubicBezTo>
                    <a:pt x="226" y="194"/>
                    <a:pt x="228" y="194"/>
                    <a:pt x="229" y="193"/>
                  </a:cubicBezTo>
                  <a:cubicBezTo>
                    <a:pt x="229" y="192"/>
                    <a:pt x="230" y="192"/>
                    <a:pt x="231" y="192"/>
                  </a:cubicBezTo>
                  <a:cubicBezTo>
                    <a:pt x="231" y="192"/>
                    <a:pt x="232" y="192"/>
                    <a:pt x="233" y="192"/>
                  </a:cubicBezTo>
                  <a:cubicBezTo>
                    <a:pt x="233" y="192"/>
                    <a:pt x="234" y="192"/>
                    <a:pt x="234" y="192"/>
                  </a:cubicBezTo>
                  <a:cubicBezTo>
                    <a:pt x="235" y="192"/>
                    <a:pt x="236" y="192"/>
                    <a:pt x="236" y="192"/>
                  </a:cubicBezTo>
                  <a:cubicBezTo>
                    <a:pt x="237" y="192"/>
                    <a:pt x="237" y="192"/>
                    <a:pt x="238" y="192"/>
                  </a:cubicBezTo>
                  <a:cubicBezTo>
                    <a:pt x="238" y="192"/>
                    <a:pt x="238" y="192"/>
                    <a:pt x="239" y="192"/>
                  </a:cubicBezTo>
                  <a:cubicBezTo>
                    <a:pt x="240" y="192"/>
                    <a:pt x="240" y="191"/>
                    <a:pt x="241" y="191"/>
                  </a:cubicBezTo>
                  <a:cubicBezTo>
                    <a:pt x="242" y="192"/>
                    <a:pt x="243" y="192"/>
                    <a:pt x="244" y="191"/>
                  </a:cubicBezTo>
                  <a:cubicBezTo>
                    <a:pt x="245" y="191"/>
                    <a:pt x="246" y="191"/>
                    <a:pt x="246" y="191"/>
                  </a:cubicBezTo>
                  <a:cubicBezTo>
                    <a:pt x="247" y="190"/>
                    <a:pt x="247" y="190"/>
                    <a:pt x="248" y="190"/>
                  </a:cubicBezTo>
                  <a:cubicBezTo>
                    <a:pt x="248" y="190"/>
                    <a:pt x="249" y="190"/>
                    <a:pt x="249" y="189"/>
                  </a:cubicBezTo>
                  <a:cubicBezTo>
                    <a:pt x="250" y="189"/>
                    <a:pt x="251" y="188"/>
                    <a:pt x="251" y="188"/>
                  </a:cubicBezTo>
                  <a:cubicBezTo>
                    <a:pt x="252" y="188"/>
                    <a:pt x="252" y="187"/>
                    <a:pt x="253" y="187"/>
                  </a:cubicBezTo>
                  <a:cubicBezTo>
                    <a:pt x="253" y="187"/>
                    <a:pt x="254" y="186"/>
                    <a:pt x="254" y="186"/>
                  </a:cubicBezTo>
                  <a:cubicBezTo>
                    <a:pt x="254" y="186"/>
                    <a:pt x="255" y="186"/>
                    <a:pt x="255" y="186"/>
                  </a:cubicBezTo>
                  <a:cubicBezTo>
                    <a:pt x="255" y="186"/>
                    <a:pt x="255" y="186"/>
                    <a:pt x="255" y="187"/>
                  </a:cubicBezTo>
                  <a:cubicBezTo>
                    <a:pt x="255" y="187"/>
                    <a:pt x="255" y="187"/>
                    <a:pt x="254" y="187"/>
                  </a:cubicBezTo>
                  <a:cubicBezTo>
                    <a:pt x="254" y="188"/>
                    <a:pt x="253" y="189"/>
                    <a:pt x="253" y="190"/>
                  </a:cubicBezTo>
                  <a:cubicBezTo>
                    <a:pt x="253" y="190"/>
                    <a:pt x="253" y="191"/>
                    <a:pt x="252" y="191"/>
                  </a:cubicBezTo>
                  <a:cubicBezTo>
                    <a:pt x="252" y="191"/>
                    <a:pt x="251" y="191"/>
                    <a:pt x="251" y="191"/>
                  </a:cubicBezTo>
                  <a:cubicBezTo>
                    <a:pt x="251" y="191"/>
                    <a:pt x="251" y="191"/>
                    <a:pt x="250" y="192"/>
                  </a:cubicBezTo>
                  <a:cubicBezTo>
                    <a:pt x="250" y="192"/>
                    <a:pt x="249" y="192"/>
                    <a:pt x="249" y="192"/>
                  </a:cubicBezTo>
                  <a:cubicBezTo>
                    <a:pt x="248" y="193"/>
                    <a:pt x="248" y="193"/>
                    <a:pt x="248" y="193"/>
                  </a:cubicBezTo>
                  <a:cubicBezTo>
                    <a:pt x="247" y="193"/>
                    <a:pt x="247" y="193"/>
                    <a:pt x="247" y="194"/>
                  </a:cubicBezTo>
                  <a:cubicBezTo>
                    <a:pt x="247" y="194"/>
                    <a:pt x="247" y="194"/>
                    <a:pt x="247" y="194"/>
                  </a:cubicBezTo>
                  <a:cubicBezTo>
                    <a:pt x="248" y="194"/>
                    <a:pt x="248" y="194"/>
                    <a:pt x="248" y="194"/>
                  </a:cubicBezTo>
                  <a:cubicBezTo>
                    <a:pt x="248" y="194"/>
                    <a:pt x="248" y="194"/>
                    <a:pt x="249" y="195"/>
                  </a:cubicBezTo>
                  <a:cubicBezTo>
                    <a:pt x="249" y="195"/>
                    <a:pt x="249" y="194"/>
                    <a:pt x="250" y="194"/>
                  </a:cubicBezTo>
                  <a:cubicBezTo>
                    <a:pt x="251" y="194"/>
                    <a:pt x="252" y="194"/>
                    <a:pt x="253" y="193"/>
                  </a:cubicBezTo>
                  <a:cubicBezTo>
                    <a:pt x="254" y="193"/>
                    <a:pt x="254" y="192"/>
                    <a:pt x="255" y="192"/>
                  </a:cubicBezTo>
                  <a:cubicBezTo>
                    <a:pt x="255" y="191"/>
                    <a:pt x="256" y="191"/>
                    <a:pt x="256" y="191"/>
                  </a:cubicBezTo>
                  <a:cubicBezTo>
                    <a:pt x="257" y="190"/>
                    <a:pt x="257" y="190"/>
                    <a:pt x="258" y="190"/>
                  </a:cubicBezTo>
                  <a:cubicBezTo>
                    <a:pt x="258" y="190"/>
                    <a:pt x="259" y="190"/>
                    <a:pt x="259" y="190"/>
                  </a:cubicBezTo>
                  <a:cubicBezTo>
                    <a:pt x="259" y="190"/>
                    <a:pt x="260" y="189"/>
                    <a:pt x="260" y="189"/>
                  </a:cubicBezTo>
                  <a:cubicBezTo>
                    <a:pt x="260" y="189"/>
                    <a:pt x="261" y="189"/>
                    <a:pt x="261" y="189"/>
                  </a:cubicBezTo>
                  <a:cubicBezTo>
                    <a:pt x="261" y="189"/>
                    <a:pt x="261" y="188"/>
                    <a:pt x="262" y="188"/>
                  </a:cubicBezTo>
                  <a:cubicBezTo>
                    <a:pt x="262" y="188"/>
                    <a:pt x="263" y="189"/>
                    <a:pt x="263" y="189"/>
                  </a:cubicBezTo>
                  <a:cubicBezTo>
                    <a:pt x="263" y="189"/>
                    <a:pt x="264" y="189"/>
                    <a:pt x="265" y="189"/>
                  </a:cubicBezTo>
                  <a:cubicBezTo>
                    <a:pt x="265" y="189"/>
                    <a:pt x="266" y="189"/>
                    <a:pt x="267" y="189"/>
                  </a:cubicBezTo>
                  <a:cubicBezTo>
                    <a:pt x="267" y="189"/>
                    <a:pt x="268" y="188"/>
                    <a:pt x="269" y="188"/>
                  </a:cubicBezTo>
                  <a:cubicBezTo>
                    <a:pt x="269" y="188"/>
                    <a:pt x="269" y="188"/>
                    <a:pt x="270" y="188"/>
                  </a:cubicBezTo>
                  <a:cubicBezTo>
                    <a:pt x="270" y="187"/>
                    <a:pt x="270" y="187"/>
                    <a:pt x="271" y="187"/>
                  </a:cubicBezTo>
                  <a:cubicBezTo>
                    <a:pt x="271" y="187"/>
                    <a:pt x="272" y="187"/>
                    <a:pt x="272" y="188"/>
                  </a:cubicBezTo>
                  <a:cubicBezTo>
                    <a:pt x="272" y="189"/>
                    <a:pt x="271" y="189"/>
                    <a:pt x="270" y="189"/>
                  </a:cubicBezTo>
                  <a:cubicBezTo>
                    <a:pt x="270" y="189"/>
                    <a:pt x="270" y="189"/>
                    <a:pt x="270" y="189"/>
                  </a:cubicBezTo>
                  <a:cubicBezTo>
                    <a:pt x="270" y="189"/>
                    <a:pt x="269" y="189"/>
                    <a:pt x="269" y="189"/>
                  </a:cubicBezTo>
                  <a:cubicBezTo>
                    <a:pt x="268" y="190"/>
                    <a:pt x="268" y="190"/>
                    <a:pt x="267" y="190"/>
                  </a:cubicBezTo>
                  <a:cubicBezTo>
                    <a:pt x="267" y="191"/>
                    <a:pt x="266" y="191"/>
                    <a:pt x="265" y="191"/>
                  </a:cubicBezTo>
                  <a:cubicBezTo>
                    <a:pt x="265" y="191"/>
                    <a:pt x="265" y="192"/>
                    <a:pt x="264" y="192"/>
                  </a:cubicBezTo>
                  <a:cubicBezTo>
                    <a:pt x="264" y="192"/>
                    <a:pt x="264" y="192"/>
                    <a:pt x="263" y="192"/>
                  </a:cubicBezTo>
                  <a:cubicBezTo>
                    <a:pt x="263" y="193"/>
                    <a:pt x="263" y="193"/>
                    <a:pt x="262" y="193"/>
                  </a:cubicBezTo>
                  <a:cubicBezTo>
                    <a:pt x="262" y="193"/>
                    <a:pt x="261" y="193"/>
                    <a:pt x="261" y="193"/>
                  </a:cubicBezTo>
                  <a:cubicBezTo>
                    <a:pt x="260" y="193"/>
                    <a:pt x="260" y="194"/>
                    <a:pt x="259" y="194"/>
                  </a:cubicBezTo>
                  <a:cubicBezTo>
                    <a:pt x="259" y="194"/>
                    <a:pt x="258" y="194"/>
                    <a:pt x="258" y="194"/>
                  </a:cubicBezTo>
                  <a:cubicBezTo>
                    <a:pt x="258" y="195"/>
                    <a:pt x="257" y="195"/>
                    <a:pt x="257" y="195"/>
                  </a:cubicBezTo>
                  <a:cubicBezTo>
                    <a:pt x="256" y="195"/>
                    <a:pt x="256" y="195"/>
                    <a:pt x="256" y="195"/>
                  </a:cubicBezTo>
                  <a:cubicBezTo>
                    <a:pt x="255" y="195"/>
                    <a:pt x="255" y="196"/>
                    <a:pt x="255" y="196"/>
                  </a:cubicBezTo>
                  <a:cubicBezTo>
                    <a:pt x="255" y="196"/>
                    <a:pt x="254" y="196"/>
                    <a:pt x="254" y="196"/>
                  </a:cubicBezTo>
                  <a:cubicBezTo>
                    <a:pt x="254" y="196"/>
                    <a:pt x="253" y="196"/>
                    <a:pt x="253" y="196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3" y="195"/>
                    <a:pt x="252" y="196"/>
                    <a:pt x="251" y="196"/>
                  </a:cubicBezTo>
                  <a:cubicBezTo>
                    <a:pt x="251" y="196"/>
                    <a:pt x="251" y="195"/>
                    <a:pt x="251" y="196"/>
                  </a:cubicBezTo>
                  <a:cubicBezTo>
                    <a:pt x="251" y="196"/>
                    <a:pt x="251" y="196"/>
                    <a:pt x="250" y="196"/>
                  </a:cubicBezTo>
                  <a:cubicBezTo>
                    <a:pt x="250" y="196"/>
                    <a:pt x="250" y="196"/>
                    <a:pt x="250" y="197"/>
                  </a:cubicBezTo>
                  <a:cubicBezTo>
                    <a:pt x="250" y="197"/>
                    <a:pt x="250" y="198"/>
                    <a:pt x="250" y="198"/>
                  </a:cubicBezTo>
                  <a:cubicBezTo>
                    <a:pt x="249" y="198"/>
                    <a:pt x="249" y="199"/>
                    <a:pt x="248" y="199"/>
                  </a:cubicBezTo>
                  <a:cubicBezTo>
                    <a:pt x="248" y="199"/>
                    <a:pt x="247" y="199"/>
                    <a:pt x="247" y="199"/>
                  </a:cubicBezTo>
                  <a:cubicBezTo>
                    <a:pt x="246" y="199"/>
                    <a:pt x="246" y="199"/>
                    <a:pt x="245" y="199"/>
                  </a:cubicBezTo>
                  <a:cubicBezTo>
                    <a:pt x="244" y="199"/>
                    <a:pt x="244" y="200"/>
                    <a:pt x="244" y="200"/>
                  </a:cubicBezTo>
                  <a:cubicBezTo>
                    <a:pt x="243" y="200"/>
                    <a:pt x="242" y="200"/>
                    <a:pt x="241" y="200"/>
                  </a:cubicBezTo>
                  <a:cubicBezTo>
                    <a:pt x="241" y="200"/>
                    <a:pt x="240" y="200"/>
                    <a:pt x="240" y="200"/>
                  </a:cubicBezTo>
                  <a:cubicBezTo>
                    <a:pt x="239" y="201"/>
                    <a:pt x="239" y="201"/>
                    <a:pt x="239" y="201"/>
                  </a:cubicBezTo>
                  <a:cubicBezTo>
                    <a:pt x="239" y="202"/>
                    <a:pt x="238" y="202"/>
                    <a:pt x="238" y="202"/>
                  </a:cubicBezTo>
                  <a:cubicBezTo>
                    <a:pt x="237" y="202"/>
                    <a:pt x="237" y="202"/>
                    <a:pt x="236" y="202"/>
                  </a:cubicBezTo>
                  <a:cubicBezTo>
                    <a:pt x="235" y="202"/>
                    <a:pt x="235" y="202"/>
                    <a:pt x="234" y="202"/>
                  </a:cubicBezTo>
                  <a:cubicBezTo>
                    <a:pt x="234" y="202"/>
                    <a:pt x="233" y="202"/>
                    <a:pt x="233" y="202"/>
                  </a:cubicBezTo>
                  <a:cubicBezTo>
                    <a:pt x="232" y="202"/>
                    <a:pt x="232" y="202"/>
                    <a:pt x="232" y="202"/>
                  </a:cubicBezTo>
                  <a:cubicBezTo>
                    <a:pt x="231" y="202"/>
                    <a:pt x="231" y="202"/>
                    <a:pt x="231" y="202"/>
                  </a:cubicBezTo>
                  <a:cubicBezTo>
                    <a:pt x="230" y="202"/>
                    <a:pt x="230" y="203"/>
                    <a:pt x="230" y="203"/>
                  </a:cubicBezTo>
                  <a:cubicBezTo>
                    <a:pt x="229" y="203"/>
                    <a:pt x="229" y="203"/>
                    <a:pt x="229" y="203"/>
                  </a:cubicBezTo>
                  <a:cubicBezTo>
                    <a:pt x="229" y="203"/>
                    <a:pt x="229" y="203"/>
                    <a:pt x="229" y="203"/>
                  </a:cubicBezTo>
                  <a:cubicBezTo>
                    <a:pt x="228" y="204"/>
                    <a:pt x="228" y="204"/>
                    <a:pt x="227" y="204"/>
                  </a:cubicBezTo>
                  <a:cubicBezTo>
                    <a:pt x="226" y="204"/>
                    <a:pt x="226" y="204"/>
                    <a:pt x="225" y="204"/>
                  </a:cubicBezTo>
                  <a:cubicBezTo>
                    <a:pt x="225" y="204"/>
                    <a:pt x="224" y="204"/>
                    <a:pt x="224" y="204"/>
                  </a:cubicBezTo>
                  <a:cubicBezTo>
                    <a:pt x="224" y="204"/>
                    <a:pt x="224" y="204"/>
                    <a:pt x="224" y="204"/>
                  </a:cubicBezTo>
                  <a:cubicBezTo>
                    <a:pt x="223" y="204"/>
                    <a:pt x="223" y="204"/>
                    <a:pt x="223" y="205"/>
                  </a:cubicBezTo>
                  <a:cubicBezTo>
                    <a:pt x="222" y="205"/>
                    <a:pt x="222" y="205"/>
                    <a:pt x="222" y="205"/>
                  </a:cubicBezTo>
                  <a:cubicBezTo>
                    <a:pt x="221" y="205"/>
                    <a:pt x="221" y="205"/>
                    <a:pt x="220" y="206"/>
                  </a:cubicBezTo>
                  <a:cubicBezTo>
                    <a:pt x="219" y="206"/>
                    <a:pt x="218" y="206"/>
                    <a:pt x="218" y="206"/>
                  </a:cubicBezTo>
                  <a:cubicBezTo>
                    <a:pt x="217" y="206"/>
                    <a:pt x="217" y="206"/>
                    <a:pt x="217" y="206"/>
                  </a:cubicBezTo>
                  <a:cubicBezTo>
                    <a:pt x="216" y="207"/>
                    <a:pt x="216" y="207"/>
                    <a:pt x="216" y="207"/>
                  </a:cubicBezTo>
                  <a:cubicBezTo>
                    <a:pt x="216" y="207"/>
                    <a:pt x="216" y="208"/>
                    <a:pt x="215" y="209"/>
                  </a:cubicBezTo>
                  <a:cubicBezTo>
                    <a:pt x="214" y="209"/>
                    <a:pt x="214" y="208"/>
                    <a:pt x="213" y="208"/>
                  </a:cubicBezTo>
                  <a:cubicBezTo>
                    <a:pt x="213" y="208"/>
                    <a:pt x="211" y="207"/>
                    <a:pt x="211" y="208"/>
                  </a:cubicBezTo>
                  <a:cubicBezTo>
                    <a:pt x="211" y="208"/>
                    <a:pt x="211" y="208"/>
                    <a:pt x="211" y="209"/>
                  </a:cubicBezTo>
                  <a:cubicBezTo>
                    <a:pt x="211" y="209"/>
                    <a:pt x="210" y="209"/>
                    <a:pt x="210" y="209"/>
                  </a:cubicBezTo>
                  <a:cubicBezTo>
                    <a:pt x="210" y="209"/>
                    <a:pt x="209" y="209"/>
                    <a:pt x="209" y="209"/>
                  </a:cubicBezTo>
                  <a:cubicBezTo>
                    <a:pt x="209" y="209"/>
                    <a:pt x="208" y="209"/>
                    <a:pt x="208" y="209"/>
                  </a:cubicBezTo>
                  <a:cubicBezTo>
                    <a:pt x="207" y="209"/>
                    <a:pt x="207" y="209"/>
                    <a:pt x="206" y="209"/>
                  </a:cubicBezTo>
                  <a:cubicBezTo>
                    <a:pt x="206" y="209"/>
                    <a:pt x="206" y="208"/>
                    <a:pt x="206" y="208"/>
                  </a:cubicBezTo>
                  <a:cubicBezTo>
                    <a:pt x="206" y="208"/>
                    <a:pt x="207" y="208"/>
                    <a:pt x="206" y="208"/>
                  </a:cubicBezTo>
                  <a:cubicBezTo>
                    <a:pt x="206" y="208"/>
                    <a:pt x="205" y="208"/>
                    <a:pt x="205" y="207"/>
                  </a:cubicBezTo>
                  <a:cubicBezTo>
                    <a:pt x="205" y="207"/>
                    <a:pt x="205" y="207"/>
                    <a:pt x="205" y="207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8"/>
                    <a:pt x="204" y="208"/>
                    <a:pt x="203" y="208"/>
                  </a:cubicBezTo>
                  <a:cubicBezTo>
                    <a:pt x="203" y="208"/>
                    <a:pt x="203" y="208"/>
                    <a:pt x="203" y="209"/>
                  </a:cubicBezTo>
                  <a:cubicBezTo>
                    <a:pt x="202" y="209"/>
                    <a:pt x="202" y="209"/>
                    <a:pt x="202" y="209"/>
                  </a:cubicBezTo>
                  <a:cubicBezTo>
                    <a:pt x="202" y="209"/>
                    <a:pt x="201" y="209"/>
                    <a:pt x="201" y="209"/>
                  </a:cubicBezTo>
                  <a:cubicBezTo>
                    <a:pt x="201" y="209"/>
                    <a:pt x="201" y="210"/>
                    <a:pt x="201" y="210"/>
                  </a:cubicBezTo>
                  <a:cubicBezTo>
                    <a:pt x="200" y="210"/>
                    <a:pt x="200" y="210"/>
                    <a:pt x="199" y="210"/>
                  </a:cubicBezTo>
                  <a:cubicBezTo>
                    <a:pt x="199" y="210"/>
                    <a:pt x="199" y="210"/>
                    <a:pt x="198" y="209"/>
                  </a:cubicBezTo>
                  <a:cubicBezTo>
                    <a:pt x="198" y="209"/>
                    <a:pt x="198" y="208"/>
                    <a:pt x="198" y="207"/>
                  </a:cubicBezTo>
                  <a:cubicBezTo>
                    <a:pt x="198" y="207"/>
                    <a:pt x="198" y="206"/>
                    <a:pt x="198" y="206"/>
                  </a:cubicBezTo>
                  <a:cubicBezTo>
                    <a:pt x="198" y="206"/>
                    <a:pt x="199" y="205"/>
                    <a:pt x="199" y="204"/>
                  </a:cubicBezTo>
                  <a:cubicBezTo>
                    <a:pt x="199" y="204"/>
                    <a:pt x="199" y="203"/>
                    <a:pt x="199" y="202"/>
                  </a:cubicBezTo>
                  <a:cubicBezTo>
                    <a:pt x="199" y="202"/>
                    <a:pt x="199" y="202"/>
                    <a:pt x="199" y="202"/>
                  </a:cubicBezTo>
                  <a:cubicBezTo>
                    <a:pt x="199" y="202"/>
                    <a:pt x="198" y="202"/>
                    <a:pt x="198" y="202"/>
                  </a:cubicBezTo>
                  <a:cubicBezTo>
                    <a:pt x="202" y="191"/>
                    <a:pt x="202" y="191"/>
                    <a:pt x="202" y="191"/>
                  </a:cubicBezTo>
                  <a:cubicBezTo>
                    <a:pt x="202" y="191"/>
                    <a:pt x="176" y="175"/>
                    <a:pt x="176" y="175"/>
                  </a:cubicBezTo>
                  <a:cubicBezTo>
                    <a:pt x="176" y="175"/>
                    <a:pt x="174" y="173"/>
                    <a:pt x="174" y="173"/>
                  </a:cubicBezTo>
                  <a:cubicBezTo>
                    <a:pt x="174" y="173"/>
                    <a:pt x="173" y="171"/>
                    <a:pt x="173" y="171"/>
                  </a:cubicBezTo>
                  <a:cubicBezTo>
                    <a:pt x="173" y="170"/>
                    <a:pt x="172" y="170"/>
                    <a:pt x="172" y="170"/>
                  </a:cubicBezTo>
                  <a:cubicBezTo>
                    <a:pt x="171" y="170"/>
                    <a:pt x="169" y="170"/>
                    <a:pt x="168" y="170"/>
                  </a:cubicBezTo>
                  <a:cubicBezTo>
                    <a:pt x="167" y="170"/>
                    <a:pt x="167" y="169"/>
                    <a:pt x="167" y="169"/>
                  </a:cubicBezTo>
                  <a:cubicBezTo>
                    <a:pt x="167" y="169"/>
                    <a:pt x="167" y="168"/>
                    <a:pt x="167" y="168"/>
                  </a:cubicBezTo>
                  <a:cubicBezTo>
                    <a:pt x="166" y="168"/>
                    <a:pt x="165" y="168"/>
                    <a:pt x="164" y="168"/>
                  </a:cubicBezTo>
                  <a:cubicBezTo>
                    <a:pt x="164" y="168"/>
                    <a:pt x="162" y="162"/>
                    <a:pt x="162" y="162"/>
                  </a:cubicBezTo>
                  <a:cubicBezTo>
                    <a:pt x="162" y="162"/>
                    <a:pt x="162" y="162"/>
                    <a:pt x="162" y="162"/>
                  </a:cubicBezTo>
                  <a:cubicBezTo>
                    <a:pt x="163" y="162"/>
                    <a:pt x="163" y="161"/>
                    <a:pt x="163" y="161"/>
                  </a:cubicBezTo>
                  <a:cubicBezTo>
                    <a:pt x="163" y="161"/>
                    <a:pt x="162" y="160"/>
                    <a:pt x="162" y="159"/>
                  </a:cubicBezTo>
                  <a:cubicBezTo>
                    <a:pt x="162" y="159"/>
                    <a:pt x="162" y="158"/>
                    <a:pt x="162" y="158"/>
                  </a:cubicBezTo>
                  <a:cubicBezTo>
                    <a:pt x="162" y="158"/>
                    <a:pt x="162" y="156"/>
                    <a:pt x="162" y="156"/>
                  </a:cubicBezTo>
                  <a:cubicBezTo>
                    <a:pt x="162" y="155"/>
                    <a:pt x="161" y="155"/>
                    <a:pt x="161" y="155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1" y="154"/>
                    <a:pt x="162" y="152"/>
                    <a:pt x="162" y="152"/>
                  </a:cubicBezTo>
                  <a:cubicBezTo>
                    <a:pt x="162" y="152"/>
                    <a:pt x="158" y="150"/>
                    <a:pt x="158" y="150"/>
                  </a:cubicBezTo>
                  <a:cubicBezTo>
                    <a:pt x="158" y="149"/>
                    <a:pt x="157" y="150"/>
                    <a:pt x="156" y="150"/>
                  </a:cubicBezTo>
                  <a:cubicBezTo>
                    <a:pt x="156" y="150"/>
                    <a:pt x="155" y="150"/>
                    <a:pt x="155" y="150"/>
                  </a:cubicBezTo>
                  <a:cubicBezTo>
                    <a:pt x="155" y="150"/>
                    <a:pt x="154" y="147"/>
                    <a:pt x="154" y="146"/>
                  </a:cubicBezTo>
                  <a:cubicBezTo>
                    <a:pt x="154" y="146"/>
                    <a:pt x="152" y="144"/>
                    <a:pt x="152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0" y="131"/>
                    <a:pt x="0" y="131"/>
                  </a:cubicBezTo>
                  <a:cubicBezTo>
                    <a:pt x="4" y="129"/>
                    <a:pt x="7" y="127"/>
                    <a:pt x="10" y="125"/>
                  </a:cubicBezTo>
                  <a:cubicBezTo>
                    <a:pt x="11" y="124"/>
                    <a:pt x="12" y="123"/>
                    <a:pt x="13" y="122"/>
                  </a:cubicBezTo>
                  <a:cubicBezTo>
                    <a:pt x="14" y="122"/>
                    <a:pt x="15" y="122"/>
                    <a:pt x="16" y="121"/>
                  </a:cubicBezTo>
                  <a:cubicBezTo>
                    <a:pt x="16" y="121"/>
                    <a:pt x="16" y="121"/>
                    <a:pt x="17" y="120"/>
                  </a:cubicBezTo>
                  <a:cubicBezTo>
                    <a:pt x="17" y="120"/>
                    <a:pt x="18" y="120"/>
                    <a:pt x="18" y="120"/>
                  </a:cubicBezTo>
                  <a:cubicBezTo>
                    <a:pt x="19" y="119"/>
                    <a:pt x="19" y="119"/>
                    <a:pt x="20" y="119"/>
                  </a:cubicBezTo>
                  <a:cubicBezTo>
                    <a:pt x="20" y="118"/>
                    <a:pt x="21" y="118"/>
                    <a:pt x="22" y="118"/>
                  </a:cubicBezTo>
                  <a:cubicBezTo>
                    <a:pt x="22" y="117"/>
                    <a:pt x="22" y="117"/>
                    <a:pt x="23" y="116"/>
                  </a:cubicBezTo>
                  <a:cubicBezTo>
                    <a:pt x="23" y="116"/>
                    <a:pt x="23" y="115"/>
                    <a:pt x="23" y="115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5" y="113"/>
                    <a:pt x="25" y="112"/>
                    <a:pt x="25" y="112"/>
                  </a:cubicBezTo>
                  <a:cubicBezTo>
                    <a:pt x="27" y="111"/>
                    <a:pt x="28" y="110"/>
                    <a:pt x="29" y="110"/>
                  </a:cubicBezTo>
                  <a:cubicBezTo>
                    <a:pt x="30" y="109"/>
                    <a:pt x="31" y="108"/>
                    <a:pt x="31" y="107"/>
                  </a:cubicBezTo>
                  <a:cubicBezTo>
                    <a:pt x="31" y="106"/>
                    <a:pt x="31" y="105"/>
                    <a:pt x="31" y="105"/>
                  </a:cubicBezTo>
                  <a:cubicBezTo>
                    <a:pt x="31" y="105"/>
                    <a:pt x="31" y="104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29" y="103"/>
                    <a:pt x="29" y="103"/>
                    <a:pt x="29" y="102"/>
                  </a:cubicBezTo>
                  <a:cubicBezTo>
                    <a:pt x="29" y="100"/>
                    <a:pt x="29" y="100"/>
                    <a:pt x="29" y="100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6"/>
                    <a:pt x="25" y="96"/>
                    <a:pt x="25" y="96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3" y="93"/>
                    <a:pt x="23" y="93"/>
                    <a:pt x="23" y="93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25" y="85"/>
                    <a:pt x="26" y="84"/>
                    <a:pt x="26" y="84"/>
                  </a:cubicBezTo>
                  <a:cubicBezTo>
                    <a:pt x="28" y="83"/>
                    <a:pt x="29" y="83"/>
                    <a:pt x="31" y="83"/>
                  </a:cubicBezTo>
                  <a:cubicBezTo>
                    <a:pt x="32" y="83"/>
                    <a:pt x="33" y="82"/>
                    <a:pt x="35" y="82"/>
                  </a:cubicBezTo>
                  <a:cubicBezTo>
                    <a:pt x="36" y="81"/>
                    <a:pt x="38" y="81"/>
                    <a:pt x="39" y="81"/>
                  </a:cubicBezTo>
                  <a:cubicBezTo>
                    <a:pt x="42" y="81"/>
                    <a:pt x="46" y="80"/>
                    <a:pt x="49" y="80"/>
                  </a:cubicBezTo>
                  <a:cubicBezTo>
                    <a:pt x="51" y="80"/>
                    <a:pt x="53" y="80"/>
                    <a:pt x="55" y="80"/>
                  </a:cubicBezTo>
                  <a:cubicBezTo>
                    <a:pt x="57" y="80"/>
                    <a:pt x="59" y="80"/>
                    <a:pt x="61" y="80"/>
                  </a:cubicBezTo>
                  <a:cubicBezTo>
                    <a:pt x="64" y="80"/>
                    <a:pt x="67" y="81"/>
                    <a:pt x="70" y="82"/>
                  </a:cubicBezTo>
                  <a:cubicBezTo>
                    <a:pt x="71" y="82"/>
                    <a:pt x="72" y="84"/>
                    <a:pt x="73" y="84"/>
                  </a:cubicBezTo>
                  <a:cubicBezTo>
                    <a:pt x="75" y="85"/>
                    <a:pt x="76" y="87"/>
                    <a:pt x="78" y="86"/>
                  </a:cubicBezTo>
                  <a:cubicBezTo>
                    <a:pt x="79" y="86"/>
                    <a:pt x="80" y="86"/>
                    <a:pt x="81" y="85"/>
                  </a:cubicBezTo>
                  <a:cubicBezTo>
                    <a:pt x="82" y="85"/>
                    <a:pt x="84" y="85"/>
                    <a:pt x="85" y="85"/>
                  </a:cubicBezTo>
                  <a:cubicBezTo>
                    <a:pt x="87" y="85"/>
                    <a:pt x="89" y="85"/>
                    <a:pt x="91" y="85"/>
                  </a:cubicBezTo>
                  <a:cubicBezTo>
                    <a:pt x="93" y="85"/>
                    <a:pt x="96" y="85"/>
                    <a:pt x="98" y="84"/>
                  </a:cubicBezTo>
                  <a:cubicBezTo>
                    <a:pt x="99" y="84"/>
                    <a:pt x="100" y="84"/>
                    <a:pt x="101" y="83"/>
                  </a:cubicBezTo>
                  <a:cubicBezTo>
                    <a:pt x="102" y="83"/>
                    <a:pt x="103" y="83"/>
                    <a:pt x="104" y="82"/>
                  </a:cubicBezTo>
                  <a:cubicBezTo>
                    <a:pt x="106" y="81"/>
                    <a:pt x="107" y="79"/>
                    <a:pt x="109" y="78"/>
                  </a:cubicBezTo>
                  <a:cubicBezTo>
                    <a:pt x="111" y="76"/>
                    <a:pt x="113" y="75"/>
                    <a:pt x="115" y="73"/>
                  </a:cubicBezTo>
                  <a:cubicBezTo>
                    <a:pt x="117" y="73"/>
                    <a:pt x="118" y="72"/>
                    <a:pt x="119" y="72"/>
                  </a:cubicBezTo>
                  <a:cubicBezTo>
                    <a:pt x="120" y="72"/>
                    <a:pt x="122" y="72"/>
                    <a:pt x="122" y="71"/>
                  </a:cubicBezTo>
                  <a:cubicBezTo>
                    <a:pt x="123" y="71"/>
                    <a:pt x="123" y="69"/>
                    <a:pt x="123" y="68"/>
                  </a:cubicBezTo>
                  <a:cubicBezTo>
                    <a:pt x="123" y="68"/>
                    <a:pt x="124" y="67"/>
                    <a:pt x="124" y="66"/>
                  </a:cubicBezTo>
                  <a:cubicBezTo>
                    <a:pt x="124" y="65"/>
                    <a:pt x="123" y="65"/>
                    <a:pt x="123" y="64"/>
                  </a:cubicBezTo>
                  <a:cubicBezTo>
                    <a:pt x="123" y="64"/>
                    <a:pt x="123" y="64"/>
                    <a:pt x="123" y="63"/>
                  </a:cubicBezTo>
                  <a:cubicBezTo>
                    <a:pt x="123" y="63"/>
                    <a:pt x="123" y="63"/>
                    <a:pt x="123" y="62"/>
                  </a:cubicBezTo>
                  <a:cubicBezTo>
                    <a:pt x="123" y="62"/>
                    <a:pt x="123" y="62"/>
                    <a:pt x="123" y="61"/>
                  </a:cubicBezTo>
                  <a:cubicBezTo>
                    <a:pt x="123" y="61"/>
                    <a:pt x="123" y="61"/>
                    <a:pt x="122" y="60"/>
                  </a:cubicBezTo>
                  <a:cubicBezTo>
                    <a:pt x="122" y="60"/>
                    <a:pt x="122" y="59"/>
                    <a:pt x="121" y="59"/>
                  </a:cubicBezTo>
                  <a:cubicBezTo>
                    <a:pt x="121" y="59"/>
                    <a:pt x="121" y="58"/>
                    <a:pt x="120" y="58"/>
                  </a:cubicBezTo>
                  <a:cubicBezTo>
                    <a:pt x="120" y="58"/>
                    <a:pt x="120" y="58"/>
                    <a:pt x="120" y="57"/>
                  </a:cubicBezTo>
                  <a:cubicBezTo>
                    <a:pt x="120" y="57"/>
                    <a:pt x="120" y="57"/>
                    <a:pt x="121" y="56"/>
                  </a:cubicBezTo>
                  <a:cubicBezTo>
                    <a:pt x="121" y="56"/>
                    <a:pt x="122" y="56"/>
                    <a:pt x="123" y="56"/>
                  </a:cubicBezTo>
                  <a:cubicBezTo>
                    <a:pt x="123" y="55"/>
                    <a:pt x="124" y="55"/>
                    <a:pt x="124" y="55"/>
                  </a:cubicBezTo>
                  <a:cubicBezTo>
                    <a:pt x="125" y="55"/>
                    <a:pt x="126" y="55"/>
                    <a:pt x="126" y="54"/>
                  </a:cubicBezTo>
                  <a:cubicBezTo>
                    <a:pt x="126" y="54"/>
                    <a:pt x="126" y="54"/>
                    <a:pt x="126" y="54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6" y="53"/>
                    <a:pt x="126" y="52"/>
                    <a:pt x="125" y="52"/>
                  </a:cubicBezTo>
                  <a:cubicBezTo>
                    <a:pt x="125" y="51"/>
                    <a:pt x="124" y="51"/>
                    <a:pt x="124" y="51"/>
                  </a:cubicBezTo>
                  <a:cubicBezTo>
                    <a:pt x="124" y="51"/>
                    <a:pt x="123" y="51"/>
                    <a:pt x="123" y="51"/>
                  </a:cubicBezTo>
                  <a:cubicBezTo>
                    <a:pt x="122" y="51"/>
                    <a:pt x="123" y="51"/>
                    <a:pt x="124" y="50"/>
                  </a:cubicBezTo>
                  <a:cubicBezTo>
                    <a:pt x="124" y="50"/>
                    <a:pt x="125" y="49"/>
                    <a:pt x="124" y="49"/>
                  </a:cubicBezTo>
                  <a:cubicBezTo>
                    <a:pt x="124" y="49"/>
                    <a:pt x="124" y="49"/>
                    <a:pt x="123" y="49"/>
                  </a:cubicBezTo>
                  <a:cubicBezTo>
                    <a:pt x="123" y="48"/>
                    <a:pt x="123" y="48"/>
                    <a:pt x="123" y="49"/>
                  </a:cubicBezTo>
                  <a:cubicBezTo>
                    <a:pt x="122" y="49"/>
                    <a:pt x="122" y="49"/>
                    <a:pt x="122" y="50"/>
                  </a:cubicBezTo>
                  <a:cubicBezTo>
                    <a:pt x="122" y="50"/>
                    <a:pt x="121" y="50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0" y="51"/>
                    <a:pt x="120" y="50"/>
                    <a:pt x="120" y="50"/>
                  </a:cubicBezTo>
                  <a:cubicBezTo>
                    <a:pt x="120" y="50"/>
                    <a:pt x="120" y="49"/>
                    <a:pt x="119" y="49"/>
                  </a:cubicBezTo>
                  <a:cubicBezTo>
                    <a:pt x="119" y="49"/>
                    <a:pt x="119" y="48"/>
                    <a:pt x="119" y="48"/>
                  </a:cubicBezTo>
                  <a:cubicBezTo>
                    <a:pt x="119" y="47"/>
                    <a:pt x="119" y="47"/>
                    <a:pt x="119" y="46"/>
                  </a:cubicBezTo>
                  <a:cubicBezTo>
                    <a:pt x="119" y="46"/>
                    <a:pt x="118" y="46"/>
                    <a:pt x="118" y="45"/>
                  </a:cubicBezTo>
                  <a:cubicBezTo>
                    <a:pt x="118" y="44"/>
                    <a:pt x="118" y="44"/>
                    <a:pt x="119" y="44"/>
                  </a:cubicBezTo>
                  <a:cubicBezTo>
                    <a:pt x="119" y="44"/>
                    <a:pt x="119" y="44"/>
                    <a:pt x="119" y="43"/>
                  </a:cubicBezTo>
                  <a:cubicBezTo>
                    <a:pt x="119" y="43"/>
                    <a:pt x="120" y="43"/>
                    <a:pt x="120" y="42"/>
                  </a:cubicBezTo>
                  <a:cubicBezTo>
                    <a:pt x="121" y="42"/>
                    <a:pt x="122" y="41"/>
                    <a:pt x="123" y="41"/>
                  </a:cubicBezTo>
                  <a:cubicBezTo>
                    <a:pt x="124" y="40"/>
                    <a:pt x="124" y="40"/>
                    <a:pt x="125" y="39"/>
                  </a:cubicBezTo>
                  <a:cubicBezTo>
                    <a:pt x="126" y="39"/>
                    <a:pt x="126" y="39"/>
                    <a:pt x="127" y="38"/>
                  </a:cubicBezTo>
                  <a:cubicBezTo>
                    <a:pt x="127" y="38"/>
                    <a:pt x="128" y="37"/>
                    <a:pt x="128" y="37"/>
                  </a:cubicBezTo>
                  <a:cubicBezTo>
                    <a:pt x="128" y="36"/>
                    <a:pt x="129" y="35"/>
                    <a:pt x="129" y="35"/>
                  </a:cubicBezTo>
                  <a:cubicBezTo>
                    <a:pt x="129" y="34"/>
                    <a:pt x="129" y="34"/>
                    <a:pt x="130" y="34"/>
                  </a:cubicBezTo>
                  <a:cubicBezTo>
                    <a:pt x="130" y="33"/>
                    <a:pt x="131" y="33"/>
                    <a:pt x="131" y="33"/>
                  </a:cubicBezTo>
                  <a:cubicBezTo>
                    <a:pt x="132" y="33"/>
                    <a:pt x="133" y="33"/>
                    <a:pt x="133" y="33"/>
                  </a:cubicBezTo>
                  <a:cubicBezTo>
                    <a:pt x="134" y="32"/>
                    <a:pt x="134" y="32"/>
                    <a:pt x="135" y="31"/>
                  </a:cubicBezTo>
                  <a:cubicBezTo>
                    <a:pt x="135" y="31"/>
                    <a:pt x="136" y="30"/>
                    <a:pt x="136" y="30"/>
                  </a:cubicBezTo>
                  <a:cubicBezTo>
                    <a:pt x="137" y="30"/>
                    <a:pt x="137" y="29"/>
                    <a:pt x="138" y="29"/>
                  </a:cubicBezTo>
                  <a:cubicBezTo>
                    <a:pt x="138" y="28"/>
                    <a:pt x="138" y="28"/>
                    <a:pt x="139" y="27"/>
                  </a:cubicBezTo>
                  <a:cubicBezTo>
                    <a:pt x="139" y="27"/>
                    <a:pt x="139" y="26"/>
                    <a:pt x="139" y="25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52" y="12"/>
                    <a:pt x="152" y="12"/>
                    <a:pt x="152" y="12"/>
                  </a:cubicBezTo>
                  <a:cubicBezTo>
                    <a:pt x="152" y="10"/>
                    <a:pt x="152" y="10"/>
                    <a:pt x="152" y="10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61" y="6"/>
                    <a:pt x="161" y="6"/>
                  </a:cubicBezTo>
                  <a:cubicBezTo>
                    <a:pt x="161" y="6"/>
                    <a:pt x="168" y="2"/>
                    <a:pt x="168" y="2"/>
                  </a:cubicBezTo>
                  <a:cubicBezTo>
                    <a:pt x="168" y="2"/>
                    <a:pt x="169" y="1"/>
                    <a:pt x="169" y="1"/>
                  </a:cubicBezTo>
                  <a:cubicBezTo>
                    <a:pt x="169" y="1"/>
                    <a:pt x="170" y="0"/>
                    <a:pt x="170" y="0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0"/>
                    <a:pt x="221" y="4"/>
                    <a:pt x="221" y="5"/>
                  </a:cubicBezTo>
                  <a:cubicBezTo>
                    <a:pt x="221" y="6"/>
                    <a:pt x="220" y="7"/>
                    <a:pt x="220" y="8"/>
                  </a:cubicBezTo>
                  <a:cubicBezTo>
                    <a:pt x="219" y="9"/>
                    <a:pt x="220" y="9"/>
                    <a:pt x="221" y="10"/>
                  </a:cubicBezTo>
                  <a:cubicBezTo>
                    <a:pt x="221" y="11"/>
                    <a:pt x="221" y="12"/>
                    <a:pt x="221" y="13"/>
                  </a:cubicBezTo>
                  <a:cubicBezTo>
                    <a:pt x="221" y="13"/>
                    <a:pt x="221" y="15"/>
                    <a:pt x="220" y="16"/>
                  </a:cubicBezTo>
                  <a:cubicBezTo>
                    <a:pt x="220" y="18"/>
                    <a:pt x="220" y="20"/>
                    <a:pt x="220" y="21"/>
                  </a:cubicBezTo>
                  <a:cubicBezTo>
                    <a:pt x="219" y="22"/>
                    <a:pt x="221" y="24"/>
                    <a:pt x="222" y="25"/>
                  </a:cubicBezTo>
                  <a:cubicBezTo>
                    <a:pt x="222" y="26"/>
                    <a:pt x="222" y="28"/>
                    <a:pt x="222" y="28"/>
                  </a:cubicBezTo>
                  <a:cubicBezTo>
                    <a:pt x="222" y="29"/>
                    <a:pt x="222" y="31"/>
                    <a:pt x="222" y="32"/>
                  </a:cubicBezTo>
                  <a:cubicBezTo>
                    <a:pt x="221" y="32"/>
                    <a:pt x="222" y="37"/>
                    <a:pt x="222" y="37"/>
                  </a:cubicBezTo>
                  <a:cubicBezTo>
                    <a:pt x="222" y="37"/>
                    <a:pt x="221" y="38"/>
                    <a:pt x="221" y="39"/>
                  </a:cubicBezTo>
                  <a:cubicBezTo>
                    <a:pt x="220" y="39"/>
                    <a:pt x="219" y="40"/>
                    <a:pt x="219" y="41"/>
                  </a:cubicBezTo>
                  <a:cubicBezTo>
                    <a:pt x="219" y="41"/>
                    <a:pt x="219" y="43"/>
                    <a:pt x="218" y="44"/>
                  </a:cubicBezTo>
                  <a:cubicBezTo>
                    <a:pt x="218" y="44"/>
                    <a:pt x="218" y="47"/>
                    <a:pt x="218" y="47"/>
                  </a:cubicBezTo>
                  <a:cubicBezTo>
                    <a:pt x="218" y="47"/>
                    <a:pt x="219" y="49"/>
                    <a:pt x="219" y="49"/>
                  </a:cubicBezTo>
                  <a:cubicBezTo>
                    <a:pt x="219" y="49"/>
                    <a:pt x="219" y="52"/>
                    <a:pt x="219" y="53"/>
                  </a:cubicBezTo>
                  <a:cubicBezTo>
                    <a:pt x="219" y="53"/>
                    <a:pt x="219" y="58"/>
                    <a:pt x="219" y="58"/>
                  </a:cubicBezTo>
                  <a:cubicBezTo>
                    <a:pt x="221" y="61"/>
                    <a:pt x="221" y="61"/>
                    <a:pt x="221" y="61"/>
                  </a:cubicBezTo>
                  <a:cubicBezTo>
                    <a:pt x="221" y="61"/>
                    <a:pt x="219" y="65"/>
                    <a:pt x="219" y="65"/>
                  </a:cubicBezTo>
                  <a:cubicBezTo>
                    <a:pt x="219" y="66"/>
                    <a:pt x="218" y="68"/>
                    <a:pt x="218" y="68"/>
                  </a:cubicBezTo>
                  <a:cubicBezTo>
                    <a:pt x="218" y="68"/>
                    <a:pt x="219" y="69"/>
                    <a:pt x="219" y="70"/>
                  </a:cubicBezTo>
                  <a:cubicBezTo>
                    <a:pt x="219" y="70"/>
                    <a:pt x="220" y="70"/>
                    <a:pt x="220" y="70"/>
                  </a:cubicBezTo>
                  <a:cubicBezTo>
                    <a:pt x="220" y="69"/>
                    <a:pt x="220" y="69"/>
                    <a:pt x="220" y="69"/>
                  </a:cubicBezTo>
                  <a:cubicBezTo>
                    <a:pt x="220" y="69"/>
                    <a:pt x="221" y="68"/>
                    <a:pt x="221" y="68"/>
                  </a:cubicBezTo>
                  <a:cubicBezTo>
                    <a:pt x="221" y="68"/>
                    <a:pt x="222" y="68"/>
                    <a:pt x="222" y="68"/>
                  </a:cubicBezTo>
                  <a:cubicBezTo>
                    <a:pt x="223" y="68"/>
                    <a:pt x="223" y="69"/>
                    <a:pt x="223" y="70"/>
                  </a:cubicBezTo>
                  <a:cubicBezTo>
                    <a:pt x="223" y="70"/>
                    <a:pt x="224" y="71"/>
                    <a:pt x="224" y="71"/>
                  </a:cubicBezTo>
                  <a:cubicBezTo>
                    <a:pt x="223" y="105"/>
                    <a:pt x="223" y="105"/>
                    <a:pt x="223" y="105"/>
                  </a:cubicBezTo>
                  <a:cubicBezTo>
                    <a:pt x="224" y="109"/>
                    <a:pt x="224" y="109"/>
                    <a:pt x="224" y="109"/>
                  </a:cubicBezTo>
                  <a:cubicBezTo>
                    <a:pt x="215" y="140"/>
                    <a:pt x="215" y="140"/>
                    <a:pt x="215" y="140"/>
                  </a:cubicBezTo>
                  <a:cubicBezTo>
                    <a:pt x="216" y="142"/>
                    <a:pt x="216" y="142"/>
                    <a:pt x="216" y="142"/>
                  </a:cubicBezTo>
                  <a:cubicBezTo>
                    <a:pt x="215" y="161"/>
                    <a:pt x="215" y="161"/>
                    <a:pt x="215" y="161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14" y="176"/>
                    <a:pt x="215" y="178"/>
                    <a:pt x="215" y="178"/>
                  </a:cubicBezTo>
                  <a:cubicBezTo>
                    <a:pt x="215" y="178"/>
                    <a:pt x="216" y="181"/>
                    <a:pt x="216" y="181"/>
                  </a:cubicBezTo>
                  <a:cubicBezTo>
                    <a:pt x="210" y="184"/>
                    <a:pt x="210" y="184"/>
                    <a:pt x="210" y="184"/>
                  </a:cubicBezTo>
                  <a:cubicBezTo>
                    <a:pt x="210" y="184"/>
                    <a:pt x="208" y="186"/>
                    <a:pt x="208" y="186"/>
                  </a:cubicBezTo>
                  <a:cubicBezTo>
                    <a:pt x="208" y="187"/>
                    <a:pt x="208" y="188"/>
                    <a:pt x="208" y="188"/>
                  </a:cubicBezTo>
                  <a:close/>
                  <a:moveTo>
                    <a:pt x="195" y="206"/>
                  </a:moveTo>
                  <a:cubicBezTo>
                    <a:pt x="195" y="206"/>
                    <a:pt x="193" y="206"/>
                    <a:pt x="193" y="206"/>
                  </a:cubicBezTo>
                  <a:cubicBezTo>
                    <a:pt x="193" y="206"/>
                    <a:pt x="192" y="207"/>
                    <a:pt x="192" y="207"/>
                  </a:cubicBezTo>
                  <a:cubicBezTo>
                    <a:pt x="192" y="208"/>
                    <a:pt x="191" y="209"/>
                    <a:pt x="191" y="209"/>
                  </a:cubicBezTo>
                  <a:cubicBezTo>
                    <a:pt x="190" y="210"/>
                    <a:pt x="190" y="211"/>
                    <a:pt x="190" y="212"/>
                  </a:cubicBezTo>
                  <a:cubicBezTo>
                    <a:pt x="190" y="212"/>
                    <a:pt x="190" y="213"/>
                    <a:pt x="190" y="213"/>
                  </a:cubicBezTo>
                  <a:cubicBezTo>
                    <a:pt x="192" y="214"/>
                    <a:pt x="192" y="214"/>
                    <a:pt x="192" y="214"/>
                  </a:cubicBezTo>
                  <a:cubicBezTo>
                    <a:pt x="192" y="213"/>
                    <a:pt x="193" y="213"/>
                    <a:pt x="193" y="212"/>
                  </a:cubicBezTo>
                  <a:cubicBezTo>
                    <a:pt x="194" y="212"/>
                    <a:pt x="194" y="211"/>
                    <a:pt x="195" y="211"/>
                  </a:cubicBezTo>
                  <a:cubicBezTo>
                    <a:pt x="195" y="210"/>
                    <a:pt x="195" y="210"/>
                    <a:pt x="195" y="209"/>
                  </a:cubicBezTo>
                  <a:cubicBezTo>
                    <a:pt x="195" y="209"/>
                    <a:pt x="195" y="209"/>
                    <a:pt x="195" y="208"/>
                  </a:cubicBezTo>
                  <a:cubicBezTo>
                    <a:pt x="196" y="208"/>
                    <a:pt x="196" y="207"/>
                    <a:pt x="196" y="207"/>
                  </a:cubicBezTo>
                  <a:cubicBezTo>
                    <a:pt x="196" y="207"/>
                    <a:pt x="196" y="206"/>
                    <a:pt x="196" y="206"/>
                  </a:cubicBezTo>
                  <a:cubicBezTo>
                    <a:pt x="196" y="206"/>
                    <a:pt x="196" y="206"/>
                    <a:pt x="196" y="206"/>
                  </a:cubicBezTo>
                  <a:cubicBezTo>
                    <a:pt x="196" y="206"/>
                    <a:pt x="195" y="205"/>
                    <a:pt x="195" y="20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93200E6A-A45F-4776-9942-9FA3E7819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2997" y="2744988"/>
              <a:ext cx="224700" cy="436182"/>
            </a:xfrm>
            <a:custGeom>
              <a:avLst/>
              <a:gdLst>
                <a:gd name="T0" fmla="*/ 52 w 57"/>
                <a:gd name="T1" fmla="*/ 44 h 110"/>
                <a:gd name="T2" fmla="*/ 48 w 57"/>
                <a:gd name="T3" fmla="*/ 43 h 110"/>
                <a:gd name="T4" fmla="*/ 45 w 57"/>
                <a:gd name="T5" fmla="*/ 42 h 110"/>
                <a:gd name="T6" fmla="*/ 45 w 57"/>
                <a:gd name="T7" fmla="*/ 41 h 110"/>
                <a:gd name="T8" fmla="*/ 45 w 57"/>
                <a:gd name="T9" fmla="*/ 36 h 110"/>
                <a:gd name="T10" fmla="*/ 47 w 57"/>
                <a:gd name="T11" fmla="*/ 33 h 110"/>
                <a:gd name="T12" fmla="*/ 50 w 57"/>
                <a:gd name="T13" fmla="*/ 32 h 110"/>
                <a:gd name="T14" fmla="*/ 52 w 57"/>
                <a:gd name="T15" fmla="*/ 32 h 110"/>
                <a:gd name="T16" fmla="*/ 53 w 57"/>
                <a:gd name="T17" fmla="*/ 29 h 110"/>
                <a:gd name="T18" fmla="*/ 31 w 57"/>
                <a:gd name="T19" fmla="*/ 2 h 110"/>
                <a:gd name="T20" fmla="*/ 25 w 57"/>
                <a:gd name="T21" fmla="*/ 4 h 110"/>
                <a:gd name="T22" fmla="*/ 20 w 57"/>
                <a:gd name="T23" fmla="*/ 13 h 110"/>
                <a:gd name="T24" fmla="*/ 17 w 57"/>
                <a:gd name="T25" fmla="*/ 23 h 110"/>
                <a:gd name="T26" fmla="*/ 12 w 57"/>
                <a:gd name="T27" fmla="*/ 28 h 110"/>
                <a:gd name="T28" fmla="*/ 17 w 57"/>
                <a:gd name="T29" fmla="*/ 38 h 110"/>
                <a:gd name="T30" fmla="*/ 21 w 57"/>
                <a:gd name="T31" fmla="*/ 47 h 110"/>
                <a:gd name="T32" fmla="*/ 27 w 57"/>
                <a:gd name="T33" fmla="*/ 57 h 110"/>
                <a:gd name="T34" fmla="*/ 14 w 57"/>
                <a:gd name="T35" fmla="*/ 68 h 110"/>
                <a:gd name="T36" fmla="*/ 8 w 57"/>
                <a:gd name="T37" fmla="*/ 70 h 110"/>
                <a:gd name="T38" fmla="*/ 3 w 57"/>
                <a:gd name="T39" fmla="*/ 75 h 110"/>
                <a:gd name="T40" fmla="*/ 1 w 57"/>
                <a:gd name="T41" fmla="*/ 80 h 110"/>
                <a:gd name="T42" fmla="*/ 1 w 57"/>
                <a:gd name="T43" fmla="*/ 85 h 110"/>
                <a:gd name="T44" fmla="*/ 6 w 57"/>
                <a:gd name="T45" fmla="*/ 88 h 110"/>
                <a:gd name="T46" fmla="*/ 7 w 57"/>
                <a:gd name="T47" fmla="*/ 92 h 110"/>
                <a:gd name="T48" fmla="*/ 12 w 57"/>
                <a:gd name="T49" fmla="*/ 97 h 110"/>
                <a:gd name="T50" fmla="*/ 14 w 57"/>
                <a:gd name="T51" fmla="*/ 99 h 110"/>
                <a:gd name="T52" fmla="*/ 17 w 57"/>
                <a:gd name="T53" fmla="*/ 98 h 110"/>
                <a:gd name="T54" fmla="*/ 20 w 57"/>
                <a:gd name="T55" fmla="*/ 99 h 110"/>
                <a:gd name="T56" fmla="*/ 23 w 57"/>
                <a:gd name="T57" fmla="*/ 101 h 110"/>
                <a:gd name="T58" fmla="*/ 22 w 57"/>
                <a:gd name="T59" fmla="*/ 105 h 110"/>
                <a:gd name="T60" fmla="*/ 21 w 57"/>
                <a:gd name="T61" fmla="*/ 110 h 110"/>
                <a:gd name="T62" fmla="*/ 25 w 57"/>
                <a:gd name="T63" fmla="*/ 108 h 110"/>
                <a:gd name="T64" fmla="*/ 28 w 57"/>
                <a:gd name="T65" fmla="*/ 104 h 110"/>
                <a:gd name="T66" fmla="*/ 31 w 57"/>
                <a:gd name="T67" fmla="*/ 98 h 110"/>
                <a:gd name="T68" fmla="*/ 32 w 57"/>
                <a:gd name="T69" fmla="*/ 95 h 110"/>
                <a:gd name="T70" fmla="*/ 35 w 57"/>
                <a:gd name="T71" fmla="*/ 94 h 110"/>
                <a:gd name="T72" fmla="*/ 39 w 57"/>
                <a:gd name="T73" fmla="*/ 91 h 110"/>
                <a:gd name="T74" fmla="*/ 42 w 57"/>
                <a:gd name="T75" fmla="*/ 88 h 110"/>
                <a:gd name="T76" fmla="*/ 40 w 57"/>
                <a:gd name="T77" fmla="*/ 89 h 110"/>
                <a:gd name="T78" fmla="*/ 38 w 57"/>
                <a:gd name="T79" fmla="*/ 89 h 110"/>
                <a:gd name="T80" fmla="*/ 40 w 57"/>
                <a:gd name="T81" fmla="*/ 86 h 110"/>
                <a:gd name="T82" fmla="*/ 40 w 57"/>
                <a:gd name="T83" fmla="*/ 83 h 110"/>
                <a:gd name="T84" fmla="*/ 43 w 57"/>
                <a:gd name="T85" fmla="*/ 81 h 110"/>
                <a:gd name="T86" fmla="*/ 46 w 57"/>
                <a:gd name="T87" fmla="*/ 79 h 110"/>
                <a:gd name="T88" fmla="*/ 48 w 57"/>
                <a:gd name="T89" fmla="*/ 71 h 110"/>
                <a:gd name="T90" fmla="*/ 49 w 57"/>
                <a:gd name="T91" fmla="*/ 64 h 110"/>
                <a:gd name="T92" fmla="*/ 52 w 57"/>
                <a:gd name="T93" fmla="*/ 60 h 110"/>
                <a:gd name="T94" fmla="*/ 53 w 57"/>
                <a:gd name="T95" fmla="*/ 55 h 110"/>
                <a:gd name="T96" fmla="*/ 54 w 57"/>
                <a:gd name="T97" fmla="*/ 50 h 110"/>
                <a:gd name="T98" fmla="*/ 54 w 57"/>
                <a:gd name="T99" fmla="*/ 4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110">
                  <a:moveTo>
                    <a:pt x="54" y="46"/>
                  </a:moveTo>
                  <a:cubicBezTo>
                    <a:pt x="54" y="45"/>
                    <a:pt x="53" y="45"/>
                    <a:pt x="53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0" y="43"/>
                    <a:pt x="50" y="43"/>
                  </a:cubicBezTo>
                  <a:cubicBezTo>
                    <a:pt x="49" y="43"/>
                    <a:pt x="49" y="43"/>
                    <a:pt x="48" y="43"/>
                  </a:cubicBezTo>
                  <a:cubicBezTo>
                    <a:pt x="48" y="43"/>
                    <a:pt x="48" y="43"/>
                    <a:pt x="47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2"/>
                    <a:pt x="45" y="42"/>
                    <a:pt x="45" y="42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6" y="41"/>
                    <a:pt x="46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4" y="41"/>
                  </a:cubicBezTo>
                  <a:cubicBezTo>
                    <a:pt x="44" y="40"/>
                    <a:pt x="44" y="39"/>
                    <a:pt x="44" y="39"/>
                  </a:cubicBezTo>
                  <a:cubicBezTo>
                    <a:pt x="44" y="38"/>
                    <a:pt x="45" y="36"/>
                    <a:pt x="45" y="36"/>
                  </a:cubicBezTo>
                  <a:cubicBezTo>
                    <a:pt x="45" y="36"/>
                    <a:pt x="45" y="36"/>
                    <a:pt x="46" y="35"/>
                  </a:cubicBezTo>
                  <a:cubicBezTo>
                    <a:pt x="46" y="34"/>
                    <a:pt x="46" y="34"/>
                    <a:pt x="47" y="34"/>
                  </a:cubicBezTo>
                  <a:cubicBezTo>
                    <a:pt x="47" y="34"/>
                    <a:pt x="47" y="33"/>
                    <a:pt x="47" y="33"/>
                  </a:cubicBezTo>
                  <a:cubicBezTo>
                    <a:pt x="47" y="33"/>
                    <a:pt x="47" y="32"/>
                    <a:pt x="47" y="32"/>
                  </a:cubicBezTo>
                  <a:cubicBezTo>
                    <a:pt x="48" y="32"/>
                    <a:pt x="48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1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1"/>
                    <a:pt x="52" y="31"/>
                  </a:cubicBezTo>
                  <a:cubicBezTo>
                    <a:pt x="52" y="31"/>
                    <a:pt x="53" y="30"/>
                    <a:pt x="53" y="30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31" y="2"/>
                    <a:pt x="31" y="2"/>
                  </a:cubicBezTo>
                  <a:cubicBezTo>
                    <a:pt x="31" y="2"/>
                    <a:pt x="30" y="1"/>
                    <a:pt x="30" y="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3" y="68"/>
                  </a:cubicBezTo>
                  <a:cubicBezTo>
                    <a:pt x="13" y="69"/>
                    <a:pt x="12" y="69"/>
                    <a:pt x="12" y="69"/>
                  </a:cubicBezTo>
                  <a:cubicBezTo>
                    <a:pt x="10" y="70"/>
                    <a:pt x="9" y="70"/>
                    <a:pt x="8" y="70"/>
                  </a:cubicBezTo>
                  <a:cubicBezTo>
                    <a:pt x="7" y="71"/>
                    <a:pt x="6" y="71"/>
                    <a:pt x="5" y="72"/>
                  </a:cubicBezTo>
                  <a:cubicBezTo>
                    <a:pt x="4" y="72"/>
                    <a:pt x="4" y="73"/>
                    <a:pt x="4" y="74"/>
                  </a:cubicBezTo>
                  <a:cubicBezTo>
                    <a:pt x="3" y="74"/>
                    <a:pt x="3" y="75"/>
                    <a:pt x="3" y="75"/>
                  </a:cubicBezTo>
                  <a:cubicBezTo>
                    <a:pt x="2" y="76"/>
                    <a:pt x="2" y="77"/>
                    <a:pt x="1" y="78"/>
                  </a:cubicBezTo>
                  <a:cubicBezTo>
                    <a:pt x="1" y="78"/>
                    <a:pt x="0" y="78"/>
                    <a:pt x="1" y="79"/>
                  </a:cubicBezTo>
                  <a:cubicBezTo>
                    <a:pt x="1" y="79"/>
                    <a:pt x="1" y="80"/>
                    <a:pt x="1" y="80"/>
                  </a:cubicBezTo>
                  <a:cubicBezTo>
                    <a:pt x="2" y="81"/>
                    <a:pt x="2" y="81"/>
                    <a:pt x="3" y="81"/>
                  </a:cubicBezTo>
                  <a:cubicBezTo>
                    <a:pt x="3" y="82"/>
                    <a:pt x="2" y="83"/>
                    <a:pt x="2" y="84"/>
                  </a:cubicBezTo>
                  <a:cubicBezTo>
                    <a:pt x="2" y="84"/>
                    <a:pt x="1" y="84"/>
                    <a:pt x="1" y="85"/>
                  </a:cubicBezTo>
                  <a:cubicBezTo>
                    <a:pt x="1" y="85"/>
                    <a:pt x="1" y="86"/>
                    <a:pt x="1" y="86"/>
                  </a:cubicBezTo>
                  <a:cubicBezTo>
                    <a:pt x="1" y="87"/>
                    <a:pt x="3" y="87"/>
                    <a:pt x="4" y="87"/>
                  </a:cubicBezTo>
                  <a:cubicBezTo>
                    <a:pt x="5" y="87"/>
                    <a:pt x="6" y="87"/>
                    <a:pt x="6" y="88"/>
                  </a:cubicBezTo>
                  <a:cubicBezTo>
                    <a:pt x="6" y="88"/>
                    <a:pt x="6" y="90"/>
                    <a:pt x="6" y="90"/>
                  </a:cubicBezTo>
                  <a:cubicBezTo>
                    <a:pt x="6" y="91"/>
                    <a:pt x="5" y="91"/>
                    <a:pt x="6" y="92"/>
                  </a:cubicBezTo>
                  <a:cubicBezTo>
                    <a:pt x="6" y="92"/>
                    <a:pt x="7" y="92"/>
                    <a:pt x="7" y="92"/>
                  </a:cubicBezTo>
                  <a:cubicBezTo>
                    <a:pt x="8" y="93"/>
                    <a:pt x="8" y="93"/>
                    <a:pt x="9" y="93"/>
                  </a:cubicBezTo>
                  <a:cubicBezTo>
                    <a:pt x="10" y="94"/>
                    <a:pt x="10" y="94"/>
                    <a:pt x="11" y="95"/>
                  </a:cubicBezTo>
                  <a:cubicBezTo>
                    <a:pt x="11" y="96"/>
                    <a:pt x="12" y="96"/>
                    <a:pt x="12" y="97"/>
                  </a:cubicBezTo>
                  <a:cubicBezTo>
                    <a:pt x="13" y="97"/>
                    <a:pt x="13" y="97"/>
                    <a:pt x="13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6" y="99"/>
                    <a:pt x="16" y="99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7"/>
                    <a:pt x="18" y="98"/>
                    <a:pt x="18" y="98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0" y="99"/>
                    <a:pt x="21" y="99"/>
                    <a:pt x="21" y="99"/>
                  </a:cubicBezTo>
                  <a:cubicBezTo>
                    <a:pt x="21" y="99"/>
                    <a:pt x="22" y="99"/>
                    <a:pt x="22" y="99"/>
                  </a:cubicBezTo>
                  <a:cubicBezTo>
                    <a:pt x="22" y="100"/>
                    <a:pt x="23" y="100"/>
                    <a:pt x="23" y="101"/>
                  </a:cubicBezTo>
                  <a:cubicBezTo>
                    <a:pt x="23" y="101"/>
                    <a:pt x="23" y="102"/>
                    <a:pt x="23" y="102"/>
                  </a:cubicBezTo>
                  <a:cubicBezTo>
                    <a:pt x="23" y="103"/>
                    <a:pt x="23" y="103"/>
                    <a:pt x="23" y="104"/>
                  </a:cubicBezTo>
                  <a:cubicBezTo>
                    <a:pt x="23" y="104"/>
                    <a:pt x="22" y="104"/>
                    <a:pt x="22" y="105"/>
                  </a:cubicBezTo>
                  <a:cubicBezTo>
                    <a:pt x="22" y="106"/>
                    <a:pt x="22" y="107"/>
                    <a:pt x="21" y="107"/>
                  </a:cubicBezTo>
                  <a:cubicBezTo>
                    <a:pt x="21" y="108"/>
                    <a:pt x="21" y="108"/>
                    <a:pt x="21" y="109"/>
                  </a:cubicBezTo>
                  <a:cubicBezTo>
                    <a:pt x="21" y="109"/>
                    <a:pt x="21" y="110"/>
                    <a:pt x="21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3" y="110"/>
                    <a:pt x="23" y="110"/>
                    <a:pt x="24" y="109"/>
                  </a:cubicBezTo>
                  <a:cubicBezTo>
                    <a:pt x="24" y="109"/>
                    <a:pt x="24" y="109"/>
                    <a:pt x="25" y="108"/>
                  </a:cubicBezTo>
                  <a:cubicBezTo>
                    <a:pt x="25" y="108"/>
                    <a:pt x="26" y="108"/>
                    <a:pt x="26" y="108"/>
                  </a:cubicBezTo>
                  <a:cubicBezTo>
                    <a:pt x="27" y="107"/>
                    <a:pt x="27" y="106"/>
                    <a:pt x="27" y="106"/>
                  </a:cubicBezTo>
                  <a:cubicBezTo>
                    <a:pt x="28" y="105"/>
                    <a:pt x="28" y="104"/>
                    <a:pt x="28" y="104"/>
                  </a:cubicBezTo>
                  <a:cubicBezTo>
                    <a:pt x="29" y="103"/>
                    <a:pt x="29" y="102"/>
                    <a:pt x="29" y="102"/>
                  </a:cubicBezTo>
                  <a:cubicBezTo>
                    <a:pt x="29" y="102"/>
                    <a:pt x="30" y="101"/>
                    <a:pt x="30" y="101"/>
                  </a:cubicBezTo>
                  <a:cubicBezTo>
                    <a:pt x="30" y="100"/>
                    <a:pt x="30" y="99"/>
                    <a:pt x="31" y="98"/>
                  </a:cubicBezTo>
                  <a:cubicBezTo>
                    <a:pt x="31" y="97"/>
                    <a:pt x="32" y="97"/>
                    <a:pt x="32" y="97"/>
                  </a:cubicBezTo>
                  <a:cubicBezTo>
                    <a:pt x="32" y="96"/>
                    <a:pt x="34" y="96"/>
                    <a:pt x="34" y="95"/>
                  </a:cubicBezTo>
                  <a:cubicBezTo>
                    <a:pt x="33" y="94"/>
                    <a:pt x="33" y="95"/>
                    <a:pt x="32" y="95"/>
                  </a:cubicBezTo>
                  <a:cubicBezTo>
                    <a:pt x="32" y="95"/>
                    <a:pt x="31" y="95"/>
                    <a:pt x="32" y="94"/>
                  </a:cubicBezTo>
                  <a:cubicBezTo>
                    <a:pt x="32" y="94"/>
                    <a:pt x="33" y="94"/>
                    <a:pt x="33" y="94"/>
                  </a:cubicBezTo>
                  <a:cubicBezTo>
                    <a:pt x="34" y="94"/>
                    <a:pt x="34" y="94"/>
                    <a:pt x="35" y="94"/>
                  </a:cubicBezTo>
                  <a:cubicBezTo>
                    <a:pt x="36" y="94"/>
                    <a:pt x="36" y="93"/>
                    <a:pt x="37" y="93"/>
                  </a:cubicBezTo>
                  <a:cubicBezTo>
                    <a:pt x="37" y="92"/>
                    <a:pt x="37" y="92"/>
                    <a:pt x="38" y="92"/>
                  </a:cubicBezTo>
                  <a:cubicBezTo>
                    <a:pt x="38" y="92"/>
                    <a:pt x="38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40" y="90"/>
                    <a:pt x="40" y="90"/>
                    <a:pt x="41" y="89"/>
                  </a:cubicBezTo>
                  <a:cubicBezTo>
                    <a:pt x="41" y="89"/>
                    <a:pt x="41" y="89"/>
                    <a:pt x="42" y="88"/>
                  </a:cubicBezTo>
                  <a:cubicBezTo>
                    <a:pt x="42" y="88"/>
                    <a:pt x="42" y="87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0" y="88"/>
                    <a:pt x="40" y="89"/>
                  </a:cubicBezTo>
                  <a:cubicBezTo>
                    <a:pt x="40" y="89"/>
                    <a:pt x="40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8" y="89"/>
                    <a:pt x="38" y="89"/>
                  </a:cubicBezTo>
                  <a:cubicBezTo>
                    <a:pt x="38" y="89"/>
                    <a:pt x="38" y="88"/>
                    <a:pt x="38" y="88"/>
                  </a:cubicBezTo>
                  <a:cubicBezTo>
                    <a:pt x="38" y="88"/>
                    <a:pt x="39" y="87"/>
                    <a:pt x="39" y="87"/>
                  </a:cubicBezTo>
                  <a:cubicBezTo>
                    <a:pt x="39" y="87"/>
                    <a:pt x="40" y="87"/>
                    <a:pt x="40" y="86"/>
                  </a:cubicBezTo>
                  <a:cubicBezTo>
                    <a:pt x="40" y="86"/>
                    <a:pt x="40" y="86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4"/>
                    <a:pt x="39" y="84"/>
                    <a:pt x="40" y="83"/>
                  </a:cubicBezTo>
                  <a:cubicBezTo>
                    <a:pt x="40" y="83"/>
                    <a:pt x="41" y="82"/>
                    <a:pt x="41" y="82"/>
                  </a:cubicBezTo>
                  <a:cubicBezTo>
                    <a:pt x="42" y="82"/>
                    <a:pt x="42" y="81"/>
                    <a:pt x="42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4" y="80"/>
                    <a:pt x="44" y="80"/>
                    <a:pt x="45" y="80"/>
                  </a:cubicBezTo>
                  <a:cubicBezTo>
                    <a:pt x="45" y="79"/>
                    <a:pt x="45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7" y="78"/>
                    <a:pt x="47" y="77"/>
                    <a:pt x="48" y="76"/>
                  </a:cubicBezTo>
                  <a:cubicBezTo>
                    <a:pt x="48" y="75"/>
                    <a:pt x="48" y="74"/>
                    <a:pt x="48" y="73"/>
                  </a:cubicBezTo>
                  <a:cubicBezTo>
                    <a:pt x="48" y="73"/>
                    <a:pt x="48" y="72"/>
                    <a:pt x="48" y="71"/>
                  </a:cubicBezTo>
                  <a:cubicBezTo>
                    <a:pt x="48" y="70"/>
                    <a:pt x="48" y="70"/>
                    <a:pt x="49" y="69"/>
                  </a:cubicBezTo>
                  <a:cubicBezTo>
                    <a:pt x="49" y="69"/>
                    <a:pt x="49" y="68"/>
                    <a:pt x="49" y="67"/>
                  </a:cubicBezTo>
                  <a:cubicBezTo>
                    <a:pt x="49" y="66"/>
                    <a:pt x="49" y="65"/>
                    <a:pt x="49" y="64"/>
                  </a:cubicBezTo>
                  <a:cubicBezTo>
                    <a:pt x="50" y="64"/>
                    <a:pt x="50" y="63"/>
                    <a:pt x="50" y="63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1" y="61"/>
                    <a:pt x="51" y="60"/>
                    <a:pt x="52" y="60"/>
                  </a:cubicBezTo>
                  <a:cubicBezTo>
                    <a:pt x="52" y="59"/>
                    <a:pt x="52" y="59"/>
                    <a:pt x="53" y="58"/>
                  </a:cubicBezTo>
                  <a:cubicBezTo>
                    <a:pt x="53" y="58"/>
                    <a:pt x="53" y="57"/>
                    <a:pt x="53" y="56"/>
                  </a:cubicBezTo>
                  <a:cubicBezTo>
                    <a:pt x="53" y="56"/>
                    <a:pt x="53" y="55"/>
                    <a:pt x="53" y="55"/>
                  </a:cubicBezTo>
                  <a:cubicBezTo>
                    <a:pt x="53" y="54"/>
                    <a:pt x="54" y="54"/>
                    <a:pt x="54" y="53"/>
                  </a:cubicBezTo>
                  <a:cubicBezTo>
                    <a:pt x="54" y="53"/>
                    <a:pt x="54" y="52"/>
                    <a:pt x="54" y="51"/>
                  </a:cubicBezTo>
                  <a:cubicBezTo>
                    <a:pt x="54" y="51"/>
                    <a:pt x="54" y="51"/>
                    <a:pt x="54" y="50"/>
                  </a:cubicBezTo>
                  <a:cubicBezTo>
                    <a:pt x="54" y="50"/>
                    <a:pt x="55" y="50"/>
                    <a:pt x="55" y="49"/>
                  </a:cubicBezTo>
                  <a:cubicBezTo>
                    <a:pt x="55" y="49"/>
                    <a:pt x="55" y="48"/>
                    <a:pt x="55" y="47"/>
                  </a:cubicBezTo>
                  <a:cubicBezTo>
                    <a:pt x="55" y="47"/>
                    <a:pt x="55" y="46"/>
                    <a:pt x="54" y="46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EC092EFD-0192-4227-A5DE-40A67B8F8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1090" y="2004800"/>
              <a:ext cx="252788" cy="498966"/>
            </a:xfrm>
            <a:custGeom>
              <a:avLst/>
              <a:gdLst>
                <a:gd name="T0" fmla="*/ 37 w 64"/>
                <a:gd name="T1" fmla="*/ 20 h 126"/>
                <a:gd name="T2" fmla="*/ 34 w 64"/>
                <a:gd name="T3" fmla="*/ 24 h 126"/>
                <a:gd name="T4" fmla="*/ 32 w 64"/>
                <a:gd name="T5" fmla="*/ 28 h 126"/>
                <a:gd name="T6" fmla="*/ 36 w 64"/>
                <a:gd name="T7" fmla="*/ 35 h 126"/>
                <a:gd name="T8" fmla="*/ 34 w 64"/>
                <a:gd name="T9" fmla="*/ 37 h 126"/>
                <a:gd name="T10" fmla="*/ 33 w 64"/>
                <a:gd name="T11" fmla="*/ 40 h 126"/>
                <a:gd name="T12" fmla="*/ 30 w 64"/>
                <a:gd name="T13" fmla="*/ 43 h 126"/>
                <a:gd name="T14" fmla="*/ 26 w 64"/>
                <a:gd name="T15" fmla="*/ 46 h 126"/>
                <a:gd name="T16" fmla="*/ 21 w 64"/>
                <a:gd name="T17" fmla="*/ 47 h 126"/>
                <a:gd name="T18" fmla="*/ 18 w 64"/>
                <a:gd name="T19" fmla="*/ 50 h 126"/>
                <a:gd name="T20" fmla="*/ 18 w 64"/>
                <a:gd name="T21" fmla="*/ 60 h 126"/>
                <a:gd name="T22" fmla="*/ 16 w 64"/>
                <a:gd name="T23" fmla="*/ 66 h 126"/>
                <a:gd name="T24" fmla="*/ 12 w 64"/>
                <a:gd name="T25" fmla="*/ 71 h 126"/>
                <a:gd name="T26" fmla="*/ 9 w 64"/>
                <a:gd name="T27" fmla="*/ 77 h 126"/>
                <a:gd name="T28" fmla="*/ 7 w 64"/>
                <a:gd name="T29" fmla="*/ 82 h 126"/>
                <a:gd name="T30" fmla="*/ 6 w 64"/>
                <a:gd name="T31" fmla="*/ 91 h 126"/>
                <a:gd name="T32" fmla="*/ 6 w 64"/>
                <a:gd name="T33" fmla="*/ 97 h 126"/>
                <a:gd name="T34" fmla="*/ 3 w 64"/>
                <a:gd name="T35" fmla="*/ 104 h 126"/>
                <a:gd name="T36" fmla="*/ 3 w 64"/>
                <a:gd name="T37" fmla="*/ 111 h 126"/>
                <a:gd name="T38" fmla="*/ 1 w 64"/>
                <a:gd name="T39" fmla="*/ 115 h 126"/>
                <a:gd name="T40" fmla="*/ 1 w 64"/>
                <a:gd name="T41" fmla="*/ 120 h 126"/>
                <a:gd name="T42" fmla="*/ 3 w 64"/>
                <a:gd name="T43" fmla="*/ 124 h 126"/>
                <a:gd name="T44" fmla="*/ 45 w 64"/>
                <a:gd name="T45" fmla="*/ 123 h 126"/>
                <a:gd name="T46" fmla="*/ 47 w 64"/>
                <a:gd name="T47" fmla="*/ 122 h 126"/>
                <a:gd name="T48" fmla="*/ 52 w 64"/>
                <a:gd name="T49" fmla="*/ 119 h 126"/>
                <a:gd name="T50" fmla="*/ 57 w 64"/>
                <a:gd name="T51" fmla="*/ 117 h 126"/>
                <a:gd name="T52" fmla="*/ 61 w 64"/>
                <a:gd name="T53" fmla="*/ 116 h 126"/>
                <a:gd name="T54" fmla="*/ 63 w 64"/>
                <a:gd name="T55" fmla="*/ 111 h 126"/>
                <a:gd name="T56" fmla="*/ 63 w 64"/>
                <a:gd name="T57" fmla="*/ 109 h 126"/>
                <a:gd name="T58" fmla="*/ 59 w 64"/>
                <a:gd name="T59" fmla="*/ 106 h 126"/>
                <a:gd name="T60" fmla="*/ 60 w 64"/>
                <a:gd name="T61" fmla="*/ 103 h 126"/>
                <a:gd name="T62" fmla="*/ 55 w 64"/>
                <a:gd name="T63" fmla="*/ 94 h 126"/>
                <a:gd name="T64" fmla="*/ 55 w 64"/>
                <a:gd name="T65" fmla="*/ 78 h 126"/>
                <a:gd name="T66" fmla="*/ 51 w 64"/>
                <a:gd name="T67" fmla="*/ 0 h 126"/>
                <a:gd name="T68" fmla="*/ 49 w 64"/>
                <a:gd name="T69" fmla="*/ 3 h 126"/>
                <a:gd name="T70" fmla="*/ 44 w 64"/>
                <a:gd name="T71" fmla="*/ 0 h 126"/>
                <a:gd name="T72" fmla="*/ 39 w 64"/>
                <a:gd name="T73" fmla="*/ 4 h 126"/>
                <a:gd name="T74" fmla="*/ 39 w 64"/>
                <a:gd name="T75" fmla="*/ 9 h 126"/>
                <a:gd name="T76" fmla="*/ 37 w 64"/>
                <a:gd name="T77" fmla="*/ 14 h 126"/>
                <a:gd name="T78" fmla="*/ 37 w 64"/>
                <a:gd name="T79" fmla="*/ 1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4" h="126">
                  <a:moveTo>
                    <a:pt x="37" y="19"/>
                  </a:moveTo>
                  <a:cubicBezTo>
                    <a:pt x="37" y="19"/>
                    <a:pt x="37" y="20"/>
                    <a:pt x="37" y="20"/>
                  </a:cubicBezTo>
                  <a:cubicBezTo>
                    <a:pt x="37" y="20"/>
                    <a:pt x="36" y="21"/>
                    <a:pt x="36" y="21"/>
                  </a:cubicBezTo>
                  <a:cubicBezTo>
                    <a:pt x="35" y="21"/>
                    <a:pt x="35" y="24"/>
                    <a:pt x="34" y="24"/>
                  </a:cubicBezTo>
                  <a:cubicBezTo>
                    <a:pt x="34" y="25"/>
                    <a:pt x="34" y="26"/>
                    <a:pt x="33" y="26"/>
                  </a:cubicBezTo>
                  <a:cubicBezTo>
                    <a:pt x="33" y="26"/>
                    <a:pt x="32" y="27"/>
                    <a:pt x="32" y="28"/>
                  </a:cubicBezTo>
                  <a:cubicBezTo>
                    <a:pt x="32" y="28"/>
                    <a:pt x="33" y="30"/>
                    <a:pt x="34" y="30"/>
                  </a:cubicBezTo>
                  <a:cubicBezTo>
                    <a:pt x="34" y="31"/>
                    <a:pt x="36" y="35"/>
                    <a:pt x="36" y="35"/>
                  </a:cubicBezTo>
                  <a:cubicBezTo>
                    <a:pt x="36" y="35"/>
                    <a:pt x="34" y="36"/>
                    <a:pt x="34" y="36"/>
                  </a:cubicBezTo>
                  <a:cubicBezTo>
                    <a:pt x="34" y="36"/>
                    <a:pt x="34" y="37"/>
                    <a:pt x="34" y="37"/>
                  </a:cubicBezTo>
                  <a:cubicBezTo>
                    <a:pt x="34" y="38"/>
                    <a:pt x="34" y="39"/>
                    <a:pt x="34" y="39"/>
                  </a:cubicBezTo>
                  <a:cubicBezTo>
                    <a:pt x="34" y="39"/>
                    <a:pt x="34" y="40"/>
                    <a:pt x="33" y="40"/>
                  </a:cubicBezTo>
                  <a:cubicBezTo>
                    <a:pt x="33" y="40"/>
                    <a:pt x="32" y="41"/>
                    <a:pt x="32" y="41"/>
                  </a:cubicBezTo>
                  <a:cubicBezTo>
                    <a:pt x="31" y="42"/>
                    <a:pt x="31" y="43"/>
                    <a:pt x="30" y="43"/>
                  </a:cubicBezTo>
                  <a:cubicBezTo>
                    <a:pt x="30" y="43"/>
                    <a:pt x="27" y="44"/>
                    <a:pt x="27" y="44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6" y="46"/>
                    <a:pt x="24" y="47"/>
                    <a:pt x="23" y="47"/>
                  </a:cubicBezTo>
                  <a:cubicBezTo>
                    <a:pt x="23" y="47"/>
                    <a:pt x="21" y="47"/>
                    <a:pt x="21" y="47"/>
                  </a:cubicBezTo>
                  <a:cubicBezTo>
                    <a:pt x="21" y="47"/>
                    <a:pt x="19" y="48"/>
                    <a:pt x="18" y="48"/>
                  </a:cubicBezTo>
                  <a:cubicBezTo>
                    <a:pt x="18" y="48"/>
                    <a:pt x="18" y="50"/>
                    <a:pt x="18" y="50"/>
                  </a:cubicBezTo>
                  <a:cubicBezTo>
                    <a:pt x="18" y="51"/>
                    <a:pt x="18" y="54"/>
                    <a:pt x="18" y="54"/>
                  </a:cubicBezTo>
                  <a:cubicBezTo>
                    <a:pt x="18" y="54"/>
                    <a:pt x="18" y="59"/>
                    <a:pt x="18" y="60"/>
                  </a:cubicBezTo>
                  <a:cubicBezTo>
                    <a:pt x="18" y="60"/>
                    <a:pt x="16" y="63"/>
                    <a:pt x="16" y="63"/>
                  </a:cubicBezTo>
                  <a:cubicBezTo>
                    <a:pt x="16" y="63"/>
                    <a:pt x="16" y="66"/>
                    <a:pt x="16" y="66"/>
                  </a:cubicBezTo>
                  <a:cubicBezTo>
                    <a:pt x="16" y="66"/>
                    <a:pt x="15" y="67"/>
                    <a:pt x="15" y="68"/>
                  </a:cubicBezTo>
                  <a:cubicBezTo>
                    <a:pt x="14" y="68"/>
                    <a:pt x="13" y="71"/>
                    <a:pt x="12" y="71"/>
                  </a:cubicBezTo>
                  <a:cubicBezTo>
                    <a:pt x="12" y="72"/>
                    <a:pt x="12" y="74"/>
                    <a:pt x="12" y="74"/>
                  </a:cubicBezTo>
                  <a:cubicBezTo>
                    <a:pt x="11" y="75"/>
                    <a:pt x="9" y="77"/>
                    <a:pt x="9" y="77"/>
                  </a:cubicBezTo>
                  <a:cubicBezTo>
                    <a:pt x="9" y="77"/>
                    <a:pt x="9" y="78"/>
                    <a:pt x="9" y="78"/>
                  </a:cubicBezTo>
                  <a:cubicBezTo>
                    <a:pt x="9" y="79"/>
                    <a:pt x="8" y="81"/>
                    <a:pt x="7" y="82"/>
                  </a:cubicBezTo>
                  <a:cubicBezTo>
                    <a:pt x="7" y="82"/>
                    <a:pt x="5" y="86"/>
                    <a:pt x="5" y="87"/>
                  </a:cubicBezTo>
                  <a:cubicBezTo>
                    <a:pt x="5" y="87"/>
                    <a:pt x="6" y="91"/>
                    <a:pt x="6" y="91"/>
                  </a:cubicBezTo>
                  <a:cubicBezTo>
                    <a:pt x="6" y="92"/>
                    <a:pt x="5" y="94"/>
                    <a:pt x="5" y="95"/>
                  </a:cubicBezTo>
                  <a:cubicBezTo>
                    <a:pt x="5" y="96"/>
                    <a:pt x="6" y="97"/>
                    <a:pt x="6" y="97"/>
                  </a:cubicBezTo>
                  <a:cubicBezTo>
                    <a:pt x="6" y="97"/>
                    <a:pt x="4" y="102"/>
                    <a:pt x="4" y="102"/>
                  </a:cubicBezTo>
                  <a:cubicBezTo>
                    <a:pt x="4" y="103"/>
                    <a:pt x="3" y="103"/>
                    <a:pt x="3" y="104"/>
                  </a:cubicBezTo>
                  <a:cubicBezTo>
                    <a:pt x="3" y="104"/>
                    <a:pt x="4" y="105"/>
                    <a:pt x="4" y="106"/>
                  </a:cubicBezTo>
                  <a:cubicBezTo>
                    <a:pt x="4" y="106"/>
                    <a:pt x="3" y="110"/>
                    <a:pt x="3" y="111"/>
                  </a:cubicBezTo>
                  <a:cubicBezTo>
                    <a:pt x="3" y="111"/>
                    <a:pt x="1" y="113"/>
                    <a:pt x="1" y="113"/>
                  </a:cubicBezTo>
                  <a:cubicBezTo>
                    <a:pt x="1" y="113"/>
                    <a:pt x="1" y="115"/>
                    <a:pt x="1" y="115"/>
                  </a:cubicBezTo>
                  <a:cubicBezTo>
                    <a:pt x="1" y="115"/>
                    <a:pt x="0" y="117"/>
                    <a:pt x="0" y="117"/>
                  </a:cubicBezTo>
                  <a:cubicBezTo>
                    <a:pt x="0" y="118"/>
                    <a:pt x="1" y="120"/>
                    <a:pt x="1" y="120"/>
                  </a:cubicBezTo>
                  <a:cubicBezTo>
                    <a:pt x="1" y="120"/>
                    <a:pt x="1" y="121"/>
                    <a:pt x="1" y="121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43" y="126"/>
                    <a:pt x="43" y="126"/>
                    <a:pt x="43" y="126"/>
                  </a:cubicBezTo>
                  <a:cubicBezTo>
                    <a:pt x="43" y="126"/>
                    <a:pt x="45" y="124"/>
                    <a:pt x="45" y="123"/>
                  </a:cubicBezTo>
                  <a:cubicBezTo>
                    <a:pt x="45" y="123"/>
                    <a:pt x="47" y="123"/>
                    <a:pt x="47" y="123"/>
                  </a:cubicBezTo>
                  <a:cubicBezTo>
                    <a:pt x="47" y="123"/>
                    <a:pt x="47" y="122"/>
                    <a:pt x="47" y="122"/>
                  </a:cubicBezTo>
                  <a:cubicBezTo>
                    <a:pt x="47" y="121"/>
                    <a:pt x="49" y="120"/>
                    <a:pt x="49" y="120"/>
                  </a:cubicBezTo>
                  <a:cubicBezTo>
                    <a:pt x="49" y="120"/>
                    <a:pt x="52" y="119"/>
                    <a:pt x="52" y="119"/>
                  </a:cubicBezTo>
                  <a:cubicBezTo>
                    <a:pt x="52" y="119"/>
                    <a:pt x="53" y="118"/>
                    <a:pt x="53" y="118"/>
                  </a:cubicBezTo>
                  <a:cubicBezTo>
                    <a:pt x="53" y="118"/>
                    <a:pt x="56" y="117"/>
                    <a:pt x="57" y="117"/>
                  </a:cubicBezTo>
                  <a:cubicBezTo>
                    <a:pt x="57" y="117"/>
                    <a:pt x="59" y="117"/>
                    <a:pt x="61" y="117"/>
                  </a:cubicBezTo>
                  <a:cubicBezTo>
                    <a:pt x="61" y="117"/>
                    <a:pt x="61" y="116"/>
                    <a:pt x="61" y="116"/>
                  </a:cubicBezTo>
                  <a:cubicBezTo>
                    <a:pt x="61" y="115"/>
                    <a:pt x="61" y="114"/>
                    <a:pt x="62" y="114"/>
                  </a:cubicBezTo>
                  <a:cubicBezTo>
                    <a:pt x="63" y="113"/>
                    <a:pt x="63" y="112"/>
                    <a:pt x="63" y="111"/>
                  </a:cubicBezTo>
                  <a:cubicBezTo>
                    <a:pt x="63" y="111"/>
                    <a:pt x="64" y="110"/>
                    <a:pt x="64" y="110"/>
                  </a:cubicBezTo>
                  <a:cubicBezTo>
                    <a:pt x="64" y="109"/>
                    <a:pt x="63" y="109"/>
                    <a:pt x="63" y="109"/>
                  </a:cubicBezTo>
                  <a:cubicBezTo>
                    <a:pt x="63" y="108"/>
                    <a:pt x="63" y="108"/>
                    <a:pt x="63" y="107"/>
                  </a:cubicBezTo>
                  <a:cubicBezTo>
                    <a:pt x="62" y="106"/>
                    <a:pt x="60" y="107"/>
                    <a:pt x="59" y="106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5"/>
                    <a:pt x="60" y="103"/>
                    <a:pt x="60" y="103"/>
                  </a:cubicBezTo>
                  <a:cubicBezTo>
                    <a:pt x="60" y="103"/>
                    <a:pt x="60" y="100"/>
                    <a:pt x="60" y="100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87"/>
                    <a:pt x="55" y="87"/>
                  </a:cubicBezTo>
                  <a:cubicBezTo>
                    <a:pt x="55" y="87"/>
                    <a:pt x="55" y="78"/>
                    <a:pt x="55" y="7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39" y="9"/>
                    <a:pt x="39" y="9"/>
                  </a:cubicBezTo>
                  <a:cubicBezTo>
                    <a:pt x="39" y="10"/>
                    <a:pt x="37" y="12"/>
                    <a:pt x="37" y="12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6" y="17"/>
                    <a:pt x="36" y="17"/>
                  </a:cubicBezTo>
                  <a:cubicBezTo>
                    <a:pt x="36" y="17"/>
                    <a:pt x="37" y="18"/>
                    <a:pt x="37" y="19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E9AA2F34-5062-4D43-AE1F-49003C866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887" y="2630985"/>
              <a:ext cx="816189" cy="1224284"/>
            </a:xfrm>
            <a:custGeom>
              <a:avLst/>
              <a:gdLst>
                <a:gd name="T0" fmla="*/ 0 w 206"/>
                <a:gd name="T1" fmla="*/ 0 h 309"/>
                <a:gd name="T2" fmla="*/ 0 w 206"/>
                <a:gd name="T3" fmla="*/ 137 h 309"/>
                <a:gd name="T4" fmla="*/ 40 w 206"/>
                <a:gd name="T5" fmla="*/ 171 h 309"/>
                <a:gd name="T6" fmla="*/ 186 w 206"/>
                <a:gd name="T7" fmla="*/ 309 h 309"/>
                <a:gd name="T8" fmla="*/ 186 w 206"/>
                <a:gd name="T9" fmla="*/ 307 h 309"/>
                <a:gd name="T10" fmla="*/ 186 w 206"/>
                <a:gd name="T11" fmla="*/ 305 h 309"/>
                <a:gd name="T12" fmla="*/ 185 w 206"/>
                <a:gd name="T13" fmla="*/ 305 h 309"/>
                <a:gd name="T14" fmla="*/ 187 w 206"/>
                <a:gd name="T15" fmla="*/ 304 h 309"/>
                <a:gd name="T16" fmla="*/ 188 w 206"/>
                <a:gd name="T17" fmla="*/ 302 h 309"/>
                <a:gd name="T18" fmla="*/ 187 w 206"/>
                <a:gd name="T19" fmla="*/ 298 h 309"/>
                <a:gd name="T20" fmla="*/ 187 w 206"/>
                <a:gd name="T21" fmla="*/ 295 h 309"/>
                <a:gd name="T22" fmla="*/ 186 w 206"/>
                <a:gd name="T23" fmla="*/ 292 h 309"/>
                <a:gd name="T24" fmla="*/ 184 w 206"/>
                <a:gd name="T25" fmla="*/ 289 h 309"/>
                <a:gd name="T26" fmla="*/ 184 w 206"/>
                <a:gd name="T27" fmla="*/ 286 h 309"/>
                <a:gd name="T28" fmla="*/ 185 w 206"/>
                <a:gd name="T29" fmla="*/ 283 h 309"/>
                <a:gd name="T30" fmla="*/ 183 w 206"/>
                <a:gd name="T31" fmla="*/ 279 h 309"/>
                <a:gd name="T32" fmla="*/ 183 w 206"/>
                <a:gd name="T33" fmla="*/ 277 h 309"/>
                <a:gd name="T34" fmla="*/ 183 w 206"/>
                <a:gd name="T35" fmla="*/ 274 h 309"/>
                <a:gd name="T36" fmla="*/ 185 w 206"/>
                <a:gd name="T37" fmla="*/ 272 h 309"/>
                <a:gd name="T38" fmla="*/ 183 w 206"/>
                <a:gd name="T39" fmla="*/ 271 h 309"/>
                <a:gd name="T40" fmla="*/ 183 w 206"/>
                <a:gd name="T41" fmla="*/ 269 h 309"/>
                <a:gd name="T42" fmla="*/ 183 w 206"/>
                <a:gd name="T43" fmla="*/ 265 h 309"/>
                <a:gd name="T44" fmla="*/ 182 w 206"/>
                <a:gd name="T45" fmla="*/ 263 h 309"/>
                <a:gd name="T46" fmla="*/ 183 w 206"/>
                <a:gd name="T47" fmla="*/ 262 h 309"/>
                <a:gd name="T48" fmla="*/ 185 w 206"/>
                <a:gd name="T49" fmla="*/ 262 h 309"/>
                <a:gd name="T50" fmla="*/ 188 w 206"/>
                <a:gd name="T51" fmla="*/ 261 h 309"/>
                <a:gd name="T52" fmla="*/ 190 w 206"/>
                <a:gd name="T53" fmla="*/ 261 h 309"/>
                <a:gd name="T54" fmla="*/ 191 w 206"/>
                <a:gd name="T55" fmla="*/ 262 h 309"/>
                <a:gd name="T56" fmla="*/ 193 w 206"/>
                <a:gd name="T57" fmla="*/ 261 h 309"/>
                <a:gd name="T58" fmla="*/ 195 w 206"/>
                <a:gd name="T59" fmla="*/ 263 h 309"/>
                <a:gd name="T60" fmla="*/ 198 w 206"/>
                <a:gd name="T61" fmla="*/ 265 h 309"/>
                <a:gd name="T62" fmla="*/ 201 w 206"/>
                <a:gd name="T63" fmla="*/ 266 h 309"/>
                <a:gd name="T64" fmla="*/ 203 w 206"/>
                <a:gd name="T65" fmla="*/ 265 h 309"/>
                <a:gd name="T66" fmla="*/ 203 w 206"/>
                <a:gd name="T67" fmla="*/ 262 h 309"/>
                <a:gd name="T68" fmla="*/ 204 w 206"/>
                <a:gd name="T69" fmla="*/ 260 h 309"/>
                <a:gd name="T70" fmla="*/ 206 w 206"/>
                <a:gd name="T71" fmla="*/ 259 h 309"/>
                <a:gd name="T72" fmla="*/ 206 w 206"/>
                <a:gd name="T73" fmla="*/ 224 h 309"/>
                <a:gd name="T74" fmla="*/ 206 w 206"/>
                <a:gd name="T75" fmla="*/ 0 h 309"/>
                <a:gd name="T76" fmla="*/ 0 w 206"/>
                <a:gd name="T77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6" h="309">
                  <a:moveTo>
                    <a:pt x="0" y="0"/>
                  </a:moveTo>
                  <a:cubicBezTo>
                    <a:pt x="0" y="137"/>
                    <a:pt x="0" y="137"/>
                    <a:pt x="0" y="137"/>
                  </a:cubicBezTo>
                  <a:cubicBezTo>
                    <a:pt x="40" y="171"/>
                    <a:pt x="40" y="171"/>
                    <a:pt x="40" y="171"/>
                  </a:cubicBezTo>
                  <a:cubicBezTo>
                    <a:pt x="186" y="309"/>
                    <a:pt x="186" y="309"/>
                    <a:pt x="186" y="309"/>
                  </a:cubicBezTo>
                  <a:cubicBezTo>
                    <a:pt x="186" y="309"/>
                    <a:pt x="186" y="307"/>
                    <a:pt x="186" y="307"/>
                  </a:cubicBezTo>
                  <a:cubicBezTo>
                    <a:pt x="186" y="307"/>
                    <a:pt x="187" y="306"/>
                    <a:pt x="186" y="305"/>
                  </a:cubicBezTo>
                  <a:cubicBezTo>
                    <a:pt x="186" y="305"/>
                    <a:pt x="185" y="305"/>
                    <a:pt x="185" y="305"/>
                  </a:cubicBezTo>
                  <a:cubicBezTo>
                    <a:pt x="186" y="305"/>
                    <a:pt x="187" y="304"/>
                    <a:pt x="187" y="304"/>
                  </a:cubicBezTo>
                  <a:cubicBezTo>
                    <a:pt x="187" y="304"/>
                    <a:pt x="189" y="302"/>
                    <a:pt x="188" y="302"/>
                  </a:cubicBezTo>
                  <a:cubicBezTo>
                    <a:pt x="188" y="301"/>
                    <a:pt x="187" y="299"/>
                    <a:pt x="187" y="298"/>
                  </a:cubicBezTo>
                  <a:cubicBezTo>
                    <a:pt x="188" y="298"/>
                    <a:pt x="187" y="296"/>
                    <a:pt x="187" y="295"/>
                  </a:cubicBezTo>
                  <a:cubicBezTo>
                    <a:pt x="187" y="295"/>
                    <a:pt x="186" y="293"/>
                    <a:pt x="186" y="292"/>
                  </a:cubicBezTo>
                  <a:cubicBezTo>
                    <a:pt x="185" y="291"/>
                    <a:pt x="184" y="290"/>
                    <a:pt x="184" y="289"/>
                  </a:cubicBezTo>
                  <a:cubicBezTo>
                    <a:pt x="184" y="288"/>
                    <a:pt x="184" y="287"/>
                    <a:pt x="184" y="286"/>
                  </a:cubicBezTo>
                  <a:cubicBezTo>
                    <a:pt x="185" y="285"/>
                    <a:pt x="185" y="284"/>
                    <a:pt x="185" y="283"/>
                  </a:cubicBezTo>
                  <a:cubicBezTo>
                    <a:pt x="184" y="283"/>
                    <a:pt x="183" y="280"/>
                    <a:pt x="183" y="279"/>
                  </a:cubicBezTo>
                  <a:cubicBezTo>
                    <a:pt x="183" y="278"/>
                    <a:pt x="183" y="278"/>
                    <a:pt x="183" y="277"/>
                  </a:cubicBezTo>
                  <a:cubicBezTo>
                    <a:pt x="183" y="276"/>
                    <a:pt x="182" y="275"/>
                    <a:pt x="183" y="274"/>
                  </a:cubicBezTo>
                  <a:cubicBezTo>
                    <a:pt x="183" y="274"/>
                    <a:pt x="185" y="272"/>
                    <a:pt x="185" y="272"/>
                  </a:cubicBezTo>
                  <a:cubicBezTo>
                    <a:pt x="185" y="272"/>
                    <a:pt x="183" y="271"/>
                    <a:pt x="183" y="271"/>
                  </a:cubicBezTo>
                  <a:cubicBezTo>
                    <a:pt x="183" y="270"/>
                    <a:pt x="183" y="270"/>
                    <a:pt x="183" y="269"/>
                  </a:cubicBezTo>
                  <a:cubicBezTo>
                    <a:pt x="183" y="268"/>
                    <a:pt x="183" y="266"/>
                    <a:pt x="183" y="265"/>
                  </a:cubicBezTo>
                  <a:cubicBezTo>
                    <a:pt x="182" y="264"/>
                    <a:pt x="182" y="263"/>
                    <a:pt x="182" y="263"/>
                  </a:cubicBezTo>
                  <a:cubicBezTo>
                    <a:pt x="182" y="263"/>
                    <a:pt x="182" y="263"/>
                    <a:pt x="183" y="262"/>
                  </a:cubicBezTo>
                  <a:cubicBezTo>
                    <a:pt x="184" y="262"/>
                    <a:pt x="185" y="262"/>
                    <a:pt x="185" y="262"/>
                  </a:cubicBezTo>
                  <a:cubicBezTo>
                    <a:pt x="186" y="261"/>
                    <a:pt x="187" y="261"/>
                    <a:pt x="188" y="261"/>
                  </a:cubicBezTo>
                  <a:cubicBezTo>
                    <a:pt x="188" y="261"/>
                    <a:pt x="189" y="260"/>
                    <a:pt x="190" y="261"/>
                  </a:cubicBezTo>
                  <a:cubicBezTo>
                    <a:pt x="190" y="261"/>
                    <a:pt x="190" y="262"/>
                    <a:pt x="191" y="262"/>
                  </a:cubicBezTo>
                  <a:cubicBezTo>
                    <a:pt x="192" y="262"/>
                    <a:pt x="193" y="261"/>
                    <a:pt x="193" y="261"/>
                  </a:cubicBezTo>
                  <a:cubicBezTo>
                    <a:pt x="193" y="261"/>
                    <a:pt x="195" y="262"/>
                    <a:pt x="195" y="263"/>
                  </a:cubicBezTo>
                  <a:cubicBezTo>
                    <a:pt x="196" y="263"/>
                    <a:pt x="197" y="265"/>
                    <a:pt x="198" y="265"/>
                  </a:cubicBezTo>
                  <a:cubicBezTo>
                    <a:pt x="199" y="266"/>
                    <a:pt x="200" y="267"/>
                    <a:pt x="201" y="266"/>
                  </a:cubicBezTo>
                  <a:cubicBezTo>
                    <a:pt x="202" y="266"/>
                    <a:pt x="202" y="266"/>
                    <a:pt x="203" y="265"/>
                  </a:cubicBezTo>
                  <a:cubicBezTo>
                    <a:pt x="203" y="264"/>
                    <a:pt x="203" y="263"/>
                    <a:pt x="203" y="262"/>
                  </a:cubicBezTo>
                  <a:cubicBezTo>
                    <a:pt x="204" y="262"/>
                    <a:pt x="204" y="261"/>
                    <a:pt x="204" y="260"/>
                  </a:cubicBezTo>
                  <a:cubicBezTo>
                    <a:pt x="205" y="259"/>
                    <a:pt x="206" y="259"/>
                    <a:pt x="206" y="259"/>
                  </a:cubicBezTo>
                  <a:cubicBezTo>
                    <a:pt x="206" y="224"/>
                    <a:pt x="206" y="224"/>
                    <a:pt x="206" y="224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896D0305-A76C-4C30-81E8-E1A949948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448" y="2444286"/>
              <a:ext cx="1191239" cy="546879"/>
            </a:xfrm>
            <a:custGeom>
              <a:avLst/>
              <a:gdLst>
                <a:gd name="T0" fmla="*/ 299 w 301"/>
                <a:gd name="T1" fmla="*/ 137 h 138"/>
                <a:gd name="T2" fmla="*/ 299 w 301"/>
                <a:gd name="T3" fmla="*/ 134 h 138"/>
                <a:gd name="T4" fmla="*/ 296 w 301"/>
                <a:gd name="T5" fmla="*/ 130 h 138"/>
                <a:gd name="T6" fmla="*/ 293 w 301"/>
                <a:gd name="T7" fmla="*/ 126 h 138"/>
                <a:gd name="T8" fmla="*/ 291 w 301"/>
                <a:gd name="T9" fmla="*/ 123 h 138"/>
                <a:gd name="T10" fmla="*/ 288 w 301"/>
                <a:gd name="T11" fmla="*/ 116 h 138"/>
                <a:gd name="T12" fmla="*/ 289 w 301"/>
                <a:gd name="T13" fmla="*/ 113 h 138"/>
                <a:gd name="T14" fmla="*/ 286 w 301"/>
                <a:gd name="T15" fmla="*/ 114 h 138"/>
                <a:gd name="T16" fmla="*/ 285 w 301"/>
                <a:gd name="T17" fmla="*/ 109 h 138"/>
                <a:gd name="T18" fmla="*/ 282 w 301"/>
                <a:gd name="T19" fmla="*/ 105 h 138"/>
                <a:gd name="T20" fmla="*/ 284 w 301"/>
                <a:gd name="T21" fmla="*/ 98 h 138"/>
                <a:gd name="T22" fmla="*/ 282 w 301"/>
                <a:gd name="T23" fmla="*/ 89 h 138"/>
                <a:gd name="T24" fmla="*/ 280 w 301"/>
                <a:gd name="T25" fmla="*/ 83 h 138"/>
                <a:gd name="T26" fmla="*/ 282 w 301"/>
                <a:gd name="T27" fmla="*/ 79 h 138"/>
                <a:gd name="T28" fmla="*/ 280 w 301"/>
                <a:gd name="T29" fmla="*/ 72 h 138"/>
                <a:gd name="T30" fmla="*/ 278 w 301"/>
                <a:gd name="T31" fmla="*/ 68 h 138"/>
                <a:gd name="T32" fmla="*/ 275 w 301"/>
                <a:gd name="T33" fmla="*/ 68 h 138"/>
                <a:gd name="T34" fmla="*/ 274 w 301"/>
                <a:gd name="T35" fmla="*/ 63 h 138"/>
                <a:gd name="T36" fmla="*/ 275 w 301"/>
                <a:gd name="T37" fmla="*/ 61 h 138"/>
                <a:gd name="T38" fmla="*/ 276 w 301"/>
                <a:gd name="T39" fmla="*/ 56 h 138"/>
                <a:gd name="T40" fmla="*/ 273 w 301"/>
                <a:gd name="T41" fmla="*/ 49 h 138"/>
                <a:gd name="T42" fmla="*/ 271 w 301"/>
                <a:gd name="T43" fmla="*/ 47 h 138"/>
                <a:gd name="T44" fmla="*/ 270 w 301"/>
                <a:gd name="T45" fmla="*/ 45 h 138"/>
                <a:gd name="T46" fmla="*/ 268 w 301"/>
                <a:gd name="T47" fmla="*/ 41 h 138"/>
                <a:gd name="T48" fmla="*/ 266 w 301"/>
                <a:gd name="T49" fmla="*/ 37 h 138"/>
                <a:gd name="T50" fmla="*/ 265 w 301"/>
                <a:gd name="T51" fmla="*/ 33 h 138"/>
                <a:gd name="T52" fmla="*/ 264 w 301"/>
                <a:gd name="T53" fmla="*/ 28 h 138"/>
                <a:gd name="T54" fmla="*/ 261 w 301"/>
                <a:gd name="T55" fmla="*/ 24 h 138"/>
                <a:gd name="T56" fmla="*/ 257 w 301"/>
                <a:gd name="T57" fmla="*/ 23 h 138"/>
                <a:gd name="T58" fmla="*/ 254 w 301"/>
                <a:gd name="T59" fmla="*/ 16 h 138"/>
                <a:gd name="T60" fmla="*/ 249 w 301"/>
                <a:gd name="T61" fmla="*/ 13 h 138"/>
                <a:gd name="T62" fmla="*/ 244 w 301"/>
                <a:gd name="T63" fmla="*/ 12 h 138"/>
                <a:gd name="T64" fmla="*/ 236 w 301"/>
                <a:gd name="T65" fmla="*/ 9 h 138"/>
                <a:gd name="T66" fmla="*/ 232 w 301"/>
                <a:gd name="T67" fmla="*/ 7 h 138"/>
                <a:gd name="T68" fmla="*/ 227 w 301"/>
                <a:gd name="T69" fmla="*/ 7 h 138"/>
                <a:gd name="T70" fmla="*/ 219 w 301"/>
                <a:gd name="T71" fmla="*/ 8 h 138"/>
                <a:gd name="T72" fmla="*/ 212 w 301"/>
                <a:gd name="T73" fmla="*/ 10 h 138"/>
                <a:gd name="T74" fmla="*/ 203 w 301"/>
                <a:gd name="T75" fmla="*/ 7 h 138"/>
                <a:gd name="T76" fmla="*/ 192 w 301"/>
                <a:gd name="T77" fmla="*/ 0 h 138"/>
                <a:gd name="T78" fmla="*/ 0 w 301"/>
                <a:gd name="T79" fmla="*/ 93 h 138"/>
                <a:gd name="T80" fmla="*/ 69 w 301"/>
                <a:gd name="T8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1" h="138">
                  <a:moveTo>
                    <a:pt x="301" y="138"/>
                  </a:moveTo>
                  <a:cubicBezTo>
                    <a:pt x="301" y="138"/>
                    <a:pt x="299" y="137"/>
                    <a:pt x="299" y="137"/>
                  </a:cubicBezTo>
                  <a:cubicBezTo>
                    <a:pt x="299" y="137"/>
                    <a:pt x="298" y="136"/>
                    <a:pt x="298" y="136"/>
                  </a:cubicBezTo>
                  <a:cubicBezTo>
                    <a:pt x="298" y="135"/>
                    <a:pt x="299" y="134"/>
                    <a:pt x="299" y="134"/>
                  </a:cubicBezTo>
                  <a:cubicBezTo>
                    <a:pt x="299" y="133"/>
                    <a:pt x="298" y="132"/>
                    <a:pt x="298" y="132"/>
                  </a:cubicBezTo>
                  <a:cubicBezTo>
                    <a:pt x="297" y="132"/>
                    <a:pt x="296" y="131"/>
                    <a:pt x="296" y="130"/>
                  </a:cubicBezTo>
                  <a:cubicBezTo>
                    <a:pt x="296" y="130"/>
                    <a:pt x="296" y="128"/>
                    <a:pt x="296" y="128"/>
                  </a:cubicBezTo>
                  <a:cubicBezTo>
                    <a:pt x="296" y="127"/>
                    <a:pt x="294" y="126"/>
                    <a:pt x="293" y="126"/>
                  </a:cubicBezTo>
                  <a:cubicBezTo>
                    <a:pt x="292" y="125"/>
                    <a:pt x="290" y="125"/>
                    <a:pt x="290" y="125"/>
                  </a:cubicBezTo>
                  <a:cubicBezTo>
                    <a:pt x="290" y="125"/>
                    <a:pt x="291" y="123"/>
                    <a:pt x="291" y="123"/>
                  </a:cubicBezTo>
                  <a:cubicBezTo>
                    <a:pt x="291" y="122"/>
                    <a:pt x="290" y="120"/>
                    <a:pt x="290" y="120"/>
                  </a:cubicBezTo>
                  <a:cubicBezTo>
                    <a:pt x="289" y="119"/>
                    <a:pt x="288" y="117"/>
                    <a:pt x="288" y="116"/>
                  </a:cubicBezTo>
                  <a:cubicBezTo>
                    <a:pt x="288" y="116"/>
                    <a:pt x="290" y="115"/>
                    <a:pt x="290" y="114"/>
                  </a:cubicBezTo>
                  <a:cubicBezTo>
                    <a:pt x="290" y="114"/>
                    <a:pt x="289" y="113"/>
                    <a:pt x="289" y="113"/>
                  </a:cubicBezTo>
                  <a:cubicBezTo>
                    <a:pt x="289" y="113"/>
                    <a:pt x="289" y="114"/>
                    <a:pt x="288" y="114"/>
                  </a:cubicBezTo>
                  <a:cubicBezTo>
                    <a:pt x="288" y="115"/>
                    <a:pt x="286" y="115"/>
                    <a:pt x="286" y="114"/>
                  </a:cubicBezTo>
                  <a:cubicBezTo>
                    <a:pt x="286" y="114"/>
                    <a:pt x="286" y="112"/>
                    <a:pt x="286" y="112"/>
                  </a:cubicBezTo>
                  <a:cubicBezTo>
                    <a:pt x="286" y="112"/>
                    <a:pt x="286" y="109"/>
                    <a:pt x="285" y="109"/>
                  </a:cubicBezTo>
                  <a:cubicBezTo>
                    <a:pt x="285" y="108"/>
                    <a:pt x="283" y="108"/>
                    <a:pt x="283" y="107"/>
                  </a:cubicBezTo>
                  <a:cubicBezTo>
                    <a:pt x="282" y="107"/>
                    <a:pt x="281" y="106"/>
                    <a:pt x="282" y="105"/>
                  </a:cubicBezTo>
                  <a:cubicBezTo>
                    <a:pt x="283" y="105"/>
                    <a:pt x="283" y="105"/>
                    <a:pt x="284" y="103"/>
                  </a:cubicBezTo>
                  <a:cubicBezTo>
                    <a:pt x="284" y="102"/>
                    <a:pt x="284" y="99"/>
                    <a:pt x="284" y="98"/>
                  </a:cubicBezTo>
                  <a:cubicBezTo>
                    <a:pt x="284" y="97"/>
                    <a:pt x="284" y="94"/>
                    <a:pt x="283" y="93"/>
                  </a:cubicBezTo>
                  <a:cubicBezTo>
                    <a:pt x="283" y="92"/>
                    <a:pt x="282" y="90"/>
                    <a:pt x="282" y="89"/>
                  </a:cubicBezTo>
                  <a:cubicBezTo>
                    <a:pt x="282" y="88"/>
                    <a:pt x="282" y="86"/>
                    <a:pt x="282" y="85"/>
                  </a:cubicBezTo>
                  <a:cubicBezTo>
                    <a:pt x="281" y="85"/>
                    <a:pt x="280" y="84"/>
                    <a:pt x="280" y="83"/>
                  </a:cubicBezTo>
                  <a:cubicBezTo>
                    <a:pt x="280" y="82"/>
                    <a:pt x="280" y="81"/>
                    <a:pt x="281" y="81"/>
                  </a:cubicBezTo>
                  <a:cubicBezTo>
                    <a:pt x="281" y="80"/>
                    <a:pt x="282" y="80"/>
                    <a:pt x="282" y="79"/>
                  </a:cubicBezTo>
                  <a:cubicBezTo>
                    <a:pt x="282" y="78"/>
                    <a:pt x="281" y="75"/>
                    <a:pt x="281" y="75"/>
                  </a:cubicBezTo>
                  <a:cubicBezTo>
                    <a:pt x="281" y="74"/>
                    <a:pt x="281" y="73"/>
                    <a:pt x="280" y="72"/>
                  </a:cubicBezTo>
                  <a:cubicBezTo>
                    <a:pt x="280" y="72"/>
                    <a:pt x="277" y="71"/>
                    <a:pt x="277" y="71"/>
                  </a:cubicBezTo>
                  <a:cubicBezTo>
                    <a:pt x="277" y="71"/>
                    <a:pt x="278" y="68"/>
                    <a:pt x="278" y="68"/>
                  </a:cubicBezTo>
                  <a:cubicBezTo>
                    <a:pt x="277" y="68"/>
                    <a:pt x="276" y="70"/>
                    <a:pt x="276" y="70"/>
                  </a:cubicBezTo>
                  <a:cubicBezTo>
                    <a:pt x="276" y="70"/>
                    <a:pt x="275" y="68"/>
                    <a:pt x="275" y="68"/>
                  </a:cubicBezTo>
                  <a:cubicBezTo>
                    <a:pt x="275" y="67"/>
                    <a:pt x="274" y="65"/>
                    <a:pt x="274" y="65"/>
                  </a:cubicBezTo>
                  <a:cubicBezTo>
                    <a:pt x="274" y="65"/>
                    <a:pt x="274" y="63"/>
                    <a:pt x="274" y="63"/>
                  </a:cubicBezTo>
                  <a:cubicBezTo>
                    <a:pt x="274" y="63"/>
                    <a:pt x="274" y="61"/>
                    <a:pt x="274" y="61"/>
                  </a:cubicBezTo>
                  <a:cubicBezTo>
                    <a:pt x="274" y="61"/>
                    <a:pt x="275" y="61"/>
                    <a:pt x="275" y="61"/>
                  </a:cubicBezTo>
                  <a:cubicBezTo>
                    <a:pt x="275" y="60"/>
                    <a:pt x="275" y="58"/>
                    <a:pt x="275" y="58"/>
                  </a:cubicBezTo>
                  <a:cubicBezTo>
                    <a:pt x="275" y="58"/>
                    <a:pt x="276" y="56"/>
                    <a:pt x="276" y="56"/>
                  </a:cubicBezTo>
                  <a:cubicBezTo>
                    <a:pt x="275" y="55"/>
                    <a:pt x="272" y="52"/>
                    <a:pt x="272" y="52"/>
                  </a:cubicBezTo>
                  <a:cubicBezTo>
                    <a:pt x="272" y="52"/>
                    <a:pt x="274" y="49"/>
                    <a:pt x="273" y="49"/>
                  </a:cubicBezTo>
                  <a:cubicBezTo>
                    <a:pt x="273" y="48"/>
                    <a:pt x="272" y="48"/>
                    <a:pt x="272" y="48"/>
                  </a:cubicBezTo>
                  <a:cubicBezTo>
                    <a:pt x="272" y="48"/>
                    <a:pt x="272" y="47"/>
                    <a:pt x="271" y="47"/>
                  </a:cubicBezTo>
                  <a:cubicBezTo>
                    <a:pt x="271" y="47"/>
                    <a:pt x="270" y="48"/>
                    <a:pt x="270" y="47"/>
                  </a:cubicBezTo>
                  <a:cubicBezTo>
                    <a:pt x="270" y="47"/>
                    <a:pt x="270" y="45"/>
                    <a:pt x="270" y="45"/>
                  </a:cubicBezTo>
                  <a:cubicBezTo>
                    <a:pt x="270" y="45"/>
                    <a:pt x="268" y="45"/>
                    <a:pt x="268" y="45"/>
                  </a:cubicBezTo>
                  <a:cubicBezTo>
                    <a:pt x="268" y="41"/>
                    <a:pt x="268" y="41"/>
                    <a:pt x="268" y="41"/>
                  </a:cubicBezTo>
                  <a:cubicBezTo>
                    <a:pt x="268" y="41"/>
                    <a:pt x="266" y="39"/>
                    <a:pt x="266" y="39"/>
                  </a:cubicBezTo>
                  <a:cubicBezTo>
                    <a:pt x="266" y="39"/>
                    <a:pt x="266" y="38"/>
                    <a:pt x="266" y="37"/>
                  </a:cubicBezTo>
                  <a:cubicBezTo>
                    <a:pt x="266" y="37"/>
                    <a:pt x="267" y="35"/>
                    <a:pt x="267" y="35"/>
                  </a:cubicBezTo>
                  <a:cubicBezTo>
                    <a:pt x="267" y="35"/>
                    <a:pt x="266" y="34"/>
                    <a:pt x="265" y="33"/>
                  </a:cubicBezTo>
                  <a:cubicBezTo>
                    <a:pt x="265" y="33"/>
                    <a:pt x="264" y="31"/>
                    <a:pt x="264" y="31"/>
                  </a:cubicBezTo>
                  <a:cubicBezTo>
                    <a:pt x="264" y="30"/>
                    <a:pt x="264" y="29"/>
                    <a:pt x="264" y="28"/>
                  </a:cubicBezTo>
                  <a:cubicBezTo>
                    <a:pt x="264" y="28"/>
                    <a:pt x="265" y="25"/>
                    <a:pt x="265" y="25"/>
                  </a:cubicBezTo>
                  <a:cubicBezTo>
                    <a:pt x="261" y="24"/>
                    <a:pt x="261" y="24"/>
                    <a:pt x="261" y="24"/>
                  </a:cubicBezTo>
                  <a:cubicBezTo>
                    <a:pt x="258" y="23"/>
                    <a:pt x="258" y="23"/>
                    <a:pt x="258" y="23"/>
                  </a:cubicBezTo>
                  <a:cubicBezTo>
                    <a:pt x="257" y="23"/>
                    <a:pt x="257" y="23"/>
                    <a:pt x="257" y="23"/>
                  </a:cubicBezTo>
                  <a:cubicBezTo>
                    <a:pt x="257" y="23"/>
                    <a:pt x="253" y="19"/>
                    <a:pt x="253" y="19"/>
                  </a:cubicBezTo>
                  <a:cubicBezTo>
                    <a:pt x="253" y="19"/>
                    <a:pt x="254" y="16"/>
                    <a:pt x="254" y="16"/>
                  </a:cubicBezTo>
                  <a:cubicBezTo>
                    <a:pt x="254" y="16"/>
                    <a:pt x="251" y="16"/>
                    <a:pt x="251" y="16"/>
                  </a:cubicBezTo>
                  <a:cubicBezTo>
                    <a:pt x="251" y="16"/>
                    <a:pt x="249" y="13"/>
                    <a:pt x="249" y="13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4" y="12"/>
                    <a:pt x="244" y="12"/>
                    <a:pt x="244" y="12"/>
                  </a:cubicBezTo>
                  <a:cubicBezTo>
                    <a:pt x="239" y="11"/>
                    <a:pt x="239" y="11"/>
                    <a:pt x="239" y="11"/>
                  </a:cubicBezTo>
                  <a:cubicBezTo>
                    <a:pt x="239" y="11"/>
                    <a:pt x="236" y="10"/>
                    <a:pt x="236" y="9"/>
                  </a:cubicBezTo>
                  <a:cubicBezTo>
                    <a:pt x="236" y="9"/>
                    <a:pt x="235" y="7"/>
                    <a:pt x="235" y="7"/>
                  </a:cubicBezTo>
                  <a:cubicBezTo>
                    <a:pt x="232" y="7"/>
                    <a:pt x="232" y="7"/>
                    <a:pt x="232" y="7"/>
                  </a:cubicBezTo>
                  <a:cubicBezTo>
                    <a:pt x="229" y="6"/>
                    <a:pt x="229" y="6"/>
                    <a:pt x="229" y="6"/>
                  </a:cubicBezTo>
                  <a:cubicBezTo>
                    <a:pt x="229" y="6"/>
                    <a:pt x="228" y="7"/>
                    <a:pt x="227" y="7"/>
                  </a:cubicBezTo>
                  <a:cubicBezTo>
                    <a:pt x="227" y="7"/>
                    <a:pt x="222" y="8"/>
                    <a:pt x="222" y="8"/>
                  </a:cubicBezTo>
                  <a:cubicBezTo>
                    <a:pt x="221" y="8"/>
                    <a:pt x="220" y="8"/>
                    <a:pt x="219" y="8"/>
                  </a:cubicBezTo>
                  <a:cubicBezTo>
                    <a:pt x="219" y="8"/>
                    <a:pt x="214" y="6"/>
                    <a:pt x="214" y="6"/>
                  </a:cubicBezTo>
                  <a:cubicBezTo>
                    <a:pt x="212" y="10"/>
                    <a:pt x="212" y="10"/>
                    <a:pt x="212" y="10"/>
                  </a:cubicBezTo>
                  <a:cubicBezTo>
                    <a:pt x="212" y="10"/>
                    <a:pt x="207" y="12"/>
                    <a:pt x="207" y="11"/>
                  </a:cubicBezTo>
                  <a:cubicBezTo>
                    <a:pt x="207" y="11"/>
                    <a:pt x="203" y="7"/>
                    <a:pt x="203" y="7"/>
                  </a:cubicBezTo>
                  <a:cubicBezTo>
                    <a:pt x="203" y="7"/>
                    <a:pt x="193" y="4"/>
                    <a:pt x="193" y="4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69" y="93"/>
                    <a:pt x="69" y="93"/>
                    <a:pt x="69" y="93"/>
                  </a:cubicBezTo>
                  <a:cubicBezTo>
                    <a:pt x="69" y="138"/>
                    <a:pt x="69" y="138"/>
                    <a:pt x="69" y="138"/>
                  </a:cubicBezTo>
                  <a:lnTo>
                    <a:pt x="301" y="138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690696F7-C00C-4202-94FB-CF97D6917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810" y="1258003"/>
              <a:ext cx="1640639" cy="928539"/>
            </a:xfrm>
            <a:custGeom>
              <a:avLst/>
              <a:gdLst>
                <a:gd name="T0" fmla="*/ 10 w 414"/>
                <a:gd name="T1" fmla="*/ 67 h 234"/>
                <a:gd name="T2" fmla="*/ 10 w 414"/>
                <a:gd name="T3" fmla="*/ 75 h 234"/>
                <a:gd name="T4" fmla="*/ 14 w 414"/>
                <a:gd name="T5" fmla="*/ 79 h 234"/>
                <a:gd name="T6" fmla="*/ 10 w 414"/>
                <a:gd name="T7" fmla="*/ 82 h 234"/>
                <a:gd name="T8" fmla="*/ 15 w 414"/>
                <a:gd name="T9" fmla="*/ 85 h 234"/>
                <a:gd name="T10" fmla="*/ 23 w 414"/>
                <a:gd name="T11" fmla="*/ 90 h 234"/>
                <a:gd name="T12" fmla="*/ 30 w 414"/>
                <a:gd name="T13" fmla="*/ 98 h 234"/>
                <a:gd name="T14" fmla="*/ 36 w 414"/>
                <a:gd name="T15" fmla="*/ 106 h 234"/>
                <a:gd name="T16" fmla="*/ 40 w 414"/>
                <a:gd name="T17" fmla="*/ 114 h 234"/>
                <a:gd name="T18" fmla="*/ 44 w 414"/>
                <a:gd name="T19" fmla="*/ 117 h 234"/>
                <a:gd name="T20" fmla="*/ 48 w 414"/>
                <a:gd name="T21" fmla="*/ 118 h 234"/>
                <a:gd name="T22" fmla="*/ 52 w 414"/>
                <a:gd name="T23" fmla="*/ 122 h 234"/>
                <a:gd name="T24" fmla="*/ 58 w 414"/>
                <a:gd name="T25" fmla="*/ 121 h 234"/>
                <a:gd name="T26" fmla="*/ 58 w 414"/>
                <a:gd name="T27" fmla="*/ 128 h 234"/>
                <a:gd name="T28" fmla="*/ 57 w 414"/>
                <a:gd name="T29" fmla="*/ 134 h 234"/>
                <a:gd name="T30" fmla="*/ 54 w 414"/>
                <a:gd name="T31" fmla="*/ 143 h 234"/>
                <a:gd name="T32" fmla="*/ 53 w 414"/>
                <a:gd name="T33" fmla="*/ 147 h 234"/>
                <a:gd name="T34" fmla="*/ 54 w 414"/>
                <a:gd name="T35" fmla="*/ 153 h 234"/>
                <a:gd name="T36" fmla="*/ 57 w 414"/>
                <a:gd name="T37" fmla="*/ 160 h 234"/>
                <a:gd name="T38" fmla="*/ 52 w 414"/>
                <a:gd name="T39" fmla="*/ 163 h 234"/>
                <a:gd name="T40" fmla="*/ 52 w 414"/>
                <a:gd name="T41" fmla="*/ 172 h 234"/>
                <a:gd name="T42" fmla="*/ 55 w 414"/>
                <a:gd name="T43" fmla="*/ 176 h 234"/>
                <a:gd name="T44" fmla="*/ 61 w 414"/>
                <a:gd name="T45" fmla="*/ 179 h 234"/>
                <a:gd name="T46" fmla="*/ 68 w 414"/>
                <a:gd name="T47" fmla="*/ 173 h 234"/>
                <a:gd name="T48" fmla="*/ 73 w 414"/>
                <a:gd name="T49" fmla="*/ 171 h 234"/>
                <a:gd name="T50" fmla="*/ 76 w 414"/>
                <a:gd name="T51" fmla="*/ 176 h 234"/>
                <a:gd name="T52" fmla="*/ 78 w 414"/>
                <a:gd name="T53" fmla="*/ 180 h 234"/>
                <a:gd name="T54" fmla="*/ 80 w 414"/>
                <a:gd name="T55" fmla="*/ 185 h 234"/>
                <a:gd name="T56" fmla="*/ 84 w 414"/>
                <a:gd name="T57" fmla="*/ 194 h 234"/>
                <a:gd name="T58" fmla="*/ 88 w 414"/>
                <a:gd name="T59" fmla="*/ 199 h 234"/>
                <a:gd name="T60" fmla="*/ 90 w 414"/>
                <a:gd name="T61" fmla="*/ 205 h 234"/>
                <a:gd name="T62" fmla="*/ 91 w 414"/>
                <a:gd name="T63" fmla="*/ 210 h 234"/>
                <a:gd name="T64" fmla="*/ 95 w 414"/>
                <a:gd name="T65" fmla="*/ 212 h 234"/>
                <a:gd name="T66" fmla="*/ 102 w 414"/>
                <a:gd name="T67" fmla="*/ 217 h 234"/>
                <a:gd name="T68" fmla="*/ 102 w 414"/>
                <a:gd name="T69" fmla="*/ 223 h 234"/>
                <a:gd name="T70" fmla="*/ 105 w 414"/>
                <a:gd name="T71" fmla="*/ 229 h 234"/>
                <a:gd name="T72" fmla="*/ 111 w 414"/>
                <a:gd name="T73" fmla="*/ 234 h 234"/>
                <a:gd name="T74" fmla="*/ 117 w 414"/>
                <a:gd name="T75" fmla="*/ 228 h 234"/>
                <a:gd name="T76" fmla="*/ 127 w 414"/>
                <a:gd name="T77" fmla="*/ 228 h 234"/>
                <a:gd name="T78" fmla="*/ 137 w 414"/>
                <a:gd name="T79" fmla="*/ 226 h 234"/>
                <a:gd name="T80" fmla="*/ 145 w 414"/>
                <a:gd name="T81" fmla="*/ 227 h 234"/>
                <a:gd name="T82" fmla="*/ 155 w 414"/>
                <a:gd name="T83" fmla="*/ 225 h 234"/>
                <a:gd name="T84" fmla="*/ 156 w 414"/>
                <a:gd name="T85" fmla="*/ 222 h 234"/>
                <a:gd name="T86" fmla="*/ 160 w 414"/>
                <a:gd name="T87" fmla="*/ 217 h 234"/>
                <a:gd name="T88" fmla="*/ 172 w 414"/>
                <a:gd name="T89" fmla="*/ 229 h 234"/>
                <a:gd name="T90" fmla="*/ 414 w 414"/>
                <a:gd name="T9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4" h="234">
                  <a:moveTo>
                    <a:pt x="0" y="0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2" y="70"/>
                    <a:pt x="12" y="71"/>
                  </a:cubicBezTo>
                  <a:cubicBezTo>
                    <a:pt x="12" y="71"/>
                    <a:pt x="12" y="74"/>
                    <a:pt x="12" y="74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10" y="76"/>
                    <a:pt x="12" y="78"/>
                    <a:pt x="13" y="78"/>
                  </a:cubicBezTo>
                  <a:cubicBezTo>
                    <a:pt x="13" y="79"/>
                    <a:pt x="14" y="79"/>
                    <a:pt x="14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3" y="81"/>
                    <a:pt x="12" y="81"/>
                  </a:cubicBezTo>
                  <a:cubicBezTo>
                    <a:pt x="12" y="81"/>
                    <a:pt x="10" y="82"/>
                    <a:pt x="10" y="82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3" y="83"/>
                    <a:pt x="13" y="84"/>
                  </a:cubicBezTo>
                  <a:cubicBezTo>
                    <a:pt x="14" y="84"/>
                    <a:pt x="15" y="84"/>
                    <a:pt x="15" y="85"/>
                  </a:cubicBezTo>
                  <a:cubicBezTo>
                    <a:pt x="16" y="86"/>
                    <a:pt x="17" y="88"/>
                    <a:pt x="18" y="89"/>
                  </a:cubicBezTo>
                  <a:cubicBezTo>
                    <a:pt x="19" y="89"/>
                    <a:pt x="19" y="89"/>
                    <a:pt x="20" y="90"/>
                  </a:cubicBezTo>
                  <a:cubicBezTo>
                    <a:pt x="21" y="90"/>
                    <a:pt x="23" y="90"/>
                    <a:pt x="23" y="90"/>
                  </a:cubicBezTo>
                  <a:cubicBezTo>
                    <a:pt x="24" y="91"/>
                    <a:pt x="25" y="91"/>
                    <a:pt x="25" y="91"/>
                  </a:cubicBezTo>
                  <a:cubicBezTo>
                    <a:pt x="25" y="92"/>
                    <a:pt x="25" y="94"/>
                    <a:pt x="26" y="94"/>
                  </a:cubicBezTo>
                  <a:cubicBezTo>
                    <a:pt x="26" y="95"/>
                    <a:pt x="30" y="98"/>
                    <a:pt x="30" y="98"/>
                  </a:cubicBezTo>
                  <a:cubicBezTo>
                    <a:pt x="31" y="99"/>
                    <a:pt x="32" y="100"/>
                    <a:pt x="32" y="101"/>
                  </a:cubicBezTo>
                  <a:cubicBezTo>
                    <a:pt x="32" y="101"/>
                    <a:pt x="33" y="104"/>
                    <a:pt x="34" y="105"/>
                  </a:cubicBezTo>
                  <a:cubicBezTo>
                    <a:pt x="34" y="105"/>
                    <a:pt x="35" y="105"/>
                    <a:pt x="36" y="106"/>
                  </a:cubicBezTo>
                  <a:cubicBezTo>
                    <a:pt x="37" y="106"/>
                    <a:pt x="38" y="107"/>
                    <a:pt x="38" y="108"/>
                  </a:cubicBezTo>
                  <a:cubicBezTo>
                    <a:pt x="38" y="109"/>
                    <a:pt x="38" y="111"/>
                    <a:pt x="38" y="112"/>
                  </a:cubicBezTo>
                  <a:cubicBezTo>
                    <a:pt x="38" y="112"/>
                    <a:pt x="39" y="114"/>
                    <a:pt x="40" y="114"/>
                  </a:cubicBezTo>
                  <a:cubicBezTo>
                    <a:pt x="40" y="114"/>
                    <a:pt x="41" y="113"/>
                    <a:pt x="41" y="113"/>
                  </a:cubicBezTo>
                  <a:cubicBezTo>
                    <a:pt x="42" y="114"/>
                    <a:pt x="43" y="115"/>
                    <a:pt x="43" y="115"/>
                  </a:cubicBezTo>
                  <a:cubicBezTo>
                    <a:pt x="44" y="116"/>
                    <a:pt x="44" y="116"/>
                    <a:pt x="44" y="117"/>
                  </a:cubicBezTo>
                  <a:cubicBezTo>
                    <a:pt x="44" y="118"/>
                    <a:pt x="44" y="119"/>
                    <a:pt x="44" y="119"/>
                  </a:cubicBezTo>
                  <a:cubicBezTo>
                    <a:pt x="45" y="119"/>
                    <a:pt x="46" y="117"/>
                    <a:pt x="46" y="117"/>
                  </a:cubicBezTo>
                  <a:cubicBezTo>
                    <a:pt x="47" y="117"/>
                    <a:pt x="48" y="117"/>
                    <a:pt x="48" y="118"/>
                  </a:cubicBezTo>
                  <a:cubicBezTo>
                    <a:pt x="48" y="118"/>
                    <a:pt x="48" y="119"/>
                    <a:pt x="49" y="120"/>
                  </a:cubicBezTo>
                  <a:cubicBezTo>
                    <a:pt x="49" y="121"/>
                    <a:pt x="50" y="122"/>
                    <a:pt x="50" y="122"/>
                  </a:cubicBezTo>
                  <a:cubicBezTo>
                    <a:pt x="50" y="122"/>
                    <a:pt x="52" y="122"/>
                    <a:pt x="52" y="122"/>
                  </a:cubicBezTo>
                  <a:cubicBezTo>
                    <a:pt x="52" y="122"/>
                    <a:pt x="53" y="122"/>
                    <a:pt x="54" y="122"/>
                  </a:cubicBezTo>
                  <a:cubicBezTo>
                    <a:pt x="54" y="122"/>
                    <a:pt x="55" y="123"/>
                    <a:pt x="55" y="122"/>
                  </a:cubicBezTo>
                  <a:cubicBezTo>
                    <a:pt x="56" y="122"/>
                    <a:pt x="58" y="121"/>
                    <a:pt x="58" y="121"/>
                  </a:cubicBezTo>
                  <a:cubicBezTo>
                    <a:pt x="58" y="121"/>
                    <a:pt x="59" y="121"/>
                    <a:pt x="59" y="122"/>
                  </a:cubicBezTo>
                  <a:cubicBezTo>
                    <a:pt x="59" y="122"/>
                    <a:pt x="59" y="125"/>
                    <a:pt x="59" y="125"/>
                  </a:cubicBezTo>
                  <a:cubicBezTo>
                    <a:pt x="59" y="125"/>
                    <a:pt x="59" y="128"/>
                    <a:pt x="58" y="128"/>
                  </a:cubicBezTo>
                  <a:cubicBezTo>
                    <a:pt x="58" y="128"/>
                    <a:pt x="57" y="129"/>
                    <a:pt x="57" y="129"/>
                  </a:cubicBezTo>
                  <a:cubicBezTo>
                    <a:pt x="57" y="129"/>
                    <a:pt x="57" y="130"/>
                    <a:pt x="57" y="130"/>
                  </a:cubicBezTo>
                  <a:cubicBezTo>
                    <a:pt x="57" y="131"/>
                    <a:pt x="57" y="133"/>
                    <a:pt x="57" y="134"/>
                  </a:cubicBezTo>
                  <a:cubicBezTo>
                    <a:pt x="57" y="135"/>
                    <a:pt x="56" y="137"/>
                    <a:pt x="56" y="138"/>
                  </a:cubicBezTo>
                  <a:cubicBezTo>
                    <a:pt x="56" y="138"/>
                    <a:pt x="55" y="140"/>
                    <a:pt x="55" y="140"/>
                  </a:cubicBezTo>
                  <a:cubicBezTo>
                    <a:pt x="54" y="141"/>
                    <a:pt x="54" y="142"/>
                    <a:pt x="54" y="143"/>
                  </a:cubicBezTo>
                  <a:cubicBezTo>
                    <a:pt x="55" y="143"/>
                    <a:pt x="55" y="144"/>
                    <a:pt x="55" y="145"/>
                  </a:cubicBezTo>
                  <a:cubicBezTo>
                    <a:pt x="55" y="145"/>
                    <a:pt x="55" y="146"/>
                    <a:pt x="54" y="146"/>
                  </a:cubicBezTo>
                  <a:cubicBezTo>
                    <a:pt x="53" y="146"/>
                    <a:pt x="53" y="147"/>
                    <a:pt x="53" y="147"/>
                  </a:cubicBezTo>
                  <a:cubicBezTo>
                    <a:pt x="53" y="148"/>
                    <a:pt x="54" y="149"/>
                    <a:pt x="54" y="149"/>
                  </a:cubicBezTo>
                  <a:cubicBezTo>
                    <a:pt x="54" y="150"/>
                    <a:pt x="54" y="151"/>
                    <a:pt x="54" y="151"/>
                  </a:cubicBezTo>
                  <a:cubicBezTo>
                    <a:pt x="54" y="151"/>
                    <a:pt x="54" y="153"/>
                    <a:pt x="54" y="153"/>
                  </a:cubicBezTo>
                  <a:cubicBezTo>
                    <a:pt x="54" y="154"/>
                    <a:pt x="55" y="154"/>
                    <a:pt x="56" y="155"/>
                  </a:cubicBezTo>
                  <a:cubicBezTo>
                    <a:pt x="56" y="155"/>
                    <a:pt x="56" y="156"/>
                    <a:pt x="57" y="158"/>
                  </a:cubicBezTo>
                  <a:cubicBezTo>
                    <a:pt x="57" y="159"/>
                    <a:pt x="57" y="159"/>
                    <a:pt x="57" y="160"/>
                  </a:cubicBezTo>
                  <a:cubicBezTo>
                    <a:pt x="57" y="161"/>
                    <a:pt x="57" y="161"/>
                    <a:pt x="56" y="161"/>
                  </a:cubicBezTo>
                  <a:cubicBezTo>
                    <a:pt x="55" y="161"/>
                    <a:pt x="54" y="161"/>
                    <a:pt x="54" y="161"/>
                  </a:cubicBezTo>
                  <a:cubicBezTo>
                    <a:pt x="53" y="162"/>
                    <a:pt x="53" y="162"/>
                    <a:pt x="52" y="163"/>
                  </a:cubicBezTo>
                  <a:cubicBezTo>
                    <a:pt x="52" y="164"/>
                    <a:pt x="51" y="164"/>
                    <a:pt x="51" y="165"/>
                  </a:cubicBezTo>
                  <a:cubicBezTo>
                    <a:pt x="51" y="166"/>
                    <a:pt x="53" y="168"/>
                    <a:pt x="53" y="169"/>
                  </a:cubicBezTo>
                  <a:cubicBezTo>
                    <a:pt x="53" y="169"/>
                    <a:pt x="53" y="171"/>
                    <a:pt x="52" y="172"/>
                  </a:cubicBezTo>
                  <a:cubicBezTo>
                    <a:pt x="52" y="172"/>
                    <a:pt x="51" y="173"/>
                    <a:pt x="51" y="174"/>
                  </a:cubicBezTo>
                  <a:cubicBezTo>
                    <a:pt x="51" y="175"/>
                    <a:pt x="51" y="176"/>
                    <a:pt x="52" y="176"/>
                  </a:cubicBezTo>
                  <a:cubicBezTo>
                    <a:pt x="53" y="176"/>
                    <a:pt x="54" y="176"/>
                    <a:pt x="55" y="176"/>
                  </a:cubicBezTo>
                  <a:cubicBezTo>
                    <a:pt x="55" y="177"/>
                    <a:pt x="55" y="178"/>
                    <a:pt x="56" y="179"/>
                  </a:cubicBezTo>
                  <a:cubicBezTo>
                    <a:pt x="57" y="179"/>
                    <a:pt x="58" y="180"/>
                    <a:pt x="59" y="180"/>
                  </a:cubicBezTo>
                  <a:cubicBezTo>
                    <a:pt x="59" y="180"/>
                    <a:pt x="60" y="179"/>
                    <a:pt x="61" y="179"/>
                  </a:cubicBezTo>
                  <a:cubicBezTo>
                    <a:pt x="62" y="179"/>
                    <a:pt x="62" y="177"/>
                    <a:pt x="62" y="177"/>
                  </a:cubicBezTo>
                  <a:cubicBezTo>
                    <a:pt x="62" y="176"/>
                    <a:pt x="63" y="176"/>
                    <a:pt x="64" y="176"/>
                  </a:cubicBezTo>
                  <a:cubicBezTo>
                    <a:pt x="65" y="176"/>
                    <a:pt x="68" y="174"/>
                    <a:pt x="68" y="173"/>
                  </a:cubicBezTo>
                  <a:cubicBezTo>
                    <a:pt x="69" y="173"/>
                    <a:pt x="70" y="172"/>
                    <a:pt x="70" y="171"/>
                  </a:cubicBezTo>
                  <a:cubicBezTo>
                    <a:pt x="70" y="170"/>
                    <a:pt x="69" y="169"/>
                    <a:pt x="70" y="169"/>
                  </a:cubicBezTo>
                  <a:cubicBezTo>
                    <a:pt x="72" y="169"/>
                    <a:pt x="73" y="171"/>
                    <a:pt x="73" y="171"/>
                  </a:cubicBezTo>
                  <a:cubicBezTo>
                    <a:pt x="73" y="172"/>
                    <a:pt x="74" y="173"/>
                    <a:pt x="75" y="173"/>
                  </a:cubicBezTo>
                  <a:cubicBezTo>
                    <a:pt x="76" y="173"/>
                    <a:pt x="76" y="173"/>
                    <a:pt x="76" y="174"/>
                  </a:cubicBezTo>
                  <a:cubicBezTo>
                    <a:pt x="77" y="174"/>
                    <a:pt x="77" y="176"/>
                    <a:pt x="76" y="176"/>
                  </a:cubicBezTo>
                  <a:cubicBezTo>
                    <a:pt x="76" y="176"/>
                    <a:pt x="76" y="177"/>
                    <a:pt x="77" y="177"/>
                  </a:cubicBezTo>
                  <a:cubicBezTo>
                    <a:pt x="78" y="178"/>
                    <a:pt x="78" y="178"/>
                    <a:pt x="78" y="178"/>
                  </a:cubicBezTo>
                  <a:cubicBezTo>
                    <a:pt x="78" y="179"/>
                    <a:pt x="79" y="180"/>
                    <a:pt x="78" y="180"/>
                  </a:cubicBezTo>
                  <a:cubicBezTo>
                    <a:pt x="78" y="181"/>
                    <a:pt x="78" y="182"/>
                    <a:pt x="78" y="182"/>
                  </a:cubicBezTo>
                  <a:cubicBezTo>
                    <a:pt x="79" y="183"/>
                    <a:pt x="79" y="184"/>
                    <a:pt x="80" y="184"/>
                  </a:cubicBezTo>
                  <a:cubicBezTo>
                    <a:pt x="80" y="184"/>
                    <a:pt x="80" y="184"/>
                    <a:pt x="80" y="185"/>
                  </a:cubicBezTo>
                  <a:cubicBezTo>
                    <a:pt x="80" y="186"/>
                    <a:pt x="80" y="187"/>
                    <a:pt x="81" y="188"/>
                  </a:cubicBezTo>
                  <a:cubicBezTo>
                    <a:pt x="81" y="189"/>
                    <a:pt x="81" y="190"/>
                    <a:pt x="82" y="191"/>
                  </a:cubicBezTo>
                  <a:cubicBezTo>
                    <a:pt x="83" y="192"/>
                    <a:pt x="83" y="194"/>
                    <a:pt x="84" y="194"/>
                  </a:cubicBezTo>
                  <a:cubicBezTo>
                    <a:pt x="84" y="195"/>
                    <a:pt x="85" y="196"/>
                    <a:pt x="85" y="196"/>
                  </a:cubicBezTo>
                  <a:cubicBezTo>
                    <a:pt x="86" y="197"/>
                    <a:pt x="87" y="197"/>
                    <a:pt x="87" y="197"/>
                  </a:cubicBezTo>
                  <a:cubicBezTo>
                    <a:pt x="87" y="198"/>
                    <a:pt x="88" y="199"/>
                    <a:pt x="88" y="199"/>
                  </a:cubicBezTo>
                  <a:cubicBezTo>
                    <a:pt x="88" y="199"/>
                    <a:pt x="89" y="199"/>
                    <a:pt x="89" y="200"/>
                  </a:cubicBezTo>
                  <a:cubicBezTo>
                    <a:pt x="89" y="200"/>
                    <a:pt x="90" y="200"/>
                    <a:pt x="90" y="201"/>
                  </a:cubicBezTo>
                  <a:cubicBezTo>
                    <a:pt x="90" y="202"/>
                    <a:pt x="90" y="205"/>
                    <a:pt x="90" y="205"/>
                  </a:cubicBezTo>
                  <a:cubicBezTo>
                    <a:pt x="90" y="205"/>
                    <a:pt x="88" y="205"/>
                    <a:pt x="88" y="206"/>
                  </a:cubicBezTo>
                  <a:cubicBezTo>
                    <a:pt x="88" y="206"/>
                    <a:pt x="88" y="207"/>
                    <a:pt x="88" y="208"/>
                  </a:cubicBezTo>
                  <a:cubicBezTo>
                    <a:pt x="89" y="208"/>
                    <a:pt x="90" y="210"/>
                    <a:pt x="91" y="210"/>
                  </a:cubicBezTo>
                  <a:cubicBezTo>
                    <a:pt x="91" y="211"/>
                    <a:pt x="92" y="211"/>
                    <a:pt x="92" y="212"/>
                  </a:cubicBezTo>
                  <a:cubicBezTo>
                    <a:pt x="92" y="212"/>
                    <a:pt x="93" y="213"/>
                    <a:pt x="93" y="213"/>
                  </a:cubicBezTo>
                  <a:cubicBezTo>
                    <a:pt x="93" y="213"/>
                    <a:pt x="94" y="213"/>
                    <a:pt x="95" y="212"/>
                  </a:cubicBezTo>
                  <a:cubicBezTo>
                    <a:pt x="96" y="212"/>
                    <a:pt x="96" y="212"/>
                    <a:pt x="97" y="212"/>
                  </a:cubicBezTo>
                  <a:cubicBezTo>
                    <a:pt x="98" y="213"/>
                    <a:pt x="99" y="214"/>
                    <a:pt x="100" y="214"/>
                  </a:cubicBezTo>
                  <a:cubicBezTo>
                    <a:pt x="100" y="215"/>
                    <a:pt x="101" y="216"/>
                    <a:pt x="102" y="217"/>
                  </a:cubicBezTo>
                  <a:cubicBezTo>
                    <a:pt x="102" y="218"/>
                    <a:pt x="102" y="219"/>
                    <a:pt x="103" y="220"/>
                  </a:cubicBezTo>
                  <a:cubicBezTo>
                    <a:pt x="103" y="221"/>
                    <a:pt x="103" y="221"/>
                    <a:pt x="103" y="222"/>
                  </a:cubicBezTo>
                  <a:cubicBezTo>
                    <a:pt x="103" y="222"/>
                    <a:pt x="102" y="223"/>
                    <a:pt x="102" y="223"/>
                  </a:cubicBezTo>
                  <a:cubicBezTo>
                    <a:pt x="102" y="223"/>
                    <a:pt x="104" y="224"/>
                    <a:pt x="104" y="225"/>
                  </a:cubicBezTo>
                  <a:cubicBezTo>
                    <a:pt x="104" y="226"/>
                    <a:pt x="105" y="226"/>
                    <a:pt x="105" y="227"/>
                  </a:cubicBezTo>
                  <a:cubicBezTo>
                    <a:pt x="105" y="228"/>
                    <a:pt x="104" y="228"/>
                    <a:pt x="105" y="229"/>
                  </a:cubicBezTo>
                  <a:cubicBezTo>
                    <a:pt x="105" y="230"/>
                    <a:pt x="106" y="230"/>
                    <a:pt x="106" y="231"/>
                  </a:cubicBezTo>
                  <a:cubicBezTo>
                    <a:pt x="107" y="232"/>
                    <a:pt x="108" y="232"/>
                    <a:pt x="109" y="233"/>
                  </a:cubicBezTo>
                  <a:cubicBezTo>
                    <a:pt x="110" y="234"/>
                    <a:pt x="111" y="234"/>
                    <a:pt x="111" y="234"/>
                  </a:cubicBezTo>
                  <a:cubicBezTo>
                    <a:pt x="111" y="233"/>
                    <a:pt x="111" y="231"/>
                    <a:pt x="111" y="230"/>
                  </a:cubicBezTo>
                  <a:cubicBezTo>
                    <a:pt x="112" y="229"/>
                    <a:pt x="113" y="229"/>
                    <a:pt x="114" y="228"/>
                  </a:cubicBezTo>
                  <a:cubicBezTo>
                    <a:pt x="115" y="228"/>
                    <a:pt x="115" y="227"/>
                    <a:pt x="117" y="228"/>
                  </a:cubicBezTo>
                  <a:cubicBezTo>
                    <a:pt x="119" y="229"/>
                    <a:pt x="121" y="229"/>
                    <a:pt x="123" y="229"/>
                  </a:cubicBezTo>
                  <a:cubicBezTo>
                    <a:pt x="124" y="230"/>
                    <a:pt x="126" y="230"/>
                    <a:pt x="126" y="230"/>
                  </a:cubicBezTo>
                  <a:cubicBezTo>
                    <a:pt x="126" y="230"/>
                    <a:pt x="126" y="229"/>
                    <a:pt x="127" y="228"/>
                  </a:cubicBezTo>
                  <a:cubicBezTo>
                    <a:pt x="127" y="227"/>
                    <a:pt x="127" y="224"/>
                    <a:pt x="128" y="224"/>
                  </a:cubicBezTo>
                  <a:cubicBezTo>
                    <a:pt x="128" y="224"/>
                    <a:pt x="129" y="224"/>
                    <a:pt x="129" y="224"/>
                  </a:cubicBezTo>
                  <a:cubicBezTo>
                    <a:pt x="130" y="224"/>
                    <a:pt x="136" y="226"/>
                    <a:pt x="137" y="226"/>
                  </a:cubicBezTo>
                  <a:cubicBezTo>
                    <a:pt x="137" y="226"/>
                    <a:pt x="141" y="225"/>
                    <a:pt x="141" y="225"/>
                  </a:cubicBezTo>
                  <a:cubicBezTo>
                    <a:pt x="142" y="225"/>
                    <a:pt x="144" y="225"/>
                    <a:pt x="144" y="225"/>
                  </a:cubicBezTo>
                  <a:cubicBezTo>
                    <a:pt x="144" y="225"/>
                    <a:pt x="145" y="227"/>
                    <a:pt x="145" y="227"/>
                  </a:cubicBezTo>
                  <a:cubicBezTo>
                    <a:pt x="145" y="227"/>
                    <a:pt x="146" y="227"/>
                    <a:pt x="147" y="226"/>
                  </a:cubicBezTo>
                  <a:cubicBezTo>
                    <a:pt x="148" y="226"/>
                    <a:pt x="149" y="225"/>
                    <a:pt x="151" y="225"/>
                  </a:cubicBezTo>
                  <a:cubicBezTo>
                    <a:pt x="152" y="224"/>
                    <a:pt x="154" y="225"/>
                    <a:pt x="155" y="225"/>
                  </a:cubicBezTo>
                  <a:cubicBezTo>
                    <a:pt x="155" y="225"/>
                    <a:pt x="157" y="225"/>
                    <a:pt x="157" y="225"/>
                  </a:cubicBezTo>
                  <a:cubicBezTo>
                    <a:pt x="158" y="225"/>
                    <a:pt x="157" y="225"/>
                    <a:pt x="157" y="224"/>
                  </a:cubicBezTo>
                  <a:cubicBezTo>
                    <a:pt x="157" y="223"/>
                    <a:pt x="156" y="222"/>
                    <a:pt x="156" y="222"/>
                  </a:cubicBezTo>
                  <a:cubicBezTo>
                    <a:pt x="157" y="221"/>
                    <a:pt x="157" y="220"/>
                    <a:pt x="157" y="219"/>
                  </a:cubicBezTo>
                  <a:cubicBezTo>
                    <a:pt x="157" y="218"/>
                    <a:pt x="157" y="218"/>
                    <a:pt x="158" y="217"/>
                  </a:cubicBezTo>
                  <a:cubicBezTo>
                    <a:pt x="159" y="217"/>
                    <a:pt x="159" y="217"/>
                    <a:pt x="160" y="217"/>
                  </a:cubicBezTo>
                  <a:cubicBezTo>
                    <a:pt x="160" y="216"/>
                    <a:pt x="161" y="214"/>
                    <a:pt x="161" y="215"/>
                  </a:cubicBezTo>
                  <a:cubicBezTo>
                    <a:pt x="162" y="215"/>
                    <a:pt x="170" y="228"/>
                    <a:pt x="170" y="228"/>
                  </a:cubicBezTo>
                  <a:cubicBezTo>
                    <a:pt x="172" y="229"/>
                    <a:pt x="172" y="229"/>
                    <a:pt x="172" y="229"/>
                  </a:cubicBezTo>
                  <a:cubicBezTo>
                    <a:pt x="172" y="203"/>
                    <a:pt x="172" y="203"/>
                    <a:pt x="172" y="203"/>
                  </a:cubicBezTo>
                  <a:cubicBezTo>
                    <a:pt x="414" y="203"/>
                    <a:pt x="414" y="203"/>
                    <a:pt x="414" y="203"/>
                  </a:cubicBezTo>
                  <a:cubicBezTo>
                    <a:pt x="414" y="0"/>
                    <a:pt x="414" y="0"/>
                    <a:pt x="41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D1588096-DDFF-4504-AF4E-C6255DFF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7208" y="2883773"/>
              <a:ext cx="915321" cy="804623"/>
            </a:xfrm>
            <a:custGeom>
              <a:avLst/>
              <a:gdLst>
                <a:gd name="T0" fmla="*/ 223 w 231"/>
                <a:gd name="T1" fmla="*/ 157 h 203"/>
                <a:gd name="T2" fmla="*/ 224 w 231"/>
                <a:gd name="T3" fmla="*/ 160 h 203"/>
                <a:gd name="T4" fmla="*/ 220 w 231"/>
                <a:gd name="T5" fmla="*/ 157 h 203"/>
                <a:gd name="T6" fmla="*/ 218 w 231"/>
                <a:gd name="T7" fmla="*/ 149 h 203"/>
                <a:gd name="T8" fmla="*/ 217 w 231"/>
                <a:gd name="T9" fmla="*/ 146 h 203"/>
                <a:gd name="T10" fmla="*/ 218 w 231"/>
                <a:gd name="T11" fmla="*/ 141 h 203"/>
                <a:gd name="T12" fmla="*/ 216 w 231"/>
                <a:gd name="T13" fmla="*/ 135 h 203"/>
                <a:gd name="T14" fmla="*/ 216 w 231"/>
                <a:gd name="T15" fmla="*/ 131 h 203"/>
                <a:gd name="T16" fmla="*/ 211 w 231"/>
                <a:gd name="T17" fmla="*/ 125 h 203"/>
                <a:gd name="T18" fmla="*/ 202 w 231"/>
                <a:gd name="T19" fmla="*/ 122 h 203"/>
                <a:gd name="T20" fmla="*/ 202 w 231"/>
                <a:gd name="T21" fmla="*/ 119 h 203"/>
                <a:gd name="T22" fmla="*/ 187 w 231"/>
                <a:gd name="T23" fmla="*/ 103 h 203"/>
                <a:gd name="T24" fmla="*/ 190 w 231"/>
                <a:gd name="T25" fmla="*/ 95 h 203"/>
                <a:gd name="T26" fmla="*/ 192 w 231"/>
                <a:gd name="T27" fmla="*/ 85 h 203"/>
                <a:gd name="T28" fmla="*/ 190 w 231"/>
                <a:gd name="T29" fmla="*/ 75 h 203"/>
                <a:gd name="T30" fmla="*/ 179 w 231"/>
                <a:gd name="T31" fmla="*/ 78 h 203"/>
                <a:gd name="T32" fmla="*/ 175 w 231"/>
                <a:gd name="T33" fmla="*/ 71 h 203"/>
                <a:gd name="T34" fmla="*/ 174 w 231"/>
                <a:gd name="T35" fmla="*/ 61 h 203"/>
                <a:gd name="T36" fmla="*/ 161 w 231"/>
                <a:gd name="T37" fmla="*/ 48 h 203"/>
                <a:gd name="T38" fmla="*/ 154 w 231"/>
                <a:gd name="T39" fmla="*/ 42 h 203"/>
                <a:gd name="T40" fmla="*/ 150 w 231"/>
                <a:gd name="T41" fmla="*/ 35 h 203"/>
                <a:gd name="T42" fmla="*/ 149 w 231"/>
                <a:gd name="T43" fmla="*/ 28 h 203"/>
                <a:gd name="T44" fmla="*/ 147 w 231"/>
                <a:gd name="T45" fmla="*/ 20 h 203"/>
                <a:gd name="T46" fmla="*/ 150 w 231"/>
                <a:gd name="T47" fmla="*/ 11 h 203"/>
                <a:gd name="T48" fmla="*/ 146 w 231"/>
                <a:gd name="T49" fmla="*/ 8 h 203"/>
                <a:gd name="T50" fmla="*/ 144 w 231"/>
                <a:gd name="T51" fmla="*/ 4 h 203"/>
                <a:gd name="T52" fmla="*/ 139 w 231"/>
                <a:gd name="T53" fmla="*/ 0 h 203"/>
                <a:gd name="T54" fmla="*/ 0 w 231"/>
                <a:gd name="T55" fmla="*/ 3 h 203"/>
                <a:gd name="T56" fmla="*/ 4 w 231"/>
                <a:gd name="T57" fmla="*/ 3 h 203"/>
                <a:gd name="T58" fmla="*/ 5 w 231"/>
                <a:gd name="T59" fmla="*/ 12 h 203"/>
                <a:gd name="T60" fmla="*/ 10 w 231"/>
                <a:gd name="T61" fmla="*/ 17 h 203"/>
                <a:gd name="T62" fmla="*/ 13 w 231"/>
                <a:gd name="T63" fmla="*/ 23 h 203"/>
                <a:gd name="T64" fmla="*/ 15 w 231"/>
                <a:gd name="T65" fmla="*/ 27 h 203"/>
                <a:gd name="T66" fmla="*/ 21 w 231"/>
                <a:gd name="T67" fmla="*/ 32 h 203"/>
                <a:gd name="T68" fmla="*/ 26 w 231"/>
                <a:gd name="T69" fmla="*/ 33 h 203"/>
                <a:gd name="T70" fmla="*/ 29 w 231"/>
                <a:gd name="T71" fmla="*/ 35 h 203"/>
                <a:gd name="T72" fmla="*/ 30 w 231"/>
                <a:gd name="T73" fmla="*/ 38 h 203"/>
                <a:gd name="T74" fmla="*/ 28 w 231"/>
                <a:gd name="T75" fmla="*/ 40 h 203"/>
                <a:gd name="T76" fmla="*/ 26 w 231"/>
                <a:gd name="T77" fmla="*/ 43 h 203"/>
                <a:gd name="T78" fmla="*/ 24 w 231"/>
                <a:gd name="T79" fmla="*/ 46 h 203"/>
                <a:gd name="T80" fmla="*/ 28 w 231"/>
                <a:gd name="T81" fmla="*/ 55 h 203"/>
                <a:gd name="T82" fmla="*/ 30 w 231"/>
                <a:gd name="T83" fmla="*/ 57 h 203"/>
                <a:gd name="T84" fmla="*/ 38 w 231"/>
                <a:gd name="T85" fmla="*/ 65 h 203"/>
                <a:gd name="T86" fmla="*/ 40 w 231"/>
                <a:gd name="T87" fmla="*/ 182 h 203"/>
                <a:gd name="T88" fmla="*/ 197 w 231"/>
                <a:gd name="T89" fmla="*/ 186 h 203"/>
                <a:gd name="T90" fmla="*/ 190 w 231"/>
                <a:gd name="T91" fmla="*/ 197 h 203"/>
                <a:gd name="T92" fmla="*/ 209 w 231"/>
                <a:gd name="T93" fmla="*/ 203 h 203"/>
                <a:gd name="T94" fmla="*/ 210 w 231"/>
                <a:gd name="T95" fmla="*/ 201 h 203"/>
                <a:gd name="T96" fmla="*/ 211 w 231"/>
                <a:gd name="T97" fmla="*/ 199 h 203"/>
                <a:gd name="T98" fmla="*/ 212 w 231"/>
                <a:gd name="T99" fmla="*/ 194 h 203"/>
                <a:gd name="T100" fmla="*/ 211 w 231"/>
                <a:gd name="T101" fmla="*/ 192 h 203"/>
                <a:gd name="T102" fmla="*/ 214 w 231"/>
                <a:gd name="T103" fmla="*/ 191 h 203"/>
                <a:gd name="T104" fmla="*/ 214 w 231"/>
                <a:gd name="T105" fmla="*/ 188 h 203"/>
                <a:gd name="T106" fmla="*/ 215 w 231"/>
                <a:gd name="T107" fmla="*/ 180 h 203"/>
                <a:gd name="T108" fmla="*/ 217 w 231"/>
                <a:gd name="T109" fmla="*/ 179 h 203"/>
                <a:gd name="T110" fmla="*/ 217 w 231"/>
                <a:gd name="T111" fmla="*/ 182 h 203"/>
                <a:gd name="T112" fmla="*/ 219 w 231"/>
                <a:gd name="T113" fmla="*/ 182 h 203"/>
                <a:gd name="T114" fmla="*/ 224 w 231"/>
                <a:gd name="T115" fmla="*/ 177 h 203"/>
                <a:gd name="T116" fmla="*/ 228 w 231"/>
                <a:gd name="T117" fmla="*/ 175 h 203"/>
                <a:gd name="T118" fmla="*/ 227 w 231"/>
                <a:gd name="T119" fmla="*/ 168 h 203"/>
                <a:gd name="T120" fmla="*/ 229 w 231"/>
                <a:gd name="T121" fmla="*/ 16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1" h="203">
                  <a:moveTo>
                    <a:pt x="226" y="160"/>
                  </a:moveTo>
                  <a:cubicBezTo>
                    <a:pt x="226" y="159"/>
                    <a:pt x="225" y="157"/>
                    <a:pt x="225" y="157"/>
                  </a:cubicBezTo>
                  <a:cubicBezTo>
                    <a:pt x="223" y="157"/>
                    <a:pt x="223" y="157"/>
                    <a:pt x="223" y="157"/>
                  </a:cubicBezTo>
                  <a:cubicBezTo>
                    <a:pt x="223" y="157"/>
                    <a:pt x="224" y="158"/>
                    <a:pt x="224" y="158"/>
                  </a:cubicBezTo>
                  <a:cubicBezTo>
                    <a:pt x="224" y="158"/>
                    <a:pt x="225" y="159"/>
                    <a:pt x="225" y="159"/>
                  </a:cubicBezTo>
                  <a:cubicBezTo>
                    <a:pt x="225" y="159"/>
                    <a:pt x="224" y="160"/>
                    <a:pt x="224" y="160"/>
                  </a:cubicBezTo>
                  <a:cubicBezTo>
                    <a:pt x="224" y="160"/>
                    <a:pt x="223" y="160"/>
                    <a:pt x="223" y="160"/>
                  </a:cubicBezTo>
                  <a:cubicBezTo>
                    <a:pt x="223" y="160"/>
                    <a:pt x="221" y="159"/>
                    <a:pt x="221" y="159"/>
                  </a:cubicBezTo>
                  <a:cubicBezTo>
                    <a:pt x="221" y="159"/>
                    <a:pt x="220" y="157"/>
                    <a:pt x="220" y="157"/>
                  </a:cubicBezTo>
                  <a:cubicBezTo>
                    <a:pt x="220" y="156"/>
                    <a:pt x="220" y="155"/>
                    <a:pt x="220" y="155"/>
                  </a:cubicBezTo>
                  <a:cubicBezTo>
                    <a:pt x="218" y="151"/>
                    <a:pt x="218" y="151"/>
                    <a:pt x="218" y="151"/>
                  </a:cubicBezTo>
                  <a:cubicBezTo>
                    <a:pt x="218" y="151"/>
                    <a:pt x="218" y="149"/>
                    <a:pt x="218" y="149"/>
                  </a:cubicBezTo>
                  <a:cubicBezTo>
                    <a:pt x="218" y="149"/>
                    <a:pt x="216" y="149"/>
                    <a:pt x="216" y="148"/>
                  </a:cubicBezTo>
                  <a:cubicBezTo>
                    <a:pt x="216" y="148"/>
                    <a:pt x="216" y="147"/>
                    <a:pt x="216" y="147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6"/>
                    <a:pt x="218" y="145"/>
                    <a:pt x="218" y="145"/>
                  </a:cubicBezTo>
                  <a:cubicBezTo>
                    <a:pt x="218" y="145"/>
                    <a:pt x="219" y="144"/>
                    <a:pt x="219" y="143"/>
                  </a:cubicBezTo>
                  <a:cubicBezTo>
                    <a:pt x="219" y="143"/>
                    <a:pt x="218" y="141"/>
                    <a:pt x="218" y="141"/>
                  </a:cubicBezTo>
                  <a:cubicBezTo>
                    <a:pt x="218" y="141"/>
                    <a:pt x="217" y="138"/>
                    <a:pt x="216" y="138"/>
                  </a:cubicBezTo>
                  <a:cubicBezTo>
                    <a:pt x="216" y="138"/>
                    <a:pt x="216" y="136"/>
                    <a:pt x="216" y="136"/>
                  </a:cubicBezTo>
                  <a:cubicBezTo>
                    <a:pt x="216" y="136"/>
                    <a:pt x="216" y="135"/>
                    <a:pt x="216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3"/>
                    <a:pt x="217" y="133"/>
                  </a:cubicBezTo>
                  <a:cubicBezTo>
                    <a:pt x="217" y="132"/>
                    <a:pt x="216" y="131"/>
                    <a:pt x="216" y="131"/>
                  </a:cubicBezTo>
                  <a:cubicBezTo>
                    <a:pt x="216" y="130"/>
                    <a:pt x="213" y="128"/>
                    <a:pt x="213" y="128"/>
                  </a:cubicBezTo>
                  <a:cubicBezTo>
                    <a:pt x="212" y="128"/>
                    <a:pt x="210" y="128"/>
                    <a:pt x="210" y="128"/>
                  </a:cubicBezTo>
                  <a:cubicBezTo>
                    <a:pt x="210" y="127"/>
                    <a:pt x="211" y="125"/>
                    <a:pt x="211" y="125"/>
                  </a:cubicBezTo>
                  <a:cubicBezTo>
                    <a:pt x="205" y="121"/>
                    <a:pt x="205" y="121"/>
                    <a:pt x="205" y="121"/>
                  </a:cubicBezTo>
                  <a:cubicBezTo>
                    <a:pt x="205" y="121"/>
                    <a:pt x="204" y="121"/>
                    <a:pt x="204" y="121"/>
                  </a:cubicBezTo>
                  <a:cubicBezTo>
                    <a:pt x="204" y="122"/>
                    <a:pt x="202" y="122"/>
                    <a:pt x="202" y="122"/>
                  </a:cubicBezTo>
                  <a:cubicBezTo>
                    <a:pt x="202" y="122"/>
                    <a:pt x="200" y="122"/>
                    <a:pt x="200" y="121"/>
                  </a:cubicBezTo>
                  <a:cubicBezTo>
                    <a:pt x="200" y="121"/>
                    <a:pt x="200" y="119"/>
                    <a:pt x="200" y="119"/>
                  </a:cubicBezTo>
                  <a:cubicBezTo>
                    <a:pt x="202" y="119"/>
                    <a:pt x="202" y="119"/>
                    <a:pt x="202" y="119"/>
                  </a:cubicBezTo>
                  <a:cubicBezTo>
                    <a:pt x="198" y="117"/>
                    <a:pt x="198" y="117"/>
                    <a:pt x="198" y="117"/>
                  </a:cubicBezTo>
                  <a:cubicBezTo>
                    <a:pt x="187" y="108"/>
                    <a:pt x="187" y="108"/>
                    <a:pt x="187" y="108"/>
                  </a:cubicBezTo>
                  <a:cubicBezTo>
                    <a:pt x="187" y="108"/>
                    <a:pt x="187" y="103"/>
                    <a:pt x="187" y="103"/>
                  </a:cubicBezTo>
                  <a:cubicBezTo>
                    <a:pt x="187" y="103"/>
                    <a:pt x="187" y="101"/>
                    <a:pt x="187" y="101"/>
                  </a:cubicBezTo>
                  <a:cubicBezTo>
                    <a:pt x="187" y="100"/>
                    <a:pt x="189" y="97"/>
                    <a:pt x="189" y="97"/>
                  </a:cubicBezTo>
                  <a:cubicBezTo>
                    <a:pt x="189" y="97"/>
                    <a:pt x="190" y="95"/>
                    <a:pt x="190" y="95"/>
                  </a:cubicBezTo>
                  <a:cubicBezTo>
                    <a:pt x="190" y="95"/>
                    <a:pt x="191" y="93"/>
                    <a:pt x="191" y="93"/>
                  </a:cubicBezTo>
                  <a:cubicBezTo>
                    <a:pt x="191" y="93"/>
                    <a:pt x="192" y="89"/>
                    <a:pt x="192" y="89"/>
                  </a:cubicBezTo>
                  <a:cubicBezTo>
                    <a:pt x="192" y="89"/>
                    <a:pt x="192" y="86"/>
                    <a:pt x="192" y="85"/>
                  </a:cubicBezTo>
                  <a:cubicBezTo>
                    <a:pt x="192" y="85"/>
                    <a:pt x="194" y="83"/>
                    <a:pt x="194" y="83"/>
                  </a:cubicBezTo>
                  <a:cubicBezTo>
                    <a:pt x="194" y="82"/>
                    <a:pt x="195" y="79"/>
                    <a:pt x="195" y="79"/>
                  </a:cubicBezTo>
                  <a:cubicBezTo>
                    <a:pt x="190" y="75"/>
                    <a:pt x="190" y="75"/>
                    <a:pt x="190" y="75"/>
                  </a:cubicBezTo>
                  <a:cubicBezTo>
                    <a:pt x="184" y="74"/>
                    <a:pt x="184" y="74"/>
                    <a:pt x="184" y="74"/>
                  </a:cubicBezTo>
                  <a:cubicBezTo>
                    <a:pt x="184" y="74"/>
                    <a:pt x="181" y="77"/>
                    <a:pt x="181" y="78"/>
                  </a:cubicBezTo>
                  <a:cubicBezTo>
                    <a:pt x="181" y="78"/>
                    <a:pt x="179" y="78"/>
                    <a:pt x="179" y="78"/>
                  </a:cubicBezTo>
                  <a:cubicBezTo>
                    <a:pt x="179" y="78"/>
                    <a:pt x="177" y="78"/>
                    <a:pt x="177" y="78"/>
                  </a:cubicBezTo>
                  <a:cubicBezTo>
                    <a:pt x="177" y="78"/>
                    <a:pt x="176" y="73"/>
                    <a:pt x="176" y="73"/>
                  </a:cubicBezTo>
                  <a:cubicBezTo>
                    <a:pt x="176" y="73"/>
                    <a:pt x="175" y="72"/>
                    <a:pt x="175" y="71"/>
                  </a:cubicBezTo>
                  <a:cubicBezTo>
                    <a:pt x="175" y="71"/>
                    <a:pt x="175" y="70"/>
                    <a:pt x="175" y="70"/>
                  </a:cubicBezTo>
                  <a:cubicBezTo>
                    <a:pt x="176" y="68"/>
                    <a:pt x="176" y="68"/>
                    <a:pt x="176" y="68"/>
                  </a:cubicBezTo>
                  <a:cubicBezTo>
                    <a:pt x="174" y="61"/>
                    <a:pt x="174" y="61"/>
                    <a:pt x="174" y="61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4" y="53"/>
                    <a:pt x="164" y="53"/>
                    <a:pt x="164" y="53"/>
                  </a:cubicBezTo>
                  <a:cubicBezTo>
                    <a:pt x="164" y="53"/>
                    <a:pt x="161" y="48"/>
                    <a:pt x="161" y="48"/>
                  </a:cubicBezTo>
                  <a:cubicBezTo>
                    <a:pt x="161" y="48"/>
                    <a:pt x="159" y="48"/>
                    <a:pt x="159" y="48"/>
                  </a:cubicBezTo>
                  <a:cubicBezTo>
                    <a:pt x="159" y="48"/>
                    <a:pt x="159" y="46"/>
                    <a:pt x="159" y="46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2" y="39"/>
                    <a:pt x="152" y="39"/>
                    <a:pt x="152" y="39"/>
                  </a:cubicBezTo>
                  <a:cubicBezTo>
                    <a:pt x="152" y="37"/>
                    <a:pt x="152" y="37"/>
                    <a:pt x="152" y="37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50" y="35"/>
                    <a:pt x="150" y="33"/>
                    <a:pt x="150" y="33"/>
                  </a:cubicBezTo>
                  <a:cubicBezTo>
                    <a:pt x="150" y="33"/>
                    <a:pt x="150" y="31"/>
                    <a:pt x="150" y="31"/>
                  </a:cubicBezTo>
                  <a:cubicBezTo>
                    <a:pt x="149" y="28"/>
                    <a:pt x="149" y="28"/>
                    <a:pt x="149" y="28"/>
                  </a:cubicBezTo>
                  <a:cubicBezTo>
                    <a:pt x="149" y="28"/>
                    <a:pt x="148" y="26"/>
                    <a:pt x="148" y="26"/>
                  </a:cubicBezTo>
                  <a:cubicBezTo>
                    <a:pt x="148" y="26"/>
                    <a:pt x="148" y="25"/>
                    <a:pt x="148" y="25"/>
                  </a:cubicBezTo>
                  <a:cubicBezTo>
                    <a:pt x="148" y="25"/>
                    <a:pt x="147" y="20"/>
                    <a:pt x="147" y="20"/>
                  </a:cubicBezTo>
                  <a:cubicBezTo>
                    <a:pt x="147" y="20"/>
                    <a:pt x="147" y="16"/>
                    <a:pt x="147" y="16"/>
                  </a:cubicBezTo>
                  <a:cubicBezTo>
                    <a:pt x="147" y="16"/>
                    <a:pt x="148" y="14"/>
                    <a:pt x="148" y="14"/>
                  </a:cubicBezTo>
                  <a:cubicBezTo>
                    <a:pt x="148" y="14"/>
                    <a:pt x="150" y="11"/>
                    <a:pt x="150" y="11"/>
                  </a:cubicBezTo>
                  <a:cubicBezTo>
                    <a:pt x="150" y="11"/>
                    <a:pt x="150" y="10"/>
                    <a:pt x="150" y="10"/>
                  </a:cubicBezTo>
                  <a:cubicBezTo>
                    <a:pt x="150" y="10"/>
                    <a:pt x="148" y="9"/>
                    <a:pt x="148" y="9"/>
                  </a:cubicBezTo>
                  <a:cubicBezTo>
                    <a:pt x="147" y="9"/>
                    <a:pt x="147" y="9"/>
                    <a:pt x="146" y="8"/>
                  </a:cubicBezTo>
                  <a:cubicBezTo>
                    <a:pt x="146" y="8"/>
                    <a:pt x="146" y="7"/>
                    <a:pt x="146" y="7"/>
                  </a:cubicBezTo>
                  <a:cubicBezTo>
                    <a:pt x="146" y="7"/>
                    <a:pt x="145" y="6"/>
                    <a:pt x="145" y="6"/>
                  </a:cubicBezTo>
                  <a:cubicBezTo>
                    <a:pt x="144" y="6"/>
                    <a:pt x="144" y="4"/>
                    <a:pt x="144" y="4"/>
                  </a:cubicBezTo>
                  <a:cubicBezTo>
                    <a:pt x="144" y="4"/>
                    <a:pt x="143" y="3"/>
                    <a:pt x="143" y="3"/>
                  </a:cubicBezTo>
                  <a:cubicBezTo>
                    <a:pt x="143" y="3"/>
                    <a:pt x="141" y="2"/>
                    <a:pt x="141" y="2"/>
                  </a:cubicBezTo>
                  <a:cubicBezTo>
                    <a:pt x="140" y="2"/>
                    <a:pt x="139" y="0"/>
                    <a:pt x="139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0" y="4"/>
                    <a:pt x="2" y="4"/>
                    <a:pt x="2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4" y="4"/>
                    <a:pt x="2" y="5"/>
                    <a:pt x="2" y="5"/>
                  </a:cubicBezTo>
                  <a:cubicBezTo>
                    <a:pt x="2" y="6"/>
                    <a:pt x="3" y="8"/>
                    <a:pt x="4" y="9"/>
                  </a:cubicBezTo>
                  <a:cubicBezTo>
                    <a:pt x="4" y="9"/>
                    <a:pt x="5" y="11"/>
                    <a:pt x="5" y="12"/>
                  </a:cubicBezTo>
                  <a:cubicBezTo>
                    <a:pt x="5" y="12"/>
                    <a:pt x="4" y="14"/>
                    <a:pt x="4" y="14"/>
                  </a:cubicBezTo>
                  <a:cubicBezTo>
                    <a:pt x="4" y="14"/>
                    <a:pt x="6" y="14"/>
                    <a:pt x="7" y="15"/>
                  </a:cubicBezTo>
                  <a:cubicBezTo>
                    <a:pt x="8" y="15"/>
                    <a:pt x="10" y="16"/>
                    <a:pt x="10" y="17"/>
                  </a:cubicBezTo>
                  <a:cubicBezTo>
                    <a:pt x="10" y="17"/>
                    <a:pt x="10" y="19"/>
                    <a:pt x="10" y="19"/>
                  </a:cubicBezTo>
                  <a:cubicBezTo>
                    <a:pt x="10" y="20"/>
                    <a:pt x="11" y="21"/>
                    <a:pt x="12" y="21"/>
                  </a:cubicBezTo>
                  <a:cubicBezTo>
                    <a:pt x="12" y="21"/>
                    <a:pt x="13" y="22"/>
                    <a:pt x="13" y="23"/>
                  </a:cubicBezTo>
                  <a:cubicBezTo>
                    <a:pt x="13" y="23"/>
                    <a:pt x="12" y="24"/>
                    <a:pt x="12" y="25"/>
                  </a:cubicBezTo>
                  <a:cubicBezTo>
                    <a:pt x="12" y="25"/>
                    <a:pt x="13" y="26"/>
                    <a:pt x="13" y="26"/>
                  </a:cubicBezTo>
                  <a:cubicBezTo>
                    <a:pt x="13" y="26"/>
                    <a:pt x="15" y="27"/>
                    <a:pt x="15" y="27"/>
                  </a:cubicBezTo>
                  <a:cubicBezTo>
                    <a:pt x="16" y="28"/>
                    <a:pt x="16" y="28"/>
                    <a:pt x="17" y="28"/>
                  </a:cubicBezTo>
                  <a:cubicBezTo>
                    <a:pt x="18" y="29"/>
                    <a:pt x="18" y="29"/>
                    <a:pt x="19" y="30"/>
                  </a:cubicBezTo>
                  <a:cubicBezTo>
                    <a:pt x="19" y="31"/>
                    <a:pt x="20" y="31"/>
                    <a:pt x="21" y="32"/>
                  </a:cubicBezTo>
                  <a:cubicBezTo>
                    <a:pt x="21" y="32"/>
                    <a:pt x="22" y="33"/>
                    <a:pt x="23" y="34"/>
                  </a:cubicBezTo>
                  <a:cubicBezTo>
                    <a:pt x="24" y="34"/>
                    <a:pt x="25" y="34"/>
                    <a:pt x="25" y="34"/>
                  </a:cubicBezTo>
                  <a:cubicBezTo>
                    <a:pt x="26" y="34"/>
                    <a:pt x="26" y="33"/>
                    <a:pt x="26" y="33"/>
                  </a:cubicBezTo>
                  <a:cubicBezTo>
                    <a:pt x="26" y="32"/>
                    <a:pt x="27" y="32"/>
                    <a:pt x="27" y="32"/>
                  </a:cubicBezTo>
                  <a:cubicBezTo>
                    <a:pt x="28" y="32"/>
                    <a:pt x="28" y="32"/>
                    <a:pt x="29" y="33"/>
                  </a:cubicBezTo>
                  <a:cubicBezTo>
                    <a:pt x="29" y="33"/>
                    <a:pt x="29" y="34"/>
                    <a:pt x="29" y="35"/>
                  </a:cubicBezTo>
                  <a:cubicBezTo>
                    <a:pt x="30" y="35"/>
                    <a:pt x="30" y="35"/>
                    <a:pt x="31" y="35"/>
                  </a:cubicBezTo>
                  <a:cubicBezTo>
                    <a:pt x="31" y="36"/>
                    <a:pt x="31" y="36"/>
                    <a:pt x="31" y="37"/>
                  </a:cubicBezTo>
                  <a:cubicBezTo>
                    <a:pt x="31" y="37"/>
                    <a:pt x="31" y="38"/>
                    <a:pt x="30" y="38"/>
                  </a:cubicBezTo>
                  <a:cubicBezTo>
                    <a:pt x="30" y="38"/>
                    <a:pt x="30" y="37"/>
                    <a:pt x="29" y="38"/>
                  </a:cubicBezTo>
                  <a:cubicBezTo>
                    <a:pt x="28" y="39"/>
                    <a:pt x="30" y="39"/>
                    <a:pt x="30" y="40"/>
                  </a:cubicBezTo>
                  <a:cubicBezTo>
                    <a:pt x="30" y="40"/>
                    <a:pt x="29" y="40"/>
                    <a:pt x="28" y="40"/>
                  </a:cubicBezTo>
                  <a:cubicBezTo>
                    <a:pt x="28" y="40"/>
                    <a:pt x="28" y="41"/>
                    <a:pt x="28" y="42"/>
                  </a:cubicBezTo>
                  <a:cubicBezTo>
                    <a:pt x="27" y="42"/>
                    <a:pt x="27" y="42"/>
                    <a:pt x="26" y="42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4"/>
                    <a:pt x="25" y="44"/>
                    <a:pt x="25" y="45"/>
                  </a:cubicBezTo>
                  <a:cubicBezTo>
                    <a:pt x="25" y="45"/>
                    <a:pt x="25" y="46"/>
                    <a:pt x="25" y="46"/>
                  </a:cubicBezTo>
                  <a:cubicBezTo>
                    <a:pt x="25" y="46"/>
                    <a:pt x="24" y="46"/>
                    <a:pt x="24" y="46"/>
                  </a:cubicBezTo>
                  <a:cubicBezTo>
                    <a:pt x="22" y="47"/>
                    <a:pt x="24" y="50"/>
                    <a:pt x="25" y="51"/>
                  </a:cubicBezTo>
                  <a:cubicBezTo>
                    <a:pt x="25" y="51"/>
                    <a:pt x="26" y="52"/>
                    <a:pt x="26" y="53"/>
                  </a:cubicBezTo>
                  <a:cubicBezTo>
                    <a:pt x="27" y="53"/>
                    <a:pt x="27" y="54"/>
                    <a:pt x="28" y="55"/>
                  </a:cubicBezTo>
                  <a:cubicBezTo>
                    <a:pt x="28" y="55"/>
                    <a:pt x="28" y="55"/>
                    <a:pt x="29" y="55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6"/>
                    <a:pt x="30" y="56"/>
                    <a:pt x="30" y="57"/>
                  </a:cubicBezTo>
                  <a:cubicBezTo>
                    <a:pt x="29" y="59"/>
                    <a:pt x="31" y="60"/>
                    <a:pt x="32" y="61"/>
                  </a:cubicBezTo>
                  <a:cubicBezTo>
                    <a:pt x="33" y="62"/>
                    <a:pt x="33" y="63"/>
                    <a:pt x="34" y="64"/>
                  </a:cubicBezTo>
                  <a:cubicBezTo>
                    <a:pt x="36" y="64"/>
                    <a:pt x="37" y="65"/>
                    <a:pt x="38" y="65"/>
                  </a:cubicBezTo>
                  <a:cubicBezTo>
                    <a:pt x="39" y="65"/>
                    <a:pt x="40" y="65"/>
                    <a:pt x="40" y="65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194" y="182"/>
                    <a:pt x="194" y="182"/>
                    <a:pt x="194" y="182"/>
                  </a:cubicBezTo>
                  <a:cubicBezTo>
                    <a:pt x="194" y="184"/>
                    <a:pt x="194" y="184"/>
                    <a:pt x="194" y="184"/>
                  </a:cubicBezTo>
                  <a:cubicBezTo>
                    <a:pt x="197" y="186"/>
                    <a:pt x="197" y="186"/>
                    <a:pt x="197" y="186"/>
                  </a:cubicBezTo>
                  <a:cubicBezTo>
                    <a:pt x="197" y="191"/>
                    <a:pt x="197" y="191"/>
                    <a:pt x="197" y="191"/>
                  </a:cubicBezTo>
                  <a:cubicBezTo>
                    <a:pt x="197" y="191"/>
                    <a:pt x="193" y="194"/>
                    <a:pt x="193" y="194"/>
                  </a:cubicBezTo>
                  <a:cubicBezTo>
                    <a:pt x="193" y="194"/>
                    <a:pt x="190" y="197"/>
                    <a:pt x="190" y="197"/>
                  </a:cubicBezTo>
                  <a:cubicBezTo>
                    <a:pt x="190" y="198"/>
                    <a:pt x="187" y="202"/>
                    <a:pt x="187" y="202"/>
                  </a:cubicBezTo>
                  <a:cubicBezTo>
                    <a:pt x="187" y="203"/>
                    <a:pt x="187" y="203"/>
                    <a:pt x="187" y="203"/>
                  </a:cubicBezTo>
                  <a:cubicBezTo>
                    <a:pt x="209" y="203"/>
                    <a:pt x="209" y="203"/>
                    <a:pt x="209" y="203"/>
                  </a:cubicBezTo>
                  <a:cubicBezTo>
                    <a:pt x="209" y="203"/>
                    <a:pt x="209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10" y="202"/>
                    <a:pt x="210" y="201"/>
                    <a:pt x="210" y="201"/>
                  </a:cubicBezTo>
                  <a:cubicBezTo>
                    <a:pt x="210" y="200"/>
                    <a:pt x="210" y="200"/>
                    <a:pt x="210" y="200"/>
                  </a:cubicBezTo>
                  <a:cubicBezTo>
                    <a:pt x="210" y="200"/>
                    <a:pt x="211" y="200"/>
                    <a:pt x="211" y="200"/>
                  </a:cubicBezTo>
                  <a:cubicBezTo>
                    <a:pt x="211" y="200"/>
                    <a:pt x="211" y="199"/>
                    <a:pt x="211" y="199"/>
                  </a:cubicBezTo>
                  <a:cubicBezTo>
                    <a:pt x="212" y="198"/>
                    <a:pt x="212" y="198"/>
                    <a:pt x="213" y="198"/>
                  </a:cubicBezTo>
                  <a:cubicBezTo>
                    <a:pt x="213" y="197"/>
                    <a:pt x="213" y="196"/>
                    <a:pt x="213" y="196"/>
                  </a:cubicBezTo>
                  <a:cubicBezTo>
                    <a:pt x="213" y="195"/>
                    <a:pt x="212" y="195"/>
                    <a:pt x="212" y="194"/>
                  </a:cubicBezTo>
                  <a:cubicBezTo>
                    <a:pt x="212" y="194"/>
                    <a:pt x="211" y="194"/>
                    <a:pt x="211" y="193"/>
                  </a:cubicBezTo>
                  <a:cubicBezTo>
                    <a:pt x="210" y="193"/>
                    <a:pt x="210" y="192"/>
                    <a:pt x="210" y="192"/>
                  </a:cubicBezTo>
                  <a:cubicBezTo>
                    <a:pt x="210" y="192"/>
                    <a:pt x="211" y="192"/>
                    <a:pt x="211" y="192"/>
                  </a:cubicBezTo>
                  <a:cubicBezTo>
                    <a:pt x="212" y="192"/>
                    <a:pt x="213" y="192"/>
                    <a:pt x="214" y="192"/>
                  </a:cubicBezTo>
                  <a:cubicBezTo>
                    <a:pt x="214" y="192"/>
                    <a:pt x="215" y="192"/>
                    <a:pt x="215" y="192"/>
                  </a:cubicBezTo>
                  <a:cubicBezTo>
                    <a:pt x="215" y="192"/>
                    <a:pt x="214" y="191"/>
                    <a:pt x="214" y="191"/>
                  </a:cubicBezTo>
                  <a:cubicBezTo>
                    <a:pt x="213" y="190"/>
                    <a:pt x="213" y="190"/>
                    <a:pt x="213" y="189"/>
                  </a:cubicBezTo>
                  <a:cubicBezTo>
                    <a:pt x="213" y="188"/>
                    <a:pt x="213" y="188"/>
                    <a:pt x="213" y="188"/>
                  </a:cubicBezTo>
                  <a:cubicBezTo>
                    <a:pt x="213" y="188"/>
                    <a:pt x="213" y="188"/>
                    <a:pt x="214" y="188"/>
                  </a:cubicBezTo>
                  <a:cubicBezTo>
                    <a:pt x="215" y="188"/>
                    <a:pt x="215" y="188"/>
                    <a:pt x="216" y="188"/>
                  </a:cubicBezTo>
                  <a:cubicBezTo>
                    <a:pt x="216" y="186"/>
                    <a:pt x="216" y="184"/>
                    <a:pt x="215" y="182"/>
                  </a:cubicBezTo>
                  <a:cubicBezTo>
                    <a:pt x="215" y="182"/>
                    <a:pt x="214" y="181"/>
                    <a:pt x="215" y="180"/>
                  </a:cubicBezTo>
                  <a:cubicBezTo>
                    <a:pt x="215" y="180"/>
                    <a:pt x="215" y="180"/>
                    <a:pt x="215" y="179"/>
                  </a:cubicBezTo>
                  <a:cubicBezTo>
                    <a:pt x="215" y="179"/>
                    <a:pt x="215" y="179"/>
                    <a:pt x="215" y="178"/>
                  </a:cubicBezTo>
                  <a:cubicBezTo>
                    <a:pt x="216" y="178"/>
                    <a:pt x="217" y="178"/>
                    <a:pt x="217" y="179"/>
                  </a:cubicBezTo>
                  <a:cubicBezTo>
                    <a:pt x="217" y="179"/>
                    <a:pt x="217" y="180"/>
                    <a:pt x="217" y="181"/>
                  </a:cubicBezTo>
                  <a:cubicBezTo>
                    <a:pt x="217" y="181"/>
                    <a:pt x="216" y="182"/>
                    <a:pt x="216" y="182"/>
                  </a:cubicBezTo>
                  <a:cubicBezTo>
                    <a:pt x="216" y="182"/>
                    <a:pt x="217" y="182"/>
                    <a:pt x="217" y="182"/>
                  </a:cubicBezTo>
                  <a:cubicBezTo>
                    <a:pt x="217" y="183"/>
                    <a:pt x="217" y="183"/>
                    <a:pt x="217" y="183"/>
                  </a:cubicBezTo>
                  <a:cubicBezTo>
                    <a:pt x="218" y="184"/>
                    <a:pt x="218" y="183"/>
                    <a:pt x="218" y="183"/>
                  </a:cubicBezTo>
                  <a:cubicBezTo>
                    <a:pt x="219" y="183"/>
                    <a:pt x="219" y="182"/>
                    <a:pt x="219" y="182"/>
                  </a:cubicBezTo>
                  <a:cubicBezTo>
                    <a:pt x="220" y="178"/>
                    <a:pt x="220" y="178"/>
                    <a:pt x="220" y="178"/>
                  </a:cubicBezTo>
                  <a:cubicBezTo>
                    <a:pt x="220" y="178"/>
                    <a:pt x="222" y="176"/>
                    <a:pt x="222" y="176"/>
                  </a:cubicBezTo>
                  <a:cubicBezTo>
                    <a:pt x="222" y="176"/>
                    <a:pt x="224" y="177"/>
                    <a:pt x="224" y="177"/>
                  </a:cubicBezTo>
                  <a:cubicBezTo>
                    <a:pt x="224" y="177"/>
                    <a:pt x="225" y="178"/>
                    <a:pt x="225" y="178"/>
                  </a:cubicBezTo>
                  <a:cubicBezTo>
                    <a:pt x="225" y="178"/>
                    <a:pt x="226" y="179"/>
                    <a:pt x="226" y="179"/>
                  </a:cubicBezTo>
                  <a:cubicBezTo>
                    <a:pt x="226" y="179"/>
                    <a:pt x="228" y="175"/>
                    <a:pt x="228" y="175"/>
                  </a:cubicBezTo>
                  <a:cubicBezTo>
                    <a:pt x="228" y="175"/>
                    <a:pt x="227" y="171"/>
                    <a:pt x="227" y="171"/>
                  </a:cubicBezTo>
                  <a:cubicBezTo>
                    <a:pt x="227" y="171"/>
                    <a:pt x="230" y="170"/>
                    <a:pt x="230" y="170"/>
                  </a:cubicBezTo>
                  <a:cubicBezTo>
                    <a:pt x="230" y="170"/>
                    <a:pt x="227" y="168"/>
                    <a:pt x="227" y="168"/>
                  </a:cubicBezTo>
                  <a:cubicBezTo>
                    <a:pt x="227" y="168"/>
                    <a:pt x="229" y="165"/>
                    <a:pt x="229" y="165"/>
                  </a:cubicBezTo>
                  <a:cubicBezTo>
                    <a:pt x="229" y="165"/>
                    <a:pt x="231" y="163"/>
                    <a:pt x="231" y="163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7" y="161"/>
                    <a:pt x="227" y="161"/>
                    <a:pt x="227" y="161"/>
                  </a:cubicBezTo>
                  <a:cubicBezTo>
                    <a:pt x="227" y="161"/>
                    <a:pt x="226" y="160"/>
                    <a:pt x="226" y="16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17A7A509-75DA-4459-A4D8-8B5425B92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913" y="3858574"/>
              <a:ext cx="484096" cy="781493"/>
            </a:xfrm>
            <a:custGeom>
              <a:avLst/>
              <a:gdLst>
                <a:gd name="T0" fmla="*/ 47 w 122"/>
                <a:gd name="T1" fmla="*/ 1 h 197"/>
                <a:gd name="T2" fmla="*/ 41 w 122"/>
                <a:gd name="T3" fmla="*/ 6 h 197"/>
                <a:gd name="T4" fmla="*/ 39 w 122"/>
                <a:gd name="T5" fmla="*/ 10 h 197"/>
                <a:gd name="T6" fmla="*/ 40 w 122"/>
                <a:gd name="T7" fmla="*/ 13 h 197"/>
                <a:gd name="T8" fmla="*/ 37 w 122"/>
                <a:gd name="T9" fmla="*/ 13 h 197"/>
                <a:gd name="T10" fmla="*/ 36 w 122"/>
                <a:gd name="T11" fmla="*/ 20 h 197"/>
                <a:gd name="T12" fmla="*/ 34 w 122"/>
                <a:gd name="T13" fmla="*/ 28 h 197"/>
                <a:gd name="T14" fmla="*/ 29 w 122"/>
                <a:gd name="T15" fmla="*/ 29 h 197"/>
                <a:gd name="T16" fmla="*/ 24 w 122"/>
                <a:gd name="T17" fmla="*/ 32 h 197"/>
                <a:gd name="T18" fmla="*/ 24 w 122"/>
                <a:gd name="T19" fmla="*/ 35 h 197"/>
                <a:gd name="T20" fmla="*/ 23 w 122"/>
                <a:gd name="T21" fmla="*/ 41 h 197"/>
                <a:gd name="T22" fmla="*/ 19 w 122"/>
                <a:gd name="T23" fmla="*/ 41 h 197"/>
                <a:gd name="T24" fmla="*/ 21 w 122"/>
                <a:gd name="T25" fmla="*/ 44 h 197"/>
                <a:gd name="T26" fmla="*/ 20 w 122"/>
                <a:gd name="T27" fmla="*/ 49 h 197"/>
                <a:gd name="T28" fmla="*/ 20 w 122"/>
                <a:gd name="T29" fmla="*/ 51 h 197"/>
                <a:gd name="T30" fmla="*/ 20 w 122"/>
                <a:gd name="T31" fmla="*/ 54 h 197"/>
                <a:gd name="T32" fmla="*/ 16 w 122"/>
                <a:gd name="T33" fmla="*/ 53 h 197"/>
                <a:gd name="T34" fmla="*/ 14 w 122"/>
                <a:gd name="T35" fmla="*/ 59 h 197"/>
                <a:gd name="T36" fmla="*/ 14 w 122"/>
                <a:gd name="T37" fmla="*/ 64 h 197"/>
                <a:gd name="T38" fmla="*/ 16 w 122"/>
                <a:gd name="T39" fmla="*/ 67 h 197"/>
                <a:gd name="T40" fmla="*/ 19 w 122"/>
                <a:gd name="T41" fmla="*/ 65 h 197"/>
                <a:gd name="T42" fmla="*/ 18 w 122"/>
                <a:gd name="T43" fmla="*/ 71 h 197"/>
                <a:gd name="T44" fmla="*/ 19 w 122"/>
                <a:gd name="T45" fmla="*/ 76 h 197"/>
                <a:gd name="T46" fmla="*/ 16 w 122"/>
                <a:gd name="T47" fmla="*/ 80 h 197"/>
                <a:gd name="T48" fmla="*/ 16 w 122"/>
                <a:gd name="T49" fmla="*/ 87 h 197"/>
                <a:gd name="T50" fmla="*/ 19 w 122"/>
                <a:gd name="T51" fmla="*/ 86 h 197"/>
                <a:gd name="T52" fmla="*/ 16 w 122"/>
                <a:gd name="T53" fmla="*/ 93 h 197"/>
                <a:gd name="T54" fmla="*/ 17 w 122"/>
                <a:gd name="T55" fmla="*/ 100 h 197"/>
                <a:gd name="T56" fmla="*/ 20 w 122"/>
                <a:gd name="T57" fmla="*/ 102 h 197"/>
                <a:gd name="T58" fmla="*/ 18 w 122"/>
                <a:gd name="T59" fmla="*/ 102 h 197"/>
                <a:gd name="T60" fmla="*/ 23 w 122"/>
                <a:gd name="T61" fmla="*/ 106 h 197"/>
                <a:gd name="T62" fmla="*/ 23 w 122"/>
                <a:gd name="T63" fmla="*/ 112 h 197"/>
                <a:gd name="T64" fmla="*/ 19 w 122"/>
                <a:gd name="T65" fmla="*/ 115 h 197"/>
                <a:gd name="T66" fmla="*/ 20 w 122"/>
                <a:gd name="T67" fmla="*/ 118 h 197"/>
                <a:gd name="T68" fmla="*/ 21 w 122"/>
                <a:gd name="T69" fmla="*/ 119 h 197"/>
                <a:gd name="T70" fmla="*/ 16 w 122"/>
                <a:gd name="T71" fmla="*/ 121 h 197"/>
                <a:gd name="T72" fmla="*/ 14 w 122"/>
                <a:gd name="T73" fmla="*/ 128 h 197"/>
                <a:gd name="T74" fmla="*/ 10 w 122"/>
                <a:gd name="T75" fmla="*/ 131 h 197"/>
                <a:gd name="T76" fmla="*/ 10 w 122"/>
                <a:gd name="T77" fmla="*/ 134 h 197"/>
                <a:gd name="T78" fmla="*/ 5 w 122"/>
                <a:gd name="T79" fmla="*/ 139 h 197"/>
                <a:gd name="T80" fmla="*/ 5 w 122"/>
                <a:gd name="T81" fmla="*/ 142 h 197"/>
                <a:gd name="T82" fmla="*/ 5 w 122"/>
                <a:gd name="T83" fmla="*/ 149 h 197"/>
                <a:gd name="T84" fmla="*/ 4 w 122"/>
                <a:gd name="T85" fmla="*/ 153 h 197"/>
                <a:gd name="T86" fmla="*/ 1 w 122"/>
                <a:gd name="T87" fmla="*/ 157 h 197"/>
                <a:gd name="T88" fmla="*/ 0 w 122"/>
                <a:gd name="T89" fmla="*/ 164 h 197"/>
                <a:gd name="T90" fmla="*/ 67 w 122"/>
                <a:gd name="T91" fmla="*/ 186 h 197"/>
                <a:gd name="T92" fmla="*/ 75 w 122"/>
                <a:gd name="T93" fmla="*/ 197 h 197"/>
                <a:gd name="T94" fmla="*/ 79 w 122"/>
                <a:gd name="T95" fmla="*/ 190 h 197"/>
                <a:gd name="T96" fmla="*/ 86 w 122"/>
                <a:gd name="T97" fmla="*/ 191 h 197"/>
                <a:gd name="T98" fmla="*/ 98 w 122"/>
                <a:gd name="T99" fmla="*/ 190 h 197"/>
                <a:gd name="T100" fmla="*/ 104 w 122"/>
                <a:gd name="T101" fmla="*/ 190 h 197"/>
                <a:gd name="T102" fmla="*/ 106 w 122"/>
                <a:gd name="T103" fmla="*/ 186 h 197"/>
                <a:gd name="T104" fmla="*/ 110 w 122"/>
                <a:gd name="T105" fmla="*/ 19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2" h="197">
                  <a:moveTo>
                    <a:pt x="122" y="4"/>
                  </a:moveTo>
                  <a:cubicBezTo>
                    <a:pt x="120" y="3"/>
                    <a:pt x="120" y="3"/>
                    <a:pt x="120" y="3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7" y="0"/>
                    <a:pt x="47" y="1"/>
                  </a:cubicBezTo>
                  <a:cubicBezTo>
                    <a:pt x="48" y="2"/>
                    <a:pt x="48" y="2"/>
                    <a:pt x="47" y="3"/>
                  </a:cubicBezTo>
                  <a:cubicBezTo>
                    <a:pt x="47" y="4"/>
                    <a:pt x="47" y="4"/>
                    <a:pt x="47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5" y="6"/>
                    <a:pt x="44" y="6"/>
                    <a:pt x="43" y="6"/>
                  </a:cubicBezTo>
                  <a:cubicBezTo>
                    <a:pt x="42" y="6"/>
                    <a:pt x="42" y="6"/>
                    <a:pt x="41" y="6"/>
                  </a:cubicBezTo>
                  <a:cubicBezTo>
                    <a:pt x="41" y="5"/>
                    <a:pt x="41" y="5"/>
                    <a:pt x="41" y="4"/>
                  </a:cubicBezTo>
                  <a:cubicBezTo>
                    <a:pt x="40" y="4"/>
                    <a:pt x="40" y="5"/>
                    <a:pt x="40" y="5"/>
                  </a:cubicBezTo>
                  <a:cubicBezTo>
                    <a:pt x="40" y="5"/>
                    <a:pt x="40" y="6"/>
                    <a:pt x="40" y="6"/>
                  </a:cubicBezTo>
                  <a:cubicBezTo>
                    <a:pt x="40" y="7"/>
                    <a:pt x="41" y="8"/>
                    <a:pt x="41" y="10"/>
                  </a:cubicBezTo>
                  <a:cubicBezTo>
                    <a:pt x="40" y="11"/>
                    <a:pt x="39" y="11"/>
                    <a:pt x="39" y="10"/>
                  </a:cubicBezTo>
                  <a:cubicBezTo>
                    <a:pt x="38" y="10"/>
                    <a:pt x="38" y="9"/>
                    <a:pt x="38" y="9"/>
                  </a:cubicBezTo>
                  <a:cubicBezTo>
                    <a:pt x="38" y="9"/>
                    <a:pt x="38" y="8"/>
                    <a:pt x="38" y="7"/>
                  </a:cubicBezTo>
                  <a:cubicBezTo>
                    <a:pt x="37" y="8"/>
                    <a:pt x="37" y="8"/>
                    <a:pt x="37" y="9"/>
                  </a:cubicBezTo>
                  <a:cubicBezTo>
                    <a:pt x="37" y="9"/>
                    <a:pt x="37" y="10"/>
                    <a:pt x="37" y="11"/>
                  </a:cubicBezTo>
                  <a:cubicBezTo>
                    <a:pt x="38" y="12"/>
                    <a:pt x="39" y="12"/>
                    <a:pt x="40" y="13"/>
                  </a:cubicBezTo>
                  <a:cubicBezTo>
                    <a:pt x="40" y="13"/>
                    <a:pt x="40" y="14"/>
                    <a:pt x="40" y="14"/>
                  </a:cubicBezTo>
                  <a:cubicBezTo>
                    <a:pt x="40" y="14"/>
                    <a:pt x="40" y="14"/>
                    <a:pt x="39" y="15"/>
                  </a:cubicBezTo>
                  <a:cubicBezTo>
                    <a:pt x="39" y="15"/>
                    <a:pt x="39" y="15"/>
                    <a:pt x="38" y="15"/>
                  </a:cubicBezTo>
                  <a:cubicBezTo>
                    <a:pt x="38" y="15"/>
                    <a:pt x="37" y="15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5"/>
                    <a:pt x="36" y="15"/>
                    <a:pt x="37" y="16"/>
                  </a:cubicBezTo>
                  <a:cubicBezTo>
                    <a:pt x="37" y="17"/>
                    <a:pt x="37" y="17"/>
                    <a:pt x="37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7" y="19"/>
                    <a:pt x="37" y="20"/>
                    <a:pt x="36" y="20"/>
                  </a:cubicBezTo>
                  <a:cubicBezTo>
                    <a:pt x="36" y="21"/>
                    <a:pt x="36" y="22"/>
                    <a:pt x="36" y="23"/>
                  </a:cubicBezTo>
                  <a:cubicBezTo>
                    <a:pt x="37" y="24"/>
                    <a:pt x="36" y="24"/>
                    <a:pt x="35" y="25"/>
                  </a:cubicBezTo>
                  <a:cubicBezTo>
                    <a:pt x="35" y="25"/>
                    <a:pt x="34" y="26"/>
                    <a:pt x="34" y="26"/>
                  </a:cubicBezTo>
                  <a:cubicBezTo>
                    <a:pt x="34" y="26"/>
                    <a:pt x="34" y="27"/>
                    <a:pt x="34" y="27"/>
                  </a:cubicBezTo>
                  <a:cubicBezTo>
                    <a:pt x="34" y="27"/>
                    <a:pt x="34" y="28"/>
                    <a:pt x="34" y="28"/>
                  </a:cubicBezTo>
                  <a:cubicBezTo>
                    <a:pt x="33" y="29"/>
                    <a:pt x="33" y="28"/>
                    <a:pt x="33" y="28"/>
                  </a:cubicBezTo>
                  <a:cubicBezTo>
                    <a:pt x="32" y="27"/>
                    <a:pt x="33" y="26"/>
                    <a:pt x="32" y="26"/>
                  </a:cubicBezTo>
                  <a:cubicBezTo>
                    <a:pt x="32" y="26"/>
                    <a:pt x="30" y="26"/>
                    <a:pt x="30" y="27"/>
                  </a:cubicBezTo>
                  <a:cubicBezTo>
                    <a:pt x="30" y="28"/>
                    <a:pt x="31" y="28"/>
                    <a:pt x="30" y="29"/>
                  </a:cubicBezTo>
                  <a:cubicBezTo>
                    <a:pt x="30" y="29"/>
                    <a:pt x="29" y="29"/>
                    <a:pt x="29" y="29"/>
                  </a:cubicBezTo>
                  <a:cubicBezTo>
                    <a:pt x="29" y="29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3"/>
                    <a:pt x="27" y="32"/>
                    <a:pt x="26" y="32"/>
                  </a:cubicBezTo>
                  <a:cubicBezTo>
                    <a:pt x="25" y="32"/>
                    <a:pt x="25" y="31"/>
                    <a:pt x="24" y="31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3"/>
                    <a:pt x="26" y="34"/>
                    <a:pt x="26" y="34"/>
                  </a:cubicBezTo>
                  <a:cubicBezTo>
                    <a:pt x="27" y="34"/>
                    <a:pt x="28" y="34"/>
                    <a:pt x="28" y="34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7" y="35"/>
                    <a:pt x="26" y="35"/>
                    <a:pt x="26" y="35"/>
                  </a:cubicBezTo>
                  <a:cubicBezTo>
                    <a:pt x="25" y="35"/>
                    <a:pt x="25" y="35"/>
                    <a:pt x="24" y="35"/>
                  </a:cubicBezTo>
                  <a:cubicBezTo>
                    <a:pt x="24" y="35"/>
                    <a:pt x="23" y="36"/>
                    <a:pt x="24" y="36"/>
                  </a:cubicBezTo>
                  <a:cubicBezTo>
                    <a:pt x="24" y="37"/>
                    <a:pt x="25" y="37"/>
                    <a:pt x="26" y="38"/>
                  </a:cubicBezTo>
                  <a:cubicBezTo>
                    <a:pt x="26" y="38"/>
                    <a:pt x="26" y="40"/>
                    <a:pt x="26" y="40"/>
                  </a:cubicBezTo>
                  <a:cubicBezTo>
                    <a:pt x="25" y="41"/>
                    <a:pt x="24" y="40"/>
                    <a:pt x="23" y="41"/>
                  </a:cubicBezTo>
                  <a:cubicBezTo>
                    <a:pt x="23" y="41"/>
                    <a:pt x="22" y="41"/>
                    <a:pt x="23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3"/>
                    <a:pt x="23" y="43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1" y="42"/>
                    <a:pt x="20" y="41"/>
                    <a:pt x="19" y="41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3"/>
                    <a:pt x="19" y="43"/>
                    <a:pt x="20" y="44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44"/>
                    <a:pt x="21" y="44"/>
                    <a:pt x="21" y="45"/>
                  </a:cubicBezTo>
                  <a:cubicBezTo>
                    <a:pt x="21" y="45"/>
                    <a:pt x="21" y="45"/>
                    <a:pt x="21" y="46"/>
                  </a:cubicBezTo>
                  <a:cubicBezTo>
                    <a:pt x="21" y="46"/>
                    <a:pt x="20" y="46"/>
                    <a:pt x="20" y="47"/>
                  </a:cubicBezTo>
                  <a:cubicBezTo>
                    <a:pt x="20" y="47"/>
                    <a:pt x="20" y="47"/>
                    <a:pt x="20" y="48"/>
                  </a:cubicBezTo>
                  <a:cubicBezTo>
                    <a:pt x="20" y="48"/>
                    <a:pt x="20" y="48"/>
                    <a:pt x="20" y="49"/>
                  </a:cubicBezTo>
                  <a:cubicBezTo>
                    <a:pt x="20" y="49"/>
                    <a:pt x="21" y="49"/>
                    <a:pt x="21" y="49"/>
                  </a:cubicBezTo>
                  <a:cubicBezTo>
                    <a:pt x="21" y="50"/>
                    <a:pt x="21" y="50"/>
                    <a:pt x="22" y="50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0"/>
                    <a:pt x="18" y="51"/>
                    <a:pt x="17" y="51"/>
                  </a:cubicBezTo>
                  <a:cubicBezTo>
                    <a:pt x="17" y="51"/>
                    <a:pt x="17" y="52"/>
                    <a:pt x="17" y="52"/>
                  </a:cubicBezTo>
                  <a:cubicBezTo>
                    <a:pt x="17" y="52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9" y="53"/>
                    <a:pt x="19" y="53"/>
                    <a:pt x="20" y="54"/>
                  </a:cubicBezTo>
                  <a:cubicBezTo>
                    <a:pt x="20" y="54"/>
                    <a:pt x="21" y="54"/>
                    <a:pt x="21" y="55"/>
                  </a:cubicBezTo>
                  <a:cubicBezTo>
                    <a:pt x="21" y="55"/>
                    <a:pt x="20" y="56"/>
                    <a:pt x="19" y="55"/>
                  </a:cubicBezTo>
                  <a:cubicBezTo>
                    <a:pt x="19" y="55"/>
                    <a:pt x="19" y="55"/>
                    <a:pt x="18" y="55"/>
                  </a:cubicBezTo>
                  <a:cubicBezTo>
                    <a:pt x="18" y="55"/>
                    <a:pt x="18" y="55"/>
                    <a:pt x="17" y="54"/>
                  </a:cubicBezTo>
                  <a:cubicBezTo>
                    <a:pt x="17" y="54"/>
                    <a:pt x="17" y="53"/>
                    <a:pt x="16" y="53"/>
                  </a:cubicBezTo>
                  <a:cubicBezTo>
                    <a:pt x="15" y="53"/>
                    <a:pt x="14" y="55"/>
                    <a:pt x="15" y="55"/>
                  </a:cubicBezTo>
                  <a:cubicBezTo>
                    <a:pt x="15" y="56"/>
                    <a:pt x="16" y="56"/>
                    <a:pt x="16" y="57"/>
                  </a:cubicBezTo>
                  <a:cubicBezTo>
                    <a:pt x="16" y="57"/>
                    <a:pt x="17" y="57"/>
                    <a:pt x="17" y="58"/>
                  </a:cubicBezTo>
                  <a:cubicBezTo>
                    <a:pt x="17" y="58"/>
                    <a:pt x="16" y="58"/>
                    <a:pt x="16" y="59"/>
                  </a:cubicBezTo>
                  <a:cubicBezTo>
                    <a:pt x="15" y="59"/>
                    <a:pt x="15" y="59"/>
                    <a:pt x="14" y="59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4" y="61"/>
                    <a:pt x="15" y="61"/>
                    <a:pt x="15" y="61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16" y="63"/>
                    <a:pt x="15" y="63"/>
                    <a:pt x="15" y="63"/>
                  </a:cubicBezTo>
                  <a:cubicBezTo>
                    <a:pt x="14" y="63"/>
                    <a:pt x="13" y="64"/>
                    <a:pt x="14" y="64"/>
                  </a:cubicBezTo>
                  <a:cubicBezTo>
                    <a:pt x="14" y="65"/>
                    <a:pt x="15" y="64"/>
                    <a:pt x="16" y="64"/>
                  </a:cubicBezTo>
                  <a:cubicBezTo>
                    <a:pt x="16" y="64"/>
                    <a:pt x="17" y="64"/>
                    <a:pt x="17" y="64"/>
                  </a:cubicBezTo>
                  <a:cubicBezTo>
                    <a:pt x="17" y="65"/>
                    <a:pt x="16" y="65"/>
                    <a:pt x="16" y="65"/>
                  </a:cubicBezTo>
                  <a:cubicBezTo>
                    <a:pt x="16" y="66"/>
                    <a:pt x="15" y="66"/>
                    <a:pt x="15" y="66"/>
                  </a:cubicBezTo>
                  <a:cubicBezTo>
                    <a:pt x="15" y="67"/>
                    <a:pt x="16" y="67"/>
                    <a:pt x="16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6"/>
                    <a:pt x="18" y="66"/>
                    <a:pt x="18" y="6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4"/>
                    <a:pt x="19" y="64"/>
                    <a:pt x="19" y="64"/>
                  </a:cubicBezTo>
                  <a:cubicBezTo>
                    <a:pt x="19" y="64"/>
                    <a:pt x="19" y="65"/>
                    <a:pt x="19" y="65"/>
                  </a:cubicBezTo>
                  <a:cubicBezTo>
                    <a:pt x="19" y="66"/>
                    <a:pt x="18" y="67"/>
                    <a:pt x="17" y="68"/>
                  </a:cubicBezTo>
                  <a:cubicBezTo>
                    <a:pt x="17" y="68"/>
                    <a:pt x="17" y="68"/>
                    <a:pt x="17" y="69"/>
                  </a:cubicBezTo>
                  <a:cubicBezTo>
                    <a:pt x="17" y="70"/>
                    <a:pt x="17" y="71"/>
                    <a:pt x="17" y="72"/>
                  </a:cubicBezTo>
                  <a:cubicBezTo>
                    <a:pt x="17" y="72"/>
                    <a:pt x="18" y="72"/>
                    <a:pt x="18" y="72"/>
                  </a:cubicBezTo>
                  <a:cubicBezTo>
                    <a:pt x="18" y="72"/>
                    <a:pt x="18" y="71"/>
                    <a:pt x="18" y="71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3"/>
                    <a:pt x="19" y="73"/>
                    <a:pt x="19" y="73"/>
                  </a:cubicBezTo>
                  <a:cubicBezTo>
                    <a:pt x="18" y="74"/>
                    <a:pt x="18" y="74"/>
                    <a:pt x="18" y="75"/>
                  </a:cubicBezTo>
                  <a:cubicBezTo>
                    <a:pt x="19" y="75"/>
                    <a:pt x="19" y="76"/>
                    <a:pt x="19" y="76"/>
                  </a:cubicBezTo>
                  <a:cubicBezTo>
                    <a:pt x="19" y="76"/>
                    <a:pt x="19" y="77"/>
                    <a:pt x="19" y="77"/>
                  </a:cubicBezTo>
                  <a:cubicBezTo>
                    <a:pt x="18" y="77"/>
                    <a:pt x="17" y="77"/>
                    <a:pt x="17" y="77"/>
                  </a:cubicBezTo>
                  <a:cubicBezTo>
                    <a:pt x="16" y="77"/>
                    <a:pt x="15" y="78"/>
                    <a:pt x="15" y="78"/>
                  </a:cubicBezTo>
                  <a:cubicBezTo>
                    <a:pt x="15" y="78"/>
                    <a:pt x="15" y="79"/>
                    <a:pt x="15" y="79"/>
                  </a:cubicBezTo>
                  <a:cubicBezTo>
                    <a:pt x="16" y="79"/>
                    <a:pt x="16" y="79"/>
                    <a:pt x="16" y="80"/>
                  </a:cubicBezTo>
                  <a:cubicBezTo>
                    <a:pt x="16" y="80"/>
                    <a:pt x="17" y="80"/>
                    <a:pt x="17" y="80"/>
                  </a:cubicBezTo>
                  <a:cubicBezTo>
                    <a:pt x="18" y="81"/>
                    <a:pt x="17" y="82"/>
                    <a:pt x="16" y="82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4" y="85"/>
                    <a:pt x="14" y="85"/>
                  </a:cubicBezTo>
                  <a:cubicBezTo>
                    <a:pt x="14" y="86"/>
                    <a:pt x="15" y="87"/>
                    <a:pt x="16" y="87"/>
                  </a:cubicBezTo>
                  <a:cubicBezTo>
                    <a:pt x="17" y="86"/>
                    <a:pt x="17" y="86"/>
                    <a:pt x="17" y="85"/>
                  </a:cubicBezTo>
                  <a:cubicBezTo>
                    <a:pt x="17" y="85"/>
                    <a:pt x="17" y="85"/>
                    <a:pt x="17" y="84"/>
                  </a:cubicBezTo>
                  <a:cubicBezTo>
                    <a:pt x="17" y="84"/>
                    <a:pt x="17" y="83"/>
                    <a:pt x="17" y="83"/>
                  </a:cubicBezTo>
                  <a:cubicBezTo>
                    <a:pt x="18" y="83"/>
                    <a:pt x="18" y="84"/>
                    <a:pt x="18" y="84"/>
                  </a:cubicBezTo>
                  <a:cubicBezTo>
                    <a:pt x="19" y="85"/>
                    <a:pt x="19" y="85"/>
                    <a:pt x="19" y="86"/>
                  </a:cubicBezTo>
                  <a:cubicBezTo>
                    <a:pt x="20" y="88"/>
                    <a:pt x="18" y="89"/>
                    <a:pt x="17" y="89"/>
                  </a:cubicBezTo>
                  <a:cubicBezTo>
                    <a:pt x="17" y="90"/>
                    <a:pt x="16" y="90"/>
                    <a:pt x="16" y="90"/>
                  </a:cubicBezTo>
                  <a:cubicBezTo>
                    <a:pt x="16" y="90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3"/>
                    <a:pt x="16" y="93"/>
                  </a:cubicBezTo>
                  <a:cubicBezTo>
                    <a:pt x="17" y="94"/>
                    <a:pt x="18" y="94"/>
                    <a:pt x="19" y="94"/>
                  </a:cubicBezTo>
                  <a:cubicBezTo>
                    <a:pt x="20" y="94"/>
                    <a:pt x="20" y="94"/>
                    <a:pt x="19" y="95"/>
                  </a:cubicBezTo>
                  <a:cubicBezTo>
                    <a:pt x="19" y="95"/>
                    <a:pt x="18" y="96"/>
                    <a:pt x="18" y="96"/>
                  </a:cubicBezTo>
                  <a:cubicBezTo>
                    <a:pt x="18" y="97"/>
                    <a:pt x="17" y="98"/>
                    <a:pt x="17" y="99"/>
                  </a:cubicBezTo>
                  <a:cubicBezTo>
                    <a:pt x="17" y="99"/>
                    <a:pt x="17" y="100"/>
                    <a:pt x="17" y="100"/>
                  </a:cubicBezTo>
                  <a:cubicBezTo>
                    <a:pt x="18" y="100"/>
                    <a:pt x="19" y="99"/>
                    <a:pt x="19" y="99"/>
                  </a:cubicBezTo>
                  <a:cubicBezTo>
                    <a:pt x="20" y="98"/>
                    <a:pt x="20" y="98"/>
                    <a:pt x="21" y="98"/>
                  </a:cubicBezTo>
                  <a:cubicBezTo>
                    <a:pt x="22" y="98"/>
                    <a:pt x="22" y="98"/>
                    <a:pt x="21" y="99"/>
                  </a:cubicBezTo>
                  <a:cubicBezTo>
                    <a:pt x="21" y="100"/>
                    <a:pt x="20" y="100"/>
                    <a:pt x="19" y="101"/>
                  </a:cubicBezTo>
                  <a:cubicBezTo>
                    <a:pt x="19" y="101"/>
                    <a:pt x="20" y="101"/>
                    <a:pt x="20" y="102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1" y="102"/>
                    <a:pt x="22" y="103"/>
                    <a:pt x="22" y="104"/>
                  </a:cubicBezTo>
                  <a:cubicBezTo>
                    <a:pt x="22" y="104"/>
                    <a:pt x="20" y="103"/>
                    <a:pt x="20" y="103"/>
                  </a:cubicBezTo>
                  <a:cubicBezTo>
                    <a:pt x="19" y="103"/>
                    <a:pt x="19" y="102"/>
                    <a:pt x="19" y="102"/>
                  </a:cubicBezTo>
                  <a:cubicBezTo>
                    <a:pt x="18" y="101"/>
                    <a:pt x="18" y="102"/>
                    <a:pt x="18" y="102"/>
                  </a:cubicBezTo>
                  <a:cubicBezTo>
                    <a:pt x="18" y="103"/>
                    <a:pt x="18" y="103"/>
                    <a:pt x="18" y="104"/>
                  </a:cubicBezTo>
                  <a:cubicBezTo>
                    <a:pt x="18" y="104"/>
                    <a:pt x="18" y="105"/>
                    <a:pt x="18" y="105"/>
                  </a:cubicBezTo>
                  <a:cubicBezTo>
                    <a:pt x="19" y="105"/>
                    <a:pt x="19" y="106"/>
                    <a:pt x="20" y="106"/>
                  </a:cubicBezTo>
                  <a:cubicBezTo>
                    <a:pt x="20" y="106"/>
                    <a:pt x="21" y="106"/>
                    <a:pt x="21" y="106"/>
                  </a:cubicBezTo>
                  <a:cubicBezTo>
                    <a:pt x="22" y="106"/>
                    <a:pt x="22" y="106"/>
                    <a:pt x="23" y="106"/>
                  </a:cubicBezTo>
                  <a:cubicBezTo>
                    <a:pt x="23" y="107"/>
                    <a:pt x="22" y="108"/>
                    <a:pt x="22" y="109"/>
                  </a:cubicBezTo>
                  <a:cubicBezTo>
                    <a:pt x="22" y="110"/>
                    <a:pt x="24" y="110"/>
                    <a:pt x="24" y="110"/>
                  </a:cubicBezTo>
                  <a:cubicBezTo>
                    <a:pt x="25" y="110"/>
                    <a:pt x="25" y="109"/>
                    <a:pt x="26" y="109"/>
                  </a:cubicBezTo>
                  <a:cubicBezTo>
                    <a:pt x="26" y="110"/>
                    <a:pt x="26" y="111"/>
                    <a:pt x="25" y="111"/>
                  </a:cubicBezTo>
                  <a:cubicBezTo>
                    <a:pt x="25" y="111"/>
                    <a:pt x="23" y="112"/>
                    <a:pt x="23" y="112"/>
                  </a:cubicBezTo>
                  <a:cubicBezTo>
                    <a:pt x="22" y="112"/>
                    <a:pt x="22" y="113"/>
                    <a:pt x="22" y="114"/>
                  </a:cubicBezTo>
                  <a:cubicBezTo>
                    <a:pt x="22" y="114"/>
                    <a:pt x="23" y="116"/>
                    <a:pt x="22" y="116"/>
                  </a:cubicBezTo>
                  <a:cubicBezTo>
                    <a:pt x="21" y="116"/>
                    <a:pt x="21" y="115"/>
                    <a:pt x="21" y="115"/>
                  </a:cubicBezTo>
                  <a:cubicBezTo>
                    <a:pt x="21" y="115"/>
                    <a:pt x="21" y="115"/>
                    <a:pt x="21" y="114"/>
                  </a:cubicBezTo>
                  <a:cubicBezTo>
                    <a:pt x="20" y="114"/>
                    <a:pt x="19" y="114"/>
                    <a:pt x="19" y="115"/>
                  </a:cubicBezTo>
                  <a:cubicBezTo>
                    <a:pt x="18" y="115"/>
                    <a:pt x="18" y="115"/>
                    <a:pt x="17" y="115"/>
                  </a:cubicBezTo>
                  <a:cubicBezTo>
                    <a:pt x="16" y="115"/>
                    <a:pt x="16" y="116"/>
                    <a:pt x="16" y="116"/>
                  </a:cubicBezTo>
                  <a:cubicBezTo>
                    <a:pt x="16" y="117"/>
                    <a:pt x="16" y="118"/>
                    <a:pt x="17" y="118"/>
                  </a:cubicBezTo>
                  <a:cubicBezTo>
                    <a:pt x="17" y="119"/>
                    <a:pt x="18" y="119"/>
                    <a:pt x="19" y="119"/>
                  </a:cubicBezTo>
                  <a:cubicBezTo>
                    <a:pt x="19" y="118"/>
                    <a:pt x="20" y="118"/>
                    <a:pt x="20" y="118"/>
                  </a:cubicBezTo>
                  <a:cubicBezTo>
                    <a:pt x="20" y="118"/>
                    <a:pt x="20" y="117"/>
                    <a:pt x="20" y="117"/>
                  </a:cubicBezTo>
                  <a:cubicBezTo>
                    <a:pt x="20" y="117"/>
                    <a:pt x="20" y="117"/>
                    <a:pt x="20" y="116"/>
                  </a:cubicBezTo>
                  <a:cubicBezTo>
                    <a:pt x="20" y="116"/>
                    <a:pt x="21" y="117"/>
                    <a:pt x="21" y="117"/>
                  </a:cubicBezTo>
                  <a:cubicBezTo>
                    <a:pt x="21" y="118"/>
                    <a:pt x="21" y="118"/>
                    <a:pt x="21" y="119"/>
                  </a:cubicBezTo>
                  <a:cubicBezTo>
                    <a:pt x="21" y="119"/>
                    <a:pt x="21" y="119"/>
                    <a:pt x="21" y="119"/>
                  </a:cubicBezTo>
                  <a:cubicBezTo>
                    <a:pt x="20" y="119"/>
                    <a:pt x="20" y="120"/>
                    <a:pt x="20" y="120"/>
                  </a:cubicBezTo>
                  <a:cubicBezTo>
                    <a:pt x="20" y="120"/>
                    <a:pt x="19" y="121"/>
                    <a:pt x="19" y="121"/>
                  </a:cubicBezTo>
                  <a:cubicBezTo>
                    <a:pt x="19" y="122"/>
                    <a:pt x="18" y="121"/>
                    <a:pt x="18" y="121"/>
                  </a:cubicBezTo>
                  <a:cubicBezTo>
                    <a:pt x="17" y="121"/>
                    <a:pt x="17" y="121"/>
                    <a:pt x="17" y="120"/>
                  </a:cubicBezTo>
                  <a:cubicBezTo>
                    <a:pt x="17" y="120"/>
                    <a:pt x="16" y="120"/>
                    <a:pt x="16" y="121"/>
                  </a:cubicBezTo>
                  <a:cubicBezTo>
                    <a:pt x="16" y="121"/>
                    <a:pt x="17" y="121"/>
                    <a:pt x="18" y="122"/>
                  </a:cubicBezTo>
                  <a:cubicBezTo>
                    <a:pt x="18" y="122"/>
                    <a:pt x="18" y="122"/>
                    <a:pt x="18" y="123"/>
                  </a:cubicBezTo>
                  <a:cubicBezTo>
                    <a:pt x="19" y="124"/>
                    <a:pt x="18" y="124"/>
                    <a:pt x="17" y="124"/>
                  </a:cubicBezTo>
                  <a:cubicBezTo>
                    <a:pt x="16" y="125"/>
                    <a:pt x="15" y="126"/>
                    <a:pt x="15" y="127"/>
                  </a:cubicBezTo>
                  <a:cubicBezTo>
                    <a:pt x="15" y="127"/>
                    <a:pt x="15" y="127"/>
                    <a:pt x="14" y="128"/>
                  </a:cubicBezTo>
                  <a:cubicBezTo>
                    <a:pt x="14" y="128"/>
                    <a:pt x="13" y="128"/>
                    <a:pt x="13" y="129"/>
                  </a:cubicBezTo>
                  <a:cubicBezTo>
                    <a:pt x="13" y="129"/>
                    <a:pt x="13" y="130"/>
                    <a:pt x="13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1" y="131"/>
                    <a:pt x="12" y="130"/>
                    <a:pt x="11" y="130"/>
                  </a:cubicBezTo>
                  <a:cubicBezTo>
                    <a:pt x="11" y="129"/>
                    <a:pt x="10" y="130"/>
                    <a:pt x="10" y="131"/>
                  </a:cubicBezTo>
                  <a:cubicBezTo>
                    <a:pt x="10" y="131"/>
                    <a:pt x="9" y="132"/>
                    <a:pt x="10" y="133"/>
                  </a:cubicBezTo>
                  <a:cubicBezTo>
                    <a:pt x="10" y="133"/>
                    <a:pt x="11" y="133"/>
                    <a:pt x="11" y="133"/>
                  </a:cubicBezTo>
                  <a:cubicBezTo>
                    <a:pt x="11" y="133"/>
                    <a:pt x="12" y="133"/>
                    <a:pt x="12" y="133"/>
                  </a:cubicBezTo>
                  <a:cubicBezTo>
                    <a:pt x="12" y="134"/>
                    <a:pt x="11" y="134"/>
                    <a:pt x="11" y="134"/>
                  </a:cubicBezTo>
                  <a:cubicBezTo>
                    <a:pt x="11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9" y="134"/>
                  </a:cubicBezTo>
                  <a:cubicBezTo>
                    <a:pt x="9" y="135"/>
                    <a:pt x="9" y="135"/>
                    <a:pt x="9" y="135"/>
                  </a:cubicBezTo>
                  <a:cubicBezTo>
                    <a:pt x="8" y="137"/>
                    <a:pt x="8" y="139"/>
                    <a:pt x="8" y="140"/>
                  </a:cubicBezTo>
                  <a:cubicBezTo>
                    <a:pt x="7" y="140"/>
                    <a:pt x="7" y="139"/>
                    <a:pt x="7" y="139"/>
                  </a:cubicBezTo>
                  <a:cubicBezTo>
                    <a:pt x="6" y="139"/>
                    <a:pt x="5" y="139"/>
                    <a:pt x="5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5" y="140"/>
                    <a:pt x="5" y="140"/>
                    <a:pt x="6" y="140"/>
                  </a:cubicBezTo>
                  <a:cubicBezTo>
                    <a:pt x="6" y="140"/>
                    <a:pt x="7" y="140"/>
                    <a:pt x="7" y="141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6" y="142"/>
                    <a:pt x="6" y="142"/>
                    <a:pt x="5" y="142"/>
                  </a:cubicBezTo>
                  <a:cubicBezTo>
                    <a:pt x="5" y="143"/>
                    <a:pt x="3" y="143"/>
                    <a:pt x="4" y="144"/>
                  </a:cubicBezTo>
                  <a:cubicBezTo>
                    <a:pt x="4" y="144"/>
                    <a:pt x="4" y="144"/>
                    <a:pt x="4" y="145"/>
                  </a:cubicBezTo>
                  <a:cubicBezTo>
                    <a:pt x="4" y="145"/>
                    <a:pt x="4" y="145"/>
                    <a:pt x="4" y="146"/>
                  </a:cubicBezTo>
                  <a:cubicBezTo>
                    <a:pt x="5" y="146"/>
                    <a:pt x="5" y="147"/>
                    <a:pt x="5" y="148"/>
                  </a:cubicBezTo>
                  <a:cubicBezTo>
                    <a:pt x="5" y="148"/>
                    <a:pt x="5" y="149"/>
                    <a:pt x="5" y="149"/>
                  </a:cubicBezTo>
                  <a:cubicBezTo>
                    <a:pt x="4" y="150"/>
                    <a:pt x="4" y="149"/>
                    <a:pt x="3" y="148"/>
                  </a:cubicBezTo>
                  <a:cubicBezTo>
                    <a:pt x="3" y="148"/>
                    <a:pt x="4" y="147"/>
                    <a:pt x="3" y="147"/>
                  </a:cubicBezTo>
                  <a:cubicBezTo>
                    <a:pt x="3" y="147"/>
                    <a:pt x="2" y="147"/>
                    <a:pt x="2" y="147"/>
                  </a:cubicBezTo>
                  <a:cubicBezTo>
                    <a:pt x="2" y="148"/>
                    <a:pt x="2" y="149"/>
                    <a:pt x="3" y="150"/>
                  </a:cubicBezTo>
                  <a:cubicBezTo>
                    <a:pt x="3" y="151"/>
                    <a:pt x="4" y="153"/>
                    <a:pt x="4" y="153"/>
                  </a:cubicBezTo>
                  <a:cubicBezTo>
                    <a:pt x="4" y="153"/>
                    <a:pt x="3" y="153"/>
                    <a:pt x="2" y="153"/>
                  </a:cubicBezTo>
                  <a:cubicBezTo>
                    <a:pt x="1" y="154"/>
                    <a:pt x="0" y="154"/>
                    <a:pt x="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5"/>
                    <a:pt x="0" y="155"/>
                    <a:pt x="1" y="156"/>
                  </a:cubicBezTo>
                  <a:cubicBezTo>
                    <a:pt x="1" y="156"/>
                    <a:pt x="1" y="157"/>
                    <a:pt x="1" y="157"/>
                  </a:cubicBezTo>
                  <a:cubicBezTo>
                    <a:pt x="1" y="157"/>
                    <a:pt x="0" y="158"/>
                    <a:pt x="0" y="159"/>
                  </a:cubicBezTo>
                  <a:cubicBezTo>
                    <a:pt x="0" y="159"/>
                    <a:pt x="0" y="160"/>
                    <a:pt x="0" y="160"/>
                  </a:cubicBezTo>
                  <a:cubicBezTo>
                    <a:pt x="0" y="160"/>
                    <a:pt x="2" y="161"/>
                    <a:pt x="2" y="162"/>
                  </a:cubicBezTo>
                  <a:cubicBezTo>
                    <a:pt x="2" y="162"/>
                    <a:pt x="1" y="163"/>
                    <a:pt x="1" y="163"/>
                  </a:cubicBezTo>
                  <a:cubicBezTo>
                    <a:pt x="1" y="163"/>
                    <a:pt x="0" y="164"/>
                    <a:pt x="0" y="164"/>
                  </a:cubicBezTo>
                  <a:cubicBezTo>
                    <a:pt x="65" y="164"/>
                    <a:pt x="65" y="164"/>
                    <a:pt x="65" y="164"/>
                  </a:cubicBezTo>
                  <a:cubicBezTo>
                    <a:pt x="65" y="164"/>
                    <a:pt x="65" y="167"/>
                    <a:pt x="65" y="167"/>
                  </a:cubicBezTo>
                  <a:cubicBezTo>
                    <a:pt x="65" y="167"/>
                    <a:pt x="62" y="177"/>
                    <a:pt x="62" y="177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7" y="186"/>
                    <a:pt x="67" y="186"/>
                    <a:pt x="67" y="186"/>
                  </a:cubicBezTo>
                  <a:cubicBezTo>
                    <a:pt x="67" y="186"/>
                    <a:pt x="69" y="195"/>
                    <a:pt x="69" y="195"/>
                  </a:cubicBezTo>
                  <a:cubicBezTo>
                    <a:pt x="70" y="195"/>
                    <a:pt x="72" y="197"/>
                    <a:pt x="72" y="197"/>
                  </a:cubicBezTo>
                  <a:cubicBezTo>
                    <a:pt x="74" y="197"/>
                    <a:pt x="74" y="197"/>
                    <a:pt x="74" y="197"/>
                  </a:cubicBezTo>
                  <a:cubicBezTo>
                    <a:pt x="74" y="197"/>
                    <a:pt x="74" y="197"/>
                    <a:pt x="74" y="197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76" y="197"/>
                    <a:pt x="76" y="196"/>
                    <a:pt x="76" y="196"/>
                  </a:cubicBezTo>
                  <a:cubicBezTo>
                    <a:pt x="77" y="196"/>
                    <a:pt x="77" y="195"/>
                    <a:pt x="77" y="195"/>
                  </a:cubicBezTo>
                  <a:cubicBezTo>
                    <a:pt x="78" y="195"/>
                    <a:pt x="78" y="194"/>
                    <a:pt x="78" y="194"/>
                  </a:cubicBezTo>
                  <a:cubicBezTo>
                    <a:pt x="79" y="193"/>
                    <a:pt x="79" y="192"/>
                    <a:pt x="79" y="190"/>
                  </a:cubicBezTo>
                  <a:cubicBezTo>
                    <a:pt x="79" y="190"/>
                    <a:pt x="79" y="190"/>
                    <a:pt x="79" y="190"/>
                  </a:cubicBezTo>
                  <a:cubicBezTo>
                    <a:pt x="80" y="190"/>
                    <a:pt x="81" y="190"/>
                    <a:pt x="81" y="191"/>
                  </a:cubicBezTo>
                  <a:cubicBezTo>
                    <a:pt x="82" y="191"/>
                    <a:pt x="82" y="191"/>
                    <a:pt x="81" y="192"/>
                  </a:cubicBezTo>
                  <a:cubicBezTo>
                    <a:pt x="81" y="192"/>
                    <a:pt x="81" y="192"/>
                    <a:pt x="81" y="193"/>
                  </a:cubicBezTo>
                  <a:cubicBezTo>
                    <a:pt x="82" y="192"/>
                    <a:pt x="82" y="192"/>
                    <a:pt x="83" y="192"/>
                  </a:cubicBezTo>
                  <a:cubicBezTo>
                    <a:pt x="84" y="192"/>
                    <a:pt x="85" y="191"/>
                    <a:pt x="86" y="191"/>
                  </a:cubicBezTo>
                  <a:cubicBezTo>
                    <a:pt x="87" y="191"/>
                    <a:pt x="88" y="190"/>
                    <a:pt x="89" y="190"/>
                  </a:cubicBezTo>
                  <a:cubicBezTo>
                    <a:pt x="89" y="190"/>
                    <a:pt x="90" y="189"/>
                    <a:pt x="91" y="189"/>
                  </a:cubicBezTo>
                  <a:cubicBezTo>
                    <a:pt x="92" y="189"/>
                    <a:pt x="94" y="189"/>
                    <a:pt x="95" y="189"/>
                  </a:cubicBezTo>
                  <a:cubicBezTo>
                    <a:pt x="96" y="189"/>
                    <a:pt x="97" y="189"/>
                    <a:pt x="97" y="189"/>
                  </a:cubicBezTo>
                  <a:cubicBezTo>
                    <a:pt x="98" y="189"/>
                    <a:pt x="98" y="190"/>
                    <a:pt x="98" y="190"/>
                  </a:cubicBezTo>
                  <a:cubicBezTo>
                    <a:pt x="99" y="190"/>
                    <a:pt x="99" y="190"/>
                    <a:pt x="99" y="190"/>
                  </a:cubicBezTo>
                  <a:cubicBezTo>
                    <a:pt x="99" y="190"/>
                    <a:pt x="100" y="190"/>
                    <a:pt x="100" y="190"/>
                  </a:cubicBezTo>
                  <a:cubicBezTo>
                    <a:pt x="100" y="190"/>
                    <a:pt x="100" y="190"/>
                    <a:pt x="100" y="189"/>
                  </a:cubicBezTo>
                  <a:cubicBezTo>
                    <a:pt x="101" y="189"/>
                    <a:pt x="102" y="189"/>
                    <a:pt x="103" y="189"/>
                  </a:cubicBezTo>
                  <a:cubicBezTo>
                    <a:pt x="103" y="190"/>
                    <a:pt x="104" y="190"/>
                    <a:pt x="104" y="190"/>
                  </a:cubicBezTo>
                  <a:cubicBezTo>
                    <a:pt x="105" y="190"/>
                    <a:pt x="105" y="190"/>
                    <a:pt x="105" y="189"/>
                  </a:cubicBezTo>
                  <a:cubicBezTo>
                    <a:pt x="106" y="189"/>
                    <a:pt x="105" y="189"/>
                    <a:pt x="105" y="188"/>
                  </a:cubicBezTo>
                  <a:cubicBezTo>
                    <a:pt x="104" y="188"/>
                    <a:pt x="104" y="188"/>
                    <a:pt x="104" y="187"/>
                  </a:cubicBezTo>
                  <a:cubicBezTo>
                    <a:pt x="104" y="187"/>
                    <a:pt x="104" y="186"/>
                    <a:pt x="105" y="186"/>
                  </a:cubicBezTo>
                  <a:cubicBezTo>
                    <a:pt x="105" y="185"/>
                    <a:pt x="106" y="186"/>
                    <a:pt x="106" y="186"/>
                  </a:cubicBezTo>
                  <a:cubicBezTo>
                    <a:pt x="106" y="186"/>
                    <a:pt x="106" y="187"/>
                    <a:pt x="106" y="188"/>
                  </a:cubicBezTo>
                  <a:cubicBezTo>
                    <a:pt x="106" y="188"/>
                    <a:pt x="106" y="189"/>
                    <a:pt x="107" y="189"/>
                  </a:cubicBezTo>
                  <a:cubicBezTo>
                    <a:pt x="107" y="190"/>
                    <a:pt x="107" y="190"/>
                    <a:pt x="107" y="190"/>
                  </a:cubicBezTo>
                  <a:cubicBezTo>
                    <a:pt x="107" y="191"/>
                    <a:pt x="108" y="191"/>
                    <a:pt x="108" y="191"/>
                  </a:cubicBezTo>
                  <a:cubicBezTo>
                    <a:pt x="109" y="191"/>
                    <a:pt x="109" y="191"/>
                    <a:pt x="110" y="191"/>
                  </a:cubicBezTo>
                  <a:cubicBezTo>
                    <a:pt x="110" y="191"/>
                    <a:pt x="111" y="190"/>
                    <a:pt x="111" y="190"/>
                  </a:cubicBezTo>
                  <a:cubicBezTo>
                    <a:pt x="111" y="190"/>
                    <a:pt x="112" y="190"/>
                    <a:pt x="112" y="189"/>
                  </a:cubicBezTo>
                  <a:cubicBezTo>
                    <a:pt x="109" y="126"/>
                    <a:pt x="109" y="126"/>
                    <a:pt x="109" y="126"/>
                  </a:cubicBezTo>
                  <a:lnTo>
                    <a:pt x="122" y="4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6B9F62BD-C416-4D67-B90F-86C23CB9B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0595" y="1178697"/>
              <a:ext cx="1044193" cy="1174717"/>
            </a:xfrm>
            <a:custGeom>
              <a:avLst/>
              <a:gdLst>
                <a:gd name="T0" fmla="*/ 15 w 264"/>
                <a:gd name="T1" fmla="*/ 190 h 296"/>
                <a:gd name="T2" fmla="*/ 15 w 264"/>
                <a:gd name="T3" fmla="*/ 197 h 296"/>
                <a:gd name="T4" fmla="*/ 25 w 264"/>
                <a:gd name="T5" fmla="*/ 206 h 296"/>
                <a:gd name="T6" fmla="*/ 207 w 264"/>
                <a:gd name="T7" fmla="*/ 295 h 296"/>
                <a:gd name="T8" fmla="*/ 206 w 264"/>
                <a:gd name="T9" fmla="*/ 284 h 296"/>
                <a:gd name="T10" fmla="*/ 200 w 264"/>
                <a:gd name="T11" fmla="*/ 272 h 296"/>
                <a:gd name="T12" fmla="*/ 188 w 264"/>
                <a:gd name="T13" fmla="*/ 264 h 296"/>
                <a:gd name="T14" fmla="*/ 181 w 264"/>
                <a:gd name="T15" fmla="*/ 253 h 296"/>
                <a:gd name="T16" fmla="*/ 169 w 264"/>
                <a:gd name="T17" fmla="*/ 246 h 296"/>
                <a:gd name="T18" fmla="*/ 160 w 264"/>
                <a:gd name="T19" fmla="*/ 243 h 296"/>
                <a:gd name="T20" fmla="*/ 153 w 264"/>
                <a:gd name="T21" fmla="*/ 231 h 296"/>
                <a:gd name="T22" fmla="*/ 153 w 264"/>
                <a:gd name="T23" fmla="*/ 220 h 296"/>
                <a:gd name="T24" fmla="*/ 154 w 264"/>
                <a:gd name="T25" fmla="*/ 213 h 296"/>
                <a:gd name="T26" fmla="*/ 158 w 264"/>
                <a:gd name="T27" fmla="*/ 203 h 296"/>
                <a:gd name="T28" fmla="*/ 150 w 264"/>
                <a:gd name="T29" fmla="*/ 195 h 296"/>
                <a:gd name="T30" fmla="*/ 153 w 264"/>
                <a:gd name="T31" fmla="*/ 186 h 296"/>
                <a:gd name="T32" fmla="*/ 160 w 264"/>
                <a:gd name="T33" fmla="*/ 177 h 296"/>
                <a:gd name="T34" fmla="*/ 166 w 264"/>
                <a:gd name="T35" fmla="*/ 173 h 296"/>
                <a:gd name="T36" fmla="*/ 170 w 264"/>
                <a:gd name="T37" fmla="*/ 169 h 296"/>
                <a:gd name="T38" fmla="*/ 174 w 264"/>
                <a:gd name="T39" fmla="*/ 139 h 296"/>
                <a:gd name="T40" fmla="*/ 181 w 264"/>
                <a:gd name="T41" fmla="*/ 132 h 296"/>
                <a:gd name="T42" fmla="*/ 196 w 264"/>
                <a:gd name="T43" fmla="*/ 120 h 296"/>
                <a:gd name="T44" fmla="*/ 235 w 264"/>
                <a:gd name="T45" fmla="*/ 86 h 296"/>
                <a:gd name="T46" fmla="*/ 264 w 264"/>
                <a:gd name="T47" fmla="*/ 72 h 296"/>
                <a:gd name="T48" fmla="*/ 258 w 264"/>
                <a:gd name="T49" fmla="*/ 72 h 296"/>
                <a:gd name="T50" fmla="*/ 249 w 264"/>
                <a:gd name="T51" fmla="*/ 71 h 296"/>
                <a:gd name="T52" fmla="*/ 247 w 264"/>
                <a:gd name="T53" fmla="*/ 68 h 296"/>
                <a:gd name="T54" fmla="*/ 230 w 264"/>
                <a:gd name="T55" fmla="*/ 67 h 296"/>
                <a:gd name="T56" fmla="*/ 223 w 264"/>
                <a:gd name="T57" fmla="*/ 68 h 296"/>
                <a:gd name="T58" fmla="*/ 222 w 264"/>
                <a:gd name="T59" fmla="*/ 65 h 296"/>
                <a:gd name="T60" fmla="*/ 220 w 264"/>
                <a:gd name="T61" fmla="*/ 64 h 296"/>
                <a:gd name="T62" fmla="*/ 209 w 264"/>
                <a:gd name="T63" fmla="*/ 65 h 296"/>
                <a:gd name="T64" fmla="*/ 195 w 264"/>
                <a:gd name="T65" fmla="*/ 70 h 296"/>
                <a:gd name="T66" fmla="*/ 192 w 264"/>
                <a:gd name="T67" fmla="*/ 67 h 296"/>
                <a:gd name="T68" fmla="*/ 190 w 264"/>
                <a:gd name="T69" fmla="*/ 62 h 296"/>
                <a:gd name="T70" fmla="*/ 181 w 264"/>
                <a:gd name="T71" fmla="*/ 61 h 296"/>
                <a:gd name="T72" fmla="*/ 180 w 264"/>
                <a:gd name="T73" fmla="*/ 56 h 296"/>
                <a:gd name="T74" fmla="*/ 169 w 264"/>
                <a:gd name="T75" fmla="*/ 56 h 296"/>
                <a:gd name="T76" fmla="*/ 167 w 264"/>
                <a:gd name="T77" fmla="*/ 61 h 296"/>
                <a:gd name="T78" fmla="*/ 164 w 264"/>
                <a:gd name="T79" fmla="*/ 51 h 296"/>
                <a:gd name="T80" fmla="*/ 155 w 264"/>
                <a:gd name="T81" fmla="*/ 48 h 296"/>
                <a:gd name="T82" fmla="*/ 158 w 264"/>
                <a:gd name="T83" fmla="*/ 45 h 296"/>
                <a:gd name="T84" fmla="*/ 147 w 264"/>
                <a:gd name="T85" fmla="*/ 40 h 296"/>
                <a:gd name="T86" fmla="*/ 137 w 264"/>
                <a:gd name="T87" fmla="*/ 40 h 296"/>
                <a:gd name="T88" fmla="*/ 118 w 264"/>
                <a:gd name="T89" fmla="*/ 46 h 296"/>
                <a:gd name="T90" fmla="*/ 102 w 264"/>
                <a:gd name="T91" fmla="*/ 37 h 296"/>
                <a:gd name="T92" fmla="*/ 96 w 264"/>
                <a:gd name="T93" fmla="*/ 37 h 296"/>
                <a:gd name="T94" fmla="*/ 87 w 264"/>
                <a:gd name="T95" fmla="*/ 24 h 296"/>
                <a:gd name="T96" fmla="*/ 77 w 264"/>
                <a:gd name="T97" fmla="*/ 1 h 296"/>
                <a:gd name="T98" fmla="*/ 71 w 264"/>
                <a:gd name="T99" fmla="*/ 20 h 296"/>
                <a:gd name="T100" fmla="*/ 1 w 264"/>
                <a:gd name="T101" fmla="*/ 28 h 296"/>
                <a:gd name="T102" fmla="*/ 3 w 264"/>
                <a:gd name="T103" fmla="*/ 41 h 296"/>
                <a:gd name="T104" fmla="*/ 2 w 264"/>
                <a:gd name="T105" fmla="*/ 47 h 296"/>
                <a:gd name="T106" fmla="*/ 2 w 264"/>
                <a:gd name="T107" fmla="*/ 53 h 296"/>
                <a:gd name="T108" fmla="*/ 3 w 264"/>
                <a:gd name="T109" fmla="*/ 67 h 296"/>
                <a:gd name="T110" fmla="*/ 11 w 264"/>
                <a:gd name="T111" fmla="*/ 89 h 296"/>
                <a:gd name="T112" fmla="*/ 13 w 264"/>
                <a:gd name="T113" fmla="*/ 110 h 296"/>
                <a:gd name="T114" fmla="*/ 16 w 264"/>
                <a:gd name="T115" fmla="*/ 129 h 296"/>
                <a:gd name="T116" fmla="*/ 15 w 264"/>
                <a:gd name="T117" fmla="*/ 143 h 296"/>
                <a:gd name="T118" fmla="*/ 20 w 264"/>
                <a:gd name="T119" fmla="*/ 154 h 296"/>
                <a:gd name="T120" fmla="*/ 22 w 264"/>
                <a:gd name="T121" fmla="*/ 18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4" h="296">
                  <a:moveTo>
                    <a:pt x="22" y="182"/>
                  </a:moveTo>
                  <a:cubicBezTo>
                    <a:pt x="22" y="182"/>
                    <a:pt x="19" y="187"/>
                    <a:pt x="19" y="187"/>
                  </a:cubicBezTo>
                  <a:cubicBezTo>
                    <a:pt x="19" y="187"/>
                    <a:pt x="15" y="190"/>
                    <a:pt x="15" y="190"/>
                  </a:cubicBezTo>
                  <a:cubicBezTo>
                    <a:pt x="14" y="191"/>
                    <a:pt x="13" y="191"/>
                    <a:pt x="13" y="191"/>
                  </a:cubicBezTo>
                  <a:cubicBezTo>
                    <a:pt x="13" y="191"/>
                    <a:pt x="13" y="193"/>
                    <a:pt x="13" y="193"/>
                  </a:cubicBezTo>
                  <a:cubicBezTo>
                    <a:pt x="13" y="193"/>
                    <a:pt x="14" y="197"/>
                    <a:pt x="15" y="197"/>
                  </a:cubicBezTo>
                  <a:cubicBezTo>
                    <a:pt x="15" y="198"/>
                    <a:pt x="18" y="203"/>
                    <a:pt x="18" y="203"/>
                  </a:cubicBezTo>
                  <a:cubicBezTo>
                    <a:pt x="18" y="203"/>
                    <a:pt x="22" y="204"/>
                    <a:pt x="22" y="204"/>
                  </a:cubicBezTo>
                  <a:cubicBezTo>
                    <a:pt x="22" y="204"/>
                    <a:pt x="25" y="205"/>
                    <a:pt x="25" y="206"/>
                  </a:cubicBezTo>
                  <a:cubicBezTo>
                    <a:pt x="26" y="206"/>
                    <a:pt x="26" y="208"/>
                    <a:pt x="26" y="208"/>
                  </a:cubicBezTo>
                  <a:cubicBezTo>
                    <a:pt x="26" y="296"/>
                    <a:pt x="26" y="296"/>
                    <a:pt x="26" y="296"/>
                  </a:cubicBezTo>
                  <a:cubicBezTo>
                    <a:pt x="207" y="295"/>
                    <a:pt x="207" y="295"/>
                    <a:pt x="207" y="295"/>
                  </a:cubicBezTo>
                  <a:cubicBezTo>
                    <a:pt x="207" y="295"/>
                    <a:pt x="206" y="292"/>
                    <a:pt x="206" y="291"/>
                  </a:cubicBezTo>
                  <a:cubicBezTo>
                    <a:pt x="206" y="291"/>
                    <a:pt x="205" y="289"/>
                    <a:pt x="205" y="288"/>
                  </a:cubicBezTo>
                  <a:cubicBezTo>
                    <a:pt x="205" y="287"/>
                    <a:pt x="206" y="285"/>
                    <a:pt x="206" y="284"/>
                  </a:cubicBezTo>
                  <a:cubicBezTo>
                    <a:pt x="206" y="283"/>
                    <a:pt x="205" y="280"/>
                    <a:pt x="205" y="279"/>
                  </a:cubicBezTo>
                  <a:cubicBezTo>
                    <a:pt x="204" y="279"/>
                    <a:pt x="202" y="275"/>
                    <a:pt x="201" y="275"/>
                  </a:cubicBezTo>
                  <a:cubicBezTo>
                    <a:pt x="201" y="274"/>
                    <a:pt x="201" y="273"/>
                    <a:pt x="200" y="272"/>
                  </a:cubicBezTo>
                  <a:cubicBezTo>
                    <a:pt x="199" y="272"/>
                    <a:pt x="196" y="271"/>
                    <a:pt x="195" y="271"/>
                  </a:cubicBezTo>
                  <a:cubicBezTo>
                    <a:pt x="194" y="270"/>
                    <a:pt x="194" y="269"/>
                    <a:pt x="193" y="268"/>
                  </a:cubicBezTo>
                  <a:cubicBezTo>
                    <a:pt x="192" y="268"/>
                    <a:pt x="189" y="265"/>
                    <a:pt x="188" y="264"/>
                  </a:cubicBezTo>
                  <a:cubicBezTo>
                    <a:pt x="187" y="264"/>
                    <a:pt x="186" y="263"/>
                    <a:pt x="185" y="262"/>
                  </a:cubicBezTo>
                  <a:cubicBezTo>
                    <a:pt x="184" y="262"/>
                    <a:pt x="184" y="262"/>
                    <a:pt x="184" y="260"/>
                  </a:cubicBezTo>
                  <a:cubicBezTo>
                    <a:pt x="184" y="259"/>
                    <a:pt x="182" y="254"/>
                    <a:pt x="181" y="253"/>
                  </a:cubicBezTo>
                  <a:cubicBezTo>
                    <a:pt x="179" y="252"/>
                    <a:pt x="178" y="253"/>
                    <a:pt x="177" y="252"/>
                  </a:cubicBezTo>
                  <a:cubicBezTo>
                    <a:pt x="176" y="251"/>
                    <a:pt x="173" y="250"/>
                    <a:pt x="172" y="250"/>
                  </a:cubicBezTo>
                  <a:cubicBezTo>
                    <a:pt x="171" y="249"/>
                    <a:pt x="170" y="247"/>
                    <a:pt x="169" y="246"/>
                  </a:cubicBezTo>
                  <a:cubicBezTo>
                    <a:pt x="169" y="246"/>
                    <a:pt x="169" y="245"/>
                    <a:pt x="167" y="244"/>
                  </a:cubicBezTo>
                  <a:cubicBezTo>
                    <a:pt x="166" y="244"/>
                    <a:pt x="164" y="244"/>
                    <a:pt x="162" y="244"/>
                  </a:cubicBezTo>
                  <a:cubicBezTo>
                    <a:pt x="161" y="244"/>
                    <a:pt x="160" y="244"/>
                    <a:pt x="160" y="243"/>
                  </a:cubicBezTo>
                  <a:cubicBezTo>
                    <a:pt x="160" y="242"/>
                    <a:pt x="158" y="240"/>
                    <a:pt x="157" y="239"/>
                  </a:cubicBezTo>
                  <a:cubicBezTo>
                    <a:pt x="156" y="238"/>
                    <a:pt x="153" y="236"/>
                    <a:pt x="153" y="236"/>
                  </a:cubicBezTo>
                  <a:cubicBezTo>
                    <a:pt x="152" y="235"/>
                    <a:pt x="153" y="232"/>
                    <a:pt x="153" y="231"/>
                  </a:cubicBezTo>
                  <a:cubicBezTo>
                    <a:pt x="153" y="231"/>
                    <a:pt x="154" y="227"/>
                    <a:pt x="154" y="226"/>
                  </a:cubicBezTo>
                  <a:cubicBezTo>
                    <a:pt x="154" y="225"/>
                    <a:pt x="154" y="223"/>
                    <a:pt x="154" y="222"/>
                  </a:cubicBezTo>
                  <a:cubicBezTo>
                    <a:pt x="153" y="221"/>
                    <a:pt x="153" y="221"/>
                    <a:pt x="153" y="220"/>
                  </a:cubicBezTo>
                  <a:cubicBezTo>
                    <a:pt x="153" y="220"/>
                    <a:pt x="153" y="219"/>
                    <a:pt x="153" y="218"/>
                  </a:cubicBezTo>
                  <a:cubicBezTo>
                    <a:pt x="154" y="218"/>
                    <a:pt x="154" y="217"/>
                    <a:pt x="154" y="216"/>
                  </a:cubicBezTo>
                  <a:cubicBezTo>
                    <a:pt x="154" y="215"/>
                    <a:pt x="154" y="214"/>
                    <a:pt x="154" y="213"/>
                  </a:cubicBezTo>
                  <a:cubicBezTo>
                    <a:pt x="154" y="212"/>
                    <a:pt x="153" y="210"/>
                    <a:pt x="154" y="209"/>
                  </a:cubicBezTo>
                  <a:cubicBezTo>
                    <a:pt x="154" y="208"/>
                    <a:pt x="156" y="206"/>
                    <a:pt x="156" y="205"/>
                  </a:cubicBezTo>
                  <a:cubicBezTo>
                    <a:pt x="157" y="204"/>
                    <a:pt x="158" y="204"/>
                    <a:pt x="158" y="203"/>
                  </a:cubicBezTo>
                  <a:cubicBezTo>
                    <a:pt x="158" y="202"/>
                    <a:pt x="156" y="199"/>
                    <a:pt x="155" y="198"/>
                  </a:cubicBezTo>
                  <a:cubicBezTo>
                    <a:pt x="155" y="197"/>
                    <a:pt x="155" y="196"/>
                    <a:pt x="154" y="195"/>
                  </a:cubicBezTo>
                  <a:cubicBezTo>
                    <a:pt x="153" y="195"/>
                    <a:pt x="150" y="195"/>
                    <a:pt x="150" y="195"/>
                  </a:cubicBezTo>
                  <a:cubicBezTo>
                    <a:pt x="149" y="194"/>
                    <a:pt x="149" y="193"/>
                    <a:pt x="149" y="192"/>
                  </a:cubicBezTo>
                  <a:cubicBezTo>
                    <a:pt x="150" y="191"/>
                    <a:pt x="149" y="189"/>
                    <a:pt x="150" y="188"/>
                  </a:cubicBezTo>
                  <a:cubicBezTo>
                    <a:pt x="150" y="188"/>
                    <a:pt x="152" y="187"/>
                    <a:pt x="153" y="186"/>
                  </a:cubicBezTo>
                  <a:cubicBezTo>
                    <a:pt x="153" y="185"/>
                    <a:pt x="154" y="183"/>
                    <a:pt x="154" y="182"/>
                  </a:cubicBezTo>
                  <a:cubicBezTo>
                    <a:pt x="155" y="181"/>
                    <a:pt x="155" y="180"/>
                    <a:pt x="156" y="179"/>
                  </a:cubicBezTo>
                  <a:cubicBezTo>
                    <a:pt x="157" y="178"/>
                    <a:pt x="159" y="177"/>
                    <a:pt x="160" y="177"/>
                  </a:cubicBezTo>
                  <a:cubicBezTo>
                    <a:pt x="161" y="176"/>
                    <a:pt x="161" y="175"/>
                    <a:pt x="162" y="175"/>
                  </a:cubicBezTo>
                  <a:cubicBezTo>
                    <a:pt x="162" y="174"/>
                    <a:pt x="163" y="175"/>
                    <a:pt x="164" y="175"/>
                  </a:cubicBezTo>
                  <a:cubicBezTo>
                    <a:pt x="164" y="175"/>
                    <a:pt x="165" y="173"/>
                    <a:pt x="166" y="173"/>
                  </a:cubicBezTo>
                  <a:cubicBezTo>
                    <a:pt x="166" y="172"/>
                    <a:pt x="168" y="173"/>
                    <a:pt x="168" y="173"/>
                  </a:cubicBezTo>
                  <a:cubicBezTo>
                    <a:pt x="168" y="172"/>
                    <a:pt x="169" y="171"/>
                    <a:pt x="169" y="171"/>
                  </a:cubicBezTo>
                  <a:cubicBezTo>
                    <a:pt x="169" y="170"/>
                    <a:pt x="170" y="169"/>
                    <a:pt x="170" y="169"/>
                  </a:cubicBezTo>
                  <a:cubicBezTo>
                    <a:pt x="170" y="169"/>
                    <a:pt x="170" y="140"/>
                    <a:pt x="170" y="140"/>
                  </a:cubicBezTo>
                  <a:cubicBezTo>
                    <a:pt x="170" y="140"/>
                    <a:pt x="173" y="141"/>
                    <a:pt x="173" y="141"/>
                  </a:cubicBezTo>
                  <a:cubicBezTo>
                    <a:pt x="174" y="139"/>
                    <a:pt x="174" y="139"/>
                    <a:pt x="174" y="139"/>
                  </a:cubicBezTo>
                  <a:cubicBezTo>
                    <a:pt x="174" y="139"/>
                    <a:pt x="174" y="139"/>
                    <a:pt x="174" y="139"/>
                  </a:cubicBezTo>
                  <a:cubicBezTo>
                    <a:pt x="174" y="138"/>
                    <a:pt x="176" y="136"/>
                    <a:pt x="176" y="136"/>
                  </a:cubicBezTo>
                  <a:cubicBezTo>
                    <a:pt x="177" y="136"/>
                    <a:pt x="180" y="132"/>
                    <a:pt x="181" y="132"/>
                  </a:cubicBezTo>
                  <a:cubicBezTo>
                    <a:pt x="181" y="131"/>
                    <a:pt x="185" y="129"/>
                    <a:pt x="185" y="128"/>
                  </a:cubicBezTo>
                  <a:cubicBezTo>
                    <a:pt x="186" y="128"/>
                    <a:pt x="187" y="127"/>
                    <a:pt x="187" y="127"/>
                  </a:cubicBezTo>
                  <a:cubicBezTo>
                    <a:pt x="188" y="126"/>
                    <a:pt x="195" y="120"/>
                    <a:pt x="196" y="120"/>
                  </a:cubicBezTo>
                  <a:cubicBezTo>
                    <a:pt x="196" y="120"/>
                    <a:pt x="214" y="100"/>
                    <a:pt x="215" y="100"/>
                  </a:cubicBezTo>
                  <a:cubicBezTo>
                    <a:pt x="216" y="99"/>
                    <a:pt x="220" y="95"/>
                    <a:pt x="222" y="94"/>
                  </a:cubicBezTo>
                  <a:cubicBezTo>
                    <a:pt x="223" y="92"/>
                    <a:pt x="232" y="87"/>
                    <a:pt x="235" y="86"/>
                  </a:cubicBezTo>
                  <a:cubicBezTo>
                    <a:pt x="239" y="85"/>
                    <a:pt x="247" y="82"/>
                    <a:pt x="251" y="81"/>
                  </a:cubicBezTo>
                  <a:cubicBezTo>
                    <a:pt x="254" y="81"/>
                    <a:pt x="257" y="78"/>
                    <a:pt x="258" y="77"/>
                  </a:cubicBezTo>
                  <a:cubicBezTo>
                    <a:pt x="260" y="76"/>
                    <a:pt x="264" y="72"/>
                    <a:pt x="264" y="72"/>
                  </a:cubicBezTo>
                  <a:cubicBezTo>
                    <a:pt x="262" y="72"/>
                    <a:pt x="262" y="72"/>
                    <a:pt x="262" y="72"/>
                  </a:cubicBezTo>
                  <a:cubicBezTo>
                    <a:pt x="260" y="72"/>
                    <a:pt x="260" y="72"/>
                    <a:pt x="260" y="72"/>
                  </a:cubicBezTo>
                  <a:cubicBezTo>
                    <a:pt x="258" y="72"/>
                    <a:pt x="258" y="72"/>
                    <a:pt x="258" y="72"/>
                  </a:cubicBezTo>
                  <a:cubicBezTo>
                    <a:pt x="258" y="72"/>
                    <a:pt x="255" y="72"/>
                    <a:pt x="255" y="73"/>
                  </a:cubicBezTo>
                  <a:cubicBezTo>
                    <a:pt x="255" y="73"/>
                    <a:pt x="253" y="73"/>
                    <a:pt x="253" y="73"/>
                  </a:cubicBezTo>
                  <a:cubicBezTo>
                    <a:pt x="253" y="73"/>
                    <a:pt x="249" y="71"/>
                    <a:pt x="249" y="71"/>
                  </a:cubicBezTo>
                  <a:cubicBezTo>
                    <a:pt x="249" y="71"/>
                    <a:pt x="249" y="69"/>
                    <a:pt x="249" y="69"/>
                  </a:cubicBezTo>
                  <a:cubicBezTo>
                    <a:pt x="249" y="69"/>
                    <a:pt x="248" y="68"/>
                    <a:pt x="248" y="68"/>
                  </a:cubicBezTo>
                  <a:cubicBezTo>
                    <a:pt x="248" y="68"/>
                    <a:pt x="247" y="68"/>
                    <a:pt x="247" y="68"/>
                  </a:cubicBezTo>
                  <a:cubicBezTo>
                    <a:pt x="247" y="68"/>
                    <a:pt x="246" y="67"/>
                    <a:pt x="246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30" y="67"/>
                    <a:pt x="230" y="67"/>
                    <a:pt x="230" y="67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5" y="68"/>
                    <a:pt x="225" y="68"/>
                    <a:pt x="225" y="68"/>
                  </a:cubicBezTo>
                  <a:cubicBezTo>
                    <a:pt x="223" y="68"/>
                    <a:pt x="223" y="68"/>
                    <a:pt x="223" y="68"/>
                  </a:cubicBezTo>
                  <a:cubicBezTo>
                    <a:pt x="223" y="68"/>
                    <a:pt x="223" y="67"/>
                    <a:pt x="223" y="67"/>
                  </a:cubicBezTo>
                  <a:cubicBezTo>
                    <a:pt x="223" y="67"/>
                    <a:pt x="222" y="66"/>
                    <a:pt x="222" y="66"/>
                  </a:cubicBezTo>
                  <a:cubicBezTo>
                    <a:pt x="222" y="65"/>
                    <a:pt x="222" y="65"/>
                    <a:pt x="222" y="65"/>
                  </a:cubicBezTo>
                  <a:cubicBezTo>
                    <a:pt x="222" y="64"/>
                    <a:pt x="222" y="64"/>
                    <a:pt x="222" y="64"/>
                  </a:cubicBezTo>
                  <a:cubicBezTo>
                    <a:pt x="222" y="64"/>
                    <a:pt x="222" y="64"/>
                    <a:pt x="222" y="64"/>
                  </a:cubicBezTo>
                  <a:cubicBezTo>
                    <a:pt x="220" y="64"/>
                    <a:pt x="220" y="64"/>
                    <a:pt x="220" y="64"/>
                  </a:cubicBezTo>
                  <a:cubicBezTo>
                    <a:pt x="220" y="60"/>
                    <a:pt x="220" y="60"/>
                    <a:pt x="220" y="60"/>
                  </a:cubicBezTo>
                  <a:cubicBezTo>
                    <a:pt x="218" y="60"/>
                    <a:pt x="218" y="60"/>
                    <a:pt x="218" y="60"/>
                  </a:cubicBezTo>
                  <a:cubicBezTo>
                    <a:pt x="209" y="65"/>
                    <a:pt x="209" y="65"/>
                    <a:pt x="209" y="65"/>
                  </a:cubicBezTo>
                  <a:cubicBezTo>
                    <a:pt x="206" y="68"/>
                    <a:pt x="206" y="68"/>
                    <a:pt x="206" y="68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5" y="70"/>
                    <a:pt x="195" y="70"/>
                    <a:pt x="195" y="70"/>
                  </a:cubicBezTo>
                  <a:cubicBezTo>
                    <a:pt x="195" y="67"/>
                    <a:pt x="195" y="67"/>
                    <a:pt x="195" y="67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2" y="67"/>
                    <a:pt x="192" y="67"/>
                    <a:pt x="192" y="67"/>
                  </a:cubicBezTo>
                  <a:cubicBezTo>
                    <a:pt x="191" y="66"/>
                    <a:pt x="191" y="66"/>
                    <a:pt x="191" y="66"/>
                  </a:cubicBezTo>
                  <a:cubicBezTo>
                    <a:pt x="190" y="66"/>
                    <a:pt x="190" y="66"/>
                    <a:pt x="190" y="66"/>
                  </a:cubicBezTo>
                  <a:cubicBezTo>
                    <a:pt x="190" y="62"/>
                    <a:pt x="190" y="62"/>
                    <a:pt x="190" y="62"/>
                  </a:cubicBezTo>
                  <a:cubicBezTo>
                    <a:pt x="185" y="62"/>
                    <a:pt x="185" y="62"/>
                    <a:pt x="185" y="62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1" y="61"/>
                    <a:pt x="181" y="61"/>
                    <a:pt x="181" y="61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0" y="59"/>
                    <a:pt x="180" y="59"/>
                    <a:pt x="180" y="59"/>
                  </a:cubicBezTo>
                  <a:cubicBezTo>
                    <a:pt x="180" y="56"/>
                    <a:pt x="180" y="56"/>
                    <a:pt x="180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1" y="54"/>
                    <a:pt x="171" y="54"/>
                    <a:pt x="171" y="54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69" y="56"/>
                    <a:pt x="170" y="57"/>
                    <a:pt x="170" y="58"/>
                  </a:cubicBezTo>
                  <a:cubicBezTo>
                    <a:pt x="170" y="58"/>
                    <a:pt x="171" y="60"/>
                    <a:pt x="171" y="60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5"/>
                    <a:pt x="164" y="53"/>
                    <a:pt x="164" y="52"/>
                  </a:cubicBezTo>
                  <a:cubicBezTo>
                    <a:pt x="164" y="52"/>
                    <a:pt x="164" y="51"/>
                    <a:pt x="164" y="51"/>
                  </a:cubicBezTo>
                  <a:cubicBezTo>
                    <a:pt x="164" y="51"/>
                    <a:pt x="163" y="50"/>
                    <a:pt x="163" y="50"/>
                  </a:cubicBezTo>
                  <a:cubicBezTo>
                    <a:pt x="163" y="49"/>
                    <a:pt x="157" y="50"/>
                    <a:pt x="157" y="50"/>
                  </a:cubicBezTo>
                  <a:cubicBezTo>
                    <a:pt x="157" y="50"/>
                    <a:pt x="155" y="49"/>
                    <a:pt x="155" y="48"/>
                  </a:cubicBezTo>
                  <a:cubicBezTo>
                    <a:pt x="155" y="48"/>
                    <a:pt x="156" y="47"/>
                    <a:pt x="156" y="4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58" y="45"/>
                    <a:pt x="158" y="45"/>
                    <a:pt x="158" y="45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47" y="41"/>
                    <a:pt x="147" y="41"/>
                    <a:pt x="147" y="41"/>
                  </a:cubicBezTo>
                  <a:cubicBezTo>
                    <a:pt x="147" y="40"/>
                    <a:pt x="147" y="40"/>
                    <a:pt x="147" y="40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0" y="36"/>
                    <a:pt x="98" y="36"/>
                    <a:pt x="98" y="36"/>
                  </a:cubicBezTo>
                  <a:cubicBezTo>
                    <a:pt x="98" y="36"/>
                    <a:pt x="96" y="37"/>
                    <a:pt x="96" y="37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1"/>
                    <a:pt x="77" y="1"/>
                    <a:pt x="77" y="1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3"/>
                    <a:pt x="0" y="24"/>
                  </a:cubicBezTo>
                  <a:cubicBezTo>
                    <a:pt x="0" y="26"/>
                    <a:pt x="1" y="27"/>
                    <a:pt x="1" y="28"/>
                  </a:cubicBezTo>
                  <a:cubicBezTo>
                    <a:pt x="1" y="29"/>
                    <a:pt x="3" y="34"/>
                    <a:pt x="3" y="34"/>
                  </a:cubicBezTo>
                  <a:cubicBezTo>
                    <a:pt x="3" y="35"/>
                    <a:pt x="4" y="36"/>
                    <a:pt x="3" y="38"/>
                  </a:cubicBezTo>
                  <a:cubicBezTo>
                    <a:pt x="3" y="40"/>
                    <a:pt x="3" y="40"/>
                    <a:pt x="3" y="41"/>
                  </a:cubicBezTo>
                  <a:cubicBezTo>
                    <a:pt x="2" y="41"/>
                    <a:pt x="2" y="43"/>
                    <a:pt x="2" y="44"/>
                  </a:cubicBezTo>
                  <a:cubicBezTo>
                    <a:pt x="2" y="45"/>
                    <a:pt x="2" y="44"/>
                    <a:pt x="3" y="45"/>
                  </a:cubicBezTo>
                  <a:cubicBezTo>
                    <a:pt x="3" y="45"/>
                    <a:pt x="3" y="46"/>
                    <a:pt x="2" y="47"/>
                  </a:cubicBezTo>
                  <a:cubicBezTo>
                    <a:pt x="2" y="47"/>
                    <a:pt x="2" y="48"/>
                    <a:pt x="2" y="48"/>
                  </a:cubicBezTo>
                  <a:cubicBezTo>
                    <a:pt x="2" y="48"/>
                    <a:pt x="3" y="49"/>
                    <a:pt x="3" y="50"/>
                  </a:cubicBezTo>
                  <a:cubicBezTo>
                    <a:pt x="3" y="50"/>
                    <a:pt x="2" y="52"/>
                    <a:pt x="2" y="53"/>
                  </a:cubicBezTo>
                  <a:cubicBezTo>
                    <a:pt x="2" y="54"/>
                    <a:pt x="3" y="55"/>
                    <a:pt x="3" y="56"/>
                  </a:cubicBezTo>
                  <a:cubicBezTo>
                    <a:pt x="3" y="57"/>
                    <a:pt x="3" y="58"/>
                    <a:pt x="3" y="60"/>
                  </a:cubicBezTo>
                  <a:cubicBezTo>
                    <a:pt x="3" y="61"/>
                    <a:pt x="3" y="65"/>
                    <a:pt x="3" y="67"/>
                  </a:cubicBezTo>
                  <a:cubicBezTo>
                    <a:pt x="3" y="69"/>
                    <a:pt x="4" y="70"/>
                    <a:pt x="5" y="72"/>
                  </a:cubicBezTo>
                  <a:cubicBezTo>
                    <a:pt x="5" y="73"/>
                    <a:pt x="7" y="80"/>
                    <a:pt x="8" y="82"/>
                  </a:cubicBezTo>
                  <a:cubicBezTo>
                    <a:pt x="8" y="84"/>
                    <a:pt x="11" y="87"/>
                    <a:pt x="11" y="89"/>
                  </a:cubicBezTo>
                  <a:cubicBezTo>
                    <a:pt x="12" y="91"/>
                    <a:pt x="12" y="94"/>
                    <a:pt x="12" y="95"/>
                  </a:cubicBezTo>
                  <a:cubicBezTo>
                    <a:pt x="13" y="97"/>
                    <a:pt x="13" y="103"/>
                    <a:pt x="13" y="104"/>
                  </a:cubicBezTo>
                  <a:cubicBezTo>
                    <a:pt x="13" y="106"/>
                    <a:pt x="13" y="109"/>
                    <a:pt x="13" y="110"/>
                  </a:cubicBezTo>
                  <a:cubicBezTo>
                    <a:pt x="13" y="112"/>
                    <a:pt x="13" y="120"/>
                    <a:pt x="13" y="122"/>
                  </a:cubicBezTo>
                  <a:cubicBezTo>
                    <a:pt x="14" y="124"/>
                    <a:pt x="14" y="125"/>
                    <a:pt x="15" y="126"/>
                  </a:cubicBezTo>
                  <a:cubicBezTo>
                    <a:pt x="15" y="127"/>
                    <a:pt x="16" y="128"/>
                    <a:pt x="16" y="129"/>
                  </a:cubicBezTo>
                  <a:cubicBezTo>
                    <a:pt x="16" y="130"/>
                    <a:pt x="16" y="131"/>
                    <a:pt x="16" y="131"/>
                  </a:cubicBezTo>
                  <a:cubicBezTo>
                    <a:pt x="16" y="132"/>
                    <a:pt x="15" y="138"/>
                    <a:pt x="15" y="139"/>
                  </a:cubicBezTo>
                  <a:cubicBezTo>
                    <a:pt x="15" y="141"/>
                    <a:pt x="15" y="142"/>
                    <a:pt x="15" y="143"/>
                  </a:cubicBezTo>
                  <a:cubicBezTo>
                    <a:pt x="15" y="144"/>
                    <a:pt x="16" y="146"/>
                    <a:pt x="16" y="147"/>
                  </a:cubicBezTo>
                  <a:cubicBezTo>
                    <a:pt x="16" y="148"/>
                    <a:pt x="17" y="150"/>
                    <a:pt x="17" y="151"/>
                  </a:cubicBezTo>
                  <a:cubicBezTo>
                    <a:pt x="18" y="152"/>
                    <a:pt x="19" y="154"/>
                    <a:pt x="20" y="154"/>
                  </a:cubicBezTo>
                  <a:cubicBezTo>
                    <a:pt x="20" y="155"/>
                    <a:pt x="21" y="159"/>
                    <a:pt x="22" y="159"/>
                  </a:cubicBezTo>
                  <a:cubicBezTo>
                    <a:pt x="22" y="160"/>
                    <a:pt x="22" y="176"/>
                    <a:pt x="22" y="176"/>
                  </a:cubicBezTo>
                  <a:cubicBezTo>
                    <a:pt x="22" y="176"/>
                    <a:pt x="23" y="182"/>
                    <a:pt x="22" y="182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649D0748-6B6B-4D6D-BF58-DA3E6DFE9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0786" y="1436441"/>
              <a:ext cx="1093759" cy="1249067"/>
            </a:xfrm>
            <a:custGeom>
              <a:avLst/>
              <a:gdLst>
                <a:gd name="T0" fmla="*/ 63 w 276"/>
                <a:gd name="T1" fmla="*/ 5 h 315"/>
                <a:gd name="T2" fmla="*/ 45 w 276"/>
                <a:gd name="T3" fmla="*/ 17 h 315"/>
                <a:gd name="T4" fmla="*/ 129 w 276"/>
                <a:gd name="T5" fmla="*/ 83 h 315"/>
                <a:gd name="T6" fmla="*/ 167 w 276"/>
                <a:gd name="T7" fmla="*/ 123 h 315"/>
                <a:gd name="T8" fmla="*/ 154 w 276"/>
                <a:gd name="T9" fmla="*/ 155 h 315"/>
                <a:gd name="T10" fmla="*/ 208 w 276"/>
                <a:gd name="T11" fmla="*/ 121 h 315"/>
                <a:gd name="T12" fmla="*/ 208 w 276"/>
                <a:gd name="T13" fmla="*/ 122 h 315"/>
                <a:gd name="T14" fmla="*/ 239 w 276"/>
                <a:gd name="T15" fmla="*/ 111 h 315"/>
                <a:gd name="T16" fmla="*/ 232 w 276"/>
                <a:gd name="T17" fmla="*/ 107 h 315"/>
                <a:gd name="T18" fmla="*/ 7 w 276"/>
                <a:gd name="T19" fmla="*/ 84 h 315"/>
                <a:gd name="T20" fmla="*/ 72 w 276"/>
                <a:gd name="T21" fmla="*/ 111 h 315"/>
                <a:gd name="T22" fmla="*/ 90 w 276"/>
                <a:gd name="T23" fmla="*/ 126 h 315"/>
                <a:gd name="T24" fmla="*/ 95 w 276"/>
                <a:gd name="T25" fmla="*/ 139 h 315"/>
                <a:gd name="T26" fmla="*/ 110 w 276"/>
                <a:gd name="T27" fmla="*/ 130 h 315"/>
                <a:gd name="T28" fmla="*/ 118 w 276"/>
                <a:gd name="T29" fmla="*/ 116 h 315"/>
                <a:gd name="T30" fmla="*/ 124 w 276"/>
                <a:gd name="T31" fmla="*/ 121 h 315"/>
                <a:gd name="T32" fmla="*/ 128 w 276"/>
                <a:gd name="T33" fmla="*/ 126 h 315"/>
                <a:gd name="T34" fmla="*/ 145 w 276"/>
                <a:gd name="T35" fmla="*/ 112 h 315"/>
                <a:gd name="T36" fmla="*/ 169 w 276"/>
                <a:gd name="T37" fmla="*/ 105 h 315"/>
                <a:gd name="T38" fmla="*/ 192 w 276"/>
                <a:gd name="T39" fmla="*/ 114 h 315"/>
                <a:gd name="T40" fmla="*/ 204 w 276"/>
                <a:gd name="T41" fmla="*/ 109 h 315"/>
                <a:gd name="T42" fmla="*/ 222 w 276"/>
                <a:gd name="T43" fmla="*/ 108 h 315"/>
                <a:gd name="T44" fmla="*/ 214 w 276"/>
                <a:gd name="T45" fmla="*/ 97 h 315"/>
                <a:gd name="T46" fmla="*/ 212 w 276"/>
                <a:gd name="T47" fmla="*/ 88 h 315"/>
                <a:gd name="T48" fmla="*/ 211 w 276"/>
                <a:gd name="T49" fmla="*/ 85 h 315"/>
                <a:gd name="T50" fmla="*/ 194 w 276"/>
                <a:gd name="T51" fmla="*/ 86 h 315"/>
                <a:gd name="T52" fmla="*/ 186 w 276"/>
                <a:gd name="T53" fmla="*/ 71 h 315"/>
                <a:gd name="T54" fmla="*/ 140 w 276"/>
                <a:gd name="T55" fmla="*/ 80 h 315"/>
                <a:gd name="T56" fmla="*/ 119 w 276"/>
                <a:gd name="T57" fmla="*/ 84 h 315"/>
                <a:gd name="T58" fmla="*/ 98 w 276"/>
                <a:gd name="T59" fmla="*/ 72 h 315"/>
                <a:gd name="T60" fmla="*/ 82 w 276"/>
                <a:gd name="T61" fmla="*/ 64 h 315"/>
                <a:gd name="T62" fmla="*/ 67 w 276"/>
                <a:gd name="T63" fmla="*/ 69 h 315"/>
                <a:gd name="T64" fmla="*/ 91 w 276"/>
                <a:gd name="T65" fmla="*/ 39 h 315"/>
                <a:gd name="T66" fmla="*/ 63 w 276"/>
                <a:gd name="T67" fmla="*/ 46 h 315"/>
                <a:gd name="T68" fmla="*/ 45 w 276"/>
                <a:gd name="T69" fmla="*/ 60 h 315"/>
                <a:gd name="T70" fmla="*/ 0 w 276"/>
                <a:gd name="T71" fmla="*/ 80 h 315"/>
                <a:gd name="T72" fmla="*/ 254 w 276"/>
                <a:gd name="T73" fmla="*/ 286 h 315"/>
                <a:gd name="T74" fmla="*/ 267 w 276"/>
                <a:gd name="T75" fmla="*/ 270 h 315"/>
                <a:gd name="T76" fmla="*/ 272 w 276"/>
                <a:gd name="T77" fmla="*/ 238 h 315"/>
                <a:gd name="T78" fmla="*/ 265 w 276"/>
                <a:gd name="T79" fmla="*/ 207 h 315"/>
                <a:gd name="T80" fmla="*/ 245 w 276"/>
                <a:gd name="T81" fmla="*/ 211 h 315"/>
                <a:gd name="T82" fmla="*/ 236 w 276"/>
                <a:gd name="T83" fmla="*/ 223 h 315"/>
                <a:gd name="T84" fmla="*/ 225 w 276"/>
                <a:gd name="T85" fmla="*/ 212 h 315"/>
                <a:gd name="T86" fmla="*/ 239 w 276"/>
                <a:gd name="T87" fmla="*/ 194 h 315"/>
                <a:gd name="T88" fmla="*/ 247 w 276"/>
                <a:gd name="T89" fmla="*/ 171 h 315"/>
                <a:gd name="T90" fmla="*/ 244 w 276"/>
                <a:gd name="T91" fmla="*/ 155 h 315"/>
                <a:gd name="T92" fmla="*/ 242 w 276"/>
                <a:gd name="T93" fmla="*/ 143 h 315"/>
                <a:gd name="T94" fmla="*/ 212 w 276"/>
                <a:gd name="T95" fmla="*/ 127 h 315"/>
                <a:gd name="T96" fmla="*/ 197 w 276"/>
                <a:gd name="T97" fmla="*/ 121 h 315"/>
                <a:gd name="T98" fmla="*/ 185 w 276"/>
                <a:gd name="T99" fmla="*/ 128 h 315"/>
                <a:gd name="T100" fmla="*/ 183 w 276"/>
                <a:gd name="T101" fmla="*/ 141 h 315"/>
                <a:gd name="T102" fmla="*/ 173 w 276"/>
                <a:gd name="T103" fmla="*/ 158 h 315"/>
                <a:gd name="T104" fmla="*/ 169 w 276"/>
                <a:gd name="T105" fmla="*/ 166 h 315"/>
                <a:gd name="T106" fmla="*/ 165 w 276"/>
                <a:gd name="T107" fmla="*/ 167 h 315"/>
                <a:gd name="T108" fmla="*/ 166 w 276"/>
                <a:gd name="T109" fmla="*/ 153 h 315"/>
                <a:gd name="T110" fmla="*/ 157 w 276"/>
                <a:gd name="T111" fmla="*/ 160 h 315"/>
                <a:gd name="T112" fmla="*/ 145 w 276"/>
                <a:gd name="T113" fmla="*/ 173 h 315"/>
                <a:gd name="T114" fmla="*/ 142 w 276"/>
                <a:gd name="T115" fmla="*/ 193 h 315"/>
                <a:gd name="T116" fmla="*/ 137 w 276"/>
                <a:gd name="T117" fmla="*/ 211 h 315"/>
                <a:gd name="T118" fmla="*/ 142 w 276"/>
                <a:gd name="T119" fmla="*/ 245 h 315"/>
                <a:gd name="T120" fmla="*/ 141 w 276"/>
                <a:gd name="T121" fmla="*/ 286 h 315"/>
                <a:gd name="T122" fmla="*/ 125 w 276"/>
                <a:gd name="T123" fmla="*/ 31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6" h="315">
                  <a:moveTo>
                    <a:pt x="41" y="15"/>
                  </a:moveTo>
                  <a:cubicBezTo>
                    <a:pt x="42" y="14"/>
                    <a:pt x="43" y="13"/>
                    <a:pt x="43" y="12"/>
                  </a:cubicBezTo>
                  <a:cubicBezTo>
                    <a:pt x="44" y="10"/>
                    <a:pt x="46" y="9"/>
                    <a:pt x="47" y="9"/>
                  </a:cubicBezTo>
                  <a:cubicBezTo>
                    <a:pt x="49" y="8"/>
                    <a:pt x="50" y="7"/>
                    <a:pt x="52" y="7"/>
                  </a:cubicBezTo>
                  <a:cubicBezTo>
                    <a:pt x="54" y="6"/>
                    <a:pt x="55" y="5"/>
                    <a:pt x="57" y="4"/>
                  </a:cubicBezTo>
                  <a:cubicBezTo>
                    <a:pt x="57" y="4"/>
                    <a:pt x="58" y="3"/>
                    <a:pt x="59" y="3"/>
                  </a:cubicBezTo>
                  <a:cubicBezTo>
                    <a:pt x="59" y="2"/>
                    <a:pt x="60" y="1"/>
                    <a:pt x="61" y="1"/>
                  </a:cubicBezTo>
                  <a:cubicBezTo>
                    <a:pt x="62" y="1"/>
                    <a:pt x="62" y="1"/>
                    <a:pt x="63" y="0"/>
                  </a:cubicBezTo>
                  <a:cubicBezTo>
                    <a:pt x="64" y="0"/>
                    <a:pt x="64" y="0"/>
                    <a:pt x="65" y="0"/>
                  </a:cubicBezTo>
                  <a:cubicBezTo>
                    <a:pt x="65" y="0"/>
                    <a:pt x="66" y="0"/>
                    <a:pt x="66" y="0"/>
                  </a:cubicBezTo>
                  <a:cubicBezTo>
                    <a:pt x="66" y="1"/>
                    <a:pt x="64" y="2"/>
                    <a:pt x="63" y="2"/>
                  </a:cubicBezTo>
                  <a:cubicBezTo>
                    <a:pt x="63" y="2"/>
                    <a:pt x="62" y="3"/>
                    <a:pt x="62" y="3"/>
                  </a:cubicBezTo>
                  <a:cubicBezTo>
                    <a:pt x="62" y="4"/>
                    <a:pt x="63" y="4"/>
                    <a:pt x="63" y="5"/>
                  </a:cubicBezTo>
                  <a:cubicBezTo>
                    <a:pt x="63" y="5"/>
                    <a:pt x="63" y="6"/>
                    <a:pt x="62" y="6"/>
                  </a:cubicBezTo>
                  <a:cubicBezTo>
                    <a:pt x="62" y="6"/>
                    <a:pt x="61" y="7"/>
                    <a:pt x="61" y="7"/>
                  </a:cubicBezTo>
                  <a:cubicBezTo>
                    <a:pt x="60" y="8"/>
                    <a:pt x="59" y="8"/>
                    <a:pt x="59" y="8"/>
                  </a:cubicBezTo>
                  <a:cubicBezTo>
                    <a:pt x="58" y="8"/>
                    <a:pt x="58" y="8"/>
                    <a:pt x="57" y="8"/>
                  </a:cubicBezTo>
                  <a:cubicBezTo>
                    <a:pt x="57" y="8"/>
                    <a:pt x="56" y="9"/>
                    <a:pt x="56" y="9"/>
                  </a:cubicBezTo>
                  <a:cubicBezTo>
                    <a:pt x="55" y="9"/>
                    <a:pt x="54" y="9"/>
                    <a:pt x="53" y="10"/>
                  </a:cubicBezTo>
                  <a:cubicBezTo>
                    <a:pt x="52" y="10"/>
                    <a:pt x="52" y="11"/>
                    <a:pt x="51" y="11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2" y="13"/>
                    <a:pt x="51" y="14"/>
                    <a:pt x="51" y="14"/>
                  </a:cubicBezTo>
                  <a:cubicBezTo>
                    <a:pt x="50" y="14"/>
                    <a:pt x="48" y="15"/>
                    <a:pt x="47" y="15"/>
                  </a:cubicBezTo>
                  <a:cubicBezTo>
                    <a:pt x="47" y="15"/>
                    <a:pt x="46" y="16"/>
                    <a:pt x="46" y="16"/>
                  </a:cubicBezTo>
                  <a:cubicBezTo>
                    <a:pt x="46" y="16"/>
                    <a:pt x="46" y="16"/>
                    <a:pt x="45" y="17"/>
                  </a:cubicBezTo>
                  <a:cubicBezTo>
                    <a:pt x="45" y="17"/>
                    <a:pt x="44" y="17"/>
                    <a:pt x="44" y="17"/>
                  </a:cubicBezTo>
                  <a:cubicBezTo>
                    <a:pt x="44" y="17"/>
                    <a:pt x="44" y="17"/>
                    <a:pt x="43" y="16"/>
                  </a:cubicBezTo>
                  <a:cubicBezTo>
                    <a:pt x="43" y="16"/>
                    <a:pt x="42" y="16"/>
                    <a:pt x="41" y="16"/>
                  </a:cubicBezTo>
                  <a:cubicBezTo>
                    <a:pt x="41" y="16"/>
                    <a:pt x="41" y="16"/>
                    <a:pt x="41" y="15"/>
                  </a:cubicBezTo>
                  <a:close/>
                  <a:moveTo>
                    <a:pt x="129" y="84"/>
                  </a:moveTo>
                  <a:cubicBezTo>
                    <a:pt x="129" y="84"/>
                    <a:pt x="129" y="85"/>
                    <a:pt x="129" y="85"/>
                  </a:cubicBezTo>
                  <a:cubicBezTo>
                    <a:pt x="130" y="85"/>
                    <a:pt x="130" y="85"/>
                    <a:pt x="130" y="84"/>
                  </a:cubicBezTo>
                  <a:cubicBezTo>
                    <a:pt x="130" y="84"/>
                    <a:pt x="130" y="84"/>
                    <a:pt x="130" y="83"/>
                  </a:cubicBezTo>
                  <a:cubicBezTo>
                    <a:pt x="130" y="83"/>
                    <a:pt x="130" y="83"/>
                    <a:pt x="130" y="82"/>
                  </a:cubicBezTo>
                  <a:cubicBezTo>
                    <a:pt x="130" y="81"/>
                    <a:pt x="130" y="81"/>
                    <a:pt x="129" y="81"/>
                  </a:cubicBezTo>
                  <a:cubicBezTo>
                    <a:pt x="129" y="82"/>
                    <a:pt x="128" y="81"/>
                    <a:pt x="128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4"/>
                  </a:cubicBezTo>
                  <a:cubicBezTo>
                    <a:pt x="129" y="84"/>
                    <a:pt x="129" y="84"/>
                    <a:pt x="129" y="84"/>
                  </a:cubicBezTo>
                  <a:close/>
                  <a:moveTo>
                    <a:pt x="166" y="130"/>
                  </a:moveTo>
                  <a:cubicBezTo>
                    <a:pt x="167" y="130"/>
                    <a:pt x="167" y="130"/>
                    <a:pt x="168" y="130"/>
                  </a:cubicBezTo>
                  <a:cubicBezTo>
                    <a:pt x="168" y="129"/>
                    <a:pt x="168" y="129"/>
                    <a:pt x="169" y="129"/>
                  </a:cubicBezTo>
                  <a:cubicBezTo>
                    <a:pt x="169" y="129"/>
                    <a:pt x="170" y="129"/>
                    <a:pt x="170" y="129"/>
                  </a:cubicBezTo>
                  <a:cubicBezTo>
                    <a:pt x="170" y="128"/>
                    <a:pt x="170" y="128"/>
                    <a:pt x="170" y="128"/>
                  </a:cubicBezTo>
                  <a:cubicBezTo>
                    <a:pt x="170" y="127"/>
                    <a:pt x="170" y="126"/>
                    <a:pt x="170" y="126"/>
                  </a:cubicBezTo>
                  <a:cubicBezTo>
                    <a:pt x="170" y="125"/>
                    <a:pt x="170" y="125"/>
                    <a:pt x="170" y="125"/>
                  </a:cubicBezTo>
                  <a:cubicBezTo>
                    <a:pt x="170" y="124"/>
                    <a:pt x="170" y="123"/>
                    <a:pt x="169" y="122"/>
                  </a:cubicBezTo>
                  <a:cubicBezTo>
                    <a:pt x="169" y="122"/>
                    <a:pt x="168" y="121"/>
                    <a:pt x="168" y="121"/>
                  </a:cubicBezTo>
                  <a:cubicBezTo>
                    <a:pt x="167" y="122"/>
                    <a:pt x="167" y="122"/>
                    <a:pt x="167" y="123"/>
                  </a:cubicBezTo>
                  <a:cubicBezTo>
                    <a:pt x="167" y="123"/>
                    <a:pt x="167" y="124"/>
                    <a:pt x="167" y="124"/>
                  </a:cubicBezTo>
                  <a:cubicBezTo>
                    <a:pt x="167" y="125"/>
                    <a:pt x="167" y="125"/>
                    <a:pt x="167" y="126"/>
                  </a:cubicBezTo>
                  <a:cubicBezTo>
                    <a:pt x="166" y="126"/>
                    <a:pt x="166" y="127"/>
                    <a:pt x="166" y="127"/>
                  </a:cubicBezTo>
                  <a:cubicBezTo>
                    <a:pt x="165" y="128"/>
                    <a:pt x="166" y="128"/>
                    <a:pt x="166" y="129"/>
                  </a:cubicBezTo>
                  <a:cubicBezTo>
                    <a:pt x="166" y="129"/>
                    <a:pt x="166" y="129"/>
                    <a:pt x="166" y="130"/>
                  </a:cubicBezTo>
                  <a:close/>
                  <a:moveTo>
                    <a:pt x="151" y="154"/>
                  </a:moveTo>
                  <a:cubicBezTo>
                    <a:pt x="151" y="154"/>
                    <a:pt x="151" y="154"/>
                    <a:pt x="151" y="154"/>
                  </a:cubicBezTo>
                  <a:cubicBezTo>
                    <a:pt x="151" y="154"/>
                    <a:pt x="151" y="154"/>
                    <a:pt x="151" y="154"/>
                  </a:cubicBezTo>
                  <a:cubicBezTo>
                    <a:pt x="152" y="154"/>
                    <a:pt x="151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3"/>
                    <a:pt x="154" y="153"/>
                    <a:pt x="154" y="152"/>
                  </a:cubicBezTo>
                  <a:cubicBezTo>
                    <a:pt x="154" y="152"/>
                    <a:pt x="154" y="152"/>
                    <a:pt x="153" y="152"/>
                  </a:cubicBezTo>
                  <a:cubicBezTo>
                    <a:pt x="153" y="151"/>
                    <a:pt x="153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0" y="151"/>
                    <a:pt x="150" y="152"/>
                    <a:pt x="150" y="152"/>
                  </a:cubicBezTo>
                  <a:cubicBezTo>
                    <a:pt x="150" y="152"/>
                    <a:pt x="150" y="153"/>
                    <a:pt x="151" y="153"/>
                  </a:cubicBezTo>
                  <a:cubicBezTo>
                    <a:pt x="151" y="153"/>
                    <a:pt x="151" y="153"/>
                    <a:pt x="151" y="154"/>
                  </a:cubicBezTo>
                  <a:close/>
                  <a:moveTo>
                    <a:pt x="208" y="121"/>
                  </a:moveTo>
                  <a:cubicBezTo>
                    <a:pt x="208" y="121"/>
                    <a:pt x="208" y="120"/>
                    <a:pt x="208" y="120"/>
                  </a:cubicBezTo>
                  <a:cubicBezTo>
                    <a:pt x="207" y="120"/>
                    <a:pt x="207" y="120"/>
                    <a:pt x="207" y="119"/>
                  </a:cubicBezTo>
                  <a:cubicBezTo>
                    <a:pt x="207" y="119"/>
                    <a:pt x="207" y="119"/>
                    <a:pt x="206" y="119"/>
                  </a:cubicBezTo>
                  <a:cubicBezTo>
                    <a:pt x="206" y="119"/>
                    <a:pt x="206" y="119"/>
                    <a:pt x="205" y="119"/>
                  </a:cubicBezTo>
                  <a:cubicBezTo>
                    <a:pt x="205" y="119"/>
                    <a:pt x="204" y="119"/>
                    <a:pt x="203" y="119"/>
                  </a:cubicBezTo>
                  <a:cubicBezTo>
                    <a:pt x="203" y="119"/>
                    <a:pt x="203" y="118"/>
                    <a:pt x="203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1" y="118"/>
                    <a:pt x="202" y="119"/>
                    <a:pt x="203" y="120"/>
                  </a:cubicBezTo>
                  <a:cubicBezTo>
                    <a:pt x="203" y="120"/>
                    <a:pt x="203" y="120"/>
                    <a:pt x="204" y="121"/>
                  </a:cubicBezTo>
                  <a:cubicBezTo>
                    <a:pt x="204" y="121"/>
                    <a:pt x="204" y="122"/>
                    <a:pt x="204" y="122"/>
                  </a:cubicBezTo>
                  <a:cubicBezTo>
                    <a:pt x="204" y="123"/>
                    <a:pt x="205" y="123"/>
                    <a:pt x="205" y="123"/>
                  </a:cubicBezTo>
                  <a:cubicBezTo>
                    <a:pt x="206" y="122"/>
                    <a:pt x="206" y="122"/>
                    <a:pt x="206" y="122"/>
                  </a:cubicBezTo>
                  <a:cubicBezTo>
                    <a:pt x="207" y="122"/>
                    <a:pt x="207" y="122"/>
                    <a:pt x="208" y="122"/>
                  </a:cubicBezTo>
                  <a:cubicBezTo>
                    <a:pt x="208" y="121"/>
                    <a:pt x="208" y="121"/>
                    <a:pt x="208" y="121"/>
                  </a:cubicBezTo>
                  <a:close/>
                  <a:moveTo>
                    <a:pt x="229" y="112"/>
                  </a:moveTo>
                  <a:cubicBezTo>
                    <a:pt x="229" y="112"/>
                    <a:pt x="229" y="112"/>
                    <a:pt x="230" y="112"/>
                  </a:cubicBezTo>
                  <a:cubicBezTo>
                    <a:pt x="230" y="112"/>
                    <a:pt x="230" y="112"/>
                    <a:pt x="230" y="112"/>
                  </a:cubicBezTo>
                  <a:cubicBezTo>
                    <a:pt x="230" y="113"/>
                    <a:pt x="231" y="113"/>
                    <a:pt x="231" y="113"/>
                  </a:cubicBezTo>
                  <a:cubicBezTo>
                    <a:pt x="232" y="112"/>
                    <a:pt x="232" y="112"/>
                    <a:pt x="232" y="112"/>
                  </a:cubicBezTo>
                  <a:cubicBezTo>
                    <a:pt x="233" y="112"/>
                    <a:pt x="233" y="112"/>
                    <a:pt x="233" y="112"/>
                  </a:cubicBezTo>
                  <a:cubicBezTo>
                    <a:pt x="234" y="112"/>
                    <a:pt x="234" y="112"/>
                    <a:pt x="234" y="112"/>
                  </a:cubicBezTo>
                  <a:cubicBezTo>
                    <a:pt x="235" y="112"/>
                    <a:pt x="235" y="112"/>
                    <a:pt x="235" y="112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36" y="113"/>
                    <a:pt x="237" y="113"/>
                    <a:pt x="237" y="112"/>
                  </a:cubicBezTo>
                  <a:cubicBezTo>
                    <a:pt x="238" y="112"/>
                    <a:pt x="238" y="112"/>
                    <a:pt x="238" y="112"/>
                  </a:cubicBezTo>
                  <a:cubicBezTo>
                    <a:pt x="238" y="111"/>
                    <a:pt x="239" y="111"/>
                    <a:pt x="239" y="111"/>
                  </a:cubicBezTo>
                  <a:cubicBezTo>
                    <a:pt x="240" y="110"/>
                    <a:pt x="239" y="110"/>
                    <a:pt x="238" y="109"/>
                  </a:cubicBezTo>
                  <a:cubicBezTo>
                    <a:pt x="238" y="109"/>
                    <a:pt x="238" y="109"/>
                    <a:pt x="238" y="108"/>
                  </a:cubicBezTo>
                  <a:cubicBezTo>
                    <a:pt x="238" y="108"/>
                    <a:pt x="237" y="108"/>
                    <a:pt x="237" y="107"/>
                  </a:cubicBezTo>
                  <a:cubicBezTo>
                    <a:pt x="237" y="107"/>
                    <a:pt x="236" y="107"/>
                    <a:pt x="236" y="106"/>
                  </a:cubicBezTo>
                  <a:cubicBezTo>
                    <a:pt x="236" y="106"/>
                    <a:pt x="236" y="106"/>
                    <a:pt x="236" y="105"/>
                  </a:cubicBezTo>
                  <a:cubicBezTo>
                    <a:pt x="236" y="105"/>
                    <a:pt x="236" y="105"/>
                    <a:pt x="235" y="105"/>
                  </a:cubicBezTo>
                  <a:cubicBezTo>
                    <a:pt x="235" y="105"/>
                    <a:pt x="235" y="105"/>
                    <a:pt x="234" y="105"/>
                  </a:cubicBezTo>
                  <a:cubicBezTo>
                    <a:pt x="233" y="105"/>
                    <a:pt x="233" y="104"/>
                    <a:pt x="232" y="105"/>
                  </a:cubicBezTo>
                  <a:cubicBezTo>
                    <a:pt x="232" y="105"/>
                    <a:pt x="231" y="105"/>
                    <a:pt x="231" y="105"/>
                  </a:cubicBezTo>
                  <a:cubicBezTo>
                    <a:pt x="231" y="105"/>
                    <a:pt x="231" y="105"/>
                    <a:pt x="231" y="105"/>
                  </a:cubicBezTo>
                  <a:cubicBezTo>
                    <a:pt x="232" y="106"/>
                    <a:pt x="232" y="106"/>
                    <a:pt x="233" y="106"/>
                  </a:cubicBezTo>
                  <a:cubicBezTo>
                    <a:pt x="233" y="106"/>
                    <a:pt x="234" y="106"/>
                    <a:pt x="233" y="107"/>
                  </a:cubicBezTo>
                  <a:cubicBezTo>
                    <a:pt x="233" y="107"/>
                    <a:pt x="232" y="107"/>
                    <a:pt x="232" y="107"/>
                  </a:cubicBezTo>
                  <a:cubicBezTo>
                    <a:pt x="231" y="107"/>
                    <a:pt x="231" y="107"/>
                    <a:pt x="231" y="108"/>
                  </a:cubicBezTo>
                  <a:cubicBezTo>
                    <a:pt x="231" y="108"/>
                    <a:pt x="230" y="108"/>
                    <a:pt x="230" y="109"/>
                  </a:cubicBezTo>
                  <a:cubicBezTo>
                    <a:pt x="230" y="109"/>
                    <a:pt x="229" y="109"/>
                    <a:pt x="229" y="109"/>
                  </a:cubicBezTo>
                  <a:cubicBezTo>
                    <a:pt x="229" y="110"/>
                    <a:pt x="228" y="110"/>
                    <a:pt x="228" y="110"/>
                  </a:cubicBezTo>
                  <a:cubicBezTo>
                    <a:pt x="227" y="109"/>
                    <a:pt x="227" y="109"/>
                    <a:pt x="227" y="109"/>
                  </a:cubicBezTo>
                  <a:cubicBezTo>
                    <a:pt x="226" y="109"/>
                    <a:pt x="227" y="110"/>
                    <a:pt x="227" y="110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111"/>
                    <a:pt x="227" y="112"/>
                    <a:pt x="227" y="112"/>
                  </a:cubicBezTo>
                  <a:cubicBezTo>
                    <a:pt x="228" y="112"/>
                    <a:pt x="228" y="112"/>
                    <a:pt x="229" y="112"/>
                  </a:cubicBezTo>
                  <a:close/>
                  <a:moveTo>
                    <a:pt x="3" y="82"/>
                  </a:moveTo>
                  <a:cubicBezTo>
                    <a:pt x="3" y="82"/>
                    <a:pt x="3" y="83"/>
                    <a:pt x="3" y="83"/>
                  </a:cubicBezTo>
                  <a:cubicBezTo>
                    <a:pt x="3" y="83"/>
                    <a:pt x="7" y="84"/>
                    <a:pt x="7" y="84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58" y="108"/>
                    <a:pt x="58" y="108"/>
                    <a:pt x="58" y="108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1" y="109"/>
                    <a:pt x="62" y="108"/>
                    <a:pt x="62" y="108"/>
                  </a:cubicBezTo>
                  <a:cubicBezTo>
                    <a:pt x="63" y="108"/>
                    <a:pt x="65" y="108"/>
                    <a:pt x="65" y="108"/>
                  </a:cubicBezTo>
                  <a:cubicBezTo>
                    <a:pt x="65" y="108"/>
                    <a:pt x="67" y="109"/>
                    <a:pt x="67" y="109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9" y="110"/>
                    <a:pt x="69" y="110"/>
                  </a:cubicBezTo>
                  <a:cubicBezTo>
                    <a:pt x="69" y="110"/>
                    <a:pt x="70" y="109"/>
                    <a:pt x="70" y="110"/>
                  </a:cubicBezTo>
                  <a:cubicBezTo>
                    <a:pt x="70" y="110"/>
                    <a:pt x="72" y="111"/>
                    <a:pt x="72" y="111"/>
                  </a:cubicBezTo>
                  <a:cubicBezTo>
                    <a:pt x="72" y="111"/>
                    <a:pt x="75" y="111"/>
                    <a:pt x="76" y="111"/>
                  </a:cubicBezTo>
                  <a:cubicBezTo>
                    <a:pt x="77" y="111"/>
                    <a:pt x="78" y="112"/>
                    <a:pt x="79" y="112"/>
                  </a:cubicBezTo>
                  <a:cubicBezTo>
                    <a:pt x="79" y="112"/>
                    <a:pt x="80" y="113"/>
                    <a:pt x="80" y="113"/>
                  </a:cubicBezTo>
                  <a:cubicBezTo>
                    <a:pt x="80" y="114"/>
                    <a:pt x="80" y="115"/>
                    <a:pt x="80" y="116"/>
                  </a:cubicBezTo>
                  <a:cubicBezTo>
                    <a:pt x="80" y="116"/>
                    <a:pt x="79" y="117"/>
                    <a:pt x="79" y="117"/>
                  </a:cubicBezTo>
                  <a:cubicBezTo>
                    <a:pt x="79" y="117"/>
                    <a:pt x="79" y="118"/>
                    <a:pt x="79" y="118"/>
                  </a:cubicBezTo>
                  <a:cubicBezTo>
                    <a:pt x="79" y="119"/>
                    <a:pt x="80" y="119"/>
                    <a:pt x="81" y="119"/>
                  </a:cubicBezTo>
                  <a:cubicBezTo>
                    <a:pt x="81" y="120"/>
                    <a:pt x="83" y="119"/>
                    <a:pt x="83" y="119"/>
                  </a:cubicBezTo>
                  <a:cubicBezTo>
                    <a:pt x="84" y="119"/>
                    <a:pt x="84" y="119"/>
                    <a:pt x="84" y="120"/>
                  </a:cubicBezTo>
                  <a:cubicBezTo>
                    <a:pt x="84" y="120"/>
                    <a:pt x="85" y="121"/>
                    <a:pt x="85" y="121"/>
                  </a:cubicBezTo>
                  <a:cubicBezTo>
                    <a:pt x="85" y="121"/>
                    <a:pt x="88" y="121"/>
                    <a:pt x="88" y="121"/>
                  </a:cubicBezTo>
                  <a:cubicBezTo>
                    <a:pt x="88" y="121"/>
                    <a:pt x="91" y="124"/>
                    <a:pt x="91" y="124"/>
                  </a:cubicBezTo>
                  <a:cubicBezTo>
                    <a:pt x="91" y="125"/>
                    <a:pt x="90" y="125"/>
                    <a:pt x="90" y="126"/>
                  </a:cubicBezTo>
                  <a:cubicBezTo>
                    <a:pt x="90" y="126"/>
                    <a:pt x="89" y="127"/>
                    <a:pt x="90" y="127"/>
                  </a:cubicBezTo>
                  <a:cubicBezTo>
                    <a:pt x="90" y="127"/>
                    <a:pt x="90" y="128"/>
                    <a:pt x="90" y="129"/>
                  </a:cubicBezTo>
                  <a:cubicBezTo>
                    <a:pt x="91" y="129"/>
                    <a:pt x="91" y="130"/>
                    <a:pt x="91" y="130"/>
                  </a:cubicBezTo>
                  <a:cubicBezTo>
                    <a:pt x="90" y="130"/>
                    <a:pt x="89" y="131"/>
                    <a:pt x="89" y="131"/>
                  </a:cubicBezTo>
                  <a:cubicBezTo>
                    <a:pt x="89" y="131"/>
                    <a:pt x="89" y="131"/>
                    <a:pt x="89" y="132"/>
                  </a:cubicBezTo>
                  <a:cubicBezTo>
                    <a:pt x="89" y="132"/>
                    <a:pt x="90" y="133"/>
                    <a:pt x="90" y="133"/>
                  </a:cubicBezTo>
                  <a:cubicBezTo>
                    <a:pt x="90" y="133"/>
                    <a:pt x="89" y="135"/>
                    <a:pt x="89" y="135"/>
                  </a:cubicBezTo>
                  <a:cubicBezTo>
                    <a:pt x="89" y="135"/>
                    <a:pt x="88" y="137"/>
                    <a:pt x="88" y="137"/>
                  </a:cubicBezTo>
                  <a:cubicBezTo>
                    <a:pt x="88" y="138"/>
                    <a:pt x="87" y="139"/>
                    <a:pt x="87" y="140"/>
                  </a:cubicBezTo>
                  <a:cubicBezTo>
                    <a:pt x="87" y="140"/>
                    <a:pt x="87" y="140"/>
                    <a:pt x="88" y="140"/>
                  </a:cubicBezTo>
                  <a:cubicBezTo>
                    <a:pt x="88" y="141"/>
                    <a:pt x="91" y="141"/>
                    <a:pt x="91" y="141"/>
                  </a:cubicBezTo>
                  <a:cubicBezTo>
                    <a:pt x="91" y="141"/>
                    <a:pt x="93" y="139"/>
                    <a:pt x="93" y="139"/>
                  </a:cubicBezTo>
                  <a:cubicBezTo>
                    <a:pt x="93" y="139"/>
                    <a:pt x="95" y="139"/>
                    <a:pt x="95" y="139"/>
                  </a:cubicBezTo>
                  <a:cubicBezTo>
                    <a:pt x="95" y="140"/>
                    <a:pt x="95" y="140"/>
                    <a:pt x="95" y="141"/>
                  </a:cubicBezTo>
                  <a:cubicBezTo>
                    <a:pt x="95" y="141"/>
                    <a:pt x="93" y="146"/>
                    <a:pt x="93" y="147"/>
                  </a:cubicBezTo>
                  <a:cubicBezTo>
                    <a:pt x="93" y="147"/>
                    <a:pt x="92" y="149"/>
                    <a:pt x="92" y="149"/>
                  </a:cubicBezTo>
                  <a:cubicBezTo>
                    <a:pt x="92" y="149"/>
                    <a:pt x="93" y="151"/>
                    <a:pt x="94" y="151"/>
                  </a:cubicBezTo>
                  <a:cubicBezTo>
                    <a:pt x="94" y="151"/>
                    <a:pt x="95" y="152"/>
                    <a:pt x="95" y="152"/>
                  </a:cubicBezTo>
                  <a:cubicBezTo>
                    <a:pt x="95" y="152"/>
                    <a:pt x="96" y="153"/>
                    <a:pt x="97" y="153"/>
                  </a:cubicBezTo>
                  <a:cubicBezTo>
                    <a:pt x="97" y="153"/>
                    <a:pt x="97" y="152"/>
                    <a:pt x="98" y="151"/>
                  </a:cubicBezTo>
                  <a:cubicBezTo>
                    <a:pt x="98" y="150"/>
                    <a:pt x="99" y="149"/>
                    <a:pt x="100" y="148"/>
                  </a:cubicBezTo>
                  <a:cubicBezTo>
                    <a:pt x="102" y="145"/>
                    <a:pt x="103" y="143"/>
                    <a:pt x="105" y="141"/>
                  </a:cubicBezTo>
                  <a:cubicBezTo>
                    <a:pt x="106" y="140"/>
                    <a:pt x="106" y="139"/>
                    <a:pt x="107" y="138"/>
                  </a:cubicBezTo>
                  <a:cubicBezTo>
                    <a:pt x="107" y="137"/>
                    <a:pt x="108" y="136"/>
                    <a:pt x="108" y="135"/>
                  </a:cubicBezTo>
                  <a:cubicBezTo>
                    <a:pt x="108" y="134"/>
                    <a:pt x="109" y="133"/>
                    <a:pt x="109" y="132"/>
                  </a:cubicBezTo>
                  <a:cubicBezTo>
                    <a:pt x="109" y="132"/>
                    <a:pt x="110" y="131"/>
                    <a:pt x="110" y="130"/>
                  </a:cubicBezTo>
                  <a:cubicBezTo>
                    <a:pt x="110" y="130"/>
                    <a:pt x="110" y="129"/>
                    <a:pt x="111" y="128"/>
                  </a:cubicBezTo>
                  <a:cubicBezTo>
                    <a:pt x="111" y="127"/>
                    <a:pt x="111" y="127"/>
                    <a:pt x="112" y="126"/>
                  </a:cubicBezTo>
                  <a:cubicBezTo>
                    <a:pt x="112" y="126"/>
                    <a:pt x="112" y="126"/>
                    <a:pt x="112" y="126"/>
                  </a:cubicBezTo>
                  <a:cubicBezTo>
                    <a:pt x="113" y="126"/>
                    <a:pt x="113" y="126"/>
                    <a:pt x="113" y="126"/>
                  </a:cubicBezTo>
                  <a:cubicBezTo>
                    <a:pt x="114" y="126"/>
                    <a:pt x="114" y="125"/>
                    <a:pt x="114" y="125"/>
                  </a:cubicBezTo>
                  <a:cubicBezTo>
                    <a:pt x="114" y="125"/>
                    <a:pt x="115" y="124"/>
                    <a:pt x="115" y="124"/>
                  </a:cubicBezTo>
                  <a:cubicBezTo>
                    <a:pt x="115" y="124"/>
                    <a:pt x="115" y="123"/>
                    <a:pt x="115" y="123"/>
                  </a:cubicBezTo>
                  <a:cubicBezTo>
                    <a:pt x="115" y="123"/>
                    <a:pt x="115" y="123"/>
                    <a:pt x="116" y="122"/>
                  </a:cubicBezTo>
                  <a:cubicBezTo>
                    <a:pt x="116" y="122"/>
                    <a:pt x="116" y="122"/>
                    <a:pt x="116" y="122"/>
                  </a:cubicBezTo>
                  <a:cubicBezTo>
                    <a:pt x="116" y="121"/>
                    <a:pt x="115" y="120"/>
                    <a:pt x="116" y="120"/>
                  </a:cubicBezTo>
                  <a:cubicBezTo>
                    <a:pt x="116" y="119"/>
                    <a:pt x="116" y="119"/>
                    <a:pt x="117" y="119"/>
                  </a:cubicBezTo>
                  <a:cubicBezTo>
                    <a:pt x="117" y="118"/>
                    <a:pt x="117" y="118"/>
                    <a:pt x="117" y="117"/>
                  </a:cubicBezTo>
                  <a:cubicBezTo>
                    <a:pt x="117" y="117"/>
                    <a:pt x="117" y="116"/>
                    <a:pt x="118" y="116"/>
                  </a:cubicBezTo>
                  <a:cubicBezTo>
                    <a:pt x="118" y="116"/>
                    <a:pt x="118" y="115"/>
                    <a:pt x="118" y="114"/>
                  </a:cubicBezTo>
                  <a:cubicBezTo>
                    <a:pt x="119" y="114"/>
                    <a:pt x="120" y="115"/>
                    <a:pt x="120" y="116"/>
                  </a:cubicBezTo>
                  <a:cubicBezTo>
                    <a:pt x="120" y="116"/>
                    <a:pt x="119" y="116"/>
                    <a:pt x="119" y="116"/>
                  </a:cubicBezTo>
                  <a:cubicBezTo>
                    <a:pt x="119" y="116"/>
                    <a:pt x="119" y="117"/>
                    <a:pt x="119" y="117"/>
                  </a:cubicBezTo>
                  <a:cubicBezTo>
                    <a:pt x="118" y="117"/>
                    <a:pt x="118" y="118"/>
                    <a:pt x="118" y="118"/>
                  </a:cubicBezTo>
                  <a:cubicBezTo>
                    <a:pt x="118" y="119"/>
                    <a:pt x="118" y="120"/>
                    <a:pt x="118" y="120"/>
                  </a:cubicBezTo>
                  <a:cubicBezTo>
                    <a:pt x="118" y="121"/>
                    <a:pt x="118" y="122"/>
                    <a:pt x="118" y="122"/>
                  </a:cubicBezTo>
                  <a:cubicBezTo>
                    <a:pt x="118" y="123"/>
                    <a:pt x="119" y="123"/>
                    <a:pt x="119" y="123"/>
                  </a:cubicBezTo>
                  <a:cubicBezTo>
                    <a:pt x="119" y="123"/>
                    <a:pt x="119" y="123"/>
                    <a:pt x="119" y="123"/>
                  </a:cubicBezTo>
                  <a:cubicBezTo>
                    <a:pt x="119" y="124"/>
                    <a:pt x="119" y="124"/>
                    <a:pt x="120" y="124"/>
                  </a:cubicBezTo>
                  <a:cubicBezTo>
                    <a:pt x="121" y="124"/>
                    <a:pt x="121" y="124"/>
                    <a:pt x="122" y="123"/>
                  </a:cubicBezTo>
                  <a:cubicBezTo>
                    <a:pt x="122" y="123"/>
                    <a:pt x="123" y="123"/>
                    <a:pt x="123" y="123"/>
                  </a:cubicBezTo>
                  <a:cubicBezTo>
                    <a:pt x="124" y="122"/>
                    <a:pt x="124" y="122"/>
                    <a:pt x="124" y="121"/>
                  </a:cubicBezTo>
                  <a:cubicBezTo>
                    <a:pt x="124" y="120"/>
                    <a:pt x="124" y="120"/>
                    <a:pt x="124" y="119"/>
                  </a:cubicBezTo>
                  <a:cubicBezTo>
                    <a:pt x="125" y="119"/>
                    <a:pt x="125" y="118"/>
                    <a:pt x="125" y="117"/>
                  </a:cubicBezTo>
                  <a:cubicBezTo>
                    <a:pt x="125" y="117"/>
                    <a:pt x="125" y="116"/>
                    <a:pt x="126" y="116"/>
                  </a:cubicBezTo>
                  <a:cubicBezTo>
                    <a:pt x="126" y="116"/>
                    <a:pt x="126" y="117"/>
                    <a:pt x="127" y="117"/>
                  </a:cubicBezTo>
                  <a:cubicBezTo>
                    <a:pt x="127" y="117"/>
                    <a:pt x="127" y="117"/>
                    <a:pt x="127" y="117"/>
                  </a:cubicBezTo>
                  <a:cubicBezTo>
                    <a:pt x="128" y="117"/>
                    <a:pt x="129" y="117"/>
                    <a:pt x="130" y="117"/>
                  </a:cubicBezTo>
                  <a:cubicBezTo>
                    <a:pt x="130" y="117"/>
                    <a:pt x="131" y="117"/>
                    <a:pt x="131" y="116"/>
                  </a:cubicBezTo>
                  <a:cubicBezTo>
                    <a:pt x="132" y="116"/>
                    <a:pt x="132" y="115"/>
                    <a:pt x="133" y="115"/>
                  </a:cubicBezTo>
                  <a:cubicBezTo>
                    <a:pt x="134" y="114"/>
                    <a:pt x="134" y="115"/>
                    <a:pt x="134" y="116"/>
                  </a:cubicBezTo>
                  <a:cubicBezTo>
                    <a:pt x="134" y="117"/>
                    <a:pt x="133" y="117"/>
                    <a:pt x="133" y="118"/>
                  </a:cubicBezTo>
                  <a:cubicBezTo>
                    <a:pt x="132" y="119"/>
                    <a:pt x="132" y="120"/>
                    <a:pt x="131" y="121"/>
                  </a:cubicBezTo>
                  <a:cubicBezTo>
                    <a:pt x="130" y="122"/>
                    <a:pt x="129" y="123"/>
                    <a:pt x="129" y="123"/>
                  </a:cubicBezTo>
                  <a:cubicBezTo>
                    <a:pt x="128" y="124"/>
                    <a:pt x="128" y="125"/>
                    <a:pt x="128" y="126"/>
                  </a:cubicBezTo>
                  <a:cubicBezTo>
                    <a:pt x="128" y="126"/>
                    <a:pt x="129" y="126"/>
                    <a:pt x="129" y="127"/>
                  </a:cubicBezTo>
                  <a:cubicBezTo>
                    <a:pt x="129" y="127"/>
                    <a:pt x="130" y="127"/>
                    <a:pt x="130" y="128"/>
                  </a:cubicBezTo>
                  <a:cubicBezTo>
                    <a:pt x="130" y="128"/>
                    <a:pt x="131" y="129"/>
                    <a:pt x="131" y="128"/>
                  </a:cubicBezTo>
                  <a:cubicBezTo>
                    <a:pt x="131" y="128"/>
                    <a:pt x="131" y="127"/>
                    <a:pt x="131" y="127"/>
                  </a:cubicBezTo>
                  <a:cubicBezTo>
                    <a:pt x="131" y="127"/>
                    <a:pt x="131" y="127"/>
                    <a:pt x="131" y="126"/>
                  </a:cubicBezTo>
                  <a:cubicBezTo>
                    <a:pt x="131" y="126"/>
                    <a:pt x="131" y="126"/>
                    <a:pt x="132" y="125"/>
                  </a:cubicBezTo>
                  <a:cubicBezTo>
                    <a:pt x="132" y="125"/>
                    <a:pt x="132" y="124"/>
                    <a:pt x="133" y="123"/>
                  </a:cubicBezTo>
                  <a:cubicBezTo>
                    <a:pt x="133" y="123"/>
                    <a:pt x="134" y="122"/>
                    <a:pt x="135" y="122"/>
                  </a:cubicBezTo>
                  <a:cubicBezTo>
                    <a:pt x="136" y="121"/>
                    <a:pt x="137" y="121"/>
                    <a:pt x="138" y="120"/>
                  </a:cubicBezTo>
                  <a:cubicBezTo>
                    <a:pt x="139" y="120"/>
                    <a:pt x="140" y="120"/>
                    <a:pt x="140" y="119"/>
                  </a:cubicBezTo>
                  <a:cubicBezTo>
                    <a:pt x="140" y="119"/>
                    <a:pt x="140" y="118"/>
                    <a:pt x="140" y="118"/>
                  </a:cubicBezTo>
                  <a:cubicBezTo>
                    <a:pt x="140" y="116"/>
                    <a:pt x="141" y="115"/>
                    <a:pt x="142" y="114"/>
                  </a:cubicBezTo>
                  <a:cubicBezTo>
                    <a:pt x="142" y="113"/>
                    <a:pt x="144" y="112"/>
                    <a:pt x="145" y="112"/>
                  </a:cubicBezTo>
                  <a:cubicBezTo>
                    <a:pt x="146" y="111"/>
                    <a:pt x="146" y="111"/>
                    <a:pt x="147" y="111"/>
                  </a:cubicBezTo>
                  <a:cubicBezTo>
                    <a:pt x="147" y="111"/>
                    <a:pt x="148" y="111"/>
                    <a:pt x="149" y="111"/>
                  </a:cubicBezTo>
                  <a:cubicBezTo>
                    <a:pt x="149" y="111"/>
                    <a:pt x="150" y="111"/>
                    <a:pt x="150" y="111"/>
                  </a:cubicBezTo>
                  <a:cubicBezTo>
                    <a:pt x="151" y="111"/>
                    <a:pt x="151" y="111"/>
                    <a:pt x="152" y="112"/>
                  </a:cubicBezTo>
                  <a:cubicBezTo>
                    <a:pt x="152" y="112"/>
                    <a:pt x="153" y="113"/>
                    <a:pt x="154" y="113"/>
                  </a:cubicBezTo>
                  <a:cubicBezTo>
                    <a:pt x="155" y="112"/>
                    <a:pt x="155" y="112"/>
                    <a:pt x="155" y="111"/>
                  </a:cubicBezTo>
                  <a:cubicBezTo>
                    <a:pt x="156" y="111"/>
                    <a:pt x="157" y="110"/>
                    <a:pt x="157" y="110"/>
                  </a:cubicBezTo>
                  <a:cubicBezTo>
                    <a:pt x="164" y="110"/>
                    <a:pt x="164" y="110"/>
                    <a:pt x="164" y="110"/>
                  </a:cubicBezTo>
                  <a:cubicBezTo>
                    <a:pt x="165" y="110"/>
                    <a:pt x="165" y="110"/>
                    <a:pt x="165" y="110"/>
                  </a:cubicBezTo>
                  <a:cubicBezTo>
                    <a:pt x="166" y="110"/>
                    <a:pt x="166" y="109"/>
                    <a:pt x="166" y="108"/>
                  </a:cubicBezTo>
                  <a:cubicBezTo>
                    <a:pt x="167" y="107"/>
                    <a:pt x="167" y="107"/>
                    <a:pt x="168" y="106"/>
                  </a:cubicBezTo>
                  <a:cubicBezTo>
                    <a:pt x="168" y="106"/>
                    <a:pt x="169" y="105"/>
                    <a:pt x="169" y="105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70" y="104"/>
                    <a:pt x="170" y="104"/>
                    <a:pt x="170" y="104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3" y="104"/>
                    <a:pt x="174" y="105"/>
                    <a:pt x="175" y="105"/>
                  </a:cubicBezTo>
                  <a:cubicBezTo>
                    <a:pt x="176" y="105"/>
                    <a:pt x="177" y="106"/>
                    <a:pt x="178" y="106"/>
                  </a:cubicBezTo>
                  <a:cubicBezTo>
                    <a:pt x="178" y="106"/>
                    <a:pt x="179" y="106"/>
                    <a:pt x="180" y="106"/>
                  </a:cubicBezTo>
                  <a:cubicBezTo>
                    <a:pt x="180" y="107"/>
                    <a:pt x="181" y="107"/>
                    <a:pt x="181" y="107"/>
                  </a:cubicBezTo>
                  <a:cubicBezTo>
                    <a:pt x="182" y="107"/>
                    <a:pt x="183" y="108"/>
                    <a:pt x="183" y="108"/>
                  </a:cubicBezTo>
                  <a:cubicBezTo>
                    <a:pt x="184" y="108"/>
                    <a:pt x="184" y="108"/>
                    <a:pt x="185" y="108"/>
                  </a:cubicBezTo>
                  <a:cubicBezTo>
                    <a:pt x="186" y="108"/>
                    <a:pt x="186" y="108"/>
                    <a:pt x="187" y="109"/>
                  </a:cubicBezTo>
                  <a:cubicBezTo>
                    <a:pt x="187" y="109"/>
                    <a:pt x="187" y="110"/>
                    <a:pt x="187" y="110"/>
                  </a:cubicBezTo>
                  <a:cubicBezTo>
                    <a:pt x="187" y="110"/>
                    <a:pt x="188" y="111"/>
                    <a:pt x="188" y="111"/>
                  </a:cubicBezTo>
                  <a:cubicBezTo>
                    <a:pt x="189" y="111"/>
                    <a:pt x="189" y="112"/>
                    <a:pt x="190" y="113"/>
                  </a:cubicBezTo>
                  <a:cubicBezTo>
                    <a:pt x="191" y="113"/>
                    <a:pt x="191" y="114"/>
                    <a:pt x="192" y="114"/>
                  </a:cubicBezTo>
                  <a:cubicBezTo>
                    <a:pt x="192" y="115"/>
                    <a:pt x="193" y="116"/>
                    <a:pt x="194" y="116"/>
                  </a:cubicBezTo>
                  <a:cubicBezTo>
                    <a:pt x="194" y="116"/>
                    <a:pt x="194" y="116"/>
                    <a:pt x="194" y="116"/>
                  </a:cubicBezTo>
                  <a:cubicBezTo>
                    <a:pt x="195" y="117"/>
                    <a:pt x="195" y="117"/>
                    <a:pt x="196" y="117"/>
                  </a:cubicBezTo>
                  <a:cubicBezTo>
                    <a:pt x="197" y="116"/>
                    <a:pt x="195" y="115"/>
                    <a:pt x="196" y="114"/>
                  </a:cubicBezTo>
                  <a:cubicBezTo>
                    <a:pt x="196" y="114"/>
                    <a:pt x="196" y="113"/>
                    <a:pt x="197" y="113"/>
                  </a:cubicBezTo>
                  <a:cubicBezTo>
                    <a:pt x="197" y="113"/>
                    <a:pt x="197" y="112"/>
                    <a:pt x="197" y="112"/>
                  </a:cubicBezTo>
                  <a:cubicBezTo>
                    <a:pt x="198" y="111"/>
                    <a:pt x="198" y="110"/>
                    <a:pt x="198" y="109"/>
                  </a:cubicBezTo>
                  <a:cubicBezTo>
                    <a:pt x="199" y="109"/>
                    <a:pt x="198" y="108"/>
                    <a:pt x="199" y="107"/>
                  </a:cubicBezTo>
                  <a:cubicBezTo>
                    <a:pt x="199" y="107"/>
                    <a:pt x="199" y="107"/>
                    <a:pt x="199" y="107"/>
                  </a:cubicBezTo>
                  <a:cubicBezTo>
                    <a:pt x="199" y="107"/>
                    <a:pt x="200" y="107"/>
                    <a:pt x="200" y="107"/>
                  </a:cubicBezTo>
                  <a:cubicBezTo>
                    <a:pt x="200" y="107"/>
                    <a:pt x="201" y="107"/>
                    <a:pt x="201" y="108"/>
                  </a:cubicBezTo>
                  <a:cubicBezTo>
                    <a:pt x="201" y="108"/>
                    <a:pt x="201" y="108"/>
                    <a:pt x="202" y="108"/>
                  </a:cubicBezTo>
                  <a:cubicBezTo>
                    <a:pt x="202" y="108"/>
                    <a:pt x="203" y="109"/>
                    <a:pt x="204" y="109"/>
                  </a:cubicBezTo>
                  <a:cubicBezTo>
                    <a:pt x="204" y="110"/>
                    <a:pt x="204" y="110"/>
                    <a:pt x="204" y="111"/>
                  </a:cubicBezTo>
                  <a:cubicBezTo>
                    <a:pt x="205" y="111"/>
                    <a:pt x="206" y="110"/>
                    <a:pt x="207" y="110"/>
                  </a:cubicBezTo>
                  <a:cubicBezTo>
                    <a:pt x="207" y="110"/>
                    <a:pt x="208" y="111"/>
                    <a:pt x="208" y="110"/>
                  </a:cubicBezTo>
                  <a:cubicBezTo>
                    <a:pt x="208" y="110"/>
                    <a:pt x="208" y="110"/>
                    <a:pt x="208" y="110"/>
                  </a:cubicBezTo>
                  <a:cubicBezTo>
                    <a:pt x="209" y="109"/>
                    <a:pt x="210" y="110"/>
                    <a:pt x="210" y="110"/>
                  </a:cubicBezTo>
                  <a:cubicBezTo>
                    <a:pt x="212" y="109"/>
                    <a:pt x="214" y="109"/>
                    <a:pt x="215" y="110"/>
                  </a:cubicBezTo>
                  <a:cubicBezTo>
                    <a:pt x="216" y="110"/>
                    <a:pt x="217" y="110"/>
                    <a:pt x="217" y="110"/>
                  </a:cubicBezTo>
                  <a:cubicBezTo>
                    <a:pt x="218" y="110"/>
                    <a:pt x="218" y="110"/>
                    <a:pt x="219" y="111"/>
                  </a:cubicBezTo>
                  <a:cubicBezTo>
                    <a:pt x="219" y="111"/>
                    <a:pt x="220" y="111"/>
                    <a:pt x="221" y="112"/>
                  </a:cubicBezTo>
                  <a:cubicBezTo>
                    <a:pt x="222" y="112"/>
                    <a:pt x="222" y="112"/>
                    <a:pt x="222" y="112"/>
                  </a:cubicBezTo>
                  <a:cubicBezTo>
                    <a:pt x="223" y="112"/>
                    <a:pt x="223" y="111"/>
                    <a:pt x="223" y="111"/>
                  </a:cubicBezTo>
                  <a:cubicBezTo>
                    <a:pt x="224" y="111"/>
                    <a:pt x="224" y="110"/>
                    <a:pt x="224" y="110"/>
                  </a:cubicBezTo>
                  <a:cubicBezTo>
                    <a:pt x="223" y="109"/>
                    <a:pt x="223" y="108"/>
                    <a:pt x="222" y="108"/>
                  </a:cubicBezTo>
                  <a:cubicBezTo>
                    <a:pt x="221" y="107"/>
                    <a:pt x="221" y="107"/>
                    <a:pt x="221" y="107"/>
                  </a:cubicBezTo>
                  <a:cubicBezTo>
                    <a:pt x="220" y="106"/>
                    <a:pt x="220" y="106"/>
                    <a:pt x="220" y="106"/>
                  </a:cubicBezTo>
                  <a:cubicBezTo>
                    <a:pt x="220" y="106"/>
                    <a:pt x="220" y="105"/>
                    <a:pt x="220" y="105"/>
                  </a:cubicBezTo>
                  <a:cubicBezTo>
                    <a:pt x="220" y="105"/>
                    <a:pt x="220" y="105"/>
                    <a:pt x="220" y="104"/>
                  </a:cubicBezTo>
                  <a:cubicBezTo>
                    <a:pt x="220" y="104"/>
                    <a:pt x="220" y="104"/>
                    <a:pt x="220" y="104"/>
                  </a:cubicBezTo>
                  <a:cubicBezTo>
                    <a:pt x="221" y="103"/>
                    <a:pt x="220" y="103"/>
                    <a:pt x="220" y="102"/>
                  </a:cubicBezTo>
                  <a:cubicBezTo>
                    <a:pt x="220" y="102"/>
                    <a:pt x="219" y="101"/>
                    <a:pt x="219" y="101"/>
                  </a:cubicBezTo>
                  <a:cubicBezTo>
                    <a:pt x="219" y="101"/>
                    <a:pt x="218" y="101"/>
                    <a:pt x="217" y="101"/>
                  </a:cubicBezTo>
                  <a:cubicBezTo>
                    <a:pt x="217" y="101"/>
                    <a:pt x="216" y="101"/>
                    <a:pt x="216" y="101"/>
                  </a:cubicBezTo>
                  <a:cubicBezTo>
                    <a:pt x="215" y="101"/>
                    <a:pt x="213" y="101"/>
                    <a:pt x="213" y="100"/>
                  </a:cubicBezTo>
                  <a:cubicBezTo>
                    <a:pt x="213" y="100"/>
                    <a:pt x="213" y="99"/>
                    <a:pt x="213" y="99"/>
                  </a:cubicBezTo>
                  <a:cubicBezTo>
                    <a:pt x="213" y="98"/>
                    <a:pt x="213" y="98"/>
                    <a:pt x="214" y="98"/>
                  </a:cubicBezTo>
                  <a:cubicBezTo>
                    <a:pt x="214" y="98"/>
                    <a:pt x="214" y="97"/>
                    <a:pt x="214" y="97"/>
                  </a:cubicBezTo>
                  <a:cubicBezTo>
                    <a:pt x="214" y="97"/>
                    <a:pt x="214" y="96"/>
                    <a:pt x="215" y="96"/>
                  </a:cubicBezTo>
                  <a:cubicBezTo>
                    <a:pt x="215" y="96"/>
                    <a:pt x="215" y="97"/>
                    <a:pt x="215" y="97"/>
                  </a:cubicBezTo>
                  <a:cubicBezTo>
                    <a:pt x="215" y="97"/>
                    <a:pt x="216" y="97"/>
                    <a:pt x="216" y="97"/>
                  </a:cubicBezTo>
                  <a:cubicBezTo>
                    <a:pt x="216" y="98"/>
                    <a:pt x="217" y="98"/>
                    <a:pt x="217" y="98"/>
                  </a:cubicBezTo>
                  <a:cubicBezTo>
                    <a:pt x="217" y="97"/>
                    <a:pt x="217" y="97"/>
                    <a:pt x="217" y="97"/>
                  </a:cubicBezTo>
                  <a:cubicBezTo>
                    <a:pt x="217" y="95"/>
                    <a:pt x="217" y="94"/>
                    <a:pt x="216" y="94"/>
                  </a:cubicBezTo>
                  <a:cubicBezTo>
                    <a:pt x="215" y="93"/>
                    <a:pt x="215" y="93"/>
                    <a:pt x="215" y="94"/>
                  </a:cubicBezTo>
                  <a:cubicBezTo>
                    <a:pt x="215" y="95"/>
                    <a:pt x="214" y="94"/>
                    <a:pt x="214" y="94"/>
                  </a:cubicBezTo>
                  <a:cubicBezTo>
                    <a:pt x="214" y="93"/>
                    <a:pt x="214" y="93"/>
                    <a:pt x="214" y="92"/>
                  </a:cubicBezTo>
                  <a:cubicBezTo>
                    <a:pt x="214" y="92"/>
                    <a:pt x="214" y="92"/>
                    <a:pt x="214" y="91"/>
                  </a:cubicBezTo>
                  <a:cubicBezTo>
                    <a:pt x="214" y="91"/>
                    <a:pt x="213" y="91"/>
                    <a:pt x="213" y="91"/>
                  </a:cubicBezTo>
                  <a:cubicBezTo>
                    <a:pt x="212" y="90"/>
                    <a:pt x="213" y="89"/>
                    <a:pt x="213" y="89"/>
                  </a:cubicBezTo>
                  <a:cubicBezTo>
                    <a:pt x="213" y="88"/>
                    <a:pt x="212" y="88"/>
                    <a:pt x="212" y="88"/>
                  </a:cubicBezTo>
                  <a:cubicBezTo>
                    <a:pt x="211" y="87"/>
                    <a:pt x="212" y="87"/>
                    <a:pt x="213" y="87"/>
                  </a:cubicBezTo>
                  <a:cubicBezTo>
                    <a:pt x="213" y="88"/>
                    <a:pt x="214" y="89"/>
                    <a:pt x="214" y="89"/>
                  </a:cubicBezTo>
                  <a:cubicBezTo>
                    <a:pt x="215" y="89"/>
                    <a:pt x="215" y="89"/>
                    <a:pt x="215" y="88"/>
                  </a:cubicBezTo>
                  <a:cubicBezTo>
                    <a:pt x="216" y="88"/>
                    <a:pt x="216" y="87"/>
                    <a:pt x="216" y="86"/>
                  </a:cubicBezTo>
                  <a:cubicBezTo>
                    <a:pt x="216" y="85"/>
                    <a:pt x="217" y="84"/>
                    <a:pt x="216" y="83"/>
                  </a:cubicBezTo>
                  <a:cubicBezTo>
                    <a:pt x="216" y="83"/>
                    <a:pt x="216" y="83"/>
                    <a:pt x="215" y="83"/>
                  </a:cubicBezTo>
                  <a:cubicBezTo>
                    <a:pt x="215" y="83"/>
                    <a:pt x="215" y="83"/>
                    <a:pt x="214" y="84"/>
                  </a:cubicBezTo>
                  <a:cubicBezTo>
                    <a:pt x="214" y="84"/>
                    <a:pt x="214" y="84"/>
                    <a:pt x="214" y="84"/>
                  </a:cubicBezTo>
                  <a:cubicBezTo>
                    <a:pt x="214" y="84"/>
                    <a:pt x="213" y="84"/>
                    <a:pt x="213" y="84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3" y="85"/>
                    <a:pt x="213" y="85"/>
                    <a:pt x="212" y="86"/>
                  </a:cubicBezTo>
                  <a:cubicBezTo>
                    <a:pt x="212" y="86"/>
                    <a:pt x="212" y="86"/>
                    <a:pt x="211" y="85"/>
                  </a:cubicBezTo>
                  <a:cubicBezTo>
                    <a:pt x="211" y="85"/>
                    <a:pt x="211" y="85"/>
                    <a:pt x="211" y="85"/>
                  </a:cubicBezTo>
                  <a:cubicBezTo>
                    <a:pt x="211" y="85"/>
                    <a:pt x="211" y="85"/>
                    <a:pt x="210" y="85"/>
                  </a:cubicBezTo>
                  <a:cubicBezTo>
                    <a:pt x="210" y="85"/>
                    <a:pt x="210" y="84"/>
                    <a:pt x="209" y="84"/>
                  </a:cubicBezTo>
                  <a:cubicBezTo>
                    <a:pt x="209" y="84"/>
                    <a:pt x="208" y="84"/>
                    <a:pt x="208" y="85"/>
                  </a:cubicBezTo>
                  <a:cubicBezTo>
                    <a:pt x="208" y="85"/>
                    <a:pt x="207" y="86"/>
                    <a:pt x="207" y="86"/>
                  </a:cubicBezTo>
                  <a:cubicBezTo>
                    <a:pt x="206" y="86"/>
                    <a:pt x="206" y="86"/>
                    <a:pt x="205" y="87"/>
                  </a:cubicBezTo>
                  <a:cubicBezTo>
                    <a:pt x="204" y="87"/>
                    <a:pt x="204" y="87"/>
                    <a:pt x="203" y="88"/>
                  </a:cubicBezTo>
                  <a:cubicBezTo>
                    <a:pt x="202" y="88"/>
                    <a:pt x="202" y="88"/>
                    <a:pt x="201" y="88"/>
                  </a:cubicBezTo>
                  <a:cubicBezTo>
                    <a:pt x="200" y="87"/>
                    <a:pt x="200" y="87"/>
                    <a:pt x="199" y="86"/>
                  </a:cubicBezTo>
                  <a:cubicBezTo>
                    <a:pt x="199" y="86"/>
                    <a:pt x="198" y="85"/>
                    <a:pt x="198" y="85"/>
                  </a:cubicBezTo>
                  <a:cubicBezTo>
                    <a:pt x="198" y="85"/>
                    <a:pt x="197" y="85"/>
                    <a:pt x="197" y="85"/>
                  </a:cubicBezTo>
                  <a:cubicBezTo>
                    <a:pt x="197" y="85"/>
                    <a:pt x="196" y="86"/>
                    <a:pt x="196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195" y="86"/>
                    <a:pt x="194" y="86"/>
                    <a:pt x="194" y="86"/>
                  </a:cubicBezTo>
                  <a:cubicBezTo>
                    <a:pt x="194" y="87"/>
                    <a:pt x="193" y="87"/>
                    <a:pt x="193" y="87"/>
                  </a:cubicBezTo>
                  <a:cubicBezTo>
                    <a:pt x="193" y="87"/>
                    <a:pt x="193" y="87"/>
                    <a:pt x="192" y="87"/>
                  </a:cubicBezTo>
                  <a:cubicBezTo>
                    <a:pt x="192" y="87"/>
                    <a:pt x="191" y="86"/>
                    <a:pt x="191" y="86"/>
                  </a:cubicBezTo>
                  <a:cubicBezTo>
                    <a:pt x="190" y="86"/>
                    <a:pt x="190" y="85"/>
                    <a:pt x="189" y="85"/>
                  </a:cubicBezTo>
                  <a:cubicBezTo>
                    <a:pt x="189" y="85"/>
                    <a:pt x="189" y="84"/>
                    <a:pt x="188" y="85"/>
                  </a:cubicBezTo>
                  <a:cubicBezTo>
                    <a:pt x="188" y="85"/>
                    <a:pt x="187" y="85"/>
                    <a:pt x="187" y="85"/>
                  </a:cubicBezTo>
                  <a:cubicBezTo>
                    <a:pt x="186" y="85"/>
                    <a:pt x="186" y="85"/>
                    <a:pt x="186" y="85"/>
                  </a:cubicBezTo>
                  <a:cubicBezTo>
                    <a:pt x="186" y="84"/>
                    <a:pt x="186" y="84"/>
                    <a:pt x="186" y="83"/>
                  </a:cubicBezTo>
                  <a:cubicBezTo>
                    <a:pt x="186" y="82"/>
                    <a:pt x="186" y="82"/>
                    <a:pt x="186" y="81"/>
                  </a:cubicBezTo>
                  <a:cubicBezTo>
                    <a:pt x="186" y="80"/>
                    <a:pt x="186" y="79"/>
                    <a:pt x="186" y="78"/>
                  </a:cubicBezTo>
                  <a:cubicBezTo>
                    <a:pt x="186" y="76"/>
                    <a:pt x="186" y="74"/>
                    <a:pt x="187" y="73"/>
                  </a:cubicBezTo>
                  <a:cubicBezTo>
                    <a:pt x="187" y="72"/>
                    <a:pt x="188" y="72"/>
                    <a:pt x="188" y="71"/>
                  </a:cubicBezTo>
                  <a:cubicBezTo>
                    <a:pt x="187" y="71"/>
                    <a:pt x="186" y="71"/>
                    <a:pt x="186" y="71"/>
                  </a:cubicBezTo>
                  <a:cubicBezTo>
                    <a:pt x="182" y="71"/>
                    <a:pt x="182" y="71"/>
                    <a:pt x="182" y="71"/>
                  </a:cubicBezTo>
                  <a:cubicBezTo>
                    <a:pt x="181" y="71"/>
                    <a:pt x="181" y="72"/>
                    <a:pt x="180" y="72"/>
                  </a:cubicBezTo>
                  <a:cubicBezTo>
                    <a:pt x="178" y="72"/>
                    <a:pt x="177" y="72"/>
                    <a:pt x="176" y="73"/>
                  </a:cubicBezTo>
                  <a:cubicBezTo>
                    <a:pt x="175" y="73"/>
                    <a:pt x="174" y="74"/>
                    <a:pt x="173" y="74"/>
                  </a:cubicBezTo>
                  <a:cubicBezTo>
                    <a:pt x="173" y="74"/>
                    <a:pt x="172" y="75"/>
                    <a:pt x="172" y="75"/>
                  </a:cubicBezTo>
                  <a:cubicBezTo>
                    <a:pt x="171" y="75"/>
                    <a:pt x="170" y="75"/>
                    <a:pt x="170" y="75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48" y="75"/>
                    <a:pt x="148" y="75"/>
                    <a:pt x="148" y="75"/>
                  </a:cubicBezTo>
                  <a:cubicBezTo>
                    <a:pt x="147" y="76"/>
                    <a:pt x="147" y="76"/>
                    <a:pt x="146" y="76"/>
                  </a:cubicBezTo>
                  <a:cubicBezTo>
                    <a:pt x="146" y="76"/>
                    <a:pt x="145" y="77"/>
                    <a:pt x="144" y="78"/>
                  </a:cubicBezTo>
                  <a:cubicBezTo>
                    <a:pt x="144" y="78"/>
                    <a:pt x="144" y="78"/>
                    <a:pt x="143" y="79"/>
                  </a:cubicBezTo>
                  <a:cubicBezTo>
                    <a:pt x="143" y="79"/>
                    <a:pt x="142" y="79"/>
                    <a:pt x="142" y="80"/>
                  </a:cubicBezTo>
                  <a:cubicBezTo>
                    <a:pt x="141" y="80"/>
                    <a:pt x="141" y="80"/>
                    <a:pt x="140" y="80"/>
                  </a:cubicBezTo>
                  <a:cubicBezTo>
                    <a:pt x="139" y="81"/>
                    <a:pt x="139" y="81"/>
                    <a:pt x="138" y="81"/>
                  </a:cubicBezTo>
                  <a:cubicBezTo>
                    <a:pt x="137" y="82"/>
                    <a:pt x="136" y="83"/>
                    <a:pt x="135" y="84"/>
                  </a:cubicBezTo>
                  <a:cubicBezTo>
                    <a:pt x="134" y="84"/>
                    <a:pt x="133" y="85"/>
                    <a:pt x="133" y="86"/>
                  </a:cubicBezTo>
                  <a:cubicBezTo>
                    <a:pt x="132" y="86"/>
                    <a:pt x="133" y="87"/>
                    <a:pt x="132" y="87"/>
                  </a:cubicBezTo>
                  <a:cubicBezTo>
                    <a:pt x="132" y="87"/>
                    <a:pt x="132" y="87"/>
                    <a:pt x="131" y="88"/>
                  </a:cubicBezTo>
                  <a:cubicBezTo>
                    <a:pt x="131" y="88"/>
                    <a:pt x="131" y="88"/>
                    <a:pt x="130" y="88"/>
                  </a:cubicBezTo>
                  <a:cubicBezTo>
                    <a:pt x="130" y="88"/>
                    <a:pt x="130" y="88"/>
                    <a:pt x="130" y="87"/>
                  </a:cubicBezTo>
                  <a:cubicBezTo>
                    <a:pt x="129" y="87"/>
                    <a:pt x="129" y="86"/>
                    <a:pt x="128" y="86"/>
                  </a:cubicBezTo>
                  <a:cubicBezTo>
                    <a:pt x="127" y="86"/>
                    <a:pt x="127" y="85"/>
                    <a:pt x="126" y="86"/>
                  </a:cubicBezTo>
                  <a:cubicBezTo>
                    <a:pt x="126" y="86"/>
                    <a:pt x="125" y="86"/>
                    <a:pt x="124" y="87"/>
                  </a:cubicBezTo>
                  <a:cubicBezTo>
                    <a:pt x="123" y="87"/>
                    <a:pt x="122" y="88"/>
                    <a:pt x="122" y="87"/>
                  </a:cubicBezTo>
                  <a:cubicBezTo>
                    <a:pt x="121" y="87"/>
                    <a:pt x="121" y="86"/>
                    <a:pt x="121" y="86"/>
                  </a:cubicBezTo>
                  <a:cubicBezTo>
                    <a:pt x="121" y="85"/>
                    <a:pt x="120" y="85"/>
                    <a:pt x="119" y="84"/>
                  </a:cubicBezTo>
                  <a:cubicBezTo>
                    <a:pt x="119" y="83"/>
                    <a:pt x="119" y="83"/>
                    <a:pt x="118" y="83"/>
                  </a:cubicBezTo>
                  <a:cubicBezTo>
                    <a:pt x="117" y="83"/>
                    <a:pt x="116" y="84"/>
                    <a:pt x="115" y="84"/>
                  </a:cubicBezTo>
                  <a:cubicBezTo>
                    <a:pt x="113" y="85"/>
                    <a:pt x="111" y="85"/>
                    <a:pt x="108" y="85"/>
                  </a:cubicBezTo>
                  <a:cubicBezTo>
                    <a:pt x="107" y="84"/>
                    <a:pt x="106" y="84"/>
                    <a:pt x="105" y="83"/>
                  </a:cubicBezTo>
                  <a:cubicBezTo>
                    <a:pt x="105" y="83"/>
                    <a:pt x="105" y="83"/>
                    <a:pt x="104" y="82"/>
                  </a:cubicBezTo>
                  <a:cubicBezTo>
                    <a:pt x="104" y="82"/>
                    <a:pt x="105" y="81"/>
                    <a:pt x="104" y="80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04" y="80"/>
                    <a:pt x="104" y="80"/>
                    <a:pt x="104" y="79"/>
                  </a:cubicBezTo>
                  <a:cubicBezTo>
                    <a:pt x="103" y="79"/>
                    <a:pt x="103" y="79"/>
                    <a:pt x="102" y="78"/>
                  </a:cubicBezTo>
                  <a:cubicBezTo>
                    <a:pt x="102" y="78"/>
                    <a:pt x="101" y="77"/>
                    <a:pt x="101" y="76"/>
                  </a:cubicBezTo>
                  <a:cubicBezTo>
                    <a:pt x="100" y="76"/>
                    <a:pt x="99" y="75"/>
                    <a:pt x="99" y="75"/>
                  </a:cubicBezTo>
                  <a:cubicBezTo>
                    <a:pt x="99" y="74"/>
                    <a:pt x="98" y="74"/>
                    <a:pt x="98" y="73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7" y="71"/>
                    <a:pt x="97" y="71"/>
                  </a:cubicBezTo>
                  <a:cubicBezTo>
                    <a:pt x="97" y="70"/>
                    <a:pt x="98" y="70"/>
                    <a:pt x="97" y="70"/>
                  </a:cubicBezTo>
                  <a:cubicBezTo>
                    <a:pt x="97" y="70"/>
                    <a:pt x="97" y="70"/>
                    <a:pt x="96" y="70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69"/>
                    <a:pt x="95" y="69"/>
                    <a:pt x="95" y="69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3" y="68"/>
                    <a:pt x="93" y="68"/>
                    <a:pt x="93" y="67"/>
                  </a:cubicBezTo>
                  <a:cubicBezTo>
                    <a:pt x="92" y="67"/>
                    <a:pt x="91" y="66"/>
                    <a:pt x="91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89" y="65"/>
                    <a:pt x="89" y="64"/>
                    <a:pt x="88" y="64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6" y="64"/>
                    <a:pt x="86" y="64"/>
                    <a:pt x="85" y="64"/>
                  </a:cubicBezTo>
                  <a:cubicBezTo>
                    <a:pt x="84" y="64"/>
                    <a:pt x="83" y="64"/>
                    <a:pt x="82" y="64"/>
                  </a:cubicBezTo>
                  <a:cubicBezTo>
                    <a:pt x="81" y="64"/>
                    <a:pt x="81" y="64"/>
                    <a:pt x="80" y="64"/>
                  </a:cubicBezTo>
                  <a:cubicBezTo>
                    <a:pt x="80" y="63"/>
                    <a:pt x="79" y="63"/>
                    <a:pt x="79" y="64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8" y="64"/>
                    <a:pt x="77" y="64"/>
                    <a:pt x="77" y="64"/>
                  </a:cubicBezTo>
                  <a:cubicBezTo>
                    <a:pt x="77" y="64"/>
                    <a:pt x="77" y="63"/>
                    <a:pt x="77" y="62"/>
                  </a:cubicBezTo>
                  <a:cubicBezTo>
                    <a:pt x="77" y="62"/>
                    <a:pt x="76" y="62"/>
                    <a:pt x="75" y="62"/>
                  </a:cubicBezTo>
                  <a:cubicBezTo>
                    <a:pt x="75" y="62"/>
                    <a:pt x="74" y="63"/>
                    <a:pt x="74" y="63"/>
                  </a:cubicBezTo>
                  <a:cubicBezTo>
                    <a:pt x="74" y="64"/>
                    <a:pt x="74" y="64"/>
                    <a:pt x="73" y="64"/>
                  </a:cubicBezTo>
                  <a:cubicBezTo>
                    <a:pt x="73" y="65"/>
                    <a:pt x="73" y="65"/>
                    <a:pt x="72" y="65"/>
                  </a:cubicBezTo>
                  <a:cubicBezTo>
                    <a:pt x="72" y="66"/>
                    <a:pt x="71" y="66"/>
                    <a:pt x="70" y="67"/>
                  </a:cubicBezTo>
                  <a:cubicBezTo>
                    <a:pt x="70" y="68"/>
                    <a:pt x="69" y="69"/>
                    <a:pt x="68" y="70"/>
                  </a:cubicBezTo>
                  <a:cubicBezTo>
                    <a:pt x="68" y="70"/>
                    <a:pt x="68" y="71"/>
                    <a:pt x="67" y="71"/>
                  </a:cubicBezTo>
                  <a:cubicBezTo>
                    <a:pt x="67" y="70"/>
                    <a:pt x="67" y="69"/>
                    <a:pt x="67" y="69"/>
                  </a:cubicBezTo>
                  <a:cubicBezTo>
                    <a:pt x="67" y="67"/>
                    <a:pt x="67" y="66"/>
                    <a:pt x="67" y="64"/>
                  </a:cubicBezTo>
                  <a:cubicBezTo>
                    <a:pt x="68" y="63"/>
                    <a:pt x="68" y="62"/>
                    <a:pt x="68" y="60"/>
                  </a:cubicBezTo>
                  <a:cubicBezTo>
                    <a:pt x="69" y="60"/>
                    <a:pt x="69" y="59"/>
                    <a:pt x="70" y="59"/>
                  </a:cubicBezTo>
                  <a:cubicBezTo>
                    <a:pt x="70" y="58"/>
                    <a:pt x="70" y="57"/>
                    <a:pt x="71" y="56"/>
                  </a:cubicBezTo>
                  <a:cubicBezTo>
                    <a:pt x="71" y="56"/>
                    <a:pt x="72" y="55"/>
                    <a:pt x="72" y="54"/>
                  </a:cubicBezTo>
                  <a:cubicBezTo>
                    <a:pt x="73" y="53"/>
                    <a:pt x="73" y="53"/>
                    <a:pt x="74" y="52"/>
                  </a:cubicBezTo>
                  <a:cubicBezTo>
                    <a:pt x="75" y="50"/>
                    <a:pt x="76" y="49"/>
                    <a:pt x="77" y="48"/>
                  </a:cubicBezTo>
                  <a:cubicBezTo>
                    <a:pt x="78" y="47"/>
                    <a:pt x="79" y="47"/>
                    <a:pt x="79" y="47"/>
                  </a:cubicBezTo>
                  <a:cubicBezTo>
                    <a:pt x="80" y="46"/>
                    <a:pt x="80" y="46"/>
                    <a:pt x="81" y="45"/>
                  </a:cubicBezTo>
                  <a:cubicBezTo>
                    <a:pt x="81" y="45"/>
                    <a:pt x="82" y="45"/>
                    <a:pt x="83" y="44"/>
                  </a:cubicBezTo>
                  <a:cubicBezTo>
                    <a:pt x="83" y="43"/>
                    <a:pt x="84" y="43"/>
                    <a:pt x="84" y="42"/>
                  </a:cubicBezTo>
                  <a:cubicBezTo>
                    <a:pt x="85" y="41"/>
                    <a:pt x="85" y="40"/>
                    <a:pt x="86" y="40"/>
                  </a:cubicBezTo>
                  <a:cubicBezTo>
                    <a:pt x="88" y="39"/>
                    <a:pt x="90" y="40"/>
                    <a:pt x="91" y="39"/>
                  </a:cubicBezTo>
                  <a:cubicBezTo>
                    <a:pt x="92" y="38"/>
                    <a:pt x="92" y="38"/>
                    <a:pt x="92" y="37"/>
                  </a:cubicBezTo>
                  <a:cubicBezTo>
                    <a:pt x="93" y="37"/>
                    <a:pt x="93" y="37"/>
                    <a:pt x="93" y="36"/>
                  </a:cubicBezTo>
                  <a:cubicBezTo>
                    <a:pt x="92" y="36"/>
                    <a:pt x="91" y="35"/>
                    <a:pt x="91" y="35"/>
                  </a:cubicBezTo>
                  <a:cubicBezTo>
                    <a:pt x="89" y="34"/>
                    <a:pt x="88" y="34"/>
                    <a:pt x="87" y="34"/>
                  </a:cubicBezTo>
                  <a:cubicBezTo>
                    <a:pt x="86" y="35"/>
                    <a:pt x="84" y="34"/>
                    <a:pt x="83" y="35"/>
                  </a:cubicBezTo>
                  <a:cubicBezTo>
                    <a:pt x="82" y="35"/>
                    <a:pt x="82" y="35"/>
                    <a:pt x="81" y="35"/>
                  </a:cubicBezTo>
                  <a:cubicBezTo>
                    <a:pt x="80" y="35"/>
                    <a:pt x="79" y="35"/>
                    <a:pt x="78" y="35"/>
                  </a:cubicBezTo>
                  <a:cubicBezTo>
                    <a:pt x="77" y="36"/>
                    <a:pt x="76" y="36"/>
                    <a:pt x="75" y="37"/>
                  </a:cubicBezTo>
                  <a:cubicBezTo>
                    <a:pt x="74" y="37"/>
                    <a:pt x="73" y="38"/>
                    <a:pt x="73" y="38"/>
                  </a:cubicBezTo>
                  <a:cubicBezTo>
                    <a:pt x="72" y="38"/>
                    <a:pt x="71" y="39"/>
                    <a:pt x="70" y="39"/>
                  </a:cubicBezTo>
                  <a:cubicBezTo>
                    <a:pt x="69" y="40"/>
                    <a:pt x="68" y="41"/>
                    <a:pt x="68" y="42"/>
                  </a:cubicBezTo>
                  <a:cubicBezTo>
                    <a:pt x="67" y="43"/>
                    <a:pt x="67" y="44"/>
                    <a:pt x="66" y="44"/>
                  </a:cubicBezTo>
                  <a:cubicBezTo>
                    <a:pt x="65" y="45"/>
                    <a:pt x="64" y="46"/>
                    <a:pt x="63" y="46"/>
                  </a:cubicBezTo>
                  <a:cubicBezTo>
                    <a:pt x="63" y="47"/>
                    <a:pt x="63" y="47"/>
                    <a:pt x="62" y="47"/>
                  </a:cubicBezTo>
                  <a:cubicBezTo>
                    <a:pt x="62" y="48"/>
                    <a:pt x="61" y="48"/>
                    <a:pt x="61" y="48"/>
                  </a:cubicBezTo>
                  <a:cubicBezTo>
                    <a:pt x="60" y="48"/>
                    <a:pt x="60" y="49"/>
                    <a:pt x="60" y="49"/>
                  </a:cubicBezTo>
                  <a:cubicBezTo>
                    <a:pt x="59" y="49"/>
                    <a:pt x="59" y="49"/>
                    <a:pt x="58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7" y="50"/>
                    <a:pt x="57" y="51"/>
                    <a:pt x="57" y="51"/>
                  </a:cubicBezTo>
                  <a:cubicBezTo>
                    <a:pt x="56" y="51"/>
                    <a:pt x="56" y="52"/>
                    <a:pt x="55" y="52"/>
                  </a:cubicBezTo>
                  <a:cubicBezTo>
                    <a:pt x="54" y="53"/>
                    <a:pt x="53" y="53"/>
                    <a:pt x="53" y="54"/>
                  </a:cubicBezTo>
                  <a:cubicBezTo>
                    <a:pt x="52" y="54"/>
                    <a:pt x="52" y="55"/>
                    <a:pt x="52" y="55"/>
                  </a:cubicBezTo>
                  <a:cubicBezTo>
                    <a:pt x="52" y="56"/>
                    <a:pt x="51" y="57"/>
                    <a:pt x="51" y="57"/>
                  </a:cubicBezTo>
                  <a:cubicBezTo>
                    <a:pt x="50" y="58"/>
                    <a:pt x="50" y="58"/>
                    <a:pt x="49" y="59"/>
                  </a:cubicBezTo>
                  <a:cubicBezTo>
                    <a:pt x="49" y="59"/>
                    <a:pt x="48" y="59"/>
                    <a:pt x="47" y="59"/>
                  </a:cubicBezTo>
                  <a:cubicBezTo>
                    <a:pt x="47" y="60"/>
                    <a:pt x="46" y="60"/>
                    <a:pt x="45" y="60"/>
                  </a:cubicBezTo>
                  <a:cubicBezTo>
                    <a:pt x="45" y="60"/>
                    <a:pt x="44" y="60"/>
                    <a:pt x="43" y="61"/>
                  </a:cubicBezTo>
                  <a:cubicBezTo>
                    <a:pt x="42" y="61"/>
                    <a:pt x="41" y="62"/>
                    <a:pt x="40" y="63"/>
                  </a:cubicBezTo>
                  <a:cubicBezTo>
                    <a:pt x="38" y="65"/>
                    <a:pt x="36" y="66"/>
                    <a:pt x="33" y="67"/>
                  </a:cubicBezTo>
                  <a:cubicBezTo>
                    <a:pt x="32" y="67"/>
                    <a:pt x="31" y="67"/>
                    <a:pt x="29" y="68"/>
                  </a:cubicBezTo>
                  <a:cubicBezTo>
                    <a:pt x="28" y="68"/>
                    <a:pt x="27" y="68"/>
                    <a:pt x="26" y="68"/>
                  </a:cubicBezTo>
                  <a:cubicBezTo>
                    <a:pt x="24" y="68"/>
                    <a:pt x="22" y="68"/>
                    <a:pt x="22" y="69"/>
                  </a:cubicBezTo>
                  <a:cubicBezTo>
                    <a:pt x="21" y="69"/>
                    <a:pt x="20" y="69"/>
                    <a:pt x="20" y="70"/>
                  </a:cubicBezTo>
                  <a:cubicBezTo>
                    <a:pt x="20" y="70"/>
                    <a:pt x="19" y="70"/>
                    <a:pt x="19" y="71"/>
                  </a:cubicBezTo>
                  <a:cubicBezTo>
                    <a:pt x="18" y="72"/>
                    <a:pt x="16" y="74"/>
                    <a:pt x="15" y="74"/>
                  </a:cubicBezTo>
                  <a:cubicBezTo>
                    <a:pt x="14" y="75"/>
                    <a:pt x="12" y="76"/>
                    <a:pt x="11" y="77"/>
                  </a:cubicBezTo>
                  <a:cubicBezTo>
                    <a:pt x="11" y="77"/>
                    <a:pt x="7" y="78"/>
                    <a:pt x="5" y="78"/>
                  </a:cubicBezTo>
                  <a:cubicBezTo>
                    <a:pt x="4" y="78"/>
                    <a:pt x="2" y="79"/>
                    <a:pt x="1" y="80"/>
                  </a:cubicBezTo>
                  <a:cubicBezTo>
                    <a:pt x="1" y="80"/>
                    <a:pt x="0" y="80"/>
                    <a:pt x="0" y="80"/>
                  </a:cubicBezTo>
                  <a:cubicBezTo>
                    <a:pt x="0" y="82"/>
                    <a:pt x="0" y="82"/>
                    <a:pt x="0" y="82"/>
                  </a:cubicBezTo>
                  <a:lnTo>
                    <a:pt x="3" y="82"/>
                  </a:lnTo>
                  <a:close/>
                  <a:moveTo>
                    <a:pt x="240" y="313"/>
                  </a:moveTo>
                  <a:cubicBezTo>
                    <a:pt x="240" y="312"/>
                    <a:pt x="241" y="311"/>
                    <a:pt x="241" y="311"/>
                  </a:cubicBezTo>
                  <a:cubicBezTo>
                    <a:pt x="241" y="310"/>
                    <a:pt x="242" y="308"/>
                    <a:pt x="242" y="308"/>
                  </a:cubicBezTo>
                  <a:cubicBezTo>
                    <a:pt x="242" y="307"/>
                    <a:pt x="243" y="306"/>
                    <a:pt x="243" y="306"/>
                  </a:cubicBezTo>
                  <a:cubicBezTo>
                    <a:pt x="243" y="306"/>
                    <a:pt x="249" y="301"/>
                    <a:pt x="249" y="301"/>
                  </a:cubicBezTo>
                  <a:cubicBezTo>
                    <a:pt x="249" y="300"/>
                    <a:pt x="249" y="298"/>
                    <a:pt x="249" y="297"/>
                  </a:cubicBezTo>
                  <a:cubicBezTo>
                    <a:pt x="249" y="297"/>
                    <a:pt x="250" y="295"/>
                    <a:pt x="250" y="295"/>
                  </a:cubicBezTo>
                  <a:cubicBezTo>
                    <a:pt x="250" y="295"/>
                    <a:pt x="251" y="294"/>
                    <a:pt x="251" y="293"/>
                  </a:cubicBezTo>
                  <a:cubicBezTo>
                    <a:pt x="251" y="293"/>
                    <a:pt x="251" y="291"/>
                    <a:pt x="251" y="291"/>
                  </a:cubicBezTo>
                  <a:cubicBezTo>
                    <a:pt x="251" y="290"/>
                    <a:pt x="251" y="289"/>
                    <a:pt x="251" y="289"/>
                  </a:cubicBezTo>
                  <a:cubicBezTo>
                    <a:pt x="254" y="286"/>
                    <a:pt x="254" y="286"/>
                    <a:pt x="254" y="286"/>
                  </a:cubicBezTo>
                  <a:cubicBezTo>
                    <a:pt x="257" y="285"/>
                    <a:pt x="257" y="285"/>
                    <a:pt x="257" y="285"/>
                  </a:cubicBezTo>
                  <a:cubicBezTo>
                    <a:pt x="257" y="285"/>
                    <a:pt x="258" y="285"/>
                    <a:pt x="258" y="284"/>
                  </a:cubicBezTo>
                  <a:cubicBezTo>
                    <a:pt x="258" y="284"/>
                    <a:pt x="259" y="283"/>
                    <a:pt x="259" y="283"/>
                  </a:cubicBezTo>
                  <a:cubicBezTo>
                    <a:pt x="259" y="283"/>
                    <a:pt x="259" y="282"/>
                    <a:pt x="260" y="281"/>
                  </a:cubicBezTo>
                  <a:cubicBezTo>
                    <a:pt x="260" y="281"/>
                    <a:pt x="260" y="280"/>
                    <a:pt x="260" y="280"/>
                  </a:cubicBezTo>
                  <a:cubicBezTo>
                    <a:pt x="261" y="280"/>
                    <a:pt x="260" y="278"/>
                    <a:pt x="260" y="276"/>
                  </a:cubicBezTo>
                  <a:cubicBezTo>
                    <a:pt x="261" y="275"/>
                    <a:pt x="261" y="276"/>
                    <a:pt x="262" y="275"/>
                  </a:cubicBezTo>
                  <a:cubicBezTo>
                    <a:pt x="263" y="275"/>
                    <a:pt x="263" y="275"/>
                    <a:pt x="263" y="275"/>
                  </a:cubicBezTo>
                  <a:cubicBezTo>
                    <a:pt x="263" y="275"/>
                    <a:pt x="263" y="274"/>
                    <a:pt x="263" y="274"/>
                  </a:cubicBezTo>
                  <a:cubicBezTo>
                    <a:pt x="263" y="273"/>
                    <a:pt x="263" y="272"/>
                    <a:pt x="263" y="271"/>
                  </a:cubicBezTo>
                  <a:cubicBezTo>
                    <a:pt x="263" y="271"/>
                    <a:pt x="264" y="271"/>
                    <a:pt x="264" y="271"/>
                  </a:cubicBezTo>
                  <a:cubicBezTo>
                    <a:pt x="265" y="271"/>
                    <a:pt x="265" y="270"/>
                    <a:pt x="265" y="270"/>
                  </a:cubicBezTo>
                  <a:cubicBezTo>
                    <a:pt x="266" y="270"/>
                    <a:pt x="266" y="270"/>
                    <a:pt x="267" y="270"/>
                  </a:cubicBezTo>
                  <a:cubicBezTo>
                    <a:pt x="267" y="270"/>
                    <a:pt x="269" y="270"/>
                    <a:pt x="269" y="270"/>
                  </a:cubicBezTo>
                  <a:cubicBezTo>
                    <a:pt x="269" y="271"/>
                    <a:pt x="269" y="271"/>
                    <a:pt x="268" y="271"/>
                  </a:cubicBezTo>
                  <a:cubicBezTo>
                    <a:pt x="268" y="271"/>
                    <a:pt x="268" y="272"/>
                    <a:pt x="268" y="273"/>
                  </a:cubicBezTo>
                  <a:cubicBezTo>
                    <a:pt x="269" y="273"/>
                    <a:pt x="269" y="274"/>
                    <a:pt x="269" y="274"/>
                  </a:cubicBezTo>
                  <a:cubicBezTo>
                    <a:pt x="269" y="274"/>
                    <a:pt x="269" y="275"/>
                    <a:pt x="270" y="275"/>
                  </a:cubicBezTo>
                  <a:cubicBezTo>
                    <a:pt x="270" y="275"/>
                    <a:pt x="272" y="273"/>
                    <a:pt x="272" y="273"/>
                  </a:cubicBezTo>
                  <a:cubicBezTo>
                    <a:pt x="276" y="253"/>
                    <a:pt x="276" y="253"/>
                    <a:pt x="276" y="253"/>
                  </a:cubicBezTo>
                  <a:cubicBezTo>
                    <a:pt x="276" y="253"/>
                    <a:pt x="275" y="253"/>
                    <a:pt x="275" y="252"/>
                  </a:cubicBezTo>
                  <a:cubicBezTo>
                    <a:pt x="275" y="252"/>
                    <a:pt x="274" y="251"/>
                    <a:pt x="274" y="250"/>
                  </a:cubicBezTo>
                  <a:cubicBezTo>
                    <a:pt x="274" y="249"/>
                    <a:pt x="274" y="249"/>
                    <a:pt x="274" y="248"/>
                  </a:cubicBezTo>
                  <a:cubicBezTo>
                    <a:pt x="273" y="246"/>
                    <a:pt x="273" y="245"/>
                    <a:pt x="273" y="244"/>
                  </a:cubicBezTo>
                  <a:cubicBezTo>
                    <a:pt x="273" y="243"/>
                    <a:pt x="272" y="242"/>
                    <a:pt x="272" y="241"/>
                  </a:cubicBezTo>
                  <a:cubicBezTo>
                    <a:pt x="272" y="240"/>
                    <a:pt x="272" y="239"/>
                    <a:pt x="272" y="238"/>
                  </a:cubicBezTo>
                  <a:cubicBezTo>
                    <a:pt x="272" y="237"/>
                    <a:pt x="271" y="236"/>
                    <a:pt x="271" y="236"/>
                  </a:cubicBezTo>
                  <a:cubicBezTo>
                    <a:pt x="271" y="234"/>
                    <a:pt x="271" y="233"/>
                    <a:pt x="271" y="232"/>
                  </a:cubicBezTo>
                  <a:cubicBezTo>
                    <a:pt x="271" y="231"/>
                    <a:pt x="271" y="231"/>
                    <a:pt x="271" y="230"/>
                  </a:cubicBezTo>
                  <a:cubicBezTo>
                    <a:pt x="271" y="230"/>
                    <a:pt x="271" y="229"/>
                    <a:pt x="271" y="229"/>
                  </a:cubicBezTo>
                  <a:cubicBezTo>
                    <a:pt x="271" y="228"/>
                    <a:pt x="270" y="228"/>
                    <a:pt x="270" y="227"/>
                  </a:cubicBezTo>
                  <a:cubicBezTo>
                    <a:pt x="270" y="227"/>
                    <a:pt x="270" y="226"/>
                    <a:pt x="270" y="225"/>
                  </a:cubicBezTo>
                  <a:cubicBezTo>
                    <a:pt x="270" y="224"/>
                    <a:pt x="270" y="222"/>
                    <a:pt x="270" y="221"/>
                  </a:cubicBezTo>
                  <a:cubicBezTo>
                    <a:pt x="269" y="220"/>
                    <a:pt x="269" y="218"/>
                    <a:pt x="269" y="217"/>
                  </a:cubicBezTo>
                  <a:cubicBezTo>
                    <a:pt x="269" y="216"/>
                    <a:pt x="269" y="215"/>
                    <a:pt x="268" y="214"/>
                  </a:cubicBezTo>
                  <a:cubicBezTo>
                    <a:pt x="268" y="214"/>
                    <a:pt x="268" y="214"/>
                    <a:pt x="268" y="213"/>
                  </a:cubicBezTo>
                  <a:cubicBezTo>
                    <a:pt x="267" y="212"/>
                    <a:pt x="267" y="211"/>
                    <a:pt x="267" y="210"/>
                  </a:cubicBezTo>
                  <a:cubicBezTo>
                    <a:pt x="266" y="209"/>
                    <a:pt x="266" y="209"/>
                    <a:pt x="265" y="208"/>
                  </a:cubicBezTo>
                  <a:cubicBezTo>
                    <a:pt x="265" y="208"/>
                    <a:pt x="265" y="207"/>
                    <a:pt x="265" y="207"/>
                  </a:cubicBezTo>
                  <a:cubicBezTo>
                    <a:pt x="264" y="207"/>
                    <a:pt x="264" y="207"/>
                    <a:pt x="264" y="206"/>
                  </a:cubicBezTo>
                  <a:cubicBezTo>
                    <a:pt x="263" y="206"/>
                    <a:pt x="262" y="206"/>
                    <a:pt x="262" y="205"/>
                  </a:cubicBezTo>
                  <a:cubicBezTo>
                    <a:pt x="260" y="205"/>
                    <a:pt x="258" y="203"/>
                    <a:pt x="257" y="205"/>
                  </a:cubicBezTo>
                  <a:cubicBezTo>
                    <a:pt x="256" y="205"/>
                    <a:pt x="256" y="206"/>
                    <a:pt x="255" y="206"/>
                  </a:cubicBezTo>
                  <a:cubicBezTo>
                    <a:pt x="255" y="207"/>
                    <a:pt x="254" y="207"/>
                    <a:pt x="253" y="207"/>
                  </a:cubicBezTo>
                  <a:cubicBezTo>
                    <a:pt x="253" y="207"/>
                    <a:pt x="252" y="207"/>
                    <a:pt x="252" y="207"/>
                  </a:cubicBezTo>
                  <a:cubicBezTo>
                    <a:pt x="251" y="207"/>
                    <a:pt x="251" y="207"/>
                    <a:pt x="251" y="208"/>
                  </a:cubicBezTo>
                  <a:cubicBezTo>
                    <a:pt x="250" y="208"/>
                    <a:pt x="250" y="207"/>
                    <a:pt x="249" y="207"/>
                  </a:cubicBezTo>
                  <a:cubicBezTo>
                    <a:pt x="249" y="208"/>
                    <a:pt x="248" y="207"/>
                    <a:pt x="247" y="208"/>
                  </a:cubicBezTo>
                  <a:cubicBezTo>
                    <a:pt x="247" y="208"/>
                    <a:pt x="247" y="208"/>
                    <a:pt x="247" y="209"/>
                  </a:cubicBezTo>
                  <a:cubicBezTo>
                    <a:pt x="247" y="209"/>
                    <a:pt x="247" y="209"/>
                    <a:pt x="246" y="209"/>
                  </a:cubicBezTo>
                  <a:cubicBezTo>
                    <a:pt x="246" y="209"/>
                    <a:pt x="246" y="209"/>
                    <a:pt x="246" y="210"/>
                  </a:cubicBezTo>
                  <a:cubicBezTo>
                    <a:pt x="246" y="210"/>
                    <a:pt x="246" y="211"/>
                    <a:pt x="245" y="211"/>
                  </a:cubicBezTo>
                  <a:cubicBezTo>
                    <a:pt x="244" y="211"/>
                    <a:pt x="242" y="210"/>
                    <a:pt x="242" y="211"/>
                  </a:cubicBezTo>
                  <a:cubicBezTo>
                    <a:pt x="242" y="211"/>
                    <a:pt x="242" y="212"/>
                    <a:pt x="243" y="212"/>
                  </a:cubicBezTo>
                  <a:cubicBezTo>
                    <a:pt x="243" y="212"/>
                    <a:pt x="243" y="212"/>
                    <a:pt x="244" y="212"/>
                  </a:cubicBezTo>
                  <a:cubicBezTo>
                    <a:pt x="244" y="212"/>
                    <a:pt x="244" y="212"/>
                    <a:pt x="244" y="213"/>
                  </a:cubicBezTo>
                  <a:cubicBezTo>
                    <a:pt x="244" y="213"/>
                    <a:pt x="244" y="213"/>
                    <a:pt x="244" y="213"/>
                  </a:cubicBezTo>
                  <a:cubicBezTo>
                    <a:pt x="243" y="214"/>
                    <a:pt x="243" y="214"/>
                    <a:pt x="242" y="214"/>
                  </a:cubicBezTo>
                  <a:cubicBezTo>
                    <a:pt x="242" y="215"/>
                    <a:pt x="242" y="215"/>
                    <a:pt x="242" y="215"/>
                  </a:cubicBezTo>
                  <a:cubicBezTo>
                    <a:pt x="242" y="215"/>
                    <a:pt x="242" y="216"/>
                    <a:pt x="242" y="216"/>
                  </a:cubicBezTo>
                  <a:cubicBezTo>
                    <a:pt x="241" y="216"/>
                    <a:pt x="241" y="217"/>
                    <a:pt x="241" y="217"/>
                  </a:cubicBezTo>
                  <a:cubicBezTo>
                    <a:pt x="241" y="218"/>
                    <a:pt x="241" y="219"/>
                    <a:pt x="240" y="220"/>
                  </a:cubicBezTo>
                  <a:cubicBezTo>
                    <a:pt x="239" y="220"/>
                    <a:pt x="238" y="220"/>
                    <a:pt x="237" y="221"/>
                  </a:cubicBezTo>
                  <a:cubicBezTo>
                    <a:pt x="237" y="221"/>
                    <a:pt x="237" y="221"/>
                    <a:pt x="237" y="222"/>
                  </a:cubicBezTo>
                  <a:cubicBezTo>
                    <a:pt x="237" y="222"/>
                    <a:pt x="237" y="222"/>
                    <a:pt x="236" y="223"/>
                  </a:cubicBezTo>
                  <a:cubicBezTo>
                    <a:pt x="235" y="224"/>
                    <a:pt x="234" y="225"/>
                    <a:pt x="233" y="226"/>
                  </a:cubicBezTo>
                  <a:cubicBezTo>
                    <a:pt x="233" y="226"/>
                    <a:pt x="232" y="226"/>
                    <a:pt x="232" y="226"/>
                  </a:cubicBezTo>
                  <a:cubicBezTo>
                    <a:pt x="232" y="226"/>
                    <a:pt x="232" y="226"/>
                    <a:pt x="231" y="226"/>
                  </a:cubicBezTo>
                  <a:cubicBezTo>
                    <a:pt x="231" y="226"/>
                    <a:pt x="230" y="226"/>
                    <a:pt x="229" y="226"/>
                  </a:cubicBezTo>
                  <a:cubicBezTo>
                    <a:pt x="229" y="225"/>
                    <a:pt x="229" y="225"/>
                    <a:pt x="229" y="225"/>
                  </a:cubicBezTo>
                  <a:cubicBezTo>
                    <a:pt x="228" y="225"/>
                    <a:pt x="228" y="225"/>
                    <a:pt x="228" y="225"/>
                  </a:cubicBezTo>
                  <a:cubicBezTo>
                    <a:pt x="227" y="225"/>
                    <a:pt x="227" y="224"/>
                    <a:pt x="226" y="224"/>
                  </a:cubicBezTo>
                  <a:cubicBezTo>
                    <a:pt x="226" y="223"/>
                    <a:pt x="225" y="223"/>
                    <a:pt x="225" y="222"/>
                  </a:cubicBezTo>
                  <a:cubicBezTo>
                    <a:pt x="225" y="222"/>
                    <a:pt x="224" y="222"/>
                    <a:pt x="224" y="221"/>
                  </a:cubicBezTo>
                  <a:cubicBezTo>
                    <a:pt x="224" y="220"/>
                    <a:pt x="224" y="219"/>
                    <a:pt x="224" y="218"/>
                  </a:cubicBezTo>
                  <a:cubicBezTo>
                    <a:pt x="224" y="217"/>
                    <a:pt x="224" y="216"/>
                    <a:pt x="224" y="215"/>
                  </a:cubicBezTo>
                  <a:cubicBezTo>
                    <a:pt x="224" y="214"/>
                    <a:pt x="225" y="213"/>
                    <a:pt x="224" y="213"/>
                  </a:cubicBezTo>
                  <a:cubicBezTo>
                    <a:pt x="224" y="212"/>
                    <a:pt x="224" y="212"/>
                    <a:pt x="225" y="212"/>
                  </a:cubicBezTo>
                  <a:cubicBezTo>
                    <a:pt x="225" y="212"/>
                    <a:pt x="225" y="211"/>
                    <a:pt x="225" y="211"/>
                  </a:cubicBezTo>
                  <a:cubicBezTo>
                    <a:pt x="225" y="210"/>
                    <a:pt x="225" y="210"/>
                    <a:pt x="225" y="210"/>
                  </a:cubicBezTo>
                  <a:cubicBezTo>
                    <a:pt x="226" y="209"/>
                    <a:pt x="226" y="209"/>
                    <a:pt x="226" y="209"/>
                  </a:cubicBezTo>
                  <a:cubicBezTo>
                    <a:pt x="227" y="209"/>
                    <a:pt x="227" y="208"/>
                    <a:pt x="227" y="208"/>
                  </a:cubicBezTo>
                  <a:cubicBezTo>
                    <a:pt x="228" y="208"/>
                    <a:pt x="229" y="208"/>
                    <a:pt x="229" y="208"/>
                  </a:cubicBezTo>
                  <a:cubicBezTo>
                    <a:pt x="230" y="208"/>
                    <a:pt x="232" y="208"/>
                    <a:pt x="232" y="207"/>
                  </a:cubicBezTo>
                  <a:cubicBezTo>
                    <a:pt x="233" y="207"/>
                    <a:pt x="232" y="206"/>
                    <a:pt x="233" y="205"/>
                  </a:cubicBezTo>
                  <a:cubicBezTo>
                    <a:pt x="233" y="205"/>
                    <a:pt x="233" y="205"/>
                    <a:pt x="234" y="205"/>
                  </a:cubicBezTo>
                  <a:cubicBezTo>
                    <a:pt x="235" y="205"/>
                    <a:pt x="235" y="204"/>
                    <a:pt x="236" y="204"/>
                  </a:cubicBezTo>
                  <a:cubicBezTo>
                    <a:pt x="236" y="204"/>
                    <a:pt x="236" y="199"/>
                    <a:pt x="237" y="199"/>
                  </a:cubicBezTo>
                  <a:cubicBezTo>
                    <a:pt x="237" y="199"/>
                    <a:pt x="237" y="199"/>
                    <a:pt x="237" y="199"/>
                  </a:cubicBezTo>
                  <a:cubicBezTo>
                    <a:pt x="237" y="197"/>
                    <a:pt x="237" y="196"/>
                    <a:pt x="238" y="195"/>
                  </a:cubicBezTo>
                  <a:cubicBezTo>
                    <a:pt x="238" y="195"/>
                    <a:pt x="239" y="194"/>
                    <a:pt x="239" y="194"/>
                  </a:cubicBezTo>
                  <a:cubicBezTo>
                    <a:pt x="240" y="194"/>
                    <a:pt x="240" y="194"/>
                    <a:pt x="240" y="195"/>
                  </a:cubicBezTo>
                  <a:cubicBezTo>
                    <a:pt x="241" y="195"/>
                    <a:pt x="242" y="194"/>
                    <a:pt x="242" y="194"/>
                  </a:cubicBezTo>
                  <a:cubicBezTo>
                    <a:pt x="243" y="193"/>
                    <a:pt x="244" y="192"/>
                    <a:pt x="244" y="191"/>
                  </a:cubicBezTo>
                  <a:cubicBezTo>
                    <a:pt x="245" y="190"/>
                    <a:pt x="245" y="189"/>
                    <a:pt x="245" y="188"/>
                  </a:cubicBezTo>
                  <a:cubicBezTo>
                    <a:pt x="245" y="188"/>
                    <a:pt x="245" y="187"/>
                    <a:pt x="245" y="187"/>
                  </a:cubicBezTo>
                  <a:cubicBezTo>
                    <a:pt x="245" y="186"/>
                    <a:pt x="245" y="186"/>
                    <a:pt x="245" y="186"/>
                  </a:cubicBezTo>
                  <a:cubicBezTo>
                    <a:pt x="245" y="185"/>
                    <a:pt x="245" y="184"/>
                    <a:pt x="245" y="183"/>
                  </a:cubicBezTo>
                  <a:cubicBezTo>
                    <a:pt x="245" y="182"/>
                    <a:pt x="245" y="181"/>
                    <a:pt x="246" y="180"/>
                  </a:cubicBezTo>
                  <a:cubicBezTo>
                    <a:pt x="246" y="180"/>
                    <a:pt x="246" y="180"/>
                    <a:pt x="246" y="180"/>
                  </a:cubicBezTo>
                  <a:cubicBezTo>
                    <a:pt x="246" y="179"/>
                    <a:pt x="246" y="179"/>
                    <a:pt x="246" y="179"/>
                  </a:cubicBezTo>
                  <a:cubicBezTo>
                    <a:pt x="246" y="177"/>
                    <a:pt x="246" y="176"/>
                    <a:pt x="246" y="175"/>
                  </a:cubicBezTo>
                  <a:cubicBezTo>
                    <a:pt x="246" y="174"/>
                    <a:pt x="247" y="174"/>
                    <a:pt x="247" y="173"/>
                  </a:cubicBezTo>
                  <a:cubicBezTo>
                    <a:pt x="247" y="173"/>
                    <a:pt x="247" y="172"/>
                    <a:pt x="247" y="171"/>
                  </a:cubicBezTo>
                  <a:cubicBezTo>
                    <a:pt x="247" y="171"/>
                    <a:pt x="247" y="170"/>
                    <a:pt x="247" y="169"/>
                  </a:cubicBezTo>
                  <a:cubicBezTo>
                    <a:pt x="247" y="169"/>
                    <a:pt x="246" y="168"/>
                    <a:pt x="246" y="167"/>
                  </a:cubicBezTo>
                  <a:cubicBezTo>
                    <a:pt x="246" y="167"/>
                    <a:pt x="246" y="166"/>
                    <a:pt x="246" y="166"/>
                  </a:cubicBezTo>
                  <a:cubicBezTo>
                    <a:pt x="245" y="165"/>
                    <a:pt x="245" y="165"/>
                    <a:pt x="245" y="165"/>
                  </a:cubicBezTo>
                  <a:cubicBezTo>
                    <a:pt x="245" y="164"/>
                    <a:pt x="244" y="163"/>
                    <a:pt x="244" y="163"/>
                  </a:cubicBezTo>
                  <a:cubicBezTo>
                    <a:pt x="244" y="163"/>
                    <a:pt x="243" y="163"/>
                    <a:pt x="243" y="163"/>
                  </a:cubicBezTo>
                  <a:cubicBezTo>
                    <a:pt x="243" y="163"/>
                    <a:pt x="243" y="162"/>
                    <a:pt x="242" y="162"/>
                  </a:cubicBezTo>
                  <a:cubicBezTo>
                    <a:pt x="242" y="161"/>
                    <a:pt x="241" y="161"/>
                    <a:pt x="241" y="160"/>
                  </a:cubicBezTo>
                  <a:cubicBezTo>
                    <a:pt x="241" y="159"/>
                    <a:pt x="241" y="158"/>
                    <a:pt x="241" y="157"/>
                  </a:cubicBezTo>
                  <a:cubicBezTo>
                    <a:pt x="240" y="157"/>
                    <a:pt x="240" y="157"/>
                    <a:pt x="240" y="157"/>
                  </a:cubicBezTo>
                  <a:cubicBezTo>
                    <a:pt x="241" y="156"/>
                    <a:pt x="241" y="156"/>
                    <a:pt x="241" y="156"/>
                  </a:cubicBezTo>
                  <a:cubicBezTo>
                    <a:pt x="242" y="156"/>
                    <a:pt x="243" y="155"/>
                    <a:pt x="243" y="155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4" y="155"/>
                    <a:pt x="245" y="155"/>
                    <a:pt x="245" y="155"/>
                  </a:cubicBezTo>
                  <a:cubicBezTo>
                    <a:pt x="245" y="155"/>
                    <a:pt x="246" y="155"/>
                    <a:pt x="246" y="155"/>
                  </a:cubicBezTo>
                  <a:cubicBezTo>
                    <a:pt x="246" y="155"/>
                    <a:pt x="246" y="154"/>
                    <a:pt x="246" y="154"/>
                  </a:cubicBezTo>
                  <a:cubicBezTo>
                    <a:pt x="246" y="153"/>
                    <a:pt x="246" y="153"/>
                    <a:pt x="245" y="152"/>
                  </a:cubicBezTo>
                  <a:cubicBezTo>
                    <a:pt x="245" y="151"/>
                    <a:pt x="245" y="151"/>
                    <a:pt x="244" y="151"/>
                  </a:cubicBezTo>
                  <a:cubicBezTo>
                    <a:pt x="244" y="150"/>
                    <a:pt x="244" y="150"/>
                    <a:pt x="244" y="149"/>
                  </a:cubicBezTo>
                  <a:cubicBezTo>
                    <a:pt x="243" y="149"/>
                    <a:pt x="243" y="149"/>
                    <a:pt x="243" y="148"/>
                  </a:cubicBezTo>
                  <a:cubicBezTo>
                    <a:pt x="243" y="148"/>
                    <a:pt x="243" y="147"/>
                    <a:pt x="242" y="147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6"/>
                    <a:pt x="242" y="146"/>
                    <a:pt x="242" y="146"/>
                  </a:cubicBezTo>
                  <a:cubicBezTo>
                    <a:pt x="242" y="146"/>
                    <a:pt x="242" y="146"/>
                    <a:pt x="242" y="146"/>
                  </a:cubicBezTo>
                  <a:cubicBezTo>
                    <a:pt x="242" y="145"/>
                    <a:pt x="242" y="145"/>
                    <a:pt x="242" y="144"/>
                  </a:cubicBezTo>
                  <a:cubicBezTo>
                    <a:pt x="242" y="144"/>
                    <a:pt x="242" y="144"/>
                    <a:pt x="242" y="143"/>
                  </a:cubicBezTo>
                  <a:cubicBezTo>
                    <a:pt x="241" y="143"/>
                    <a:pt x="241" y="143"/>
                    <a:pt x="241" y="143"/>
                  </a:cubicBezTo>
                  <a:cubicBezTo>
                    <a:pt x="240" y="143"/>
                    <a:pt x="240" y="142"/>
                    <a:pt x="240" y="142"/>
                  </a:cubicBezTo>
                  <a:cubicBezTo>
                    <a:pt x="239" y="142"/>
                    <a:pt x="239" y="142"/>
                    <a:pt x="238" y="142"/>
                  </a:cubicBezTo>
                  <a:cubicBezTo>
                    <a:pt x="237" y="142"/>
                    <a:pt x="236" y="141"/>
                    <a:pt x="235" y="140"/>
                  </a:cubicBezTo>
                  <a:cubicBezTo>
                    <a:pt x="234" y="139"/>
                    <a:pt x="233" y="138"/>
                    <a:pt x="232" y="138"/>
                  </a:cubicBezTo>
                  <a:cubicBezTo>
                    <a:pt x="231" y="138"/>
                    <a:pt x="229" y="139"/>
                    <a:pt x="229" y="138"/>
                  </a:cubicBezTo>
                  <a:cubicBezTo>
                    <a:pt x="228" y="138"/>
                    <a:pt x="228" y="137"/>
                    <a:pt x="228" y="137"/>
                  </a:cubicBezTo>
                  <a:cubicBezTo>
                    <a:pt x="227" y="137"/>
                    <a:pt x="227" y="137"/>
                    <a:pt x="226" y="137"/>
                  </a:cubicBezTo>
                  <a:cubicBezTo>
                    <a:pt x="226" y="136"/>
                    <a:pt x="225" y="135"/>
                    <a:pt x="225" y="135"/>
                  </a:cubicBezTo>
                  <a:cubicBezTo>
                    <a:pt x="224" y="134"/>
                    <a:pt x="223" y="134"/>
                    <a:pt x="222" y="134"/>
                  </a:cubicBezTo>
                  <a:cubicBezTo>
                    <a:pt x="221" y="134"/>
                    <a:pt x="218" y="134"/>
                    <a:pt x="218" y="133"/>
                  </a:cubicBezTo>
                  <a:cubicBezTo>
                    <a:pt x="217" y="131"/>
                    <a:pt x="216" y="130"/>
                    <a:pt x="215" y="129"/>
                  </a:cubicBezTo>
                  <a:cubicBezTo>
                    <a:pt x="215" y="128"/>
                    <a:pt x="214" y="127"/>
                    <a:pt x="212" y="127"/>
                  </a:cubicBezTo>
                  <a:cubicBezTo>
                    <a:pt x="212" y="127"/>
                    <a:pt x="212" y="127"/>
                    <a:pt x="211" y="127"/>
                  </a:cubicBezTo>
                  <a:cubicBezTo>
                    <a:pt x="211" y="127"/>
                    <a:pt x="211" y="127"/>
                    <a:pt x="211" y="126"/>
                  </a:cubicBezTo>
                  <a:cubicBezTo>
                    <a:pt x="210" y="126"/>
                    <a:pt x="209" y="126"/>
                    <a:pt x="209" y="126"/>
                  </a:cubicBezTo>
                  <a:cubicBezTo>
                    <a:pt x="209" y="126"/>
                    <a:pt x="208" y="126"/>
                    <a:pt x="208" y="126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8" y="127"/>
                    <a:pt x="207" y="127"/>
                    <a:pt x="207" y="127"/>
                  </a:cubicBezTo>
                  <a:cubicBezTo>
                    <a:pt x="206" y="127"/>
                    <a:pt x="206" y="126"/>
                    <a:pt x="205" y="126"/>
                  </a:cubicBezTo>
                  <a:cubicBezTo>
                    <a:pt x="205" y="126"/>
                    <a:pt x="204" y="126"/>
                    <a:pt x="204" y="125"/>
                  </a:cubicBezTo>
                  <a:cubicBezTo>
                    <a:pt x="203" y="125"/>
                    <a:pt x="203" y="124"/>
                    <a:pt x="202" y="124"/>
                  </a:cubicBezTo>
                  <a:cubicBezTo>
                    <a:pt x="202" y="124"/>
                    <a:pt x="202" y="123"/>
                    <a:pt x="201" y="123"/>
                  </a:cubicBezTo>
                  <a:cubicBezTo>
                    <a:pt x="201" y="123"/>
                    <a:pt x="200" y="123"/>
                    <a:pt x="199" y="122"/>
                  </a:cubicBezTo>
                  <a:cubicBezTo>
                    <a:pt x="199" y="122"/>
                    <a:pt x="198" y="122"/>
                    <a:pt x="198" y="121"/>
                  </a:cubicBezTo>
                  <a:cubicBezTo>
                    <a:pt x="198" y="121"/>
                    <a:pt x="197" y="121"/>
                    <a:pt x="197" y="121"/>
                  </a:cubicBezTo>
                  <a:cubicBezTo>
                    <a:pt x="197" y="121"/>
                    <a:pt x="197" y="121"/>
                    <a:pt x="196" y="120"/>
                  </a:cubicBezTo>
                  <a:cubicBezTo>
                    <a:pt x="196" y="120"/>
                    <a:pt x="196" y="120"/>
                    <a:pt x="195" y="120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21"/>
                    <a:pt x="194" y="121"/>
                    <a:pt x="194" y="121"/>
                  </a:cubicBezTo>
                  <a:cubicBezTo>
                    <a:pt x="193" y="121"/>
                    <a:pt x="192" y="121"/>
                    <a:pt x="191" y="121"/>
                  </a:cubicBezTo>
                  <a:cubicBezTo>
                    <a:pt x="190" y="121"/>
                    <a:pt x="189" y="121"/>
                    <a:pt x="188" y="121"/>
                  </a:cubicBezTo>
                  <a:cubicBezTo>
                    <a:pt x="187" y="121"/>
                    <a:pt x="187" y="121"/>
                    <a:pt x="187" y="122"/>
                  </a:cubicBezTo>
                  <a:cubicBezTo>
                    <a:pt x="187" y="122"/>
                    <a:pt x="188" y="122"/>
                    <a:pt x="188" y="122"/>
                  </a:cubicBezTo>
                  <a:cubicBezTo>
                    <a:pt x="188" y="123"/>
                    <a:pt x="189" y="123"/>
                    <a:pt x="189" y="124"/>
                  </a:cubicBezTo>
                  <a:cubicBezTo>
                    <a:pt x="189" y="124"/>
                    <a:pt x="189" y="125"/>
                    <a:pt x="188" y="125"/>
                  </a:cubicBezTo>
                  <a:cubicBezTo>
                    <a:pt x="188" y="126"/>
                    <a:pt x="187" y="126"/>
                    <a:pt x="187" y="127"/>
                  </a:cubicBezTo>
                  <a:cubicBezTo>
                    <a:pt x="186" y="127"/>
                    <a:pt x="186" y="127"/>
                    <a:pt x="186" y="127"/>
                  </a:cubicBezTo>
                  <a:cubicBezTo>
                    <a:pt x="186" y="128"/>
                    <a:pt x="185" y="128"/>
                    <a:pt x="185" y="128"/>
                  </a:cubicBezTo>
                  <a:cubicBezTo>
                    <a:pt x="185" y="129"/>
                    <a:pt x="184" y="129"/>
                    <a:pt x="183" y="130"/>
                  </a:cubicBezTo>
                  <a:cubicBezTo>
                    <a:pt x="183" y="131"/>
                    <a:pt x="183" y="132"/>
                    <a:pt x="183" y="133"/>
                  </a:cubicBezTo>
                  <a:cubicBezTo>
                    <a:pt x="183" y="133"/>
                    <a:pt x="183" y="133"/>
                    <a:pt x="183" y="134"/>
                  </a:cubicBezTo>
                  <a:cubicBezTo>
                    <a:pt x="183" y="134"/>
                    <a:pt x="184" y="134"/>
                    <a:pt x="184" y="134"/>
                  </a:cubicBezTo>
                  <a:cubicBezTo>
                    <a:pt x="184" y="135"/>
                    <a:pt x="184" y="135"/>
                    <a:pt x="184" y="135"/>
                  </a:cubicBezTo>
                  <a:cubicBezTo>
                    <a:pt x="184" y="136"/>
                    <a:pt x="185" y="136"/>
                    <a:pt x="185" y="137"/>
                  </a:cubicBezTo>
                  <a:cubicBezTo>
                    <a:pt x="186" y="137"/>
                    <a:pt x="186" y="137"/>
                    <a:pt x="187" y="138"/>
                  </a:cubicBezTo>
                  <a:cubicBezTo>
                    <a:pt x="187" y="138"/>
                    <a:pt x="188" y="138"/>
                    <a:pt x="188" y="139"/>
                  </a:cubicBezTo>
                  <a:cubicBezTo>
                    <a:pt x="189" y="139"/>
                    <a:pt x="189" y="139"/>
                    <a:pt x="189" y="140"/>
                  </a:cubicBezTo>
                  <a:cubicBezTo>
                    <a:pt x="189" y="140"/>
                    <a:pt x="189" y="140"/>
                    <a:pt x="189" y="140"/>
                  </a:cubicBezTo>
                  <a:cubicBezTo>
                    <a:pt x="188" y="140"/>
                    <a:pt x="186" y="140"/>
                    <a:pt x="185" y="140"/>
                  </a:cubicBezTo>
                  <a:cubicBezTo>
                    <a:pt x="185" y="140"/>
                    <a:pt x="184" y="140"/>
                    <a:pt x="184" y="140"/>
                  </a:cubicBezTo>
                  <a:cubicBezTo>
                    <a:pt x="183" y="140"/>
                    <a:pt x="183" y="140"/>
                    <a:pt x="183" y="141"/>
                  </a:cubicBezTo>
                  <a:cubicBezTo>
                    <a:pt x="182" y="141"/>
                    <a:pt x="182" y="141"/>
                    <a:pt x="181" y="141"/>
                  </a:cubicBezTo>
                  <a:cubicBezTo>
                    <a:pt x="180" y="141"/>
                    <a:pt x="180" y="141"/>
                    <a:pt x="179" y="141"/>
                  </a:cubicBezTo>
                  <a:cubicBezTo>
                    <a:pt x="179" y="141"/>
                    <a:pt x="179" y="142"/>
                    <a:pt x="179" y="142"/>
                  </a:cubicBezTo>
                  <a:cubicBezTo>
                    <a:pt x="178" y="143"/>
                    <a:pt x="177" y="143"/>
                    <a:pt x="177" y="144"/>
                  </a:cubicBezTo>
                  <a:cubicBezTo>
                    <a:pt x="177" y="144"/>
                    <a:pt x="176" y="145"/>
                    <a:pt x="176" y="145"/>
                  </a:cubicBezTo>
                  <a:cubicBezTo>
                    <a:pt x="175" y="146"/>
                    <a:pt x="174" y="147"/>
                    <a:pt x="173" y="148"/>
                  </a:cubicBezTo>
                  <a:cubicBezTo>
                    <a:pt x="173" y="148"/>
                    <a:pt x="173" y="149"/>
                    <a:pt x="173" y="149"/>
                  </a:cubicBezTo>
                  <a:cubicBezTo>
                    <a:pt x="173" y="150"/>
                    <a:pt x="173" y="150"/>
                    <a:pt x="173" y="151"/>
                  </a:cubicBezTo>
                  <a:cubicBezTo>
                    <a:pt x="173" y="151"/>
                    <a:pt x="173" y="151"/>
                    <a:pt x="173" y="151"/>
                  </a:cubicBezTo>
                  <a:cubicBezTo>
                    <a:pt x="174" y="152"/>
                    <a:pt x="174" y="152"/>
                    <a:pt x="174" y="152"/>
                  </a:cubicBezTo>
                  <a:cubicBezTo>
                    <a:pt x="174" y="153"/>
                    <a:pt x="174" y="153"/>
                    <a:pt x="174" y="154"/>
                  </a:cubicBezTo>
                  <a:cubicBezTo>
                    <a:pt x="173" y="154"/>
                    <a:pt x="173" y="154"/>
                    <a:pt x="173" y="155"/>
                  </a:cubicBezTo>
                  <a:cubicBezTo>
                    <a:pt x="173" y="156"/>
                    <a:pt x="173" y="157"/>
                    <a:pt x="173" y="158"/>
                  </a:cubicBezTo>
                  <a:cubicBezTo>
                    <a:pt x="173" y="160"/>
                    <a:pt x="174" y="161"/>
                    <a:pt x="173" y="163"/>
                  </a:cubicBezTo>
                  <a:cubicBezTo>
                    <a:pt x="173" y="163"/>
                    <a:pt x="173" y="163"/>
                    <a:pt x="173" y="164"/>
                  </a:cubicBezTo>
                  <a:cubicBezTo>
                    <a:pt x="172" y="164"/>
                    <a:pt x="172" y="164"/>
                    <a:pt x="172" y="164"/>
                  </a:cubicBezTo>
                  <a:cubicBezTo>
                    <a:pt x="172" y="165"/>
                    <a:pt x="172" y="165"/>
                    <a:pt x="172" y="165"/>
                  </a:cubicBezTo>
                  <a:cubicBezTo>
                    <a:pt x="172" y="166"/>
                    <a:pt x="171" y="166"/>
                    <a:pt x="171" y="166"/>
                  </a:cubicBezTo>
                  <a:cubicBezTo>
                    <a:pt x="171" y="167"/>
                    <a:pt x="171" y="167"/>
                    <a:pt x="171" y="167"/>
                  </a:cubicBezTo>
                  <a:cubicBezTo>
                    <a:pt x="170" y="167"/>
                    <a:pt x="170" y="168"/>
                    <a:pt x="170" y="168"/>
                  </a:cubicBezTo>
                  <a:cubicBezTo>
                    <a:pt x="170" y="169"/>
                    <a:pt x="170" y="169"/>
                    <a:pt x="170" y="169"/>
                  </a:cubicBezTo>
                  <a:cubicBezTo>
                    <a:pt x="169" y="170"/>
                    <a:pt x="169" y="170"/>
                    <a:pt x="169" y="171"/>
                  </a:cubicBezTo>
                  <a:cubicBezTo>
                    <a:pt x="168" y="171"/>
                    <a:pt x="167" y="170"/>
                    <a:pt x="167" y="170"/>
                  </a:cubicBezTo>
                  <a:cubicBezTo>
                    <a:pt x="167" y="169"/>
                    <a:pt x="168" y="169"/>
                    <a:pt x="168" y="169"/>
                  </a:cubicBezTo>
                  <a:cubicBezTo>
                    <a:pt x="168" y="168"/>
                    <a:pt x="168" y="168"/>
                    <a:pt x="168" y="167"/>
                  </a:cubicBezTo>
                  <a:cubicBezTo>
                    <a:pt x="169" y="167"/>
                    <a:pt x="169" y="166"/>
                    <a:pt x="169" y="166"/>
                  </a:cubicBezTo>
                  <a:cubicBezTo>
                    <a:pt x="169" y="165"/>
                    <a:pt x="169" y="165"/>
                    <a:pt x="169" y="164"/>
                  </a:cubicBezTo>
                  <a:cubicBezTo>
                    <a:pt x="169" y="164"/>
                    <a:pt x="169" y="163"/>
                    <a:pt x="169" y="162"/>
                  </a:cubicBezTo>
                  <a:cubicBezTo>
                    <a:pt x="169" y="162"/>
                    <a:pt x="170" y="162"/>
                    <a:pt x="170" y="161"/>
                  </a:cubicBezTo>
                  <a:cubicBezTo>
                    <a:pt x="170" y="161"/>
                    <a:pt x="170" y="160"/>
                    <a:pt x="170" y="160"/>
                  </a:cubicBezTo>
                  <a:cubicBezTo>
                    <a:pt x="170" y="159"/>
                    <a:pt x="170" y="159"/>
                    <a:pt x="170" y="159"/>
                  </a:cubicBezTo>
                  <a:cubicBezTo>
                    <a:pt x="169" y="160"/>
                    <a:pt x="169" y="162"/>
                    <a:pt x="169" y="163"/>
                  </a:cubicBezTo>
                  <a:cubicBezTo>
                    <a:pt x="169" y="164"/>
                    <a:pt x="168" y="164"/>
                    <a:pt x="168" y="165"/>
                  </a:cubicBezTo>
                  <a:cubicBezTo>
                    <a:pt x="168" y="166"/>
                    <a:pt x="168" y="166"/>
                    <a:pt x="168" y="166"/>
                  </a:cubicBezTo>
                  <a:cubicBezTo>
                    <a:pt x="167" y="167"/>
                    <a:pt x="167" y="167"/>
                    <a:pt x="167" y="168"/>
                  </a:cubicBezTo>
                  <a:cubicBezTo>
                    <a:pt x="167" y="168"/>
                    <a:pt x="167" y="168"/>
                    <a:pt x="167" y="168"/>
                  </a:cubicBezTo>
                  <a:cubicBezTo>
                    <a:pt x="166" y="169"/>
                    <a:pt x="166" y="169"/>
                    <a:pt x="166" y="169"/>
                  </a:cubicBezTo>
                  <a:cubicBezTo>
                    <a:pt x="166" y="170"/>
                    <a:pt x="165" y="169"/>
                    <a:pt x="165" y="169"/>
                  </a:cubicBezTo>
                  <a:cubicBezTo>
                    <a:pt x="165" y="168"/>
                    <a:pt x="165" y="168"/>
                    <a:pt x="165" y="167"/>
                  </a:cubicBezTo>
                  <a:cubicBezTo>
                    <a:pt x="165" y="166"/>
                    <a:pt x="165" y="166"/>
                    <a:pt x="165" y="165"/>
                  </a:cubicBezTo>
                  <a:cubicBezTo>
                    <a:pt x="165" y="165"/>
                    <a:pt x="165" y="164"/>
                    <a:pt x="165" y="164"/>
                  </a:cubicBezTo>
                  <a:cubicBezTo>
                    <a:pt x="165" y="164"/>
                    <a:pt x="165" y="164"/>
                    <a:pt x="166" y="164"/>
                  </a:cubicBezTo>
                  <a:cubicBezTo>
                    <a:pt x="166" y="163"/>
                    <a:pt x="166" y="163"/>
                    <a:pt x="166" y="162"/>
                  </a:cubicBezTo>
                  <a:cubicBezTo>
                    <a:pt x="166" y="162"/>
                    <a:pt x="166" y="161"/>
                    <a:pt x="166" y="161"/>
                  </a:cubicBezTo>
                  <a:cubicBezTo>
                    <a:pt x="166" y="160"/>
                    <a:pt x="165" y="160"/>
                    <a:pt x="165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65" y="159"/>
                    <a:pt x="165" y="159"/>
                    <a:pt x="165" y="158"/>
                  </a:cubicBezTo>
                  <a:cubicBezTo>
                    <a:pt x="166" y="158"/>
                    <a:pt x="166" y="158"/>
                    <a:pt x="167" y="157"/>
                  </a:cubicBezTo>
                  <a:cubicBezTo>
                    <a:pt x="167" y="156"/>
                    <a:pt x="167" y="156"/>
                    <a:pt x="167" y="155"/>
                  </a:cubicBezTo>
                  <a:cubicBezTo>
                    <a:pt x="167" y="155"/>
                    <a:pt x="168" y="154"/>
                    <a:pt x="167" y="154"/>
                  </a:cubicBezTo>
                  <a:cubicBezTo>
                    <a:pt x="167" y="154"/>
                    <a:pt x="167" y="154"/>
                    <a:pt x="167" y="154"/>
                  </a:cubicBezTo>
                  <a:cubicBezTo>
                    <a:pt x="166" y="153"/>
                    <a:pt x="166" y="153"/>
                    <a:pt x="166" y="153"/>
                  </a:cubicBezTo>
                  <a:cubicBezTo>
                    <a:pt x="166" y="153"/>
                    <a:pt x="166" y="152"/>
                    <a:pt x="166" y="152"/>
                  </a:cubicBezTo>
                  <a:cubicBezTo>
                    <a:pt x="166" y="152"/>
                    <a:pt x="165" y="152"/>
                    <a:pt x="165" y="151"/>
                  </a:cubicBezTo>
                  <a:cubicBezTo>
                    <a:pt x="165" y="151"/>
                    <a:pt x="165" y="151"/>
                    <a:pt x="165" y="151"/>
                  </a:cubicBezTo>
                  <a:cubicBezTo>
                    <a:pt x="165" y="150"/>
                    <a:pt x="164" y="151"/>
                    <a:pt x="164" y="151"/>
                  </a:cubicBezTo>
                  <a:cubicBezTo>
                    <a:pt x="164" y="152"/>
                    <a:pt x="164" y="152"/>
                    <a:pt x="164" y="152"/>
                  </a:cubicBezTo>
                  <a:cubicBezTo>
                    <a:pt x="163" y="153"/>
                    <a:pt x="163" y="153"/>
                    <a:pt x="163" y="154"/>
                  </a:cubicBezTo>
                  <a:cubicBezTo>
                    <a:pt x="163" y="154"/>
                    <a:pt x="163" y="154"/>
                    <a:pt x="162" y="155"/>
                  </a:cubicBezTo>
                  <a:cubicBezTo>
                    <a:pt x="162" y="155"/>
                    <a:pt x="162" y="156"/>
                    <a:pt x="162" y="156"/>
                  </a:cubicBezTo>
                  <a:cubicBezTo>
                    <a:pt x="162" y="157"/>
                    <a:pt x="161" y="157"/>
                    <a:pt x="161" y="157"/>
                  </a:cubicBezTo>
                  <a:cubicBezTo>
                    <a:pt x="160" y="158"/>
                    <a:pt x="160" y="159"/>
                    <a:pt x="160" y="159"/>
                  </a:cubicBezTo>
                  <a:cubicBezTo>
                    <a:pt x="160" y="160"/>
                    <a:pt x="160" y="160"/>
                    <a:pt x="159" y="160"/>
                  </a:cubicBezTo>
                  <a:cubicBezTo>
                    <a:pt x="159" y="160"/>
                    <a:pt x="158" y="160"/>
                    <a:pt x="157" y="160"/>
                  </a:cubicBezTo>
                  <a:cubicBezTo>
                    <a:pt x="157" y="160"/>
                    <a:pt x="157" y="160"/>
                    <a:pt x="157" y="160"/>
                  </a:cubicBezTo>
                  <a:cubicBezTo>
                    <a:pt x="156" y="160"/>
                    <a:pt x="156" y="160"/>
                    <a:pt x="156" y="160"/>
                  </a:cubicBezTo>
                  <a:cubicBezTo>
                    <a:pt x="156" y="160"/>
                    <a:pt x="155" y="160"/>
                    <a:pt x="155" y="160"/>
                  </a:cubicBezTo>
                  <a:cubicBezTo>
                    <a:pt x="155" y="160"/>
                    <a:pt x="155" y="161"/>
                    <a:pt x="154" y="161"/>
                  </a:cubicBezTo>
                  <a:cubicBezTo>
                    <a:pt x="154" y="161"/>
                    <a:pt x="154" y="161"/>
                    <a:pt x="153" y="162"/>
                  </a:cubicBezTo>
                  <a:cubicBezTo>
                    <a:pt x="153" y="163"/>
                    <a:pt x="153" y="163"/>
                    <a:pt x="153" y="163"/>
                  </a:cubicBezTo>
                  <a:cubicBezTo>
                    <a:pt x="152" y="163"/>
                    <a:pt x="151" y="163"/>
                    <a:pt x="151" y="163"/>
                  </a:cubicBezTo>
                  <a:cubicBezTo>
                    <a:pt x="150" y="163"/>
                    <a:pt x="150" y="165"/>
                    <a:pt x="150" y="166"/>
                  </a:cubicBezTo>
                  <a:cubicBezTo>
                    <a:pt x="150" y="167"/>
                    <a:pt x="150" y="168"/>
                    <a:pt x="150" y="169"/>
                  </a:cubicBezTo>
                  <a:cubicBezTo>
                    <a:pt x="150" y="169"/>
                    <a:pt x="150" y="170"/>
                    <a:pt x="150" y="170"/>
                  </a:cubicBezTo>
                  <a:cubicBezTo>
                    <a:pt x="149" y="170"/>
                    <a:pt x="150" y="171"/>
                    <a:pt x="149" y="171"/>
                  </a:cubicBezTo>
                  <a:cubicBezTo>
                    <a:pt x="149" y="172"/>
                    <a:pt x="148" y="172"/>
                    <a:pt x="148" y="172"/>
                  </a:cubicBezTo>
                  <a:cubicBezTo>
                    <a:pt x="147" y="172"/>
                    <a:pt x="147" y="172"/>
                    <a:pt x="146" y="172"/>
                  </a:cubicBezTo>
                  <a:cubicBezTo>
                    <a:pt x="146" y="172"/>
                    <a:pt x="145" y="172"/>
                    <a:pt x="145" y="173"/>
                  </a:cubicBezTo>
                  <a:cubicBezTo>
                    <a:pt x="145" y="173"/>
                    <a:pt x="144" y="173"/>
                    <a:pt x="144" y="173"/>
                  </a:cubicBezTo>
                  <a:cubicBezTo>
                    <a:pt x="144" y="174"/>
                    <a:pt x="144" y="174"/>
                    <a:pt x="144" y="175"/>
                  </a:cubicBezTo>
                  <a:cubicBezTo>
                    <a:pt x="144" y="175"/>
                    <a:pt x="144" y="175"/>
                    <a:pt x="144" y="176"/>
                  </a:cubicBezTo>
                  <a:cubicBezTo>
                    <a:pt x="144" y="176"/>
                    <a:pt x="144" y="176"/>
                    <a:pt x="144" y="176"/>
                  </a:cubicBezTo>
                  <a:cubicBezTo>
                    <a:pt x="145" y="176"/>
                    <a:pt x="145" y="177"/>
                    <a:pt x="145" y="178"/>
                  </a:cubicBezTo>
                  <a:cubicBezTo>
                    <a:pt x="145" y="179"/>
                    <a:pt x="145" y="180"/>
                    <a:pt x="145" y="181"/>
                  </a:cubicBezTo>
                  <a:cubicBezTo>
                    <a:pt x="145" y="182"/>
                    <a:pt x="145" y="182"/>
                    <a:pt x="144" y="183"/>
                  </a:cubicBezTo>
                  <a:cubicBezTo>
                    <a:pt x="144" y="184"/>
                    <a:pt x="144" y="185"/>
                    <a:pt x="144" y="185"/>
                  </a:cubicBezTo>
                  <a:cubicBezTo>
                    <a:pt x="144" y="188"/>
                    <a:pt x="144" y="188"/>
                    <a:pt x="144" y="188"/>
                  </a:cubicBezTo>
                  <a:cubicBezTo>
                    <a:pt x="144" y="188"/>
                    <a:pt x="144" y="189"/>
                    <a:pt x="143" y="190"/>
                  </a:cubicBezTo>
                  <a:cubicBezTo>
                    <a:pt x="143" y="190"/>
                    <a:pt x="143" y="191"/>
                    <a:pt x="142" y="191"/>
                  </a:cubicBezTo>
                  <a:cubicBezTo>
                    <a:pt x="142" y="191"/>
                    <a:pt x="142" y="192"/>
                    <a:pt x="142" y="192"/>
                  </a:cubicBezTo>
                  <a:cubicBezTo>
                    <a:pt x="142" y="192"/>
                    <a:pt x="142" y="193"/>
                    <a:pt x="142" y="193"/>
                  </a:cubicBezTo>
                  <a:cubicBezTo>
                    <a:pt x="142" y="193"/>
                    <a:pt x="142" y="193"/>
                    <a:pt x="141" y="194"/>
                  </a:cubicBezTo>
                  <a:cubicBezTo>
                    <a:pt x="141" y="194"/>
                    <a:pt x="141" y="195"/>
                    <a:pt x="141" y="196"/>
                  </a:cubicBezTo>
                  <a:cubicBezTo>
                    <a:pt x="140" y="196"/>
                    <a:pt x="140" y="197"/>
                    <a:pt x="139" y="197"/>
                  </a:cubicBezTo>
                  <a:cubicBezTo>
                    <a:pt x="139" y="197"/>
                    <a:pt x="139" y="198"/>
                    <a:pt x="139" y="198"/>
                  </a:cubicBezTo>
                  <a:cubicBezTo>
                    <a:pt x="138" y="199"/>
                    <a:pt x="138" y="199"/>
                    <a:pt x="138" y="199"/>
                  </a:cubicBezTo>
                  <a:cubicBezTo>
                    <a:pt x="137" y="200"/>
                    <a:pt x="137" y="200"/>
                    <a:pt x="137" y="201"/>
                  </a:cubicBezTo>
                  <a:cubicBezTo>
                    <a:pt x="137" y="201"/>
                    <a:pt x="136" y="202"/>
                    <a:pt x="136" y="202"/>
                  </a:cubicBezTo>
                  <a:cubicBezTo>
                    <a:pt x="135" y="202"/>
                    <a:pt x="136" y="203"/>
                    <a:pt x="135" y="203"/>
                  </a:cubicBezTo>
                  <a:cubicBezTo>
                    <a:pt x="135" y="203"/>
                    <a:pt x="135" y="204"/>
                    <a:pt x="135" y="204"/>
                  </a:cubicBezTo>
                  <a:cubicBezTo>
                    <a:pt x="135" y="205"/>
                    <a:pt x="136" y="205"/>
                    <a:pt x="136" y="205"/>
                  </a:cubicBezTo>
                  <a:cubicBezTo>
                    <a:pt x="136" y="206"/>
                    <a:pt x="136" y="206"/>
                    <a:pt x="136" y="207"/>
                  </a:cubicBezTo>
                  <a:cubicBezTo>
                    <a:pt x="137" y="207"/>
                    <a:pt x="137" y="208"/>
                    <a:pt x="137" y="209"/>
                  </a:cubicBezTo>
                  <a:cubicBezTo>
                    <a:pt x="137" y="209"/>
                    <a:pt x="137" y="210"/>
                    <a:pt x="137" y="211"/>
                  </a:cubicBezTo>
                  <a:cubicBezTo>
                    <a:pt x="137" y="211"/>
                    <a:pt x="137" y="212"/>
                    <a:pt x="137" y="213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137" y="215"/>
                    <a:pt x="138" y="216"/>
                    <a:pt x="137" y="217"/>
                  </a:cubicBezTo>
                  <a:cubicBezTo>
                    <a:pt x="137" y="217"/>
                    <a:pt x="137" y="218"/>
                    <a:pt x="136" y="218"/>
                  </a:cubicBezTo>
                  <a:cubicBezTo>
                    <a:pt x="136" y="219"/>
                    <a:pt x="136" y="219"/>
                    <a:pt x="135" y="220"/>
                  </a:cubicBezTo>
                  <a:cubicBezTo>
                    <a:pt x="135" y="221"/>
                    <a:pt x="134" y="222"/>
                    <a:pt x="134" y="223"/>
                  </a:cubicBezTo>
                  <a:cubicBezTo>
                    <a:pt x="134" y="225"/>
                    <a:pt x="134" y="226"/>
                    <a:pt x="134" y="227"/>
                  </a:cubicBezTo>
                  <a:cubicBezTo>
                    <a:pt x="135" y="228"/>
                    <a:pt x="135" y="229"/>
                    <a:pt x="136" y="230"/>
                  </a:cubicBezTo>
                  <a:cubicBezTo>
                    <a:pt x="136" y="231"/>
                    <a:pt x="136" y="232"/>
                    <a:pt x="137" y="233"/>
                  </a:cubicBezTo>
                  <a:cubicBezTo>
                    <a:pt x="138" y="235"/>
                    <a:pt x="138" y="237"/>
                    <a:pt x="139" y="239"/>
                  </a:cubicBezTo>
                  <a:cubicBezTo>
                    <a:pt x="140" y="240"/>
                    <a:pt x="140" y="241"/>
                    <a:pt x="140" y="242"/>
                  </a:cubicBezTo>
                  <a:cubicBezTo>
                    <a:pt x="141" y="243"/>
                    <a:pt x="141" y="244"/>
                    <a:pt x="141" y="244"/>
                  </a:cubicBezTo>
                  <a:cubicBezTo>
                    <a:pt x="141" y="245"/>
                    <a:pt x="141" y="245"/>
                    <a:pt x="142" y="245"/>
                  </a:cubicBezTo>
                  <a:cubicBezTo>
                    <a:pt x="142" y="246"/>
                    <a:pt x="142" y="246"/>
                    <a:pt x="142" y="247"/>
                  </a:cubicBezTo>
                  <a:cubicBezTo>
                    <a:pt x="142" y="247"/>
                    <a:pt x="143" y="248"/>
                    <a:pt x="143" y="249"/>
                  </a:cubicBezTo>
                  <a:cubicBezTo>
                    <a:pt x="143" y="250"/>
                    <a:pt x="144" y="251"/>
                    <a:pt x="144" y="251"/>
                  </a:cubicBezTo>
                  <a:cubicBezTo>
                    <a:pt x="144" y="253"/>
                    <a:pt x="145" y="254"/>
                    <a:pt x="145" y="256"/>
                  </a:cubicBezTo>
                  <a:cubicBezTo>
                    <a:pt x="145" y="256"/>
                    <a:pt x="145" y="256"/>
                    <a:pt x="145" y="256"/>
                  </a:cubicBezTo>
                  <a:cubicBezTo>
                    <a:pt x="145" y="268"/>
                    <a:pt x="145" y="268"/>
                    <a:pt x="145" y="268"/>
                  </a:cubicBezTo>
                  <a:cubicBezTo>
                    <a:pt x="145" y="268"/>
                    <a:pt x="145" y="269"/>
                    <a:pt x="145" y="269"/>
                  </a:cubicBezTo>
                  <a:cubicBezTo>
                    <a:pt x="145" y="270"/>
                    <a:pt x="145" y="270"/>
                    <a:pt x="145" y="271"/>
                  </a:cubicBezTo>
                  <a:cubicBezTo>
                    <a:pt x="144" y="272"/>
                    <a:pt x="144" y="273"/>
                    <a:pt x="144" y="275"/>
                  </a:cubicBezTo>
                  <a:cubicBezTo>
                    <a:pt x="144" y="276"/>
                    <a:pt x="144" y="277"/>
                    <a:pt x="144" y="278"/>
                  </a:cubicBezTo>
                  <a:cubicBezTo>
                    <a:pt x="143" y="279"/>
                    <a:pt x="143" y="280"/>
                    <a:pt x="143" y="281"/>
                  </a:cubicBezTo>
                  <a:cubicBezTo>
                    <a:pt x="143" y="282"/>
                    <a:pt x="143" y="282"/>
                    <a:pt x="142" y="283"/>
                  </a:cubicBezTo>
                  <a:cubicBezTo>
                    <a:pt x="142" y="284"/>
                    <a:pt x="142" y="285"/>
                    <a:pt x="141" y="286"/>
                  </a:cubicBezTo>
                  <a:cubicBezTo>
                    <a:pt x="141" y="287"/>
                    <a:pt x="140" y="288"/>
                    <a:pt x="139" y="290"/>
                  </a:cubicBezTo>
                  <a:cubicBezTo>
                    <a:pt x="139" y="290"/>
                    <a:pt x="139" y="291"/>
                    <a:pt x="138" y="291"/>
                  </a:cubicBezTo>
                  <a:cubicBezTo>
                    <a:pt x="138" y="292"/>
                    <a:pt x="138" y="292"/>
                    <a:pt x="138" y="293"/>
                  </a:cubicBezTo>
                  <a:cubicBezTo>
                    <a:pt x="137" y="293"/>
                    <a:pt x="137" y="293"/>
                    <a:pt x="137" y="294"/>
                  </a:cubicBezTo>
                  <a:cubicBezTo>
                    <a:pt x="137" y="294"/>
                    <a:pt x="136" y="294"/>
                    <a:pt x="136" y="295"/>
                  </a:cubicBezTo>
                  <a:cubicBezTo>
                    <a:pt x="135" y="296"/>
                    <a:pt x="136" y="297"/>
                    <a:pt x="135" y="298"/>
                  </a:cubicBezTo>
                  <a:cubicBezTo>
                    <a:pt x="134" y="299"/>
                    <a:pt x="134" y="299"/>
                    <a:pt x="133" y="300"/>
                  </a:cubicBezTo>
                  <a:cubicBezTo>
                    <a:pt x="133" y="300"/>
                    <a:pt x="133" y="301"/>
                    <a:pt x="132" y="302"/>
                  </a:cubicBezTo>
                  <a:cubicBezTo>
                    <a:pt x="132" y="303"/>
                    <a:pt x="132" y="303"/>
                    <a:pt x="132" y="304"/>
                  </a:cubicBezTo>
                  <a:cubicBezTo>
                    <a:pt x="131" y="305"/>
                    <a:pt x="131" y="306"/>
                    <a:pt x="130" y="307"/>
                  </a:cubicBezTo>
                  <a:cubicBezTo>
                    <a:pt x="130" y="308"/>
                    <a:pt x="128" y="308"/>
                    <a:pt x="127" y="310"/>
                  </a:cubicBezTo>
                  <a:cubicBezTo>
                    <a:pt x="127" y="310"/>
                    <a:pt x="126" y="311"/>
                    <a:pt x="126" y="311"/>
                  </a:cubicBezTo>
                  <a:cubicBezTo>
                    <a:pt x="126" y="311"/>
                    <a:pt x="125" y="311"/>
                    <a:pt x="125" y="312"/>
                  </a:cubicBezTo>
                  <a:cubicBezTo>
                    <a:pt x="194" y="312"/>
                    <a:pt x="194" y="312"/>
                    <a:pt x="194" y="312"/>
                  </a:cubicBezTo>
                  <a:cubicBezTo>
                    <a:pt x="194" y="315"/>
                    <a:pt x="194" y="315"/>
                    <a:pt x="194" y="315"/>
                  </a:cubicBezTo>
                  <a:cubicBezTo>
                    <a:pt x="240" y="313"/>
                    <a:pt x="240" y="313"/>
                    <a:pt x="240" y="313"/>
                  </a:cubicBezTo>
                  <a:cubicBezTo>
                    <a:pt x="240" y="313"/>
                    <a:pt x="240" y="313"/>
                    <a:pt x="240" y="313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5F38EB44-CE55-47C1-8DB3-88192E59A3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00567" y="2467417"/>
              <a:ext cx="490705" cy="305657"/>
            </a:xfrm>
            <a:custGeom>
              <a:avLst/>
              <a:gdLst>
                <a:gd name="T0" fmla="*/ 94 w 124"/>
                <a:gd name="T1" fmla="*/ 71 h 77"/>
                <a:gd name="T2" fmla="*/ 100 w 124"/>
                <a:gd name="T3" fmla="*/ 66 h 77"/>
                <a:gd name="T4" fmla="*/ 103 w 124"/>
                <a:gd name="T5" fmla="*/ 68 h 77"/>
                <a:gd name="T6" fmla="*/ 106 w 124"/>
                <a:gd name="T7" fmla="*/ 70 h 77"/>
                <a:gd name="T8" fmla="*/ 100 w 124"/>
                <a:gd name="T9" fmla="*/ 71 h 77"/>
                <a:gd name="T10" fmla="*/ 95 w 124"/>
                <a:gd name="T11" fmla="*/ 74 h 77"/>
                <a:gd name="T12" fmla="*/ 120 w 124"/>
                <a:gd name="T13" fmla="*/ 76 h 77"/>
                <a:gd name="T14" fmla="*/ 121 w 124"/>
                <a:gd name="T15" fmla="*/ 75 h 77"/>
                <a:gd name="T16" fmla="*/ 118 w 124"/>
                <a:gd name="T17" fmla="*/ 74 h 77"/>
                <a:gd name="T18" fmla="*/ 124 w 124"/>
                <a:gd name="T19" fmla="*/ 47 h 77"/>
                <a:gd name="T20" fmla="*/ 122 w 124"/>
                <a:gd name="T21" fmla="*/ 43 h 77"/>
                <a:gd name="T22" fmla="*/ 120 w 124"/>
                <a:gd name="T23" fmla="*/ 40 h 77"/>
                <a:gd name="T24" fmla="*/ 118 w 124"/>
                <a:gd name="T25" fmla="*/ 38 h 77"/>
                <a:gd name="T26" fmla="*/ 117 w 124"/>
                <a:gd name="T27" fmla="*/ 39 h 77"/>
                <a:gd name="T28" fmla="*/ 119 w 124"/>
                <a:gd name="T29" fmla="*/ 45 h 77"/>
                <a:gd name="T30" fmla="*/ 121 w 124"/>
                <a:gd name="T31" fmla="*/ 46 h 77"/>
                <a:gd name="T32" fmla="*/ 121 w 124"/>
                <a:gd name="T33" fmla="*/ 51 h 77"/>
                <a:gd name="T34" fmla="*/ 117 w 124"/>
                <a:gd name="T35" fmla="*/ 53 h 77"/>
                <a:gd name="T36" fmla="*/ 113 w 124"/>
                <a:gd name="T37" fmla="*/ 54 h 77"/>
                <a:gd name="T38" fmla="*/ 108 w 124"/>
                <a:gd name="T39" fmla="*/ 53 h 77"/>
                <a:gd name="T40" fmla="*/ 103 w 124"/>
                <a:gd name="T41" fmla="*/ 50 h 77"/>
                <a:gd name="T42" fmla="*/ 102 w 124"/>
                <a:gd name="T43" fmla="*/ 44 h 77"/>
                <a:gd name="T44" fmla="*/ 99 w 124"/>
                <a:gd name="T45" fmla="*/ 43 h 77"/>
                <a:gd name="T46" fmla="*/ 100 w 124"/>
                <a:gd name="T47" fmla="*/ 40 h 77"/>
                <a:gd name="T48" fmla="*/ 96 w 124"/>
                <a:gd name="T49" fmla="*/ 31 h 77"/>
                <a:gd name="T50" fmla="*/ 92 w 124"/>
                <a:gd name="T51" fmla="*/ 29 h 77"/>
                <a:gd name="T52" fmla="*/ 86 w 124"/>
                <a:gd name="T53" fmla="*/ 26 h 77"/>
                <a:gd name="T54" fmla="*/ 89 w 124"/>
                <a:gd name="T55" fmla="*/ 22 h 77"/>
                <a:gd name="T56" fmla="*/ 96 w 124"/>
                <a:gd name="T57" fmla="*/ 15 h 77"/>
                <a:gd name="T58" fmla="*/ 99 w 124"/>
                <a:gd name="T59" fmla="*/ 13 h 77"/>
                <a:gd name="T60" fmla="*/ 98 w 124"/>
                <a:gd name="T61" fmla="*/ 10 h 77"/>
                <a:gd name="T62" fmla="*/ 94 w 124"/>
                <a:gd name="T63" fmla="*/ 7 h 77"/>
                <a:gd name="T64" fmla="*/ 86 w 124"/>
                <a:gd name="T65" fmla="*/ 1 h 77"/>
                <a:gd name="T66" fmla="*/ 80 w 124"/>
                <a:gd name="T67" fmla="*/ 6 h 77"/>
                <a:gd name="T68" fmla="*/ 9 w 124"/>
                <a:gd name="T69" fmla="*/ 6 h 77"/>
                <a:gd name="T70" fmla="*/ 24 w 124"/>
                <a:gd name="T71" fmla="*/ 41 h 77"/>
                <a:gd name="T72" fmla="*/ 74 w 124"/>
                <a:gd name="T73" fmla="*/ 40 h 77"/>
                <a:gd name="T74" fmla="*/ 79 w 124"/>
                <a:gd name="T75" fmla="*/ 54 h 77"/>
                <a:gd name="T76" fmla="*/ 81 w 124"/>
                <a:gd name="T77" fmla="*/ 56 h 77"/>
                <a:gd name="T78" fmla="*/ 85 w 124"/>
                <a:gd name="T79" fmla="*/ 64 h 77"/>
                <a:gd name="T80" fmla="*/ 89 w 124"/>
                <a:gd name="T81" fmla="*/ 63 h 77"/>
                <a:gd name="T82" fmla="*/ 90 w 124"/>
                <a:gd name="T83" fmla="*/ 59 h 77"/>
                <a:gd name="T84" fmla="*/ 95 w 124"/>
                <a:gd name="T85" fmla="*/ 58 h 77"/>
                <a:gd name="T86" fmla="*/ 97 w 124"/>
                <a:gd name="T87" fmla="*/ 54 h 77"/>
                <a:gd name="T88" fmla="*/ 101 w 124"/>
                <a:gd name="T89" fmla="*/ 54 h 77"/>
                <a:gd name="T90" fmla="*/ 100 w 124"/>
                <a:gd name="T91" fmla="*/ 60 h 77"/>
                <a:gd name="T92" fmla="*/ 100 w 124"/>
                <a:gd name="T93" fmla="*/ 63 h 77"/>
                <a:gd name="T94" fmla="*/ 104 w 124"/>
                <a:gd name="T95" fmla="*/ 62 h 77"/>
                <a:gd name="T96" fmla="*/ 107 w 124"/>
                <a:gd name="T97" fmla="*/ 60 h 77"/>
                <a:gd name="T98" fmla="*/ 110 w 124"/>
                <a:gd name="T99" fmla="*/ 59 h 77"/>
                <a:gd name="T100" fmla="*/ 113 w 124"/>
                <a:gd name="T101" fmla="*/ 58 h 77"/>
                <a:gd name="T102" fmla="*/ 117 w 124"/>
                <a:gd name="T103" fmla="*/ 58 h 77"/>
                <a:gd name="T104" fmla="*/ 123 w 124"/>
                <a:gd name="T105" fmla="*/ 57 h 77"/>
                <a:gd name="T106" fmla="*/ 124 w 124"/>
                <a:gd name="T107" fmla="*/ 5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77">
                  <a:moveTo>
                    <a:pt x="95" y="74"/>
                  </a:moveTo>
                  <a:cubicBezTo>
                    <a:pt x="95" y="73"/>
                    <a:pt x="94" y="73"/>
                    <a:pt x="94" y="72"/>
                  </a:cubicBezTo>
                  <a:cubicBezTo>
                    <a:pt x="93" y="72"/>
                    <a:pt x="93" y="72"/>
                    <a:pt x="93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5" y="71"/>
                    <a:pt x="96" y="71"/>
                    <a:pt x="96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8"/>
                    <a:pt x="98" y="68"/>
                  </a:cubicBezTo>
                  <a:cubicBezTo>
                    <a:pt x="98" y="67"/>
                    <a:pt x="99" y="67"/>
                    <a:pt x="100" y="66"/>
                  </a:cubicBezTo>
                  <a:cubicBezTo>
                    <a:pt x="100" y="66"/>
                    <a:pt x="101" y="66"/>
                    <a:pt x="101" y="66"/>
                  </a:cubicBezTo>
                  <a:cubicBezTo>
                    <a:pt x="101" y="66"/>
                    <a:pt x="101" y="67"/>
                    <a:pt x="102" y="67"/>
                  </a:cubicBezTo>
                  <a:cubicBezTo>
                    <a:pt x="102" y="67"/>
                    <a:pt x="102" y="67"/>
                    <a:pt x="103" y="67"/>
                  </a:cubicBezTo>
                  <a:cubicBezTo>
                    <a:pt x="103" y="67"/>
                    <a:pt x="103" y="68"/>
                    <a:pt x="103" y="68"/>
                  </a:cubicBezTo>
                  <a:cubicBezTo>
                    <a:pt x="104" y="68"/>
                    <a:pt x="104" y="68"/>
                    <a:pt x="104" y="68"/>
                  </a:cubicBezTo>
                  <a:cubicBezTo>
                    <a:pt x="105" y="68"/>
                    <a:pt x="105" y="69"/>
                    <a:pt x="105" y="69"/>
                  </a:cubicBezTo>
                  <a:cubicBezTo>
                    <a:pt x="105" y="69"/>
                    <a:pt x="105" y="69"/>
                    <a:pt x="105" y="69"/>
                  </a:cubicBezTo>
                  <a:cubicBezTo>
                    <a:pt x="105" y="70"/>
                    <a:pt x="106" y="70"/>
                    <a:pt x="106" y="70"/>
                  </a:cubicBezTo>
                  <a:cubicBezTo>
                    <a:pt x="106" y="70"/>
                    <a:pt x="106" y="71"/>
                    <a:pt x="106" y="71"/>
                  </a:cubicBezTo>
                  <a:cubicBezTo>
                    <a:pt x="106" y="72"/>
                    <a:pt x="105" y="72"/>
                    <a:pt x="105" y="71"/>
                  </a:cubicBezTo>
                  <a:cubicBezTo>
                    <a:pt x="104" y="71"/>
                    <a:pt x="103" y="71"/>
                    <a:pt x="103" y="71"/>
                  </a:cubicBezTo>
                  <a:cubicBezTo>
                    <a:pt x="102" y="71"/>
                    <a:pt x="101" y="71"/>
                    <a:pt x="100" y="71"/>
                  </a:cubicBezTo>
                  <a:cubicBezTo>
                    <a:pt x="99" y="72"/>
                    <a:pt x="99" y="72"/>
                    <a:pt x="98" y="72"/>
                  </a:cubicBezTo>
                  <a:cubicBezTo>
                    <a:pt x="98" y="72"/>
                    <a:pt x="97" y="73"/>
                    <a:pt x="97" y="73"/>
                  </a:cubicBezTo>
                  <a:cubicBezTo>
                    <a:pt x="97" y="73"/>
                    <a:pt x="97" y="73"/>
                    <a:pt x="96" y="73"/>
                  </a:cubicBezTo>
                  <a:cubicBezTo>
                    <a:pt x="96" y="73"/>
                    <a:pt x="96" y="74"/>
                    <a:pt x="95" y="74"/>
                  </a:cubicBezTo>
                  <a:close/>
                  <a:moveTo>
                    <a:pt x="118" y="76"/>
                  </a:moveTo>
                  <a:cubicBezTo>
                    <a:pt x="118" y="76"/>
                    <a:pt x="118" y="76"/>
                    <a:pt x="119" y="76"/>
                  </a:cubicBezTo>
                  <a:cubicBezTo>
                    <a:pt x="119" y="76"/>
                    <a:pt x="119" y="76"/>
                    <a:pt x="120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7"/>
                    <a:pt x="121" y="77"/>
                    <a:pt x="121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1" y="75"/>
                    <a:pt x="121" y="75"/>
                  </a:cubicBezTo>
                  <a:cubicBezTo>
                    <a:pt x="121" y="75"/>
                    <a:pt x="121" y="74"/>
                    <a:pt x="121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19" y="74"/>
                    <a:pt x="119" y="74"/>
                  </a:cubicBezTo>
                  <a:cubicBezTo>
                    <a:pt x="119" y="74"/>
                    <a:pt x="118" y="74"/>
                    <a:pt x="118" y="74"/>
                  </a:cubicBezTo>
                  <a:cubicBezTo>
                    <a:pt x="117" y="74"/>
                    <a:pt x="117" y="74"/>
                    <a:pt x="116" y="75"/>
                  </a:cubicBezTo>
                  <a:cubicBezTo>
                    <a:pt x="116" y="75"/>
                    <a:pt x="116" y="75"/>
                    <a:pt x="116" y="76"/>
                  </a:cubicBezTo>
                  <a:cubicBezTo>
                    <a:pt x="117" y="76"/>
                    <a:pt x="117" y="76"/>
                    <a:pt x="118" y="76"/>
                  </a:cubicBezTo>
                  <a:close/>
                  <a:moveTo>
                    <a:pt x="124" y="47"/>
                  </a:moveTo>
                  <a:cubicBezTo>
                    <a:pt x="123" y="47"/>
                    <a:pt x="123" y="47"/>
                    <a:pt x="123" y="46"/>
                  </a:cubicBezTo>
                  <a:cubicBezTo>
                    <a:pt x="123" y="46"/>
                    <a:pt x="123" y="45"/>
                    <a:pt x="123" y="45"/>
                  </a:cubicBezTo>
                  <a:cubicBezTo>
                    <a:pt x="123" y="45"/>
                    <a:pt x="123" y="44"/>
                    <a:pt x="123" y="44"/>
                  </a:cubicBezTo>
                  <a:cubicBezTo>
                    <a:pt x="123" y="44"/>
                    <a:pt x="122" y="44"/>
                    <a:pt x="122" y="43"/>
                  </a:cubicBezTo>
                  <a:cubicBezTo>
                    <a:pt x="122" y="43"/>
                    <a:pt x="122" y="42"/>
                    <a:pt x="122" y="42"/>
                  </a:cubicBezTo>
                  <a:cubicBezTo>
                    <a:pt x="121" y="42"/>
                    <a:pt x="121" y="41"/>
                    <a:pt x="121" y="41"/>
                  </a:cubicBezTo>
                  <a:cubicBezTo>
                    <a:pt x="121" y="41"/>
                    <a:pt x="121" y="41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40"/>
                    <a:pt x="118" y="39"/>
                    <a:pt x="118" y="40"/>
                  </a:cubicBezTo>
                  <a:cubicBezTo>
                    <a:pt x="119" y="40"/>
                    <a:pt x="119" y="42"/>
                    <a:pt x="119" y="43"/>
                  </a:cubicBezTo>
                  <a:cubicBezTo>
                    <a:pt x="119" y="43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5"/>
                  </a:cubicBezTo>
                  <a:cubicBezTo>
                    <a:pt x="119" y="45"/>
                    <a:pt x="120" y="45"/>
                    <a:pt x="120" y="45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20" y="45"/>
                    <a:pt x="120" y="46"/>
                    <a:pt x="121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8"/>
                    <a:pt x="121" y="49"/>
                  </a:cubicBezTo>
                  <a:cubicBezTo>
                    <a:pt x="121" y="49"/>
                    <a:pt x="121" y="50"/>
                    <a:pt x="121" y="50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9" y="52"/>
                    <a:pt x="118" y="52"/>
                    <a:pt x="117" y="52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5" y="54"/>
                    <a:pt x="115" y="54"/>
                    <a:pt x="114" y="54"/>
                  </a:cubicBezTo>
                  <a:cubicBezTo>
                    <a:pt x="114" y="54"/>
                    <a:pt x="114" y="54"/>
                    <a:pt x="114" y="54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13" y="54"/>
                    <a:pt x="112" y="54"/>
                    <a:pt x="112" y="54"/>
                  </a:cubicBezTo>
                  <a:cubicBezTo>
                    <a:pt x="111" y="54"/>
                    <a:pt x="110" y="54"/>
                    <a:pt x="109" y="53"/>
                  </a:cubicBezTo>
                  <a:cubicBezTo>
                    <a:pt x="109" y="53"/>
                    <a:pt x="109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7" y="53"/>
                    <a:pt x="107" y="53"/>
                    <a:pt x="106" y="53"/>
                  </a:cubicBezTo>
                  <a:cubicBezTo>
                    <a:pt x="106" y="52"/>
                    <a:pt x="106" y="52"/>
                    <a:pt x="105" y="52"/>
                  </a:cubicBezTo>
                  <a:cubicBezTo>
                    <a:pt x="105" y="52"/>
                    <a:pt x="105" y="52"/>
                    <a:pt x="105" y="51"/>
                  </a:cubicBezTo>
                  <a:cubicBezTo>
                    <a:pt x="104" y="51"/>
                    <a:pt x="104" y="51"/>
                    <a:pt x="103" y="50"/>
                  </a:cubicBezTo>
                  <a:cubicBezTo>
                    <a:pt x="103" y="50"/>
                    <a:pt x="103" y="49"/>
                    <a:pt x="103" y="49"/>
                  </a:cubicBezTo>
                  <a:cubicBezTo>
                    <a:pt x="103" y="48"/>
                    <a:pt x="103" y="47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0" y="44"/>
                    <a:pt x="100" y="43"/>
                    <a:pt x="99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3"/>
                    <a:pt x="99" y="43"/>
                    <a:pt x="98" y="43"/>
                  </a:cubicBezTo>
                  <a:cubicBezTo>
                    <a:pt x="98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1"/>
                  </a:cubicBezTo>
                  <a:cubicBezTo>
                    <a:pt x="100" y="41"/>
                    <a:pt x="100" y="40"/>
                    <a:pt x="100" y="40"/>
                  </a:cubicBezTo>
                  <a:cubicBezTo>
                    <a:pt x="100" y="39"/>
                    <a:pt x="100" y="38"/>
                    <a:pt x="99" y="37"/>
                  </a:cubicBezTo>
                  <a:cubicBezTo>
                    <a:pt x="99" y="36"/>
                    <a:pt x="98" y="35"/>
                    <a:pt x="98" y="35"/>
                  </a:cubicBezTo>
                  <a:cubicBezTo>
                    <a:pt x="98" y="34"/>
                    <a:pt x="97" y="33"/>
                    <a:pt x="97" y="32"/>
                  </a:cubicBezTo>
                  <a:cubicBezTo>
                    <a:pt x="96" y="32"/>
                    <a:pt x="96" y="31"/>
                    <a:pt x="96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29"/>
                    <a:pt x="93" y="30"/>
                    <a:pt x="93" y="29"/>
                  </a:cubicBezTo>
                  <a:cubicBezTo>
                    <a:pt x="93" y="29"/>
                    <a:pt x="92" y="29"/>
                    <a:pt x="92" y="29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0" y="29"/>
                    <a:pt x="90" y="29"/>
                    <a:pt x="89" y="28"/>
                  </a:cubicBezTo>
                  <a:cubicBezTo>
                    <a:pt x="88" y="28"/>
                    <a:pt x="88" y="28"/>
                    <a:pt x="88" y="27"/>
                  </a:cubicBezTo>
                  <a:cubicBezTo>
                    <a:pt x="87" y="26"/>
                    <a:pt x="86" y="26"/>
                    <a:pt x="86" y="26"/>
                  </a:cubicBezTo>
                  <a:cubicBezTo>
                    <a:pt x="86" y="26"/>
                    <a:pt x="87" y="25"/>
                    <a:pt x="87" y="25"/>
                  </a:cubicBezTo>
                  <a:cubicBezTo>
                    <a:pt x="87" y="25"/>
                    <a:pt x="88" y="24"/>
                    <a:pt x="88" y="24"/>
                  </a:cubicBezTo>
                  <a:cubicBezTo>
                    <a:pt x="88" y="24"/>
                    <a:pt x="89" y="23"/>
                    <a:pt x="89" y="23"/>
                  </a:cubicBezTo>
                  <a:cubicBezTo>
                    <a:pt x="89" y="23"/>
                    <a:pt x="89" y="22"/>
                    <a:pt x="89" y="22"/>
                  </a:cubicBezTo>
                  <a:cubicBezTo>
                    <a:pt x="90" y="21"/>
                    <a:pt x="90" y="21"/>
                    <a:pt x="91" y="20"/>
                  </a:cubicBezTo>
                  <a:cubicBezTo>
                    <a:pt x="92" y="19"/>
                    <a:pt x="92" y="17"/>
                    <a:pt x="94" y="16"/>
                  </a:cubicBezTo>
                  <a:cubicBezTo>
                    <a:pt x="94" y="15"/>
                    <a:pt x="95" y="15"/>
                    <a:pt x="95" y="15"/>
                  </a:cubicBezTo>
                  <a:cubicBezTo>
                    <a:pt x="95" y="15"/>
                    <a:pt x="95" y="15"/>
                    <a:pt x="96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6" y="14"/>
                    <a:pt x="97" y="15"/>
                    <a:pt x="97" y="14"/>
                  </a:cubicBezTo>
                  <a:cubicBezTo>
                    <a:pt x="97" y="14"/>
                    <a:pt x="98" y="14"/>
                    <a:pt x="98" y="14"/>
                  </a:cubicBezTo>
                  <a:cubicBezTo>
                    <a:pt x="98" y="14"/>
                    <a:pt x="98" y="13"/>
                    <a:pt x="99" y="13"/>
                  </a:cubicBezTo>
                  <a:cubicBezTo>
                    <a:pt x="99" y="13"/>
                    <a:pt x="100" y="13"/>
                    <a:pt x="100" y="12"/>
                  </a:cubicBezTo>
                  <a:cubicBezTo>
                    <a:pt x="100" y="12"/>
                    <a:pt x="100" y="11"/>
                    <a:pt x="100" y="11"/>
                  </a:cubicBezTo>
                  <a:cubicBezTo>
                    <a:pt x="100" y="10"/>
                    <a:pt x="100" y="9"/>
                    <a:pt x="100" y="9"/>
                  </a:cubicBezTo>
                  <a:cubicBezTo>
                    <a:pt x="100" y="9"/>
                    <a:pt x="99" y="10"/>
                    <a:pt x="98" y="10"/>
                  </a:cubicBezTo>
                  <a:cubicBezTo>
                    <a:pt x="98" y="10"/>
                    <a:pt x="98" y="11"/>
                    <a:pt x="97" y="11"/>
                  </a:cubicBezTo>
                  <a:cubicBezTo>
                    <a:pt x="97" y="11"/>
                    <a:pt x="96" y="11"/>
                    <a:pt x="96" y="10"/>
                  </a:cubicBezTo>
                  <a:cubicBezTo>
                    <a:pt x="96" y="10"/>
                    <a:pt x="95" y="10"/>
                    <a:pt x="95" y="9"/>
                  </a:cubicBezTo>
                  <a:cubicBezTo>
                    <a:pt x="94" y="9"/>
                    <a:pt x="94" y="8"/>
                    <a:pt x="94" y="7"/>
                  </a:cubicBezTo>
                  <a:cubicBezTo>
                    <a:pt x="94" y="5"/>
                    <a:pt x="94" y="3"/>
                    <a:pt x="94" y="1"/>
                  </a:cubicBezTo>
                  <a:cubicBezTo>
                    <a:pt x="94" y="1"/>
                    <a:pt x="94" y="0"/>
                    <a:pt x="94" y="0"/>
                  </a:cubicBezTo>
                  <a:cubicBezTo>
                    <a:pt x="92" y="0"/>
                    <a:pt x="90" y="0"/>
                    <a:pt x="90" y="0"/>
                  </a:cubicBezTo>
                  <a:cubicBezTo>
                    <a:pt x="89" y="0"/>
                    <a:pt x="86" y="1"/>
                    <a:pt x="86" y="1"/>
                  </a:cubicBezTo>
                  <a:cubicBezTo>
                    <a:pt x="86" y="1"/>
                    <a:pt x="85" y="2"/>
                    <a:pt x="85" y="2"/>
                  </a:cubicBezTo>
                  <a:cubicBezTo>
                    <a:pt x="85" y="2"/>
                    <a:pt x="82" y="3"/>
                    <a:pt x="82" y="3"/>
                  </a:cubicBezTo>
                  <a:cubicBezTo>
                    <a:pt x="82" y="3"/>
                    <a:pt x="80" y="4"/>
                    <a:pt x="80" y="5"/>
                  </a:cubicBezTo>
                  <a:cubicBezTo>
                    <a:pt x="80" y="5"/>
                    <a:pt x="80" y="6"/>
                    <a:pt x="80" y="6"/>
                  </a:cubicBezTo>
                  <a:cubicBezTo>
                    <a:pt x="80" y="6"/>
                    <a:pt x="78" y="6"/>
                    <a:pt x="78" y="6"/>
                  </a:cubicBezTo>
                  <a:cubicBezTo>
                    <a:pt x="78" y="7"/>
                    <a:pt x="76" y="9"/>
                    <a:pt x="76" y="9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4"/>
                    <a:pt x="74" y="44"/>
                  </a:cubicBezTo>
                  <a:cubicBezTo>
                    <a:pt x="74" y="45"/>
                    <a:pt x="75" y="46"/>
                    <a:pt x="75" y="46"/>
                  </a:cubicBezTo>
                  <a:cubicBezTo>
                    <a:pt x="75" y="46"/>
                    <a:pt x="75" y="49"/>
                    <a:pt x="75" y="49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80" y="54"/>
                    <a:pt x="80" y="54"/>
                  </a:cubicBezTo>
                  <a:cubicBezTo>
                    <a:pt x="80" y="54"/>
                    <a:pt x="81" y="55"/>
                    <a:pt x="81" y="55"/>
                  </a:cubicBezTo>
                  <a:cubicBezTo>
                    <a:pt x="81" y="55"/>
                    <a:pt x="81" y="55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3" y="59"/>
                    <a:pt x="83" y="59"/>
                  </a:cubicBezTo>
                  <a:cubicBezTo>
                    <a:pt x="83" y="59"/>
                    <a:pt x="84" y="63"/>
                    <a:pt x="84" y="65"/>
                  </a:cubicBezTo>
                  <a:cubicBezTo>
                    <a:pt x="84" y="65"/>
                    <a:pt x="84" y="65"/>
                    <a:pt x="85" y="64"/>
                  </a:cubicBezTo>
                  <a:cubicBezTo>
                    <a:pt x="85" y="64"/>
                    <a:pt x="86" y="64"/>
                    <a:pt x="86" y="64"/>
                  </a:cubicBezTo>
                  <a:cubicBezTo>
                    <a:pt x="86" y="64"/>
                    <a:pt x="87" y="64"/>
                    <a:pt x="87" y="64"/>
                  </a:cubicBezTo>
                  <a:cubicBezTo>
                    <a:pt x="87" y="64"/>
                    <a:pt x="87" y="63"/>
                    <a:pt x="87" y="63"/>
                  </a:cubicBezTo>
                  <a:cubicBezTo>
                    <a:pt x="88" y="63"/>
                    <a:pt x="88" y="63"/>
                    <a:pt x="89" y="63"/>
                  </a:cubicBezTo>
                  <a:cubicBezTo>
                    <a:pt x="89" y="63"/>
                    <a:pt x="89" y="63"/>
                    <a:pt x="90" y="62"/>
                  </a:cubicBezTo>
                  <a:cubicBezTo>
                    <a:pt x="90" y="62"/>
                    <a:pt x="90" y="62"/>
                    <a:pt x="90" y="61"/>
                  </a:cubicBezTo>
                  <a:cubicBezTo>
                    <a:pt x="90" y="61"/>
                    <a:pt x="90" y="60"/>
                    <a:pt x="90" y="60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91" y="59"/>
                    <a:pt x="91" y="59"/>
                    <a:pt x="92" y="59"/>
                  </a:cubicBezTo>
                  <a:cubicBezTo>
                    <a:pt x="92" y="59"/>
                    <a:pt x="93" y="59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58"/>
                    <a:pt x="94" y="58"/>
                    <a:pt x="95" y="58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5"/>
                    <a:pt x="96" y="55"/>
                  </a:cubicBezTo>
                  <a:cubicBezTo>
                    <a:pt x="96" y="55"/>
                    <a:pt x="97" y="55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9" y="54"/>
                    <a:pt x="100" y="54"/>
                    <a:pt x="100" y="53"/>
                  </a:cubicBezTo>
                  <a:cubicBezTo>
                    <a:pt x="101" y="53"/>
                    <a:pt x="101" y="53"/>
                    <a:pt x="101" y="54"/>
                  </a:cubicBezTo>
                  <a:cubicBezTo>
                    <a:pt x="101" y="55"/>
                    <a:pt x="101" y="56"/>
                    <a:pt x="101" y="56"/>
                  </a:cubicBezTo>
                  <a:cubicBezTo>
                    <a:pt x="101" y="57"/>
                    <a:pt x="101" y="58"/>
                    <a:pt x="101" y="58"/>
                  </a:cubicBez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100" y="64"/>
                    <a:pt x="100" y="63"/>
                    <a:pt x="100" y="63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4" y="62"/>
                  </a:cubicBezTo>
                  <a:cubicBezTo>
                    <a:pt x="104" y="62"/>
                    <a:pt x="104" y="62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7" y="61"/>
                    <a:pt x="107" y="60"/>
                  </a:cubicBezTo>
                  <a:cubicBezTo>
                    <a:pt x="107" y="60"/>
                    <a:pt x="107" y="60"/>
                    <a:pt x="108" y="60"/>
                  </a:cubicBezTo>
                  <a:cubicBezTo>
                    <a:pt x="108" y="60"/>
                    <a:pt x="108" y="59"/>
                    <a:pt x="108" y="59"/>
                  </a:cubicBezTo>
                  <a:cubicBezTo>
                    <a:pt x="108" y="59"/>
                    <a:pt x="109" y="59"/>
                    <a:pt x="109" y="59"/>
                  </a:cubicBezTo>
                  <a:cubicBezTo>
                    <a:pt x="109" y="59"/>
                    <a:pt x="110" y="59"/>
                    <a:pt x="110" y="59"/>
                  </a:cubicBezTo>
                  <a:cubicBezTo>
                    <a:pt x="110" y="59"/>
                    <a:pt x="110" y="59"/>
                    <a:pt x="111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58"/>
                    <a:pt x="112" y="59"/>
                    <a:pt x="112" y="58"/>
                  </a:cubicBezTo>
                  <a:cubicBezTo>
                    <a:pt x="112" y="58"/>
                    <a:pt x="112" y="58"/>
                    <a:pt x="113" y="58"/>
                  </a:cubicBezTo>
                  <a:cubicBezTo>
                    <a:pt x="113" y="58"/>
                    <a:pt x="113" y="58"/>
                    <a:pt x="114" y="58"/>
                  </a:cubicBezTo>
                  <a:cubicBezTo>
                    <a:pt x="114" y="58"/>
                    <a:pt x="114" y="58"/>
                    <a:pt x="114" y="58"/>
                  </a:cubicBezTo>
                  <a:cubicBezTo>
                    <a:pt x="114" y="58"/>
                    <a:pt x="115" y="58"/>
                    <a:pt x="115" y="58"/>
                  </a:cubicBezTo>
                  <a:cubicBezTo>
                    <a:pt x="116" y="58"/>
                    <a:pt x="116" y="58"/>
                    <a:pt x="117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57"/>
                    <a:pt x="117" y="57"/>
                    <a:pt x="118" y="57"/>
                  </a:cubicBezTo>
                  <a:cubicBezTo>
                    <a:pt x="118" y="57"/>
                    <a:pt x="118" y="57"/>
                    <a:pt x="118" y="57"/>
                  </a:cubicBezTo>
                  <a:cubicBezTo>
                    <a:pt x="120" y="57"/>
                    <a:pt x="121" y="57"/>
                    <a:pt x="123" y="57"/>
                  </a:cubicBezTo>
                  <a:cubicBezTo>
                    <a:pt x="123" y="57"/>
                    <a:pt x="123" y="57"/>
                    <a:pt x="123" y="56"/>
                  </a:cubicBezTo>
                  <a:cubicBezTo>
                    <a:pt x="124" y="56"/>
                    <a:pt x="124" y="56"/>
                    <a:pt x="124" y="55"/>
                  </a:cubicBezTo>
                  <a:cubicBezTo>
                    <a:pt x="124" y="55"/>
                    <a:pt x="124" y="55"/>
                    <a:pt x="124" y="55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49"/>
                    <a:pt x="124" y="48"/>
                    <a:pt x="124" y="47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9C10A4A7-7773-47D5-A3D8-7629FDC1ED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84378" y="3042385"/>
              <a:ext cx="609664" cy="313919"/>
            </a:xfrm>
            <a:custGeom>
              <a:avLst/>
              <a:gdLst>
                <a:gd name="T0" fmla="*/ 151 w 154"/>
                <a:gd name="T1" fmla="*/ 62 h 79"/>
                <a:gd name="T2" fmla="*/ 148 w 154"/>
                <a:gd name="T3" fmla="*/ 67 h 79"/>
                <a:gd name="T4" fmla="*/ 145 w 154"/>
                <a:gd name="T5" fmla="*/ 71 h 79"/>
                <a:gd name="T6" fmla="*/ 141 w 154"/>
                <a:gd name="T7" fmla="*/ 76 h 79"/>
                <a:gd name="T8" fmla="*/ 127 w 154"/>
                <a:gd name="T9" fmla="*/ 75 h 79"/>
                <a:gd name="T10" fmla="*/ 123 w 154"/>
                <a:gd name="T11" fmla="*/ 69 h 79"/>
                <a:gd name="T12" fmla="*/ 127 w 154"/>
                <a:gd name="T13" fmla="*/ 57 h 79"/>
                <a:gd name="T14" fmla="*/ 123 w 154"/>
                <a:gd name="T15" fmla="*/ 66 h 79"/>
                <a:gd name="T16" fmla="*/ 118 w 154"/>
                <a:gd name="T17" fmla="*/ 66 h 79"/>
                <a:gd name="T18" fmla="*/ 111 w 154"/>
                <a:gd name="T19" fmla="*/ 59 h 79"/>
                <a:gd name="T20" fmla="*/ 113 w 154"/>
                <a:gd name="T21" fmla="*/ 52 h 79"/>
                <a:gd name="T22" fmla="*/ 116 w 154"/>
                <a:gd name="T23" fmla="*/ 50 h 79"/>
                <a:gd name="T24" fmla="*/ 121 w 154"/>
                <a:gd name="T25" fmla="*/ 49 h 79"/>
                <a:gd name="T26" fmla="*/ 114 w 154"/>
                <a:gd name="T27" fmla="*/ 46 h 79"/>
                <a:gd name="T28" fmla="*/ 111 w 154"/>
                <a:gd name="T29" fmla="*/ 41 h 79"/>
                <a:gd name="T30" fmla="*/ 116 w 154"/>
                <a:gd name="T31" fmla="*/ 38 h 79"/>
                <a:gd name="T32" fmla="*/ 115 w 154"/>
                <a:gd name="T33" fmla="*/ 32 h 79"/>
                <a:gd name="T34" fmla="*/ 113 w 154"/>
                <a:gd name="T35" fmla="*/ 30 h 79"/>
                <a:gd name="T36" fmla="*/ 113 w 154"/>
                <a:gd name="T37" fmla="*/ 22 h 79"/>
                <a:gd name="T38" fmla="*/ 117 w 154"/>
                <a:gd name="T39" fmla="*/ 17 h 79"/>
                <a:gd name="T40" fmla="*/ 123 w 154"/>
                <a:gd name="T41" fmla="*/ 16 h 79"/>
                <a:gd name="T42" fmla="*/ 123 w 154"/>
                <a:gd name="T43" fmla="*/ 10 h 79"/>
                <a:gd name="T44" fmla="*/ 122 w 154"/>
                <a:gd name="T45" fmla="*/ 7 h 79"/>
                <a:gd name="T46" fmla="*/ 117 w 154"/>
                <a:gd name="T47" fmla="*/ 11 h 79"/>
                <a:gd name="T48" fmla="*/ 112 w 154"/>
                <a:gd name="T49" fmla="*/ 18 h 79"/>
                <a:gd name="T50" fmla="*/ 108 w 154"/>
                <a:gd name="T51" fmla="*/ 16 h 79"/>
                <a:gd name="T52" fmla="*/ 106 w 154"/>
                <a:gd name="T53" fmla="*/ 23 h 79"/>
                <a:gd name="T54" fmla="*/ 102 w 154"/>
                <a:gd name="T55" fmla="*/ 23 h 79"/>
                <a:gd name="T56" fmla="*/ 106 w 154"/>
                <a:gd name="T57" fmla="*/ 31 h 79"/>
                <a:gd name="T58" fmla="*/ 102 w 154"/>
                <a:gd name="T59" fmla="*/ 35 h 79"/>
                <a:gd name="T60" fmla="*/ 102 w 154"/>
                <a:gd name="T61" fmla="*/ 43 h 79"/>
                <a:gd name="T62" fmla="*/ 103 w 154"/>
                <a:gd name="T63" fmla="*/ 52 h 79"/>
                <a:gd name="T64" fmla="*/ 107 w 154"/>
                <a:gd name="T65" fmla="*/ 62 h 79"/>
                <a:gd name="T66" fmla="*/ 99 w 154"/>
                <a:gd name="T67" fmla="*/ 55 h 79"/>
                <a:gd name="T68" fmla="*/ 109 w 154"/>
                <a:gd name="T69" fmla="*/ 69 h 79"/>
                <a:gd name="T70" fmla="*/ 105 w 154"/>
                <a:gd name="T71" fmla="*/ 70 h 79"/>
                <a:gd name="T72" fmla="*/ 98 w 154"/>
                <a:gd name="T73" fmla="*/ 65 h 79"/>
                <a:gd name="T74" fmla="*/ 92 w 154"/>
                <a:gd name="T75" fmla="*/ 63 h 79"/>
                <a:gd name="T76" fmla="*/ 86 w 154"/>
                <a:gd name="T77" fmla="*/ 60 h 79"/>
                <a:gd name="T78" fmla="*/ 82 w 154"/>
                <a:gd name="T79" fmla="*/ 50 h 79"/>
                <a:gd name="T80" fmla="*/ 86 w 154"/>
                <a:gd name="T81" fmla="*/ 39 h 79"/>
                <a:gd name="T82" fmla="*/ 78 w 154"/>
                <a:gd name="T83" fmla="*/ 33 h 79"/>
                <a:gd name="T84" fmla="*/ 70 w 154"/>
                <a:gd name="T85" fmla="*/ 22 h 79"/>
                <a:gd name="T86" fmla="*/ 59 w 154"/>
                <a:gd name="T87" fmla="*/ 11 h 79"/>
                <a:gd name="T88" fmla="*/ 57 w 154"/>
                <a:gd name="T89" fmla="*/ 5 h 79"/>
                <a:gd name="T90" fmla="*/ 44 w 154"/>
                <a:gd name="T91" fmla="*/ 1 h 79"/>
                <a:gd name="T92" fmla="*/ 36 w 154"/>
                <a:gd name="T93" fmla="*/ 6 h 79"/>
                <a:gd name="T94" fmla="*/ 28 w 154"/>
                <a:gd name="T95" fmla="*/ 7 h 79"/>
                <a:gd name="T96" fmla="*/ 23 w 154"/>
                <a:gd name="T97" fmla="*/ 7 h 79"/>
                <a:gd name="T98" fmla="*/ 14 w 154"/>
                <a:gd name="T99" fmla="*/ 11 h 79"/>
                <a:gd name="T100" fmla="*/ 5 w 154"/>
                <a:gd name="T101" fmla="*/ 19 h 79"/>
                <a:gd name="T102" fmla="*/ 109 w 154"/>
                <a:gd name="T103" fmla="*/ 39 h 79"/>
                <a:gd name="T104" fmla="*/ 110 w 154"/>
                <a:gd name="T105" fmla="*/ 3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4" h="79">
                  <a:moveTo>
                    <a:pt x="154" y="56"/>
                  </a:moveTo>
                  <a:cubicBezTo>
                    <a:pt x="154" y="57"/>
                    <a:pt x="153" y="57"/>
                    <a:pt x="152" y="57"/>
                  </a:cubicBezTo>
                  <a:cubicBezTo>
                    <a:pt x="152" y="58"/>
                    <a:pt x="152" y="58"/>
                    <a:pt x="151" y="58"/>
                  </a:cubicBezTo>
                  <a:cubicBezTo>
                    <a:pt x="151" y="58"/>
                    <a:pt x="150" y="58"/>
                    <a:pt x="150" y="59"/>
                  </a:cubicBezTo>
                  <a:cubicBezTo>
                    <a:pt x="150" y="60"/>
                    <a:pt x="150" y="60"/>
                    <a:pt x="151" y="61"/>
                  </a:cubicBezTo>
                  <a:cubicBezTo>
                    <a:pt x="151" y="61"/>
                    <a:pt x="151" y="61"/>
                    <a:pt x="151" y="62"/>
                  </a:cubicBezTo>
                  <a:cubicBezTo>
                    <a:pt x="151" y="62"/>
                    <a:pt x="151" y="62"/>
                    <a:pt x="151" y="62"/>
                  </a:cubicBezTo>
                  <a:cubicBezTo>
                    <a:pt x="151" y="63"/>
                    <a:pt x="151" y="63"/>
                    <a:pt x="151" y="63"/>
                  </a:cubicBezTo>
                  <a:cubicBezTo>
                    <a:pt x="151" y="64"/>
                    <a:pt x="151" y="65"/>
                    <a:pt x="150" y="66"/>
                  </a:cubicBezTo>
                  <a:cubicBezTo>
                    <a:pt x="150" y="66"/>
                    <a:pt x="149" y="66"/>
                    <a:pt x="149" y="67"/>
                  </a:cubicBezTo>
                  <a:cubicBezTo>
                    <a:pt x="149" y="67"/>
                    <a:pt x="149" y="68"/>
                    <a:pt x="148" y="68"/>
                  </a:cubicBezTo>
                  <a:cubicBezTo>
                    <a:pt x="148" y="68"/>
                    <a:pt x="148" y="67"/>
                    <a:pt x="148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7"/>
                    <a:pt x="146" y="67"/>
                    <a:pt x="146" y="67"/>
                  </a:cubicBezTo>
                  <a:cubicBezTo>
                    <a:pt x="146" y="68"/>
                    <a:pt x="146" y="68"/>
                    <a:pt x="146" y="69"/>
                  </a:cubicBezTo>
                  <a:cubicBezTo>
                    <a:pt x="146" y="69"/>
                    <a:pt x="146" y="70"/>
                    <a:pt x="146" y="70"/>
                  </a:cubicBezTo>
                  <a:cubicBezTo>
                    <a:pt x="146" y="70"/>
                    <a:pt x="145" y="71"/>
                    <a:pt x="145" y="71"/>
                  </a:cubicBezTo>
                  <a:cubicBezTo>
                    <a:pt x="145" y="71"/>
                    <a:pt x="145" y="71"/>
                    <a:pt x="145" y="72"/>
                  </a:cubicBezTo>
                  <a:cubicBezTo>
                    <a:pt x="145" y="72"/>
                    <a:pt x="145" y="72"/>
                    <a:pt x="144" y="72"/>
                  </a:cubicBezTo>
                  <a:cubicBezTo>
                    <a:pt x="144" y="72"/>
                    <a:pt x="144" y="72"/>
                    <a:pt x="144" y="73"/>
                  </a:cubicBezTo>
                  <a:cubicBezTo>
                    <a:pt x="143" y="73"/>
                    <a:pt x="143" y="73"/>
                    <a:pt x="143" y="74"/>
                  </a:cubicBezTo>
                  <a:cubicBezTo>
                    <a:pt x="143" y="74"/>
                    <a:pt x="143" y="74"/>
                    <a:pt x="142" y="74"/>
                  </a:cubicBezTo>
                  <a:cubicBezTo>
                    <a:pt x="142" y="75"/>
                    <a:pt x="142" y="75"/>
                    <a:pt x="141" y="76"/>
                  </a:cubicBezTo>
                  <a:cubicBezTo>
                    <a:pt x="134" y="76"/>
                    <a:pt x="134" y="76"/>
                    <a:pt x="134" y="76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1" y="78"/>
                    <a:pt x="130" y="78"/>
                    <a:pt x="129" y="78"/>
                  </a:cubicBezTo>
                  <a:cubicBezTo>
                    <a:pt x="129" y="78"/>
                    <a:pt x="128" y="78"/>
                    <a:pt x="128" y="79"/>
                  </a:cubicBezTo>
                  <a:cubicBezTo>
                    <a:pt x="127" y="79"/>
                    <a:pt x="126" y="79"/>
                    <a:pt x="126" y="79"/>
                  </a:cubicBezTo>
                  <a:cubicBezTo>
                    <a:pt x="125" y="77"/>
                    <a:pt x="127" y="76"/>
                    <a:pt x="127" y="75"/>
                  </a:cubicBezTo>
                  <a:cubicBezTo>
                    <a:pt x="128" y="75"/>
                    <a:pt x="128" y="74"/>
                    <a:pt x="128" y="74"/>
                  </a:cubicBezTo>
                  <a:cubicBezTo>
                    <a:pt x="127" y="74"/>
                    <a:pt x="126" y="74"/>
                    <a:pt x="126" y="73"/>
                  </a:cubicBezTo>
                  <a:cubicBezTo>
                    <a:pt x="126" y="72"/>
                    <a:pt x="128" y="72"/>
                    <a:pt x="127" y="71"/>
                  </a:cubicBezTo>
                  <a:cubicBezTo>
                    <a:pt x="126" y="70"/>
                    <a:pt x="126" y="71"/>
                    <a:pt x="125" y="71"/>
                  </a:cubicBezTo>
                  <a:cubicBezTo>
                    <a:pt x="125" y="72"/>
                    <a:pt x="124" y="72"/>
                    <a:pt x="123" y="71"/>
                  </a:cubicBezTo>
                  <a:cubicBezTo>
                    <a:pt x="122" y="71"/>
                    <a:pt x="123" y="70"/>
                    <a:pt x="123" y="69"/>
                  </a:cubicBezTo>
                  <a:cubicBezTo>
                    <a:pt x="123" y="69"/>
                    <a:pt x="123" y="69"/>
                    <a:pt x="124" y="68"/>
                  </a:cubicBezTo>
                  <a:cubicBezTo>
                    <a:pt x="124" y="68"/>
                    <a:pt x="124" y="68"/>
                    <a:pt x="124" y="67"/>
                  </a:cubicBezTo>
                  <a:cubicBezTo>
                    <a:pt x="124" y="66"/>
                    <a:pt x="124" y="65"/>
                    <a:pt x="124" y="64"/>
                  </a:cubicBezTo>
                  <a:cubicBezTo>
                    <a:pt x="124" y="63"/>
                    <a:pt x="125" y="63"/>
                    <a:pt x="125" y="62"/>
                  </a:cubicBezTo>
                  <a:cubicBezTo>
                    <a:pt x="126" y="61"/>
                    <a:pt x="126" y="60"/>
                    <a:pt x="126" y="59"/>
                  </a:cubicBezTo>
                  <a:cubicBezTo>
                    <a:pt x="126" y="59"/>
                    <a:pt x="126" y="58"/>
                    <a:pt x="127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7" y="56"/>
                    <a:pt x="126" y="58"/>
                    <a:pt x="126" y="58"/>
                  </a:cubicBezTo>
                  <a:cubicBezTo>
                    <a:pt x="126" y="59"/>
                    <a:pt x="125" y="59"/>
                    <a:pt x="125" y="60"/>
                  </a:cubicBezTo>
                  <a:cubicBezTo>
                    <a:pt x="125" y="61"/>
                    <a:pt x="125" y="62"/>
                    <a:pt x="124" y="62"/>
                  </a:cubicBezTo>
                  <a:cubicBezTo>
                    <a:pt x="124" y="63"/>
                    <a:pt x="123" y="64"/>
                    <a:pt x="123" y="65"/>
                  </a:cubicBezTo>
                  <a:cubicBezTo>
                    <a:pt x="123" y="65"/>
                    <a:pt x="123" y="66"/>
                    <a:pt x="123" y="66"/>
                  </a:cubicBezTo>
                  <a:cubicBezTo>
                    <a:pt x="122" y="66"/>
                    <a:pt x="122" y="66"/>
                    <a:pt x="122" y="65"/>
                  </a:cubicBezTo>
                  <a:cubicBezTo>
                    <a:pt x="122" y="65"/>
                    <a:pt x="122" y="65"/>
                    <a:pt x="121" y="65"/>
                  </a:cubicBezTo>
                  <a:cubicBezTo>
                    <a:pt x="121" y="64"/>
                    <a:pt x="120" y="64"/>
                    <a:pt x="120" y="65"/>
                  </a:cubicBezTo>
                  <a:cubicBezTo>
                    <a:pt x="120" y="65"/>
                    <a:pt x="120" y="66"/>
                    <a:pt x="119" y="67"/>
                  </a:cubicBezTo>
                  <a:cubicBezTo>
                    <a:pt x="119" y="67"/>
                    <a:pt x="118" y="67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7" y="65"/>
                    <a:pt x="117" y="65"/>
                  </a:cubicBezTo>
                  <a:cubicBezTo>
                    <a:pt x="116" y="64"/>
                    <a:pt x="115" y="63"/>
                    <a:pt x="115" y="62"/>
                  </a:cubicBezTo>
                  <a:cubicBezTo>
                    <a:pt x="115" y="62"/>
                    <a:pt x="115" y="61"/>
                    <a:pt x="114" y="61"/>
                  </a:cubicBezTo>
                  <a:cubicBezTo>
                    <a:pt x="114" y="60"/>
                    <a:pt x="114" y="60"/>
                    <a:pt x="114" y="61"/>
                  </a:cubicBezTo>
                  <a:cubicBezTo>
                    <a:pt x="113" y="61"/>
                    <a:pt x="112" y="61"/>
                    <a:pt x="112" y="60"/>
                  </a:cubicBezTo>
                  <a:cubicBezTo>
                    <a:pt x="111" y="60"/>
                    <a:pt x="111" y="60"/>
                    <a:pt x="111" y="59"/>
                  </a:cubicBezTo>
                  <a:cubicBezTo>
                    <a:pt x="111" y="58"/>
                    <a:pt x="110" y="58"/>
                    <a:pt x="110" y="57"/>
                  </a:cubicBezTo>
                  <a:cubicBezTo>
                    <a:pt x="110" y="57"/>
                    <a:pt x="110" y="56"/>
                    <a:pt x="110" y="55"/>
                  </a:cubicBezTo>
                  <a:cubicBezTo>
                    <a:pt x="110" y="55"/>
                    <a:pt x="111" y="55"/>
                    <a:pt x="111" y="55"/>
                  </a:cubicBezTo>
                  <a:cubicBezTo>
                    <a:pt x="111" y="55"/>
                    <a:pt x="112" y="55"/>
                    <a:pt x="112" y="55"/>
                  </a:cubicBezTo>
                  <a:cubicBezTo>
                    <a:pt x="112" y="54"/>
                    <a:pt x="113" y="54"/>
                    <a:pt x="114" y="54"/>
                  </a:cubicBezTo>
                  <a:cubicBezTo>
                    <a:pt x="114" y="53"/>
                    <a:pt x="113" y="53"/>
                    <a:pt x="113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2" y="51"/>
                    <a:pt x="112" y="50"/>
                    <a:pt x="112" y="50"/>
                  </a:cubicBezTo>
                  <a:cubicBezTo>
                    <a:pt x="113" y="50"/>
                    <a:pt x="113" y="49"/>
                    <a:pt x="114" y="49"/>
                  </a:cubicBezTo>
                  <a:cubicBezTo>
                    <a:pt x="115" y="49"/>
                    <a:pt x="115" y="49"/>
                    <a:pt x="116" y="49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6" y="50"/>
                    <a:pt x="116" y="50"/>
                    <a:pt x="117" y="51"/>
                  </a:cubicBezTo>
                  <a:cubicBezTo>
                    <a:pt x="118" y="51"/>
                    <a:pt x="119" y="52"/>
                    <a:pt x="120" y="51"/>
                  </a:cubicBezTo>
                  <a:cubicBezTo>
                    <a:pt x="121" y="51"/>
                    <a:pt x="122" y="51"/>
                    <a:pt x="122" y="50"/>
                  </a:cubicBezTo>
                  <a:cubicBezTo>
                    <a:pt x="122" y="50"/>
                    <a:pt x="123" y="49"/>
                    <a:pt x="123" y="49"/>
                  </a:cubicBezTo>
                  <a:cubicBezTo>
                    <a:pt x="123" y="49"/>
                    <a:pt x="123" y="48"/>
                    <a:pt x="122" y="48"/>
                  </a:cubicBezTo>
                  <a:cubicBezTo>
                    <a:pt x="122" y="48"/>
                    <a:pt x="121" y="49"/>
                    <a:pt x="121" y="49"/>
                  </a:cubicBezTo>
                  <a:cubicBezTo>
                    <a:pt x="121" y="50"/>
                    <a:pt x="121" y="50"/>
                    <a:pt x="120" y="51"/>
                  </a:cubicBezTo>
                  <a:cubicBezTo>
                    <a:pt x="120" y="51"/>
                    <a:pt x="119" y="51"/>
                    <a:pt x="118" y="50"/>
                  </a:cubicBezTo>
                  <a:cubicBezTo>
                    <a:pt x="118" y="50"/>
                    <a:pt x="117" y="49"/>
                    <a:pt x="116" y="49"/>
                  </a:cubicBezTo>
                  <a:cubicBezTo>
                    <a:pt x="116" y="49"/>
                    <a:pt x="116" y="48"/>
                    <a:pt x="116" y="48"/>
                  </a:cubicBezTo>
                  <a:cubicBezTo>
                    <a:pt x="115" y="48"/>
                    <a:pt x="115" y="48"/>
                    <a:pt x="114" y="47"/>
                  </a:cubicBezTo>
                  <a:cubicBezTo>
                    <a:pt x="114" y="47"/>
                    <a:pt x="114" y="47"/>
                    <a:pt x="114" y="46"/>
                  </a:cubicBezTo>
                  <a:cubicBezTo>
                    <a:pt x="114" y="46"/>
                    <a:pt x="114" y="46"/>
                    <a:pt x="113" y="45"/>
                  </a:cubicBezTo>
                  <a:cubicBezTo>
                    <a:pt x="113" y="45"/>
                    <a:pt x="113" y="44"/>
                    <a:pt x="113" y="44"/>
                  </a:cubicBezTo>
                  <a:cubicBezTo>
                    <a:pt x="112" y="43"/>
                    <a:pt x="112" y="45"/>
                    <a:pt x="111" y="45"/>
                  </a:cubicBezTo>
                  <a:cubicBezTo>
                    <a:pt x="110" y="45"/>
                    <a:pt x="110" y="45"/>
                    <a:pt x="110" y="44"/>
                  </a:cubicBezTo>
                  <a:cubicBezTo>
                    <a:pt x="110" y="44"/>
                    <a:pt x="110" y="43"/>
                    <a:pt x="110" y="43"/>
                  </a:cubicBezTo>
                  <a:cubicBezTo>
                    <a:pt x="110" y="42"/>
                    <a:pt x="110" y="42"/>
                    <a:pt x="111" y="41"/>
                  </a:cubicBezTo>
                  <a:cubicBezTo>
                    <a:pt x="111" y="41"/>
                    <a:pt x="112" y="41"/>
                    <a:pt x="113" y="41"/>
                  </a:cubicBezTo>
                  <a:cubicBezTo>
                    <a:pt x="113" y="41"/>
                    <a:pt x="114" y="42"/>
                    <a:pt x="114" y="42"/>
                  </a:cubicBezTo>
                  <a:cubicBezTo>
                    <a:pt x="114" y="41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39"/>
                  </a:cubicBezTo>
                  <a:cubicBezTo>
                    <a:pt x="115" y="39"/>
                    <a:pt x="115" y="39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7"/>
                    <a:pt x="115" y="37"/>
                    <a:pt x="115" y="37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3" y="35"/>
                    <a:pt x="113" y="35"/>
                  </a:cubicBezTo>
                  <a:cubicBezTo>
                    <a:pt x="113" y="35"/>
                    <a:pt x="113" y="34"/>
                    <a:pt x="113" y="34"/>
                  </a:cubicBezTo>
                  <a:cubicBezTo>
                    <a:pt x="114" y="33"/>
                    <a:pt x="114" y="34"/>
                    <a:pt x="114" y="34"/>
                  </a:cubicBezTo>
                  <a:cubicBezTo>
                    <a:pt x="115" y="33"/>
                    <a:pt x="114" y="33"/>
                    <a:pt x="115" y="32"/>
                  </a:cubicBezTo>
                  <a:cubicBezTo>
                    <a:pt x="115" y="32"/>
                    <a:pt x="115" y="32"/>
                    <a:pt x="115" y="31"/>
                  </a:cubicBezTo>
                  <a:cubicBezTo>
                    <a:pt x="115" y="31"/>
                    <a:pt x="115" y="31"/>
                    <a:pt x="115" y="30"/>
                  </a:cubicBezTo>
                  <a:cubicBezTo>
                    <a:pt x="115" y="30"/>
                    <a:pt x="115" y="30"/>
                    <a:pt x="116" y="30"/>
                  </a:cubicBezTo>
                  <a:cubicBezTo>
                    <a:pt x="116" y="30"/>
                    <a:pt x="116" y="29"/>
                    <a:pt x="116" y="29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30"/>
                    <a:pt x="114" y="30"/>
                    <a:pt x="113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2" y="28"/>
                    <a:pt x="112" y="28"/>
                    <a:pt x="112" y="27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2" y="24"/>
                    <a:pt x="113" y="24"/>
                    <a:pt x="113" y="24"/>
                  </a:cubicBezTo>
                  <a:cubicBezTo>
                    <a:pt x="113" y="23"/>
                    <a:pt x="113" y="22"/>
                    <a:pt x="113" y="22"/>
                  </a:cubicBezTo>
                  <a:cubicBezTo>
                    <a:pt x="113" y="21"/>
                    <a:pt x="114" y="21"/>
                    <a:pt x="114" y="20"/>
                  </a:cubicBezTo>
                  <a:cubicBezTo>
                    <a:pt x="115" y="20"/>
                    <a:pt x="115" y="19"/>
                    <a:pt x="115" y="19"/>
                  </a:cubicBezTo>
                  <a:cubicBezTo>
                    <a:pt x="115" y="18"/>
                    <a:pt x="116" y="18"/>
                    <a:pt x="116" y="18"/>
                  </a:cubicBezTo>
                  <a:cubicBezTo>
                    <a:pt x="116" y="18"/>
                    <a:pt x="116" y="17"/>
                    <a:pt x="117" y="17"/>
                  </a:cubicBezTo>
                  <a:cubicBezTo>
                    <a:pt x="117" y="17"/>
                    <a:pt x="117" y="16"/>
                    <a:pt x="117" y="16"/>
                  </a:cubicBezTo>
                  <a:cubicBezTo>
                    <a:pt x="117" y="16"/>
                    <a:pt x="117" y="16"/>
                    <a:pt x="117" y="17"/>
                  </a:cubicBezTo>
                  <a:cubicBezTo>
                    <a:pt x="118" y="17"/>
                    <a:pt x="119" y="17"/>
                    <a:pt x="120" y="17"/>
                  </a:cubicBezTo>
                  <a:cubicBezTo>
                    <a:pt x="120" y="17"/>
                    <a:pt x="120" y="17"/>
                    <a:pt x="121" y="17"/>
                  </a:cubicBezTo>
                  <a:cubicBezTo>
                    <a:pt x="121" y="18"/>
                    <a:pt x="122" y="18"/>
                    <a:pt x="123" y="17"/>
                  </a:cubicBezTo>
                  <a:cubicBezTo>
                    <a:pt x="123" y="17"/>
                    <a:pt x="124" y="17"/>
                    <a:pt x="124" y="17"/>
                  </a:cubicBezTo>
                  <a:cubicBezTo>
                    <a:pt x="125" y="17"/>
                    <a:pt x="126" y="17"/>
                    <a:pt x="126" y="16"/>
                  </a:cubicBezTo>
                  <a:cubicBezTo>
                    <a:pt x="125" y="16"/>
                    <a:pt x="123" y="16"/>
                    <a:pt x="123" y="16"/>
                  </a:cubicBezTo>
                  <a:cubicBezTo>
                    <a:pt x="123" y="16"/>
                    <a:pt x="121" y="16"/>
                    <a:pt x="121" y="16"/>
                  </a:cubicBezTo>
                  <a:cubicBezTo>
                    <a:pt x="120" y="16"/>
                    <a:pt x="121" y="15"/>
                    <a:pt x="121" y="14"/>
                  </a:cubicBezTo>
                  <a:cubicBezTo>
                    <a:pt x="122" y="13"/>
                    <a:pt x="123" y="12"/>
                    <a:pt x="124" y="11"/>
                  </a:cubicBezTo>
                  <a:cubicBezTo>
                    <a:pt x="125" y="10"/>
                    <a:pt x="125" y="9"/>
                    <a:pt x="125" y="8"/>
                  </a:cubicBezTo>
                  <a:cubicBezTo>
                    <a:pt x="126" y="7"/>
                    <a:pt x="124" y="9"/>
                    <a:pt x="124" y="9"/>
                  </a:cubicBezTo>
                  <a:cubicBezTo>
                    <a:pt x="124" y="9"/>
                    <a:pt x="123" y="10"/>
                    <a:pt x="123" y="10"/>
                  </a:cubicBezTo>
                  <a:cubicBezTo>
                    <a:pt x="123" y="10"/>
                    <a:pt x="122" y="11"/>
                    <a:pt x="122" y="11"/>
                  </a:cubicBezTo>
                  <a:cubicBezTo>
                    <a:pt x="122" y="11"/>
                    <a:pt x="121" y="11"/>
                    <a:pt x="121" y="11"/>
                  </a:cubicBezTo>
                  <a:cubicBezTo>
                    <a:pt x="121" y="10"/>
                    <a:pt x="122" y="10"/>
                    <a:pt x="122" y="10"/>
                  </a:cubicBezTo>
                  <a:cubicBezTo>
                    <a:pt x="122" y="9"/>
                    <a:pt x="122" y="9"/>
                    <a:pt x="122" y="8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3" y="7"/>
                    <a:pt x="123" y="7"/>
                    <a:pt x="122" y="7"/>
                  </a:cubicBezTo>
                  <a:cubicBezTo>
                    <a:pt x="122" y="7"/>
                    <a:pt x="122" y="7"/>
                    <a:pt x="121" y="7"/>
                  </a:cubicBezTo>
                  <a:cubicBezTo>
                    <a:pt x="121" y="7"/>
                    <a:pt x="121" y="7"/>
                    <a:pt x="121" y="8"/>
                  </a:cubicBezTo>
                  <a:cubicBezTo>
                    <a:pt x="121" y="8"/>
                    <a:pt x="120" y="8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9"/>
                    <a:pt x="118" y="9"/>
                    <a:pt x="118" y="9"/>
                  </a:cubicBezTo>
                  <a:cubicBezTo>
                    <a:pt x="117" y="10"/>
                    <a:pt x="117" y="10"/>
                    <a:pt x="117" y="11"/>
                  </a:cubicBezTo>
                  <a:cubicBezTo>
                    <a:pt x="117" y="12"/>
                    <a:pt x="118" y="13"/>
                    <a:pt x="117" y="14"/>
                  </a:cubicBezTo>
                  <a:cubicBezTo>
                    <a:pt x="117" y="14"/>
                    <a:pt x="116" y="14"/>
                    <a:pt x="116" y="15"/>
                  </a:cubicBezTo>
                  <a:cubicBezTo>
                    <a:pt x="116" y="15"/>
                    <a:pt x="116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4" y="16"/>
                    <a:pt x="114" y="16"/>
                    <a:pt x="113" y="16"/>
                  </a:cubicBezTo>
                  <a:cubicBezTo>
                    <a:pt x="113" y="17"/>
                    <a:pt x="112" y="17"/>
                    <a:pt x="112" y="18"/>
                  </a:cubicBezTo>
                  <a:cubicBezTo>
                    <a:pt x="112" y="18"/>
                    <a:pt x="112" y="18"/>
                    <a:pt x="112" y="18"/>
                  </a:cubicBezTo>
                  <a:cubicBezTo>
                    <a:pt x="111" y="18"/>
                    <a:pt x="112" y="18"/>
                    <a:pt x="111" y="18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10" y="17"/>
                    <a:pt x="110" y="17"/>
                    <a:pt x="110" y="17"/>
                  </a:cubicBezTo>
                  <a:cubicBezTo>
                    <a:pt x="110" y="16"/>
                    <a:pt x="110" y="16"/>
                    <a:pt x="109" y="15"/>
                  </a:cubicBezTo>
                  <a:cubicBezTo>
                    <a:pt x="109" y="15"/>
                    <a:pt x="108" y="15"/>
                    <a:pt x="108" y="16"/>
                  </a:cubicBezTo>
                  <a:cubicBezTo>
                    <a:pt x="108" y="16"/>
                    <a:pt x="109" y="16"/>
                    <a:pt x="109" y="17"/>
                  </a:cubicBezTo>
                  <a:cubicBezTo>
                    <a:pt x="109" y="17"/>
                    <a:pt x="109" y="18"/>
                    <a:pt x="109" y="18"/>
                  </a:cubicBezTo>
                  <a:cubicBezTo>
                    <a:pt x="109" y="19"/>
                    <a:pt x="109" y="20"/>
                    <a:pt x="108" y="20"/>
                  </a:cubicBezTo>
                  <a:cubicBezTo>
                    <a:pt x="108" y="21"/>
                    <a:pt x="107" y="21"/>
                    <a:pt x="107" y="22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6" y="23"/>
                    <a:pt x="106" y="24"/>
                    <a:pt x="105" y="24"/>
                  </a:cubicBezTo>
                  <a:cubicBezTo>
                    <a:pt x="105" y="24"/>
                    <a:pt x="105" y="23"/>
                    <a:pt x="104" y="23"/>
                  </a:cubicBezTo>
                  <a:cubicBezTo>
                    <a:pt x="104" y="23"/>
                    <a:pt x="104" y="23"/>
                    <a:pt x="103" y="23"/>
                  </a:cubicBezTo>
                  <a:cubicBezTo>
                    <a:pt x="103" y="23"/>
                    <a:pt x="103" y="22"/>
                    <a:pt x="102" y="22"/>
                  </a:cubicBezTo>
                  <a:cubicBezTo>
                    <a:pt x="102" y="22"/>
                    <a:pt x="101" y="22"/>
                    <a:pt x="101" y="23"/>
                  </a:cubicBezTo>
                  <a:cubicBezTo>
                    <a:pt x="101" y="23"/>
                    <a:pt x="101" y="23"/>
                    <a:pt x="102" y="23"/>
                  </a:cubicBezTo>
                  <a:cubicBezTo>
                    <a:pt x="102" y="23"/>
                    <a:pt x="102" y="24"/>
                    <a:pt x="102" y="24"/>
                  </a:cubicBezTo>
                  <a:cubicBezTo>
                    <a:pt x="103" y="24"/>
                    <a:pt x="103" y="25"/>
                    <a:pt x="103" y="25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6" y="28"/>
                    <a:pt x="106" y="29"/>
                    <a:pt x="106" y="30"/>
                  </a:cubicBezTo>
                  <a:cubicBezTo>
                    <a:pt x="106" y="30"/>
                    <a:pt x="106" y="31"/>
                    <a:pt x="106" y="31"/>
                  </a:cubicBezTo>
                  <a:cubicBezTo>
                    <a:pt x="107" y="31"/>
                    <a:pt x="107" y="32"/>
                    <a:pt x="107" y="32"/>
                  </a:cubicBezTo>
                  <a:cubicBezTo>
                    <a:pt x="107" y="33"/>
                    <a:pt x="107" y="33"/>
                    <a:pt x="106" y="34"/>
                  </a:cubicBezTo>
                  <a:cubicBezTo>
                    <a:pt x="106" y="34"/>
                    <a:pt x="105" y="35"/>
                    <a:pt x="104" y="36"/>
                  </a:cubicBezTo>
                  <a:cubicBezTo>
                    <a:pt x="104" y="36"/>
                    <a:pt x="103" y="35"/>
                    <a:pt x="103" y="35"/>
                  </a:cubicBezTo>
                  <a:cubicBezTo>
                    <a:pt x="103" y="35"/>
                    <a:pt x="102" y="35"/>
                    <a:pt x="102" y="35"/>
                  </a:cubicBezTo>
                  <a:cubicBezTo>
                    <a:pt x="101" y="35"/>
                    <a:pt x="102" y="35"/>
                    <a:pt x="102" y="35"/>
                  </a:cubicBezTo>
                  <a:cubicBezTo>
                    <a:pt x="102" y="36"/>
                    <a:pt x="103" y="36"/>
                    <a:pt x="103" y="36"/>
                  </a:cubicBezTo>
                  <a:cubicBezTo>
                    <a:pt x="103" y="37"/>
                    <a:pt x="103" y="37"/>
                    <a:pt x="104" y="37"/>
                  </a:cubicBezTo>
                  <a:cubicBezTo>
                    <a:pt x="104" y="38"/>
                    <a:pt x="104" y="38"/>
                    <a:pt x="104" y="39"/>
                  </a:cubicBezTo>
                  <a:cubicBezTo>
                    <a:pt x="104" y="40"/>
                    <a:pt x="103" y="40"/>
                    <a:pt x="103" y="41"/>
                  </a:cubicBezTo>
                  <a:cubicBezTo>
                    <a:pt x="103" y="42"/>
                    <a:pt x="103" y="42"/>
                    <a:pt x="102" y="42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4"/>
                    <a:pt x="102" y="44"/>
                    <a:pt x="102" y="45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2" y="45"/>
                    <a:pt x="102" y="46"/>
                  </a:cubicBezTo>
                  <a:cubicBezTo>
                    <a:pt x="103" y="46"/>
                    <a:pt x="103" y="48"/>
                    <a:pt x="103" y="49"/>
                  </a:cubicBezTo>
                  <a:cubicBezTo>
                    <a:pt x="103" y="49"/>
                    <a:pt x="103" y="49"/>
                    <a:pt x="103" y="50"/>
                  </a:cubicBezTo>
                  <a:cubicBezTo>
                    <a:pt x="103" y="50"/>
                    <a:pt x="103" y="51"/>
                    <a:pt x="103" y="52"/>
                  </a:cubicBezTo>
                  <a:cubicBezTo>
                    <a:pt x="103" y="52"/>
                    <a:pt x="104" y="52"/>
                    <a:pt x="104" y="52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4"/>
                    <a:pt x="104" y="55"/>
                    <a:pt x="104" y="56"/>
                  </a:cubicBezTo>
                  <a:cubicBezTo>
                    <a:pt x="104" y="57"/>
                    <a:pt x="105" y="57"/>
                    <a:pt x="105" y="58"/>
                  </a:cubicBezTo>
                  <a:cubicBezTo>
                    <a:pt x="106" y="59"/>
                    <a:pt x="106" y="60"/>
                    <a:pt x="107" y="60"/>
                  </a:cubicBezTo>
                  <a:cubicBezTo>
                    <a:pt x="107" y="61"/>
                    <a:pt x="108" y="61"/>
                    <a:pt x="107" y="62"/>
                  </a:cubicBezTo>
                  <a:cubicBezTo>
                    <a:pt x="106" y="62"/>
                    <a:pt x="106" y="62"/>
                    <a:pt x="105" y="61"/>
                  </a:cubicBezTo>
                  <a:cubicBezTo>
                    <a:pt x="104" y="61"/>
                    <a:pt x="104" y="61"/>
                    <a:pt x="103" y="60"/>
                  </a:cubicBezTo>
                  <a:cubicBezTo>
                    <a:pt x="103" y="60"/>
                    <a:pt x="102" y="59"/>
                    <a:pt x="102" y="59"/>
                  </a:cubicBezTo>
                  <a:cubicBezTo>
                    <a:pt x="102" y="58"/>
                    <a:pt x="101" y="58"/>
                    <a:pt x="101" y="57"/>
                  </a:cubicBezTo>
                  <a:cubicBezTo>
                    <a:pt x="100" y="57"/>
                    <a:pt x="100" y="57"/>
                    <a:pt x="100" y="56"/>
                  </a:cubicBezTo>
                  <a:cubicBezTo>
                    <a:pt x="99" y="56"/>
                    <a:pt x="99" y="56"/>
                    <a:pt x="99" y="55"/>
                  </a:cubicBezTo>
                  <a:cubicBezTo>
                    <a:pt x="99" y="55"/>
                    <a:pt x="98" y="54"/>
                    <a:pt x="98" y="54"/>
                  </a:cubicBezTo>
                  <a:cubicBezTo>
                    <a:pt x="97" y="54"/>
                    <a:pt x="98" y="55"/>
                    <a:pt x="98" y="56"/>
                  </a:cubicBezTo>
                  <a:cubicBezTo>
                    <a:pt x="98" y="56"/>
                    <a:pt x="99" y="57"/>
                    <a:pt x="99" y="57"/>
                  </a:cubicBezTo>
                  <a:cubicBezTo>
                    <a:pt x="100" y="58"/>
                    <a:pt x="100" y="59"/>
                    <a:pt x="101" y="59"/>
                  </a:cubicBezTo>
                  <a:cubicBezTo>
                    <a:pt x="102" y="60"/>
                    <a:pt x="103" y="61"/>
                    <a:pt x="103" y="62"/>
                  </a:cubicBezTo>
                  <a:cubicBezTo>
                    <a:pt x="105" y="65"/>
                    <a:pt x="108" y="66"/>
                    <a:pt x="109" y="69"/>
                  </a:cubicBezTo>
                  <a:cubicBezTo>
                    <a:pt x="109" y="70"/>
                    <a:pt x="110" y="70"/>
                    <a:pt x="110" y="70"/>
                  </a:cubicBezTo>
                  <a:cubicBezTo>
                    <a:pt x="110" y="71"/>
                    <a:pt x="110" y="73"/>
                    <a:pt x="109" y="74"/>
                  </a:cubicBezTo>
                  <a:cubicBezTo>
                    <a:pt x="108" y="74"/>
                    <a:pt x="108" y="73"/>
                    <a:pt x="108" y="72"/>
                  </a:cubicBezTo>
                  <a:cubicBezTo>
                    <a:pt x="107" y="72"/>
                    <a:pt x="107" y="71"/>
                    <a:pt x="107" y="70"/>
                  </a:cubicBezTo>
                  <a:cubicBezTo>
                    <a:pt x="106" y="70"/>
                    <a:pt x="106" y="69"/>
                    <a:pt x="105" y="69"/>
                  </a:cubicBezTo>
                  <a:cubicBezTo>
                    <a:pt x="105" y="69"/>
                    <a:pt x="105" y="70"/>
                    <a:pt x="105" y="70"/>
                  </a:cubicBezTo>
                  <a:cubicBezTo>
                    <a:pt x="105" y="71"/>
                    <a:pt x="104" y="71"/>
                    <a:pt x="104" y="71"/>
                  </a:cubicBezTo>
                  <a:cubicBezTo>
                    <a:pt x="103" y="71"/>
                    <a:pt x="103" y="71"/>
                    <a:pt x="102" y="70"/>
                  </a:cubicBezTo>
                  <a:cubicBezTo>
                    <a:pt x="102" y="69"/>
                    <a:pt x="102" y="69"/>
                    <a:pt x="101" y="68"/>
                  </a:cubicBezTo>
                  <a:cubicBezTo>
                    <a:pt x="100" y="68"/>
                    <a:pt x="100" y="67"/>
                    <a:pt x="99" y="67"/>
                  </a:cubicBezTo>
                  <a:cubicBezTo>
                    <a:pt x="98" y="67"/>
                    <a:pt x="97" y="66"/>
                    <a:pt x="98" y="66"/>
                  </a:cubicBezTo>
                  <a:cubicBezTo>
                    <a:pt x="98" y="66"/>
                    <a:pt x="98" y="66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7" y="65"/>
                  </a:cubicBezTo>
                  <a:cubicBezTo>
                    <a:pt x="97" y="65"/>
                    <a:pt x="96" y="65"/>
                    <a:pt x="96" y="65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4" y="66"/>
                    <a:pt x="94" y="66"/>
                    <a:pt x="93" y="65"/>
                  </a:cubicBezTo>
                  <a:cubicBezTo>
                    <a:pt x="93" y="64"/>
                    <a:pt x="93" y="63"/>
                    <a:pt x="92" y="63"/>
                  </a:cubicBezTo>
                  <a:cubicBezTo>
                    <a:pt x="91" y="63"/>
                    <a:pt x="92" y="64"/>
                    <a:pt x="91" y="64"/>
                  </a:cubicBezTo>
                  <a:cubicBezTo>
                    <a:pt x="91" y="64"/>
                    <a:pt x="90" y="64"/>
                    <a:pt x="90" y="64"/>
                  </a:cubicBezTo>
                  <a:cubicBezTo>
                    <a:pt x="90" y="64"/>
                    <a:pt x="89" y="63"/>
                    <a:pt x="89" y="63"/>
                  </a:cubicBezTo>
                  <a:cubicBezTo>
                    <a:pt x="89" y="63"/>
                    <a:pt x="88" y="63"/>
                    <a:pt x="88" y="62"/>
                  </a:cubicBezTo>
                  <a:cubicBezTo>
                    <a:pt x="88" y="62"/>
                    <a:pt x="88" y="62"/>
                    <a:pt x="87" y="61"/>
                  </a:cubicBezTo>
                  <a:cubicBezTo>
                    <a:pt x="87" y="61"/>
                    <a:pt x="87" y="60"/>
                    <a:pt x="86" y="60"/>
                  </a:cubicBezTo>
                  <a:cubicBezTo>
                    <a:pt x="86" y="59"/>
                    <a:pt x="85" y="55"/>
                    <a:pt x="83" y="57"/>
                  </a:cubicBezTo>
                  <a:cubicBezTo>
                    <a:pt x="81" y="57"/>
                    <a:pt x="82" y="59"/>
                    <a:pt x="81" y="60"/>
                  </a:cubicBezTo>
                  <a:cubicBezTo>
                    <a:pt x="80" y="62"/>
                    <a:pt x="78" y="61"/>
                    <a:pt x="78" y="59"/>
                  </a:cubicBezTo>
                  <a:cubicBezTo>
                    <a:pt x="77" y="58"/>
                    <a:pt x="77" y="56"/>
                    <a:pt x="78" y="54"/>
                  </a:cubicBezTo>
                  <a:cubicBezTo>
                    <a:pt x="78" y="53"/>
                    <a:pt x="79" y="53"/>
                    <a:pt x="79" y="52"/>
                  </a:cubicBezTo>
                  <a:cubicBezTo>
                    <a:pt x="80" y="51"/>
                    <a:pt x="81" y="51"/>
                    <a:pt x="82" y="50"/>
                  </a:cubicBezTo>
                  <a:cubicBezTo>
                    <a:pt x="83" y="49"/>
                    <a:pt x="85" y="48"/>
                    <a:pt x="86" y="46"/>
                  </a:cubicBezTo>
                  <a:cubicBezTo>
                    <a:pt x="86" y="45"/>
                    <a:pt x="86" y="45"/>
                    <a:pt x="86" y="44"/>
                  </a:cubicBezTo>
                  <a:cubicBezTo>
                    <a:pt x="86" y="44"/>
                    <a:pt x="85" y="43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2" y="36"/>
                    <a:pt x="82" y="35"/>
                  </a:cubicBezTo>
                  <a:cubicBezTo>
                    <a:pt x="82" y="35"/>
                    <a:pt x="80" y="33"/>
                    <a:pt x="80" y="33"/>
                  </a:cubicBezTo>
                  <a:cubicBezTo>
                    <a:pt x="80" y="33"/>
                    <a:pt x="78" y="33"/>
                    <a:pt x="78" y="33"/>
                  </a:cubicBezTo>
                  <a:cubicBezTo>
                    <a:pt x="78" y="33"/>
                    <a:pt x="77" y="31"/>
                    <a:pt x="77" y="31"/>
                  </a:cubicBezTo>
                  <a:cubicBezTo>
                    <a:pt x="77" y="31"/>
                    <a:pt x="76" y="30"/>
                    <a:pt x="75" y="30"/>
                  </a:cubicBezTo>
                  <a:cubicBezTo>
                    <a:pt x="75" y="30"/>
                    <a:pt x="72" y="29"/>
                    <a:pt x="71" y="29"/>
                  </a:cubicBezTo>
                  <a:cubicBezTo>
                    <a:pt x="71" y="29"/>
                    <a:pt x="68" y="28"/>
                    <a:pt x="68" y="27"/>
                  </a:cubicBezTo>
                  <a:cubicBezTo>
                    <a:pt x="68" y="27"/>
                    <a:pt x="68" y="25"/>
                    <a:pt x="68" y="25"/>
                  </a:cubicBezTo>
                  <a:cubicBezTo>
                    <a:pt x="68" y="25"/>
                    <a:pt x="70" y="22"/>
                    <a:pt x="70" y="22"/>
                  </a:cubicBezTo>
                  <a:cubicBezTo>
                    <a:pt x="70" y="22"/>
                    <a:pt x="67" y="19"/>
                    <a:pt x="67" y="19"/>
                  </a:cubicBezTo>
                  <a:cubicBezTo>
                    <a:pt x="66" y="18"/>
                    <a:pt x="61" y="18"/>
                    <a:pt x="61" y="18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9" y="11"/>
                    <a:pt x="59" y="11"/>
                  </a:cubicBezTo>
                  <a:cubicBezTo>
                    <a:pt x="59" y="11"/>
                    <a:pt x="59" y="10"/>
                    <a:pt x="59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7"/>
                    <a:pt x="56" y="6"/>
                  </a:cubicBezTo>
                  <a:cubicBezTo>
                    <a:pt x="56" y="6"/>
                    <a:pt x="57" y="5"/>
                    <a:pt x="57" y="5"/>
                  </a:cubicBezTo>
                  <a:cubicBezTo>
                    <a:pt x="57" y="5"/>
                    <a:pt x="55" y="5"/>
                    <a:pt x="55" y="5"/>
                  </a:cubicBezTo>
                  <a:cubicBezTo>
                    <a:pt x="55" y="5"/>
                    <a:pt x="53" y="6"/>
                    <a:pt x="53" y="6"/>
                  </a:cubicBezTo>
                  <a:cubicBezTo>
                    <a:pt x="53" y="6"/>
                    <a:pt x="54" y="5"/>
                    <a:pt x="53" y="5"/>
                  </a:cubicBezTo>
                  <a:cubicBezTo>
                    <a:pt x="53" y="4"/>
                    <a:pt x="52" y="5"/>
                    <a:pt x="52" y="5"/>
                  </a:cubicBezTo>
                  <a:cubicBezTo>
                    <a:pt x="52" y="5"/>
                    <a:pt x="46" y="1"/>
                    <a:pt x="46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39" y="4"/>
                    <a:pt x="39" y="4"/>
                  </a:cubicBezTo>
                  <a:cubicBezTo>
                    <a:pt x="39" y="3"/>
                    <a:pt x="38" y="5"/>
                    <a:pt x="38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7" y="6"/>
                    <a:pt x="37" y="6"/>
                  </a:cubicBezTo>
                  <a:cubicBezTo>
                    <a:pt x="37" y="6"/>
                    <a:pt x="36" y="6"/>
                    <a:pt x="36" y="6"/>
                  </a:cubicBezTo>
                  <a:cubicBezTo>
                    <a:pt x="35" y="7"/>
                    <a:pt x="35" y="8"/>
                    <a:pt x="35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3" y="9"/>
                    <a:pt x="33" y="9"/>
                  </a:cubicBezTo>
                  <a:cubicBezTo>
                    <a:pt x="33" y="9"/>
                    <a:pt x="31" y="9"/>
                    <a:pt x="30" y="8"/>
                  </a:cubicBezTo>
                  <a:cubicBezTo>
                    <a:pt x="30" y="8"/>
                    <a:pt x="28" y="7"/>
                    <a:pt x="28" y="7"/>
                  </a:cubicBezTo>
                  <a:cubicBezTo>
                    <a:pt x="28" y="7"/>
                    <a:pt x="26" y="7"/>
                    <a:pt x="26" y="7"/>
                  </a:cubicBezTo>
                  <a:cubicBezTo>
                    <a:pt x="26" y="6"/>
                    <a:pt x="25" y="5"/>
                    <a:pt x="25" y="5"/>
                  </a:cubicBezTo>
                  <a:cubicBezTo>
                    <a:pt x="25" y="4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5"/>
                    <a:pt x="23" y="6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19" y="10"/>
                    <a:pt x="19" y="10"/>
                  </a:cubicBezTo>
                  <a:cubicBezTo>
                    <a:pt x="19" y="11"/>
                    <a:pt x="18" y="12"/>
                    <a:pt x="18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5" y="10"/>
                    <a:pt x="14" y="11"/>
                    <a:pt x="14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5" y="19"/>
                    <a:pt x="5" y="19"/>
                  </a:cubicBezTo>
                  <a:cubicBezTo>
                    <a:pt x="5" y="19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1" y="56"/>
                    <a:pt x="131" y="56"/>
                    <a:pt x="131" y="56"/>
                  </a:cubicBezTo>
                  <a:lnTo>
                    <a:pt x="154" y="56"/>
                  </a:lnTo>
                  <a:close/>
                  <a:moveTo>
                    <a:pt x="109" y="39"/>
                  </a:moveTo>
                  <a:cubicBezTo>
                    <a:pt x="110" y="38"/>
                    <a:pt x="110" y="37"/>
                    <a:pt x="110" y="37"/>
                  </a:cubicBezTo>
                  <a:cubicBezTo>
                    <a:pt x="110" y="36"/>
                    <a:pt x="111" y="36"/>
                    <a:pt x="111" y="36"/>
                  </a:cubicBezTo>
                  <a:cubicBezTo>
                    <a:pt x="112" y="35"/>
                    <a:pt x="112" y="35"/>
                    <a:pt x="112" y="34"/>
                  </a:cubicBezTo>
                  <a:cubicBezTo>
                    <a:pt x="112" y="34"/>
                    <a:pt x="112" y="34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0" y="33"/>
                    <a:pt x="110" y="33"/>
                    <a:pt x="110" y="34"/>
                  </a:cubicBezTo>
                  <a:cubicBezTo>
                    <a:pt x="110" y="34"/>
                    <a:pt x="110" y="35"/>
                    <a:pt x="109" y="35"/>
                  </a:cubicBezTo>
                  <a:cubicBezTo>
                    <a:pt x="109" y="35"/>
                    <a:pt x="109" y="36"/>
                    <a:pt x="109" y="36"/>
                  </a:cubicBezTo>
                  <a:cubicBezTo>
                    <a:pt x="108" y="37"/>
                    <a:pt x="109" y="37"/>
                    <a:pt x="108" y="37"/>
                  </a:cubicBezTo>
                  <a:cubicBezTo>
                    <a:pt x="109" y="38"/>
                    <a:pt x="109" y="39"/>
                    <a:pt x="109" y="39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21D44D7F-5A7E-4F78-B7C7-F54362D6D7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32659" y="1575226"/>
              <a:ext cx="558445" cy="860798"/>
            </a:xfrm>
            <a:custGeom>
              <a:avLst/>
              <a:gdLst>
                <a:gd name="T0" fmla="*/ 76 w 141"/>
                <a:gd name="T1" fmla="*/ 158 h 217"/>
                <a:gd name="T2" fmla="*/ 78 w 141"/>
                <a:gd name="T3" fmla="*/ 165 h 217"/>
                <a:gd name="T4" fmla="*/ 76 w 141"/>
                <a:gd name="T5" fmla="*/ 164 h 217"/>
                <a:gd name="T6" fmla="*/ 78 w 141"/>
                <a:gd name="T7" fmla="*/ 170 h 217"/>
                <a:gd name="T8" fmla="*/ 76 w 141"/>
                <a:gd name="T9" fmla="*/ 168 h 217"/>
                <a:gd name="T10" fmla="*/ 85 w 141"/>
                <a:gd name="T11" fmla="*/ 162 h 217"/>
                <a:gd name="T12" fmla="*/ 83 w 141"/>
                <a:gd name="T13" fmla="*/ 161 h 217"/>
                <a:gd name="T14" fmla="*/ 77 w 141"/>
                <a:gd name="T15" fmla="*/ 154 h 217"/>
                <a:gd name="T16" fmla="*/ 138 w 141"/>
                <a:gd name="T17" fmla="*/ 130 h 217"/>
                <a:gd name="T18" fmla="*/ 137 w 141"/>
                <a:gd name="T19" fmla="*/ 127 h 217"/>
                <a:gd name="T20" fmla="*/ 138 w 141"/>
                <a:gd name="T21" fmla="*/ 121 h 217"/>
                <a:gd name="T22" fmla="*/ 132 w 141"/>
                <a:gd name="T23" fmla="*/ 114 h 217"/>
                <a:gd name="T24" fmla="*/ 124 w 141"/>
                <a:gd name="T25" fmla="*/ 100 h 217"/>
                <a:gd name="T26" fmla="*/ 121 w 141"/>
                <a:gd name="T27" fmla="*/ 93 h 217"/>
                <a:gd name="T28" fmla="*/ 113 w 141"/>
                <a:gd name="T29" fmla="*/ 84 h 217"/>
                <a:gd name="T30" fmla="*/ 114 w 141"/>
                <a:gd name="T31" fmla="*/ 77 h 217"/>
                <a:gd name="T32" fmla="*/ 86 w 141"/>
                <a:gd name="T33" fmla="*/ 11 h 217"/>
                <a:gd name="T34" fmla="*/ 36 w 141"/>
                <a:gd name="T35" fmla="*/ 53 h 217"/>
                <a:gd name="T36" fmla="*/ 28 w 141"/>
                <a:gd name="T37" fmla="*/ 74 h 217"/>
                <a:gd name="T38" fmla="*/ 16 w 141"/>
                <a:gd name="T39" fmla="*/ 93 h 217"/>
                <a:gd name="T40" fmla="*/ 9 w 141"/>
                <a:gd name="T41" fmla="*/ 109 h 217"/>
                <a:gd name="T42" fmla="*/ 4 w 141"/>
                <a:gd name="T43" fmla="*/ 186 h 217"/>
                <a:gd name="T44" fmla="*/ 13 w 141"/>
                <a:gd name="T45" fmla="*/ 216 h 217"/>
                <a:gd name="T46" fmla="*/ 20 w 141"/>
                <a:gd name="T47" fmla="*/ 204 h 217"/>
                <a:gd name="T48" fmla="*/ 29 w 141"/>
                <a:gd name="T49" fmla="*/ 193 h 217"/>
                <a:gd name="T50" fmla="*/ 36 w 141"/>
                <a:gd name="T51" fmla="*/ 180 h 217"/>
                <a:gd name="T52" fmla="*/ 40 w 141"/>
                <a:gd name="T53" fmla="*/ 179 h 217"/>
                <a:gd name="T54" fmla="*/ 45 w 141"/>
                <a:gd name="T55" fmla="*/ 184 h 217"/>
                <a:gd name="T56" fmla="*/ 45 w 141"/>
                <a:gd name="T57" fmla="*/ 175 h 217"/>
                <a:gd name="T58" fmla="*/ 47 w 141"/>
                <a:gd name="T59" fmla="*/ 181 h 217"/>
                <a:gd name="T60" fmla="*/ 47 w 141"/>
                <a:gd name="T61" fmla="*/ 177 h 217"/>
                <a:gd name="T62" fmla="*/ 51 w 141"/>
                <a:gd name="T63" fmla="*/ 178 h 217"/>
                <a:gd name="T64" fmla="*/ 53 w 141"/>
                <a:gd name="T65" fmla="*/ 172 h 217"/>
                <a:gd name="T66" fmla="*/ 55 w 141"/>
                <a:gd name="T67" fmla="*/ 178 h 217"/>
                <a:gd name="T68" fmla="*/ 59 w 141"/>
                <a:gd name="T69" fmla="*/ 169 h 217"/>
                <a:gd name="T70" fmla="*/ 61 w 141"/>
                <a:gd name="T71" fmla="*/ 173 h 217"/>
                <a:gd name="T72" fmla="*/ 66 w 141"/>
                <a:gd name="T73" fmla="*/ 173 h 217"/>
                <a:gd name="T74" fmla="*/ 70 w 141"/>
                <a:gd name="T75" fmla="*/ 168 h 217"/>
                <a:gd name="T76" fmla="*/ 70 w 141"/>
                <a:gd name="T77" fmla="*/ 163 h 217"/>
                <a:gd name="T78" fmla="*/ 74 w 141"/>
                <a:gd name="T79" fmla="*/ 157 h 217"/>
                <a:gd name="T80" fmla="*/ 74 w 141"/>
                <a:gd name="T81" fmla="*/ 151 h 217"/>
                <a:gd name="T82" fmla="*/ 79 w 141"/>
                <a:gd name="T83" fmla="*/ 147 h 217"/>
                <a:gd name="T84" fmla="*/ 79 w 141"/>
                <a:gd name="T85" fmla="*/ 151 h 217"/>
                <a:gd name="T86" fmla="*/ 81 w 141"/>
                <a:gd name="T87" fmla="*/ 156 h 217"/>
                <a:gd name="T88" fmla="*/ 88 w 141"/>
                <a:gd name="T89" fmla="*/ 160 h 217"/>
                <a:gd name="T90" fmla="*/ 88 w 141"/>
                <a:gd name="T91" fmla="*/ 156 h 217"/>
                <a:gd name="T92" fmla="*/ 90 w 141"/>
                <a:gd name="T93" fmla="*/ 149 h 217"/>
                <a:gd name="T94" fmla="*/ 93 w 141"/>
                <a:gd name="T95" fmla="*/ 152 h 217"/>
                <a:gd name="T96" fmla="*/ 94 w 141"/>
                <a:gd name="T97" fmla="*/ 156 h 217"/>
                <a:gd name="T98" fmla="*/ 98 w 141"/>
                <a:gd name="T99" fmla="*/ 159 h 217"/>
                <a:gd name="T100" fmla="*/ 98 w 141"/>
                <a:gd name="T101" fmla="*/ 153 h 217"/>
                <a:gd name="T102" fmla="*/ 99 w 141"/>
                <a:gd name="T103" fmla="*/ 149 h 217"/>
                <a:gd name="T104" fmla="*/ 103 w 141"/>
                <a:gd name="T105" fmla="*/ 153 h 217"/>
                <a:gd name="T106" fmla="*/ 107 w 141"/>
                <a:gd name="T107" fmla="*/ 149 h 217"/>
                <a:gd name="T108" fmla="*/ 111 w 141"/>
                <a:gd name="T109" fmla="*/ 152 h 217"/>
                <a:gd name="T110" fmla="*/ 113 w 141"/>
                <a:gd name="T111" fmla="*/ 145 h 217"/>
                <a:gd name="T112" fmla="*/ 123 w 141"/>
                <a:gd name="T113" fmla="*/ 142 h 217"/>
                <a:gd name="T114" fmla="*/ 126 w 141"/>
                <a:gd name="T115" fmla="*/ 143 h 217"/>
                <a:gd name="T116" fmla="*/ 129 w 141"/>
                <a:gd name="T117" fmla="*/ 138 h 217"/>
                <a:gd name="T118" fmla="*/ 135 w 141"/>
                <a:gd name="T119" fmla="*/ 14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1" h="217">
                  <a:moveTo>
                    <a:pt x="74" y="159"/>
                  </a:moveTo>
                  <a:cubicBezTo>
                    <a:pt x="74" y="158"/>
                    <a:pt x="74" y="158"/>
                    <a:pt x="74" y="158"/>
                  </a:cubicBezTo>
                  <a:cubicBezTo>
                    <a:pt x="75" y="158"/>
                    <a:pt x="75" y="158"/>
                    <a:pt x="75" y="157"/>
                  </a:cubicBezTo>
                  <a:cubicBezTo>
                    <a:pt x="75" y="157"/>
                    <a:pt x="75" y="157"/>
                    <a:pt x="75" y="157"/>
                  </a:cubicBezTo>
                  <a:cubicBezTo>
                    <a:pt x="75" y="157"/>
                    <a:pt x="75" y="156"/>
                    <a:pt x="75" y="156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6" y="156"/>
                    <a:pt x="76" y="157"/>
                    <a:pt x="76" y="157"/>
                  </a:cubicBezTo>
                  <a:cubicBezTo>
                    <a:pt x="76" y="157"/>
                    <a:pt x="76" y="157"/>
                    <a:pt x="76" y="158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6" y="158"/>
                    <a:pt x="76" y="158"/>
                    <a:pt x="75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5" y="159"/>
                    <a:pt x="75" y="159"/>
                    <a:pt x="74" y="159"/>
                  </a:cubicBezTo>
                  <a:close/>
                  <a:moveTo>
                    <a:pt x="76" y="165"/>
                  </a:moveTo>
                  <a:cubicBezTo>
                    <a:pt x="76" y="165"/>
                    <a:pt x="76" y="165"/>
                    <a:pt x="77" y="165"/>
                  </a:cubicBezTo>
                  <a:cubicBezTo>
                    <a:pt x="77" y="165"/>
                    <a:pt x="77" y="165"/>
                    <a:pt x="77" y="165"/>
                  </a:cubicBezTo>
                  <a:cubicBezTo>
                    <a:pt x="78" y="165"/>
                    <a:pt x="78" y="165"/>
                    <a:pt x="78" y="165"/>
                  </a:cubicBezTo>
                  <a:cubicBezTo>
                    <a:pt x="79" y="165"/>
                    <a:pt x="79" y="165"/>
                    <a:pt x="79" y="165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9" y="164"/>
                    <a:pt x="78" y="164"/>
                    <a:pt x="78" y="164"/>
                  </a:cubicBezTo>
                  <a:cubicBezTo>
                    <a:pt x="78" y="164"/>
                    <a:pt x="78" y="164"/>
                    <a:pt x="78" y="163"/>
                  </a:cubicBezTo>
                  <a:cubicBezTo>
                    <a:pt x="78" y="163"/>
                    <a:pt x="77" y="163"/>
                    <a:pt x="77" y="164"/>
                  </a:cubicBezTo>
                  <a:cubicBezTo>
                    <a:pt x="77" y="164"/>
                    <a:pt x="77" y="164"/>
                    <a:pt x="77" y="164"/>
                  </a:cubicBezTo>
                  <a:cubicBezTo>
                    <a:pt x="77" y="164"/>
                    <a:pt x="76" y="164"/>
                    <a:pt x="76" y="164"/>
                  </a:cubicBezTo>
                  <a:cubicBezTo>
                    <a:pt x="76" y="164"/>
                    <a:pt x="75" y="164"/>
                    <a:pt x="75" y="164"/>
                  </a:cubicBezTo>
                  <a:cubicBezTo>
                    <a:pt x="75" y="165"/>
                    <a:pt x="76" y="165"/>
                    <a:pt x="76" y="165"/>
                  </a:cubicBezTo>
                  <a:close/>
                  <a:moveTo>
                    <a:pt x="76" y="168"/>
                  </a:moveTo>
                  <a:cubicBezTo>
                    <a:pt x="76" y="168"/>
                    <a:pt x="76" y="168"/>
                    <a:pt x="77" y="168"/>
                  </a:cubicBezTo>
                  <a:cubicBezTo>
                    <a:pt x="77" y="168"/>
                    <a:pt x="77" y="168"/>
                    <a:pt x="77" y="169"/>
                  </a:cubicBezTo>
                  <a:cubicBezTo>
                    <a:pt x="77" y="169"/>
                    <a:pt x="77" y="169"/>
                    <a:pt x="77" y="169"/>
                  </a:cubicBezTo>
                  <a:cubicBezTo>
                    <a:pt x="77" y="169"/>
                    <a:pt x="77" y="170"/>
                    <a:pt x="77" y="170"/>
                  </a:cubicBezTo>
                  <a:cubicBezTo>
                    <a:pt x="77" y="170"/>
                    <a:pt x="78" y="170"/>
                    <a:pt x="78" y="170"/>
                  </a:cubicBezTo>
                  <a:cubicBezTo>
                    <a:pt x="78" y="170"/>
                    <a:pt x="79" y="170"/>
                    <a:pt x="79" y="170"/>
                  </a:cubicBezTo>
                  <a:cubicBezTo>
                    <a:pt x="79" y="170"/>
                    <a:pt x="79" y="169"/>
                    <a:pt x="79" y="169"/>
                  </a:cubicBezTo>
                  <a:cubicBezTo>
                    <a:pt x="79" y="168"/>
                    <a:pt x="79" y="168"/>
                    <a:pt x="79" y="168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79" y="166"/>
                    <a:pt x="78" y="167"/>
                    <a:pt x="78" y="167"/>
                  </a:cubicBezTo>
                  <a:cubicBezTo>
                    <a:pt x="78" y="167"/>
                    <a:pt x="77" y="167"/>
                    <a:pt x="77" y="167"/>
                  </a:cubicBezTo>
                  <a:cubicBezTo>
                    <a:pt x="77" y="167"/>
                    <a:pt x="76" y="166"/>
                    <a:pt x="76" y="167"/>
                  </a:cubicBezTo>
                  <a:cubicBezTo>
                    <a:pt x="76" y="167"/>
                    <a:pt x="76" y="167"/>
                    <a:pt x="76" y="168"/>
                  </a:cubicBezTo>
                  <a:cubicBezTo>
                    <a:pt x="76" y="168"/>
                    <a:pt x="76" y="168"/>
                    <a:pt x="76" y="168"/>
                  </a:cubicBezTo>
                  <a:close/>
                  <a:moveTo>
                    <a:pt x="82" y="163"/>
                  </a:moveTo>
                  <a:cubicBezTo>
                    <a:pt x="83" y="163"/>
                    <a:pt x="83" y="163"/>
                    <a:pt x="83" y="163"/>
                  </a:cubicBezTo>
                  <a:cubicBezTo>
                    <a:pt x="83" y="163"/>
                    <a:pt x="83" y="163"/>
                    <a:pt x="83" y="163"/>
                  </a:cubicBezTo>
                  <a:cubicBezTo>
                    <a:pt x="83" y="163"/>
                    <a:pt x="84" y="163"/>
                    <a:pt x="84" y="163"/>
                  </a:cubicBezTo>
                  <a:cubicBezTo>
                    <a:pt x="84" y="163"/>
                    <a:pt x="84" y="163"/>
                    <a:pt x="84" y="163"/>
                  </a:cubicBezTo>
                  <a:cubicBezTo>
                    <a:pt x="84" y="163"/>
                    <a:pt x="84" y="162"/>
                    <a:pt x="84" y="162"/>
                  </a:cubicBezTo>
                  <a:cubicBezTo>
                    <a:pt x="84" y="162"/>
                    <a:pt x="85" y="162"/>
                    <a:pt x="85" y="162"/>
                  </a:cubicBezTo>
                  <a:cubicBezTo>
                    <a:pt x="85" y="162"/>
                    <a:pt x="85" y="161"/>
                    <a:pt x="85" y="161"/>
                  </a:cubicBezTo>
                  <a:cubicBezTo>
                    <a:pt x="85" y="161"/>
                    <a:pt x="86" y="161"/>
                    <a:pt x="86" y="161"/>
                  </a:cubicBezTo>
                  <a:cubicBezTo>
                    <a:pt x="86" y="160"/>
                    <a:pt x="86" y="160"/>
                    <a:pt x="86" y="160"/>
                  </a:cubicBezTo>
                  <a:cubicBezTo>
                    <a:pt x="86" y="160"/>
                    <a:pt x="85" y="160"/>
                    <a:pt x="85" y="160"/>
                  </a:cubicBezTo>
                  <a:cubicBezTo>
                    <a:pt x="85" y="160"/>
                    <a:pt x="85" y="160"/>
                    <a:pt x="84" y="15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83" y="159"/>
                    <a:pt x="83" y="160"/>
                  </a:cubicBezTo>
                  <a:cubicBezTo>
                    <a:pt x="83" y="160"/>
                    <a:pt x="83" y="160"/>
                    <a:pt x="83" y="161"/>
                  </a:cubicBezTo>
                  <a:cubicBezTo>
                    <a:pt x="83" y="161"/>
                    <a:pt x="83" y="161"/>
                    <a:pt x="83" y="162"/>
                  </a:cubicBezTo>
                  <a:cubicBezTo>
                    <a:pt x="83" y="162"/>
                    <a:pt x="82" y="162"/>
                    <a:pt x="82" y="162"/>
                  </a:cubicBezTo>
                  <a:cubicBezTo>
                    <a:pt x="82" y="163"/>
                    <a:pt x="82" y="163"/>
                    <a:pt x="82" y="163"/>
                  </a:cubicBezTo>
                  <a:cubicBezTo>
                    <a:pt x="82" y="163"/>
                    <a:pt x="82" y="163"/>
                    <a:pt x="82" y="163"/>
                  </a:cubicBezTo>
                  <a:close/>
                  <a:moveTo>
                    <a:pt x="77" y="154"/>
                  </a:moveTo>
                  <a:cubicBezTo>
                    <a:pt x="77" y="154"/>
                    <a:pt x="77" y="154"/>
                    <a:pt x="77" y="154"/>
                  </a:cubicBezTo>
                  <a:cubicBezTo>
                    <a:pt x="76" y="153"/>
                    <a:pt x="76" y="154"/>
                    <a:pt x="76" y="154"/>
                  </a:cubicBezTo>
                  <a:cubicBezTo>
                    <a:pt x="76" y="154"/>
                    <a:pt x="76" y="154"/>
                    <a:pt x="77" y="154"/>
                  </a:cubicBezTo>
                  <a:close/>
                  <a:moveTo>
                    <a:pt x="141" y="131"/>
                  </a:moveTo>
                  <a:cubicBezTo>
                    <a:pt x="141" y="131"/>
                    <a:pt x="140" y="131"/>
                    <a:pt x="140" y="131"/>
                  </a:cubicBezTo>
                  <a:cubicBezTo>
                    <a:pt x="140" y="131"/>
                    <a:pt x="140" y="130"/>
                    <a:pt x="140" y="130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40" y="129"/>
                    <a:pt x="140" y="129"/>
                    <a:pt x="140" y="129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39" y="130"/>
                    <a:pt x="139" y="130"/>
                    <a:pt x="138" y="130"/>
                  </a:cubicBezTo>
                  <a:cubicBezTo>
                    <a:pt x="138" y="130"/>
                    <a:pt x="138" y="130"/>
                    <a:pt x="138" y="131"/>
                  </a:cubicBezTo>
                  <a:cubicBezTo>
                    <a:pt x="138" y="131"/>
                    <a:pt x="138" y="131"/>
                    <a:pt x="137" y="131"/>
                  </a:cubicBezTo>
                  <a:cubicBezTo>
                    <a:pt x="137" y="132"/>
                    <a:pt x="137" y="132"/>
                    <a:pt x="137" y="132"/>
                  </a:cubicBezTo>
                  <a:cubicBezTo>
                    <a:pt x="136" y="132"/>
                    <a:pt x="136" y="132"/>
                    <a:pt x="136" y="131"/>
                  </a:cubicBezTo>
                  <a:cubicBezTo>
                    <a:pt x="136" y="131"/>
                    <a:pt x="136" y="131"/>
                    <a:pt x="137" y="131"/>
                  </a:cubicBezTo>
                  <a:cubicBezTo>
                    <a:pt x="137" y="130"/>
                    <a:pt x="137" y="130"/>
                    <a:pt x="137" y="130"/>
                  </a:cubicBezTo>
                  <a:cubicBezTo>
                    <a:pt x="137" y="129"/>
                    <a:pt x="137" y="129"/>
                    <a:pt x="137" y="128"/>
                  </a:cubicBezTo>
                  <a:cubicBezTo>
                    <a:pt x="137" y="128"/>
                    <a:pt x="137" y="127"/>
                    <a:pt x="137" y="127"/>
                  </a:cubicBezTo>
                  <a:cubicBezTo>
                    <a:pt x="137" y="126"/>
                    <a:pt x="137" y="126"/>
                    <a:pt x="138" y="126"/>
                  </a:cubicBezTo>
                  <a:cubicBezTo>
                    <a:pt x="138" y="126"/>
                    <a:pt x="138" y="126"/>
                    <a:pt x="139" y="126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139" y="126"/>
                    <a:pt x="140" y="126"/>
                    <a:pt x="140" y="126"/>
                  </a:cubicBezTo>
                  <a:cubicBezTo>
                    <a:pt x="139" y="126"/>
                    <a:pt x="139" y="125"/>
                    <a:pt x="139" y="125"/>
                  </a:cubicBezTo>
                  <a:cubicBezTo>
                    <a:pt x="139" y="124"/>
                    <a:pt x="139" y="124"/>
                    <a:pt x="139" y="123"/>
                  </a:cubicBezTo>
                  <a:cubicBezTo>
                    <a:pt x="138" y="123"/>
                    <a:pt x="138" y="123"/>
                    <a:pt x="138" y="122"/>
                  </a:cubicBezTo>
                  <a:cubicBezTo>
                    <a:pt x="138" y="122"/>
                    <a:pt x="138" y="121"/>
                    <a:pt x="138" y="121"/>
                  </a:cubicBezTo>
                  <a:cubicBezTo>
                    <a:pt x="138" y="120"/>
                    <a:pt x="137" y="120"/>
                    <a:pt x="137" y="119"/>
                  </a:cubicBezTo>
                  <a:cubicBezTo>
                    <a:pt x="137" y="119"/>
                    <a:pt x="137" y="119"/>
                    <a:pt x="137" y="118"/>
                  </a:cubicBezTo>
                  <a:cubicBezTo>
                    <a:pt x="137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5" y="116"/>
                    <a:pt x="135" y="116"/>
                  </a:cubicBezTo>
                  <a:cubicBezTo>
                    <a:pt x="135" y="116"/>
                    <a:pt x="134" y="116"/>
                    <a:pt x="134" y="116"/>
                  </a:cubicBezTo>
                  <a:cubicBezTo>
                    <a:pt x="134" y="115"/>
                    <a:pt x="133" y="115"/>
                    <a:pt x="133" y="114"/>
                  </a:cubicBezTo>
                  <a:cubicBezTo>
                    <a:pt x="133" y="114"/>
                    <a:pt x="132" y="114"/>
                    <a:pt x="132" y="114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7" y="115"/>
                    <a:pt x="127" y="115"/>
                    <a:pt x="127" y="115"/>
                  </a:cubicBezTo>
                  <a:cubicBezTo>
                    <a:pt x="127" y="115"/>
                    <a:pt x="126" y="113"/>
                    <a:pt x="126" y="113"/>
                  </a:cubicBezTo>
                  <a:cubicBezTo>
                    <a:pt x="126" y="113"/>
                    <a:pt x="125" y="111"/>
                    <a:pt x="125" y="111"/>
                  </a:cubicBezTo>
                  <a:cubicBezTo>
                    <a:pt x="124" y="110"/>
                    <a:pt x="124" y="109"/>
                    <a:pt x="124" y="109"/>
                  </a:cubicBezTo>
                  <a:cubicBezTo>
                    <a:pt x="124" y="109"/>
                    <a:pt x="127" y="105"/>
                    <a:pt x="127" y="105"/>
                  </a:cubicBezTo>
                  <a:cubicBezTo>
                    <a:pt x="126" y="105"/>
                    <a:pt x="126" y="104"/>
                    <a:pt x="126" y="104"/>
                  </a:cubicBezTo>
                  <a:cubicBezTo>
                    <a:pt x="126" y="104"/>
                    <a:pt x="124" y="100"/>
                    <a:pt x="124" y="100"/>
                  </a:cubicBezTo>
                  <a:cubicBezTo>
                    <a:pt x="124" y="100"/>
                    <a:pt x="124" y="99"/>
                    <a:pt x="124" y="99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7" y="99"/>
                    <a:pt x="127" y="99"/>
                    <a:pt x="127" y="99"/>
                  </a:cubicBezTo>
                  <a:cubicBezTo>
                    <a:pt x="127" y="99"/>
                    <a:pt x="127" y="94"/>
                    <a:pt x="127" y="94"/>
                  </a:cubicBezTo>
                  <a:cubicBezTo>
                    <a:pt x="126" y="94"/>
                    <a:pt x="125" y="93"/>
                    <a:pt x="125" y="93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4" y="94"/>
                    <a:pt x="123" y="94"/>
                    <a:pt x="123" y="94"/>
                  </a:cubicBezTo>
                  <a:cubicBezTo>
                    <a:pt x="123" y="94"/>
                    <a:pt x="121" y="93"/>
                    <a:pt x="121" y="93"/>
                  </a:cubicBezTo>
                  <a:cubicBezTo>
                    <a:pt x="121" y="93"/>
                    <a:pt x="119" y="93"/>
                    <a:pt x="119" y="93"/>
                  </a:cubicBezTo>
                  <a:cubicBezTo>
                    <a:pt x="119" y="93"/>
                    <a:pt x="118" y="91"/>
                    <a:pt x="118" y="91"/>
                  </a:cubicBezTo>
                  <a:cubicBezTo>
                    <a:pt x="118" y="91"/>
                    <a:pt x="116" y="90"/>
                    <a:pt x="116" y="90"/>
                  </a:cubicBezTo>
                  <a:cubicBezTo>
                    <a:pt x="116" y="89"/>
                    <a:pt x="115" y="90"/>
                    <a:pt x="114" y="90"/>
                  </a:cubicBezTo>
                  <a:cubicBezTo>
                    <a:pt x="114" y="90"/>
                    <a:pt x="113" y="89"/>
                    <a:pt x="113" y="89"/>
                  </a:cubicBezTo>
                  <a:cubicBezTo>
                    <a:pt x="113" y="89"/>
                    <a:pt x="114" y="87"/>
                    <a:pt x="114" y="87"/>
                  </a:cubicBezTo>
                  <a:cubicBezTo>
                    <a:pt x="114" y="87"/>
                    <a:pt x="114" y="86"/>
                    <a:pt x="114" y="86"/>
                  </a:cubicBezTo>
                  <a:cubicBezTo>
                    <a:pt x="114" y="86"/>
                    <a:pt x="113" y="85"/>
                    <a:pt x="113" y="84"/>
                  </a:cubicBezTo>
                  <a:cubicBezTo>
                    <a:pt x="113" y="84"/>
                    <a:pt x="113" y="84"/>
                    <a:pt x="114" y="84"/>
                  </a:cubicBezTo>
                  <a:cubicBezTo>
                    <a:pt x="114" y="84"/>
                    <a:pt x="115" y="82"/>
                    <a:pt x="115" y="82"/>
                  </a:cubicBezTo>
                  <a:cubicBezTo>
                    <a:pt x="115" y="82"/>
                    <a:pt x="114" y="81"/>
                    <a:pt x="114" y="81"/>
                  </a:cubicBezTo>
                  <a:cubicBezTo>
                    <a:pt x="114" y="81"/>
                    <a:pt x="113" y="80"/>
                    <a:pt x="113" y="80"/>
                  </a:cubicBezTo>
                  <a:cubicBezTo>
                    <a:pt x="113" y="80"/>
                    <a:pt x="114" y="80"/>
                    <a:pt x="114" y="80"/>
                  </a:cubicBezTo>
                  <a:cubicBezTo>
                    <a:pt x="114" y="80"/>
                    <a:pt x="115" y="78"/>
                    <a:pt x="115" y="78"/>
                  </a:cubicBezTo>
                  <a:cubicBezTo>
                    <a:pt x="115" y="78"/>
                    <a:pt x="115" y="77"/>
                    <a:pt x="115" y="77"/>
                  </a:cubicBezTo>
                  <a:cubicBezTo>
                    <a:pt x="115" y="77"/>
                    <a:pt x="114" y="77"/>
                    <a:pt x="114" y="77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1"/>
                    <a:pt x="69" y="2"/>
                    <a:pt x="68" y="2"/>
                  </a:cubicBezTo>
                  <a:cubicBezTo>
                    <a:pt x="68" y="2"/>
                    <a:pt x="64" y="0"/>
                    <a:pt x="64" y="0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7" y="70"/>
                    <a:pt x="27" y="70"/>
                  </a:cubicBezTo>
                  <a:cubicBezTo>
                    <a:pt x="27" y="71"/>
                    <a:pt x="28" y="71"/>
                    <a:pt x="28" y="71"/>
                  </a:cubicBezTo>
                  <a:cubicBezTo>
                    <a:pt x="28" y="71"/>
                    <a:pt x="27" y="73"/>
                    <a:pt x="26" y="73"/>
                  </a:cubicBezTo>
                  <a:cubicBezTo>
                    <a:pt x="26" y="73"/>
                    <a:pt x="28" y="74"/>
                    <a:pt x="28" y="74"/>
                  </a:cubicBezTo>
                  <a:cubicBezTo>
                    <a:pt x="28" y="74"/>
                    <a:pt x="27" y="75"/>
                    <a:pt x="26" y="75"/>
                  </a:cubicBezTo>
                  <a:cubicBezTo>
                    <a:pt x="26" y="76"/>
                    <a:pt x="27" y="76"/>
                    <a:pt x="2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9"/>
                    <a:pt x="29" y="79"/>
                    <a:pt x="29" y="79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3" y="84"/>
                    <a:pt x="24" y="85"/>
                    <a:pt x="24" y="86"/>
                  </a:cubicBezTo>
                  <a:cubicBezTo>
                    <a:pt x="24" y="86"/>
                    <a:pt x="24" y="87"/>
                    <a:pt x="24" y="87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2" y="98"/>
                    <a:pt x="12" y="98"/>
                  </a:cubicBezTo>
                  <a:cubicBezTo>
                    <a:pt x="12" y="98"/>
                    <a:pt x="16" y="102"/>
                    <a:pt x="16" y="102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9" y="105"/>
                    <a:pt x="9" y="105"/>
                  </a:cubicBezTo>
                  <a:cubicBezTo>
                    <a:pt x="9" y="106"/>
                    <a:pt x="10" y="107"/>
                    <a:pt x="10" y="107"/>
                  </a:cubicBezTo>
                  <a:cubicBezTo>
                    <a:pt x="10" y="107"/>
                    <a:pt x="9" y="109"/>
                    <a:pt x="9" y="109"/>
                  </a:cubicBezTo>
                  <a:cubicBezTo>
                    <a:pt x="9" y="109"/>
                    <a:pt x="8" y="112"/>
                    <a:pt x="8" y="112"/>
                  </a:cubicBezTo>
                  <a:cubicBezTo>
                    <a:pt x="8" y="112"/>
                    <a:pt x="6" y="109"/>
                    <a:pt x="6" y="109"/>
                  </a:cubicBezTo>
                  <a:cubicBezTo>
                    <a:pt x="6" y="109"/>
                    <a:pt x="5" y="106"/>
                    <a:pt x="5" y="106"/>
                  </a:cubicBezTo>
                  <a:cubicBezTo>
                    <a:pt x="3" y="106"/>
                    <a:pt x="3" y="106"/>
                    <a:pt x="3" y="106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3" y="166"/>
                    <a:pt x="3" y="166"/>
                    <a:pt x="3" y="166"/>
                  </a:cubicBezTo>
                  <a:cubicBezTo>
                    <a:pt x="4" y="186"/>
                    <a:pt x="4" y="186"/>
                    <a:pt x="4" y="186"/>
                  </a:cubicBezTo>
                  <a:cubicBezTo>
                    <a:pt x="4" y="186"/>
                    <a:pt x="4" y="195"/>
                    <a:pt x="4" y="195"/>
                  </a:cubicBezTo>
                  <a:cubicBezTo>
                    <a:pt x="4" y="195"/>
                    <a:pt x="4" y="202"/>
                    <a:pt x="4" y="202"/>
                  </a:cubicBezTo>
                  <a:cubicBezTo>
                    <a:pt x="9" y="208"/>
                    <a:pt x="9" y="208"/>
                    <a:pt x="9" y="208"/>
                  </a:cubicBezTo>
                  <a:cubicBezTo>
                    <a:pt x="9" y="208"/>
                    <a:pt x="9" y="211"/>
                    <a:pt x="9" y="211"/>
                  </a:cubicBezTo>
                  <a:cubicBezTo>
                    <a:pt x="9" y="211"/>
                    <a:pt x="9" y="213"/>
                    <a:pt x="9" y="214"/>
                  </a:cubicBezTo>
                  <a:cubicBezTo>
                    <a:pt x="9" y="214"/>
                    <a:pt x="10" y="214"/>
                    <a:pt x="10" y="214"/>
                  </a:cubicBezTo>
                  <a:cubicBezTo>
                    <a:pt x="10" y="214"/>
                    <a:pt x="11" y="214"/>
                    <a:pt x="12" y="215"/>
                  </a:cubicBezTo>
                  <a:cubicBezTo>
                    <a:pt x="12" y="215"/>
                    <a:pt x="13" y="215"/>
                    <a:pt x="13" y="216"/>
                  </a:cubicBezTo>
                  <a:cubicBezTo>
                    <a:pt x="13" y="216"/>
                    <a:pt x="13" y="216"/>
                    <a:pt x="14" y="217"/>
                  </a:cubicBezTo>
                  <a:cubicBezTo>
                    <a:pt x="14" y="217"/>
                    <a:pt x="14" y="216"/>
                    <a:pt x="15" y="216"/>
                  </a:cubicBezTo>
                  <a:cubicBezTo>
                    <a:pt x="15" y="215"/>
                    <a:pt x="15" y="215"/>
                    <a:pt x="15" y="214"/>
                  </a:cubicBezTo>
                  <a:cubicBezTo>
                    <a:pt x="16" y="213"/>
                    <a:pt x="17" y="213"/>
                    <a:pt x="17" y="212"/>
                  </a:cubicBezTo>
                  <a:cubicBezTo>
                    <a:pt x="17" y="211"/>
                    <a:pt x="17" y="210"/>
                    <a:pt x="18" y="209"/>
                  </a:cubicBezTo>
                  <a:cubicBezTo>
                    <a:pt x="18" y="209"/>
                    <a:pt x="18" y="209"/>
                    <a:pt x="18" y="208"/>
                  </a:cubicBezTo>
                  <a:cubicBezTo>
                    <a:pt x="18" y="207"/>
                    <a:pt x="18" y="207"/>
                    <a:pt x="19" y="206"/>
                  </a:cubicBezTo>
                  <a:cubicBezTo>
                    <a:pt x="19" y="205"/>
                    <a:pt x="19" y="204"/>
                    <a:pt x="20" y="204"/>
                  </a:cubicBezTo>
                  <a:cubicBezTo>
                    <a:pt x="21" y="204"/>
                    <a:pt x="22" y="203"/>
                    <a:pt x="22" y="203"/>
                  </a:cubicBezTo>
                  <a:cubicBezTo>
                    <a:pt x="23" y="202"/>
                    <a:pt x="24" y="201"/>
                    <a:pt x="24" y="200"/>
                  </a:cubicBezTo>
                  <a:cubicBezTo>
                    <a:pt x="24" y="199"/>
                    <a:pt x="24" y="198"/>
                    <a:pt x="25" y="198"/>
                  </a:cubicBezTo>
                  <a:cubicBezTo>
                    <a:pt x="25" y="197"/>
                    <a:pt x="25" y="197"/>
                    <a:pt x="25" y="196"/>
                  </a:cubicBezTo>
                  <a:cubicBezTo>
                    <a:pt x="25" y="195"/>
                    <a:pt x="25" y="194"/>
                    <a:pt x="26" y="194"/>
                  </a:cubicBezTo>
                  <a:cubicBezTo>
                    <a:pt x="27" y="194"/>
                    <a:pt x="27" y="194"/>
                    <a:pt x="28" y="194"/>
                  </a:cubicBezTo>
                  <a:cubicBezTo>
                    <a:pt x="28" y="194"/>
                    <a:pt x="29" y="194"/>
                    <a:pt x="29" y="194"/>
                  </a:cubicBezTo>
                  <a:cubicBezTo>
                    <a:pt x="29" y="194"/>
                    <a:pt x="29" y="194"/>
                    <a:pt x="29" y="193"/>
                  </a:cubicBezTo>
                  <a:cubicBezTo>
                    <a:pt x="30" y="193"/>
                    <a:pt x="31" y="193"/>
                    <a:pt x="31" y="192"/>
                  </a:cubicBezTo>
                  <a:cubicBezTo>
                    <a:pt x="31" y="191"/>
                    <a:pt x="31" y="190"/>
                    <a:pt x="30" y="189"/>
                  </a:cubicBezTo>
                  <a:cubicBezTo>
                    <a:pt x="30" y="188"/>
                    <a:pt x="29" y="188"/>
                    <a:pt x="29" y="187"/>
                  </a:cubicBezTo>
                  <a:cubicBezTo>
                    <a:pt x="29" y="187"/>
                    <a:pt x="30" y="186"/>
                    <a:pt x="30" y="186"/>
                  </a:cubicBezTo>
                  <a:cubicBezTo>
                    <a:pt x="30" y="185"/>
                    <a:pt x="31" y="185"/>
                    <a:pt x="31" y="185"/>
                  </a:cubicBezTo>
                  <a:cubicBezTo>
                    <a:pt x="32" y="184"/>
                    <a:pt x="32" y="183"/>
                    <a:pt x="33" y="183"/>
                  </a:cubicBezTo>
                  <a:cubicBezTo>
                    <a:pt x="34" y="182"/>
                    <a:pt x="34" y="182"/>
                    <a:pt x="35" y="181"/>
                  </a:cubicBezTo>
                  <a:cubicBezTo>
                    <a:pt x="35" y="181"/>
                    <a:pt x="36" y="180"/>
                    <a:pt x="36" y="180"/>
                  </a:cubicBezTo>
                  <a:cubicBezTo>
                    <a:pt x="36" y="180"/>
                    <a:pt x="36" y="179"/>
                    <a:pt x="37" y="179"/>
                  </a:cubicBezTo>
                  <a:cubicBezTo>
                    <a:pt x="37" y="179"/>
                    <a:pt x="37" y="179"/>
                    <a:pt x="37" y="179"/>
                  </a:cubicBezTo>
                  <a:cubicBezTo>
                    <a:pt x="37" y="179"/>
                    <a:pt x="37" y="179"/>
                    <a:pt x="37" y="179"/>
                  </a:cubicBezTo>
                  <a:cubicBezTo>
                    <a:pt x="37" y="179"/>
                    <a:pt x="38" y="179"/>
                    <a:pt x="38" y="179"/>
                  </a:cubicBezTo>
                  <a:cubicBezTo>
                    <a:pt x="38" y="179"/>
                    <a:pt x="38" y="179"/>
                    <a:pt x="38" y="180"/>
                  </a:cubicBezTo>
                  <a:cubicBezTo>
                    <a:pt x="39" y="180"/>
                    <a:pt x="39" y="180"/>
                    <a:pt x="40" y="180"/>
                  </a:cubicBezTo>
                  <a:cubicBezTo>
                    <a:pt x="40" y="180"/>
                    <a:pt x="40" y="180"/>
                    <a:pt x="40" y="179"/>
                  </a:cubicBezTo>
                  <a:cubicBezTo>
                    <a:pt x="40" y="179"/>
                    <a:pt x="40" y="179"/>
                    <a:pt x="40" y="179"/>
                  </a:cubicBezTo>
                  <a:cubicBezTo>
                    <a:pt x="40" y="179"/>
                    <a:pt x="40" y="178"/>
                    <a:pt x="41" y="178"/>
                  </a:cubicBezTo>
                  <a:cubicBezTo>
                    <a:pt x="41" y="178"/>
                    <a:pt x="42" y="179"/>
                    <a:pt x="42" y="179"/>
                  </a:cubicBezTo>
                  <a:cubicBezTo>
                    <a:pt x="43" y="179"/>
                    <a:pt x="43" y="180"/>
                    <a:pt x="43" y="181"/>
                  </a:cubicBezTo>
                  <a:cubicBezTo>
                    <a:pt x="44" y="181"/>
                    <a:pt x="44" y="182"/>
                    <a:pt x="44" y="182"/>
                  </a:cubicBezTo>
                  <a:cubicBezTo>
                    <a:pt x="43" y="183"/>
                    <a:pt x="43" y="184"/>
                    <a:pt x="43" y="184"/>
                  </a:cubicBezTo>
                  <a:cubicBezTo>
                    <a:pt x="43" y="185"/>
                    <a:pt x="44" y="185"/>
                    <a:pt x="44" y="185"/>
                  </a:cubicBezTo>
                  <a:cubicBezTo>
                    <a:pt x="44" y="185"/>
                    <a:pt x="45" y="185"/>
                    <a:pt x="45" y="184"/>
                  </a:cubicBezTo>
                  <a:cubicBezTo>
                    <a:pt x="45" y="184"/>
                    <a:pt x="45" y="184"/>
                    <a:pt x="45" y="184"/>
                  </a:cubicBezTo>
                  <a:cubicBezTo>
                    <a:pt x="45" y="184"/>
                    <a:pt x="45" y="184"/>
                    <a:pt x="45" y="183"/>
                  </a:cubicBezTo>
                  <a:cubicBezTo>
                    <a:pt x="45" y="183"/>
                    <a:pt x="45" y="183"/>
                    <a:pt x="45" y="183"/>
                  </a:cubicBezTo>
                  <a:cubicBezTo>
                    <a:pt x="45" y="183"/>
                    <a:pt x="45" y="182"/>
                    <a:pt x="45" y="182"/>
                  </a:cubicBezTo>
                  <a:cubicBezTo>
                    <a:pt x="45" y="181"/>
                    <a:pt x="45" y="181"/>
                    <a:pt x="45" y="180"/>
                  </a:cubicBezTo>
                  <a:cubicBezTo>
                    <a:pt x="45" y="180"/>
                    <a:pt x="45" y="179"/>
                    <a:pt x="45" y="179"/>
                  </a:cubicBezTo>
                  <a:cubicBezTo>
                    <a:pt x="45" y="179"/>
                    <a:pt x="44" y="178"/>
                    <a:pt x="44" y="178"/>
                  </a:cubicBezTo>
                  <a:cubicBezTo>
                    <a:pt x="44" y="177"/>
                    <a:pt x="44" y="177"/>
                    <a:pt x="44" y="176"/>
                  </a:cubicBezTo>
                  <a:cubicBezTo>
                    <a:pt x="44" y="176"/>
                    <a:pt x="44" y="175"/>
                    <a:pt x="45" y="175"/>
                  </a:cubicBezTo>
                  <a:cubicBezTo>
                    <a:pt x="45" y="175"/>
                    <a:pt x="45" y="176"/>
                    <a:pt x="45" y="176"/>
                  </a:cubicBezTo>
                  <a:cubicBezTo>
                    <a:pt x="45" y="176"/>
                    <a:pt x="45" y="177"/>
                    <a:pt x="45" y="178"/>
                  </a:cubicBezTo>
                  <a:cubicBezTo>
                    <a:pt x="46" y="179"/>
                    <a:pt x="46" y="180"/>
                    <a:pt x="46" y="181"/>
                  </a:cubicBezTo>
                  <a:cubicBezTo>
                    <a:pt x="46" y="181"/>
                    <a:pt x="46" y="182"/>
                    <a:pt x="46" y="182"/>
                  </a:cubicBezTo>
                  <a:cubicBezTo>
                    <a:pt x="46" y="182"/>
                    <a:pt x="46" y="183"/>
                    <a:pt x="46" y="183"/>
                  </a:cubicBezTo>
                  <a:cubicBezTo>
                    <a:pt x="47" y="183"/>
                    <a:pt x="46" y="182"/>
                    <a:pt x="47" y="182"/>
                  </a:cubicBezTo>
                  <a:cubicBezTo>
                    <a:pt x="47" y="182"/>
                    <a:pt x="47" y="182"/>
                    <a:pt x="47" y="181"/>
                  </a:cubicBezTo>
                  <a:cubicBezTo>
                    <a:pt x="47" y="181"/>
                    <a:pt x="47" y="181"/>
                    <a:pt x="47" y="181"/>
                  </a:cubicBezTo>
                  <a:cubicBezTo>
                    <a:pt x="47" y="180"/>
                    <a:pt x="47" y="180"/>
                    <a:pt x="48" y="180"/>
                  </a:cubicBezTo>
                  <a:cubicBezTo>
                    <a:pt x="48" y="180"/>
                    <a:pt x="48" y="179"/>
                    <a:pt x="48" y="179"/>
                  </a:cubicBezTo>
                  <a:cubicBezTo>
                    <a:pt x="47" y="180"/>
                    <a:pt x="47" y="180"/>
                    <a:pt x="47" y="180"/>
                  </a:cubicBezTo>
                  <a:cubicBezTo>
                    <a:pt x="47" y="180"/>
                    <a:pt x="47" y="180"/>
                    <a:pt x="47" y="180"/>
                  </a:cubicBezTo>
                  <a:cubicBezTo>
                    <a:pt x="47" y="180"/>
                    <a:pt x="47" y="180"/>
                    <a:pt x="47" y="180"/>
                  </a:cubicBezTo>
                  <a:cubicBezTo>
                    <a:pt x="46" y="179"/>
                    <a:pt x="46" y="179"/>
                    <a:pt x="46" y="179"/>
                  </a:cubicBezTo>
                  <a:cubicBezTo>
                    <a:pt x="46" y="178"/>
                    <a:pt x="46" y="177"/>
                    <a:pt x="47" y="177"/>
                  </a:cubicBezTo>
                  <a:cubicBezTo>
                    <a:pt x="47" y="177"/>
                    <a:pt x="47" y="176"/>
                    <a:pt x="47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48" y="178"/>
                    <a:pt x="47" y="178"/>
                    <a:pt x="47" y="178"/>
                  </a:cubicBezTo>
                  <a:cubicBezTo>
                    <a:pt x="47" y="179"/>
                    <a:pt x="47" y="179"/>
                    <a:pt x="48" y="179"/>
                  </a:cubicBezTo>
                  <a:cubicBezTo>
                    <a:pt x="48" y="179"/>
                    <a:pt x="48" y="179"/>
                    <a:pt x="48" y="178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49" y="178"/>
                    <a:pt x="49" y="178"/>
                    <a:pt x="49" y="178"/>
                  </a:cubicBezTo>
                  <a:cubicBezTo>
                    <a:pt x="49" y="178"/>
                    <a:pt x="50" y="178"/>
                    <a:pt x="50" y="178"/>
                  </a:cubicBezTo>
                  <a:cubicBezTo>
                    <a:pt x="50" y="178"/>
                    <a:pt x="51" y="178"/>
                    <a:pt x="51" y="178"/>
                  </a:cubicBezTo>
                  <a:cubicBezTo>
                    <a:pt x="51" y="178"/>
                    <a:pt x="51" y="178"/>
                    <a:pt x="51" y="179"/>
                  </a:cubicBezTo>
                  <a:cubicBezTo>
                    <a:pt x="51" y="179"/>
                    <a:pt x="51" y="178"/>
                    <a:pt x="51" y="178"/>
                  </a:cubicBezTo>
                  <a:cubicBezTo>
                    <a:pt x="51" y="178"/>
                    <a:pt x="52" y="177"/>
                    <a:pt x="52" y="177"/>
                  </a:cubicBezTo>
                  <a:cubicBezTo>
                    <a:pt x="52" y="176"/>
                    <a:pt x="52" y="176"/>
                    <a:pt x="52" y="175"/>
                  </a:cubicBezTo>
                  <a:cubicBezTo>
                    <a:pt x="52" y="175"/>
                    <a:pt x="52" y="175"/>
                    <a:pt x="52" y="174"/>
                  </a:cubicBezTo>
                  <a:cubicBezTo>
                    <a:pt x="52" y="174"/>
                    <a:pt x="52" y="174"/>
                    <a:pt x="52" y="173"/>
                  </a:cubicBezTo>
                  <a:cubicBezTo>
                    <a:pt x="52" y="173"/>
                    <a:pt x="52" y="173"/>
                    <a:pt x="52" y="173"/>
                  </a:cubicBezTo>
                  <a:cubicBezTo>
                    <a:pt x="53" y="173"/>
                    <a:pt x="53" y="172"/>
                    <a:pt x="53" y="172"/>
                  </a:cubicBezTo>
                  <a:cubicBezTo>
                    <a:pt x="53" y="172"/>
                    <a:pt x="53" y="173"/>
                    <a:pt x="53" y="174"/>
                  </a:cubicBezTo>
                  <a:cubicBezTo>
                    <a:pt x="53" y="174"/>
                    <a:pt x="53" y="175"/>
                    <a:pt x="53" y="175"/>
                  </a:cubicBezTo>
                  <a:cubicBezTo>
                    <a:pt x="53" y="176"/>
                    <a:pt x="53" y="176"/>
                    <a:pt x="53" y="177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54" y="177"/>
                    <a:pt x="54" y="178"/>
                    <a:pt x="54" y="178"/>
                  </a:cubicBezTo>
                  <a:cubicBezTo>
                    <a:pt x="54" y="178"/>
                    <a:pt x="54" y="178"/>
                    <a:pt x="54" y="178"/>
                  </a:cubicBezTo>
                  <a:cubicBezTo>
                    <a:pt x="54" y="178"/>
                    <a:pt x="54" y="179"/>
                    <a:pt x="54" y="179"/>
                  </a:cubicBezTo>
                  <a:cubicBezTo>
                    <a:pt x="55" y="179"/>
                    <a:pt x="55" y="178"/>
                    <a:pt x="55" y="178"/>
                  </a:cubicBezTo>
                  <a:cubicBezTo>
                    <a:pt x="56" y="178"/>
                    <a:pt x="56" y="177"/>
                    <a:pt x="56" y="177"/>
                  </a:cubicBezTo>
                  <a:cubicBezTo>
                    <a:pt x="56" y="177"/>
                    <a:pt x="56" y="176"/>
                    <a:pt x="57" y="176"/>
                  </a:cubicBezTo>
                  <a:cubicBezTo>
                    <a:pt x="57" y="175"/>
                    <a:pt x="57" y="175"/>
                    <a:pt x="57" y="175"/>
                  </a:cubicBezTo>
                  <a:cubicBezTo>
                    <a:pt x="57" y="174"/>
                    <a:pt x="58" y="174"/>
                    <a:pt x="58" y="173"/>
                  </a:cubicBezTo>
                  <a:cubicBezTo>
                    <a:pt x="58" y="173"/>
                    <a:pt x="58" y="173"/>
                    <a:pt x="59" y="173"/>
                  </a:cubicBezTo>
                  <a:cubicBezTo>
                    <a:pt x="59" y="172"/>
                    <a:pt x="59" y="172"/>
                    <a:pt x="59" y="171"/>
                  </a:cubicBezTo>
                  <a:cubicBezTo>
                    <a:pt x="59" y="171"/>
                    <a:pt x="59" y="170"/>
                    <a:pt x="59" y="170"/>
                  </a:cubicBezTo>
                  <a:cubicBezTo>
                    <a:pt x="59" y="170"/>
                    <a:pt x="59" y="169"/>
                    <a:pt x="59" y="169"/>
                  </a:cubicBezTo>
                  <a:cubicBezTo>
                    <a:pt x="59" y="169"/>
                    <a:pt x="59" y="169"/>
                    <a:pt x="59" y="169"/>
                  </a:cubicBezTo>
                  <a:cubicBezTo>
                    <a:pt x="60" y="169"/>
                    <a:pt x="60" y="169"/>
                    <a:pt x="60" y="169"/>
                  </a:cubicBezTo>
                  <a:cubicBezTo>
                    <a:pt x="60" y="169"/>
                    <a:pt x="61" y="170"/>
                    <a:pt x="61" y="170"/>
                  </a:cubicBezTo>
                  <a:cubicBezTo>
                    <a:pt x="61" y="170"/>
                    <a:pt x="61" y="170"/>
                    <a:pt x="60" y="170"/>
                  </a:cubicBezTo>
                  <a:cubicBezTo>
                    <a:pt x="60" y="170"/>
                    <a:pt x="60" y="170"/>
                    <a:pt x="60" y="170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0" y="173"/>
                    <a:pt x="60" y="173"/>
                    <a:pt x="61" y="173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62" y="174"/>
                    <a:pt x="62" y="174"/>
                    <a:pt x="63" y="174"/>
                  </a:cubicBezTo>
                  <a:cubicBezTo>
                    <a:pt x="63" y="174"/>
                    <a:pt x="63" y="175"/>
                    <a:pt x="63" y="175"/>
                  </a:cubicBezTo>
                  <a:cubicBezTo>
                    <a:pt x="64" y="175"/>
                    <a:pt x="64" y="175"/>
                    <a:pt x="64" y="175"/>
                  </a:cubicBezTo>
                  <a:cubicBezTo>
                    <a:pt x="65" y="175"/>
                    <a:pt x="65" y="175"/>
                    <a:pt x="65" y="174"/>
                  </a:cubicBezTo>
                  <a:cubicBezTo>
                    <a:pt x="65" y="174"/>
                    <a:pt x="65" y="174"/>
                    <a:pt x="66" y="173"/>
                  </a:cubicBezTo>
                  <a:cubicBezTo>
                    <a:pt x="66" y="173"/>
                    <a:pt x="66" y="173"/>
                    <a:pt x="66" y="173"/>
                  </a:cubicBezTo>
                  <a:cubicBezTo>
                    <a:pt x="66" y="173"/>
                    <a:pt x="66" y="173"/>
                    <a:pt x="66" y="173"/>
                  </a:cubicBezTo>
                  <a:cubicBezTo>
                    <a:pt x="67" y="173"/>
                    <a:pt x="67" y="173"/>
                    <a:pt x="67" y="173"/>
                  </a:cubicBezTo>
                  <a:cubicBezTo>
                    <a:pt x="68" y="173"/>
                    <a:pt x="68" y="172"/>
                    <a:pt x="68" y="172"/>
                  </a:cubicBezTo>
                  <a:cubicBezTo>
                    <a:pt x="68" y="172"/>
                    <a:pt x="69" y="172"/>
                    <a:pt x="69" y="171"/>
                  </a:cubicBezTo>
                  <a:cubicBezTo>
                    <a:pt x="69" y="171"/>
                    <a:pt x="69" y="171"/>
                    <a:pt x="69" y="171"/>
                  </a:cubicBezTo>
                  <a:cubicBezTo>
                    <a:pt x="70" y="170"/>
                    <a:pt x="70" y="170"/>
                    <a:pt x="70" y="169"/>
                  </a:cubicBezTo>
                  <a:cubicBezTo>
                    <a:pt x="70" y="169"/>
                    <a:pt x="71" y="169"/>
                    <a:pt x="71" y="168"/>
                  </a:cubicBezTo>
                  <a:cubicBezTo>
                    <a:pt x="71" y="168"/>
                    <a:pt x="71" y="168"/>
                    <a:pt x="70" y="168"/>
                  </a:cubicBezTo>
                  <a:cubicBezTo>
                    <a:pt x="70" y="168"/>
                    <a:pt x="70" y="168"/>
                    <a:pt x="70" y="168"/>
                  </a:cubicBezTo>
                  <a:cubicBezTo>
                    <a:pt x="70" y="168"/>
                    <a:pt x="70" y="167"/>
                    <a:pt x="70" y="167"/>
                  </a:cubicBezTo>
                  <a:cubicBezTo>
                    <a:pt x="70" y="167"/>
                    <a:pt x="70" y="167"/>
                    <a:pt x="70" y="167"/>
                  </a:cubicBezTo>
                  <a:cubicBezTo>
                    <a:pt x="69" y="166"/>
                    <a:pt x="69" y="166"/>
                    <a:pt x="69" y="166"/>
                  </a:cubicBezTo>
                  <a:cubicBezTo>
                    <a:pt x="70" y="166"/>
                    <a:pt x="70" y="166"/>
                    <a:pt x="70" y="166"/>
                  </a:cubicBezTo>
                  <a:cubicBezTo>
                    <a:pt x="70" y="166"/>
                    <a:pt x="70" y="165"/>
                    <a:pt x="70" y="165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70" y="164"/>
                    <a:pt x="70" y="164"/>
                    <a:pt x="70" y="163"/>
                  </a:cubicBezTo>
                  <a:cubicBezTo>
                    <a:pt x="70" y="163"/>
                    <a:pt x="70" y="163"/>
                    <a:pt x="70" y="163"/>
                  </a:cubicBezTo>
                  <a:cubicBezTo>
                    <a:pt x="71" y="163"/>
                    <a:pt x="71" y="162"/>
                    <a:pt x="71" y="162"/>
                  </a:cubicBezTo>
                  <a:cubicBezTo>
                    <a:pt x="71" y="162"/>
                    <a:pt x="71" y="162"/>
                    <a:pt x="71" y="161"/>
                  </a:cubicBezTo>
                  <a:cubicBezTo>
                    <a:pt x="71" y="161"/>
                    <a:pt x="71" y="161"/>
                    <a:pt x="71" y="161"/>
                  </a:cubicBezTo>
                  <a:cubicBezTo>
                    <a:pt x="71" y="160"/>
                    <a:pt x="71" y="160"/>
                    <a:pt x="72" y="160"/>
                  </a:cubicBezTo>
                  <a:cubicBezTo>
                    <a:pt x="72" y="160"/>
                    <a:pt x="72" y="160"/>
                    <a:pt x="72" y="160"/>
                  </a:cubicBezTo>
                  <a:cubicBezTo>
                    <a:pt x="72" y="159"/>
                    <a:pt x="72" y="159"/>
                    <a:pt x="72" y="159"/>
                  </a:cubicBezTo>
                  <a:cubicBezTo>
                    <a:pt x="72" y="159"/>
                    <a:pt x="72" y="159"/>
                    <a:pt x="73" y="158"/>
                  </a:cubicBezTo>
                  <a:cubicBezTo>
                    <a:pt x="73" y="158"/>
                    <a:pt x="73" y="158"/>
                    <a:pt x="74" y="157"/>
                  </a:cubicBezTo>
                  <a:cubicBezTo>
                    <a:pt x="74" y="157"/>
                    <a:pt x="74" y="156"/>
                    <a:pt x="74" y="156"/>
                  </a:cubicBezTo>
                  <a:cubicBezTo>
                    <a:pt x="74" y="156"/>
                    <a:pt x="74" y="155"/>
                    <a:pt x="74" y="154"/>
                  </a:cubicBezTo>
                  <a:cubicBezTo>
                    <a:pt x="74" y="154"/>
                    <a:pt x="73" y="154"/>
                    <a:pt x="73" y="154"/>
                  </a:cubicBezTo>
                  <a:cubicBezTo>
                    <a:pt x="73" y="154"/>
                    <a:pt x="73" y="153"/>
                    <a:pt x="73" y="153"/>
                  </a:cubicBezTo>
                  <a:cubicBezTo>
                    <a:pt x="73" y="153"/>
                    <a:pt x="73" y="153"/>
                    <a:pt x="73" y="152"/>
                  </a:cubicBezTo>
                  <a:cubicBezTo>
                    <a:pt x="73" y="152"/>
                    <a:pt x="74" y="152"/>
                    <a:pt x="74" y="152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51"/>
                    <a:pt x="74" y="151"/>
                    <a:pt x="74" y="151"/>
                  </a:cubicBezTo>
                  <a:cubicBezTo>
                    <a:pt x="75" y="151"/>
                    <a:pt x="75" y="151"/>
                    <a:pt x="75" y="151"/>
                  </a:cubicBezTo>
                  <a:cubicBezTo>
                    <a:pt x="75" y="151"/>
                    <a:pt x="76" y="151"/>
                    <a:pt x="76" y="150"/>
                  </a:cubicBezTo>
                  <a:cubicBezTo>
                    <a:pt x="76" y="150"/>
                    <a:pt x="76" y="150"/>
                    <a:pt x="77" y="150"/>
                  </a:cubicBezTo>
                  <a:cubicBezTo>
                    <a:pt x="77" y="150"/>
                    <a:pt x="77" y="150"/>
                    <a:pt x="78" y="150"/>
                  </a:cubicBezTo>
                  <a:cubicBezTo>
                    <a:pt x="78" y="150"/>
                    <a:pt x="78" y="150"/>
                    <a:pt x="78" y="149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8" y="148"/>
                    <a:pt x="78" y="148"/>
                    <a:pt x="79" y="148"/>
                  </a:cubicBezTo>
                  <a:cubicBezTo>
                    <a:pt x="79" y="148"/>
                    <a:pt x="79" y="147"/>
                    <a:pt x="79" y="147"/>
                  </a:cubicBezTo>
                  <a:cubicBezTo>
                    <a:pt x="79" y="147"/>
                    <a:pt x="79" y="147"/>
                    <a:pt x="79" y="146"/>
                  </a:cubicBezTo>
                  <a:cubicBezTo>
                    <a:pt x="79" y="146"/>
                    <a:pt x="79" y="146"/>
                    <a:pt x="79" y="145"/>
                  </a:cubicBezTo>
                  <a:cubicBezTo>
                    <a:pt x="79" y="145"/>
                    <a:pt x="80" y="145"/>
                    <a:pt x="80" y="145"/>
                  </a:cubicBezTo>
                  <a:cubicBezTo>
                    <a:pt x="80" y="146"/>
                    <a:pt x="80" y="146"/>
                    <a:pt x="80" y="147"/>
                  </a:cubicBezTo>
                  <a:cubicBezTo>
                    <a:pt x="80" y="147"/>
                    <a:pt x="80" y="147"/>
                    <a:pt x="80" y="148"/>
                  </a:cubicBezTo>
                  <a:cubicBezTo>
                    <a:pt x="80" y="148"/>
                    <a:pt x="81" y="148"/>
                    <a:pt x="81" y="148"/>
                  </a:cubicBezTo>
                  <a:cubicBezTo>
                    <a:pt x="81" y="148"/>
                    <a:pt x="80" y="148"/>
                    <a:pt x="80" y="149"/>
                  </a:cubicBezTo>
                  <a:cubicBezTo>
                    <a:pt x="80" y="149"/>
                    <a:pt x="79" y="150"/>
                    <a:pt x="79" y="151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79" y="151"/>
                    <a:pt x="79" y="152"/>
                    <a:pt x="78" y="152"/>
                  </a:cubicBezTo>
                  <a:cubicBezTo>
                    <a:pt x="78" y="152"/>
                    <a:pt x="78" y="153"/>
                    <a:pt x="78" y="153"/>
                  </a:cubicBezTo>
                  <a:cubicBezTo>
                    <a:pt x="78" y="154"/>
                    <a:pt x="78" y="154"/>
                    <a:pt x="78" y="155"/>
                  </a:cubicBezTo>
                  <a:cubicBezTo>
                    <a:pt x="78" y="155"/>
                    <a:pt x="78" y="156"/>
                    <a:pt x="79" y="156"/>
                  </a:cubicBezTo>
                  <a:cubicBezTo>
                    <a:pt x="79" y="156"/>
                    <a:pt x="79" y="156"/>
                    <a:pt x="80" y="156"/>
                  </a:cubicBezTo>
                  <a:cubicBezTo>
                    <a:pt x="80" y="157"/>
                    <a:pt x="80" y="157"/>
                    <a:pt x="81" y="157"/>
                  </a:cubicBezTo>
                  <a:cubicBezTo>
                    <a:pt x="81" y="157"/>
                    <a:pt x="81" y="157"/>
                    <a:pt x="81" y="156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83" y="157"/>
                    <a:pt x="83" y="157"/>
                    <a:pt x="84" y="158"/>
                  </a:cubicBezTo>
                  <a:cubicBezTo>
                    <a:pt x="84" y="158"/>
                    <a:pt x="84" y="158"/>
                    <a:pt x="85" y="158"/>
                  </a:cubicBezTo>
                  <a:cubicBezTo>
                    <a:pt x="85" y="158"/>
                    <a:pt x="85" y="158"/>
                    <a:pt x="85" y="158"/>
                  </a:cubicBezTo>
                  <a:cubicBezTo>
                    <a:pt x="85" y="159"/>
                    <a:pt x="86" y="159"/>
                    <a:pt x="86" y="159"/>
                  </a:cubicBezTo>
                  <a:cubicBezTo>
                    <a:pt x="87" y="159"/>
                    <a:pt x="87" y="160"/>
                    <a:pt x="88" y="160"/>
                  </a:cubicBezTo>
                  <a:cubicBezTo>
                    <a:pt x="88" y="160"/>
                    <a:pt x="88" y="160"/>
                    <a:pt x="88" y="160"/>
                  </a:cubicBezTo>
                  <a:cubicBezTo>
                    <a:pt x="88" y="160"/>
                    <a:pt x="88" y="160"/>
                    <a:pt x="88" y="160"/>
                  </a:cubicBezTo>
                  <a:cubicBezTo>
                    <a:pt x="88" y="161"/>
                    <a:pt x="89" y="161"/>
                    <a:pt x="89" y="161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9" y="159"/>
                    <a:pt x="89" y="159"/>
                    <a:pt x="89" y="159"/>
                  </a:cubicBezTo>
                  <a:cubicBezTo>
                    <a:pt x="89" y="158"/>
                    <a:pt x="89" y="158"/>
                    <a:pt x="89" y="158"/>
                  </a:cubicBezTo>
                  <a:cubicBezTo>
                    <a:pt x="89" y="158"/>
                    <a:pt x="89" y="157"/>
                    <a:pt x="88" y="157"/>
                  </a:cubicBezTo>
                  <a:cubicBezTo>
                    <a:pt x="88" y="157"/>
                    <a:pt x="88" y="156"/>
                    <a:pt x="88" y="156"/>
                  </a:cubicBezTo>
                  <a:cubicBezTo>
                    <a:pt x="88" y="155"/>
                    <a:pt x="88" y="155"/>
                    <a:pt x="88" y="154"/>
                  </a:cubicBezTo>
                  <a:cubicBezTo>
                    <a:pt x="88" y="154"/>
                    <a:pt x="89" y="154"/>
                    <a:pt x="89" y="153"/>
                  </a:cubicBezTo>
                  <a:cubicBezTo>
                    <a:pt x="89" y="153"/>
                    <a:pt x="89" y="153"/>
                    <a:pt x="89" y="153"/>
                  </a:cubicBezTo>
                  <a:cubicBezTo>
                    <a:pt x="89" y="152"/>
                    <a:pt x="89" y="152"/>
                    <a:pt x="89" y="152"/>
                  </a:cubicBezTo>
                  <a:cubicBezTo>
                    <a:pt x="90" y="152"/>
                    <a:pt x="89" y="151"/>
                    <a:pt x="89" y="151"/>
                  </a:cubicBezTo>
                  <a:cubicBezTo>
                    <a:pt x="89" y="151"/>
                    <a:pt x="90" y="150"/>
                    <a:pt x="90" y="150"/>
                  </a:cubicBezTo>
                  <a:cubicBezTo>
                    <a:pt x="90" y="150"/>
                    <a:pt x="90" y="150"/>
                    <a:pt x="90" y="150"/>
                  </a:cubicBezTo>
                  <a:cubicBezTo>
                    <a:pt x="90" y="150"/>
                    <a:pt x="90" y="149"/>
                    <a:pt x="90" y="149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8"/>
                    <a:pt x="91" y="148"/>
                  </a:cubicBezTo>
                  <a:cubicBezTo>
                    <a:pt x="91" y="148"/>
                    <a:pt x="91" y="149"/>
                    <a:pt x="91" y="150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1"/>
                    <a:pt x="92" y="151"/>
                    <a:pt x="92" y="151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92" y="151"/>
                    <a:pt x="92" y="152"/>
                    <a:pt x="92" y="152"/>
                  </a:cubicBezTo>
                  <a:cubicBezTo>
                    <a:pt x="92" y="152"/>
                    <a:pt x="92" y="152"/>
                    <a:pt x="93" y="152"/>
                  </a:cubicBezTo>
                  <a:cubicBezTo>
                    <a:pt x="93" y="152"/>
                    <a:pt x="93" y="152"/>
                    <a:pt x="93" y="152"/>
                  </a:cubicBezTo>
                  <a:cubicBezTo>
                    <a:pt x="94" y="151"/>
                    <a:pt x="94" y="151"/>
                    <a:pt x="94" y="151"/>
                  </a:cubicBezTo>
                  <a:cubicBezTo>
                    <a:pt x="95" y="151"/>
                    <a:pt x="95" y="150"/>
                    <a:pt x="95" y="151"/>
                  </a:cubicBezTo>
                  <a:cubicBezTo>
                    <a:pt x="96" y="151"/>
                    <a:pt x="95" y="151"/>
                    <a:pt x="95" y="152"/>
                  </a:cubicBezTo>
                  <a:cubicBezTo>
                    <a:pt x="95" y="152"/>
                    <a:pt x="94" y="152"/>
                    <a:pt x="94" y="153"/>
                  </a:cubicBezTo>
                  <a:cubicBezTo>
                    <a:pt x="94" y="153"/>
                    <a:pt x="94" y="153"/>
                    <a:pt x="94" y="154"/>
                  </a:cubicBezTo>
                  <a:cubicBezTo>
                    <a:pt x="94" y="154"/>
                    <a:pt x="94" y="155"/>
                    <a:pt x="94" y="155"/>
                  </a:cubicBezTo>
                  <a:cubicBezTo>
                    <a:pt x="94" y="155"/>
                    <a:pt x="94" y="156"/>
                    <a:pt x="94" y="156"/>
                  </a:cubicBezTo>
                  <a:cubicBezTo>
                    <a:pt x="94" y="156"/>
                    <a:pt x="94" y="157"/>
                    <a:pt x="94" y="157"/>
                  </a:cubicBezTo>
                  <a:cubicBezTo>
                    <a:pt x="93" y="157"/>
                    <a:pt x="93" y="157"/>
                    <a:pt x="93" y="157"/>
                  </a:cubicBezTo>
                  <a:cubicBezTo>
                    <a:pt x="93" y="158"/>
                    <a:pt x="93" y="158"/>
                    <a:pt x="92" y="158"/>
                  </a:cubicBezTo>
                  <a:cubicBezTo>
                    <a:pt x="92" y="158"/>
                    <a:pt x="92" y="158"/>
                    <a:pt x="92" y="159"/>
                  </a:cubicBezTo>
                  <a:cubicBezTo>
                    <a:pt x="92" y="159"/>
                    <a:pt x="93" y="160"/>
                    <a:pt x="94" y="160"/>
                  </a:cubicBezTo>
                  <a:cubicBezTo>
                    <a:pt x="94" y="160"/>
                    <a:pt x="94" y="160"/>
                    <a:pt x="95" y="160"/>
                  </a:cubicBezTo>
                  <a:cubicBezTo>
                    <a:pt x="95" y="160"/>
                    <a:pt x="96" y="160"/>
                    <a:pt x="96" y="159"/>
                  </a:cubicBezTo>
                  <a:cubicBezTo>
                    <a:pt x="97" y="159"/>
                    <a:pt x="97" y="159"/>
                    <a:pt x="98" y="159"/>
                  </a:cubicBezTo>
                  <a:cubicBezTo>
                    <a:pt x="98" y="159"/>
                    <a:pt x="98" y="158"/>
                    <a:pt x="98" y="158"/>
                  </a:cubicBezTo>
                  <a:cubicBezTo>
                    <a:pt x="98" y="158"/>
                    <a:pt x="98" y="158"/>
                    <a:pt x="98" y="158"/>
                  </a:cubicBezTo>
                  <a:cubicBezTo>
                    <a:pt x="98" y="158"/>
                    <a:pt x="99" y="157"/>
                    <a:pt x="99" y="157"/>
                  </a:cubicBezTo>
                  <a:cubicBezTo>
                    <a:pt x="99" y="157"/>
                    <a:pt x="100" y="156"/>
                    <a:pt x="100" y="156"/>
                  </a:cubicBezTo>
                  <a:cubicBezTo>
                    <a:pt x="100" y="156"/>
                    <a:pt x="100" y="155"/>
                    <a:pt x="100" y="155"/>
                  </a:cubicBezTo>
                  <a:cubicBezTo>
                    <a:pt x="100" y="155"/>
                    <a:pt x="100" y="154"/>
                    <a:pt x="100" y="154"/>
                  </a:cubicBezTo>
                  <a:cubicBezTo>
                    <a:pt x="100" y="153"/>
                    <a:pt x="99" y="154"/>
                    <a:pt x="99" y="153"/>
                  </a:cubicBezTo>
                  <a:cubicBezTo>
                    <a:pt x="99" y="153"/>
                    <a:pt x="98" y="153"/>
                    <a:pt x="98" y="153"/>
                  </a:cubicBezTo>
                  <a:cubicBezTo>
                    <a:pt x="98" y="152"/>
                    <a:pt x="98" y="152"/>
                    <a:pt x="97" y="152"/>
                  </a:cubicBezTo>
                  <a:cubicBezTo>
                    <a:pt x="97" y="152"/>
                    <a:pt x="96" y="151"/>
                    <a:pt x="96" y="151"/>
                  </a:cubicBezTo>
                  <a:cubicBezTo>
                    <a:pt x="96" y="150"/>
                    <a:pt x="97" y="150"/>
                    <a:pt x="97" y="150"/>
                  </a:cubicBezTo>
                  <a:cubicBezTo>
                    <a:pt x="97" y="149"/>
                    <a:pt x="97" y="149"/>
                    <a:pt x="97" y="148"/>
                  </a:cubicBezTo>
                  <a:cubicBezTo>
                    <a:pt x="96" y="148"/>
                    <a:pt x="96" y="147"/>
                    <a:pt x="97" y="147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7"/>
                    <a:pt x="97" y="148"/>
                    <a:pt x="97" y="148"/>
                  </a:cubicBezTo>
                  <a:cubicBezTo>
                    <a:pt x="98" y="148"/>
                    <a:pt x="98" y="149"/>
                    <a:pt x="99" y="149"/>
                  </a:cubicBezTo>
                  <a:cubicBezTo>
                    <a:pt x="99" y="149"/>
                    <a:pt x="99" y="149"/>
                    <a:pt x="99" y="148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100" y="148"/>
                    <a:pt x="100" y="148"/>
                    <a:pt x="100" y="148"/>
                  </a:cubicBezTo>
                  <a:cubicBezTo>
                    <a:pt x="101" y="147"/>
                    <a:pt x="101" y="148"/>
                    <a:pt x="101" y="148"/>
                  </a:cubicBezTo>
                  <a:cubicBezTo>
                    <a:pt x="101" y="148"/>
                    <a:pt x="102" y="148"/>
                    <a:pt x="102" y="149"/>
                  </a:cubicBezTo>
                  <a:cubicBezTo>
                    <a:pt x="103" y="149"/>
                    <a:pt x="103" y="149"/>
                    <a:pt x="103" y="150"/>
                  </a:cubicBezTo>
                  <a:cubicBezTo>
                    <a:pt x="103" y="151"/>
                    <a:pt x="103" y="152"/>
                    <a:pt x="103" y="152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4"/>
                    <a:pt x="104" y="154"/>
                    <a:pt x="104" y="154"/>
                  </a:cubicBezTo>
                  <a:cubicBezTo>
                    <a:pt x="104" y="154"/>
                    <a:pt x="104" y="154"/>
                    <a:pt x="105" y="154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6" y="155"/>
                    <a:pt x="105" y="154"/>
                    <a:pt x="105" y="154"/>
                  </a:cubicBezTo>
                  <a:cubicBezTo>
                    <a:pt x="105" y="153"/>
                    <a:pt x="105" y="153"/>
                    <a:pt x="106" y="152"/>
                  </a:cubicBezTo>
                  <a:cubicBezTo>
                    <a:pt x="106" y="151"/>
                    <a:pt x="106" y="151"/>
                    <a:pt x="106" y="150"/>
                  </a:cubicBezTo>
                  <a:cubicBezTo>
                    <a:pt x="106" y="150"/>
                    <a:pt x="106" y="149"/>
                    <a:pt x="106" y="149"/>
                  </a:cubicBezTo>
                  <a:cubicBezTo>
                    <a:pt x="106" y="149"/>
                    <a:pt x="107" y="149"/>
                    <a:pt x="107" y="149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108" y="148"/>
                    <a:pt x="108" y="149"/>
                    <a:pt x="108" y="149"/>
                  </a:cubicBezTo>
                  <a:cubicBezTo>
                    <a:pt x="108" y="149"/>
                    <a:pt x="108" y="149"/>
                    <a:pt x="108" y="150"/>
                  </a:cubicBezTo>
                  <a:cubicBezTo>
                    <a:pt x="108" y="150"/>
                    <a:pt x="108" y="150"/>
                    <a:pt x="108" y="150"/>
                  </a:cubicBezTo>
                  <a:cubicBezTo>
                    <a:pt x="109" y="151"/>
                    <a:pt x="109" y="151"/>
                    <a:pt x="109" y="152"/>
                  </a:cubicBezTo>
                  <a:cubicBezTo>
                    <a:pt x="109" y="152"/>
                    <a:pt x="110" y="152"/>
                    <a:pt x="110" y="152"/>
                  </a:cubicBezTo>
                  <a:cubicBezTo>
                    <a:pt x="110" y="153"/>
                    <a:pt x="111" y="153"/>
                    <a:pt x="111" y="153"/>
                  </a:cubicBezTo>
                  <a:cubicBezTo>
                    <a:pt x="111" y="152"/>
                    <a:pt x="111" y="152"/>
                    <a:pt x="111" y="152"/>
                  </a:cubicBezTo>
                  <a:cubicBezTo>
                    <a:pt x="111" y="151"/>
                    <a:pt x="111" y="151"/>
                    <a:pt x="111" y="151"/>
                  </a:cubicBezTo>
                  <a:cubicBezTo>
                    <a:pt x="111" y="150"/>
                    <a:pt x="111" y="150"/>
                    <a:pt x="112" y="150"/>
                  </a:cubicBezTo>
                  <a:cubicBezTo>
                    <a:pt x="112" y="149"/>
                    <a:pt x="112" y="149"/>
                    <a:pt x="112" y="148"/>
                  </a:cubicBezTo>
                  <a:cubicBezTo>
                    <a:pt x="112" y="147"/>
                    <a:pt x="112" y="147"/>
                    <a:pt x="112" y="146"/>
                  </a:cubicBezTo>
                  <a:cubicBezTo>
                    <a:pt x="112" y="146"/>
                    <a:pt x="112" y="145"/>
                    <a:pt x="112" y="145"/>
                  </a:cubicBezTo>
                  <a:cubicBezTo>
                    <a:pt x="112" y="145"/>
                    <a:pt x="112" y="145"/>
                    <a:pt x="113" y="145"/>
                  </a:cubicBezTo>
                  <a:cubicBezTo>
                    <a:pt x="113" y="145"/>
                    <a:pt x="113" y="145"/>
                    <a:pt x="113" y="145"/>
                  </a:cubicBezTo>
                  <a:cubicBezTo>
                    <a:pt x="113" y="145"/>
                    <a:pt x="113" y="145"/>
                    <a:pt x="113" y="145"/>
                  </a:cubicBezTo>
                  <a:cubicBezTo>
                    <a:pt x="113" y="145"/>
                    <a:pt x="114" y="145"/>
                    <a:pt x="114" y="145"/>
                  </a:cubicBezTo>
                  <a:cubicBezTo>
                    <a:pt x="115" y="145"/>
                    <a:pt x="116" y="145"/>
                    <a:pt x="116" y="145"/>
                  </a:cubicBezTo>
                  <a:cubicBezTo>
                    <a:pt x="117" y="145"/>
                    <a:pt x="118" y="145"/>
                    <a:pt x="118" y="145"/>
                  </a:cubicBezTo>
                  <a:cubicBezTo>
                    <a:pt x="118" y="146"/>
                    <a:pt x="118" y="146"/>
                    <a:pt x="119" y="146"/>
                  </a:cubicBezTo>
                  <a:cubicBezTo>
                    <a:pt x="119" y="146"/>
                    <a:pt x="119" y="146"/>
                    <a:pt x="119" y="146"/>
                  </a:cubicBezTo>
                  <a:cubicBezTo>
                    <a:pt x="120" y="146"/>
                    <a:pt x="121" y="146"/>
                    <a:pt x="122" y="146"/>
                  </a:cubicBezTo>
                  <a:cubicBezTo>
                    <a:pt x="122" y="146"/>
                    <a:pt x="122" y="145"/>
                    <a:pt x="122" y="145"/>
                  </a:cubicBezTo>
                  <a:cubicBezTo>
                    <a:pt x="122" y="144"/>
                    <a:pt x="122" y="143"/>
                    <a:pt x="123" y="142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3" y="141"/>
                    <a:pt x="124" y="141"/>
                    <a:pt x="124" y="141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4" y="141"/>
                    <a:pt x="124" y="142"/>
                    <a:pt x="124" y="142"/>
                  </a:cubicBezTo>
                  <a:cubicBezTo>
                    <a:pt x="124" y="142"/>
                    <a:pt x="124" y="142"/>
                    <a:pt x="125" y="142"/>
                  </a:cubicBezTo>
                  <a:cubicBezTo>
                    <a:pt x="125" y="142"/>
                    <a:pt x="125" y="142"/>
                    <a:pt x="126" y="142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7" y="143"/>
                    <a:pt x="127" y="143"/>
                    <a:pt x="127" y="143"/>
                  </a:cubicBezTo>
                  <a:cubicBezTo>
                    <a:pt x="128" y="143"/>
                    <a:pt x="128" y="142"/>
                    <a:pt x="128" y="142"/>
                  </a:cubicBezTo>
                  <a:cubicBezTo>
                    <a:pt x="128" y="142"/>
                    <a:pt x="128" y="142"/>
                    <a:pt x="128" y="141"/>
                  </a:cubicBezTo>
                  <a:cubicBezTo>
                    <a:pt x="128" y="141"/>
                    <a:pt x="128" y="140"/>
                    <a:pt x="128" y="140"/>
                  </a:cubicBezTo>
                  <a:cubicBezTo>
                    <a:pt x="128" y="140"/>
                    <a:pt x="128" y="139"/>
                    <a:pt x="129" y="139"/>
                  </a:cubicBezTo>
                  <a:cubicBezTo>
                    <a:pt x="129" y="139"/>
                    <a:pt x="129" y="139"/>
                    <a:pt x="129" y="139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8"/>
                    <a:pt x="130" y="138"/>
                    <a:pt x="130" y="138"/>
                  </a:cubicBezTo>
                  <a:cubicBezTo>
                    <a:pt x="130" y="138"/>
                    <a:pt x="130" y="138"/>
                    <a:pt x="131" y="138"/>
                  </a:cubicBezTo>
                  <a:cubicBezTo>
                    <a:pt x="131" y="138"/>
                    <a:pt x="131" y="138"/>
                    <a:pt x="131" y="139"/>
                  </a:cubicBezTo>
                  <a:cubicBezTo>
                    <a:pt x="132" y="139"/>
                    <a:pt x="132" y="139"/>
                    <a:pt x="132" y="140"/>
                  </a:cubicBezTo>
                  <a:cubicBezTo>
                    <a:pt x="132" y="140"/>
                    <a:pt x="132" y="140"/>
                    <a:pt x="132" y="141"/>
                  </a:cubicBezTo>
                  <a:cubicBezTo>
                    <a:pt x="132" y="142"/>
                    <a:pt x="133" y="141"/>
                    <a:pt x="133" y="141"/>
                  </a:cubicBezTo>
                  <a:cubicBezTo>
                    <a:pt x="133" y="141"/>
                    <a:pt x="134" y="141"/>
                    <a:pt x="134" y="141"/>
                  </a:cubicBezTo>
                  <a:cubicBezTo>
                    <a:pt x="134" y="141"/>
                    <a:pt x="134" y="140"/>
                    <a:pt x="135" y="140"/>
                  </a:cubicBezTo>
                  <a:cubicBezTo>
                    <a:pt x="135" y="140"/>
                    <a:pt x="135" y="140"/>
                    <a:pt x="135" y="140"/>
                  </a:cubicBezTo>
                  <a:cubicBezTo>
                    <a:pt x="136" y="140"/>
                    <a:pt x="137" y="139"/>
                    <a:pt x="137" y="138"/>
                  </a:cubicBezTo>
                  <a:cubicBezTo>
                    <a:pt x="138" y="138"/>
                    <a:pt x="139" y="137"/>
                    <a:pt x="139" y="136"/>
                  </a:cubicBezTo>
                  <a:cubicBezTo>
                    <a:pt x="140" y="136"/>
                    <a:pt x="140" y="135"/>
                    <a:pt x="141" y="135"/>
                  </a:cubicBezTo>
                  <a:cubicBezTo>
                    <a:pt x="141" y="135"/>
                    <a:pt x="141" y="134"/>
                    <a:pt x="141" y="134"/>
                  </a:cubicBezTo>
                  <a:cubicBezTo>
                    <a:pt x="141" y="133"/>
                    <a:pt x="141" y="132"/>
                    <a:pt x="141" y="131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C3C0A478-0ADD-4EC0-9401-7F6D0D237F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5125" y="4184058"/>
              <a:ext cx="677403" cy="634447"/>
            </a:xfrm>
            <a:custGeom>
              <a:avLst/>
              <a:gdLst>
                <a:gd name="T0" fmla="*/ 150 w 171"/>
                <a:gd name="T1" fmla="*/ 151 h 160"/>
                <a:gd name="T2" fmla="*/ 159 w 171"/>
                <a:gd name="T3" fmla="*/ 153 h 160"/>
                <a:gd name="T4" fmla="*/ 159 w 171"/>
                <a:gd name="T5" fmla="*/ 155 h 160"/>
                <a:gd name="T6" fmla="*/ 166 w 171"/>
                <a:gd name="T7" fmla="*/ 150 h 160"/>
                <a:gd name="T8" fmla="*/ 171 w 171"/>
                <a:gd name="T9" fmla="*/ 156 h 160"/>
                <a:gd name="T10" fmla="*/ 150 w 171"/>
                <a:gd name="T11" fmla="*/ 104 h 160"/>
                <a:gd name="T12" fmla="*/ 83 w 171"/>
                <a:gd name="T13" fmla="*/ 77 h 160"/>
                <a:gd name="T14" fmla="*/ 86 w 171"/>
                <a:gd name="T15" fmla="*/ 65 h 160"/>
                <a:gd name="T16" fmla="*/ 90 w 171"/>
                <a:gd name="T17" fmla="*/ 59 h 160"/>
                <a:gd name="T18" fmla="*/ 94 w 171"/>
                <a:gd name="T19" fmla="*/ 52 h 160"/>
                <a:gd name="T20" fmla="*/ 97 w 171"/>
                <a:gd name="T21" fmla="*/ 46 h 160"/>
                <a:gd name="T22" fmla="*/ 103 w 171"/>
                <a:gd name="T23" fmla="*/ 38 h 160"/>
                <a:gd name="T24" fmla="*/ 99 w 171"/>
                <a:gd name="T25" fmla="*/ 34 h 160"/>
                <a:gd name="T26" fmla="*/ 109 w 171"/>
                <a:gd name="T27" fmla="*/ 27 h 160"/>
                <a:gd name="T28" fmla="*/ 102 w 171"/>
                <a:gd name="T29" fmla="*/ 20 h 160"/>
                <a:gd name="T30" fmla="*/ 100 w 171"/>
                <a:gd name="T31" fmla="*/ 18 h 160"/>
                <a:gd name="T32" fmla="*/ 100 w 171"/>
                <a:gd name="T33" fmla="*/ 7 h 160"/>
                <a:gd name="T34" fmla="*/ 99 w 171"/>
                <a:gd name="T35" fmla="*/ 0 h 160"/>
                <a:gd name="T36" fmla="*/ 10 w 171"/>
                <a:gd name="T37" fmla="*/ 63 h 160"/>
                <a:gd name="T38" fmla="*/ 17 w 171"/>
                <a:gd name="T39" fmla="*/ 75 h 160"/>
                <a:gd name="T40" fmla="*/ 15 w 171"/>
                <a:gd name="T41" fmla="*/ 94 h 160"/>
                <a:gd name="T42" fmla="*/ 11 w 171"/>
                <a:gd name="T43" fmla="*/ 120 h 160"/>
                <a:gd name="T44" fmla="*/ 7 w 171"/>
                <a:gd name="T45" fmla="*/ 134 h 160"/>
                <a:gd name="T46" fmla="*/ 37 w 171"/>
                <a:gd name="T47" fmla="*/ 134 h 160"/>
                <a:gd name="T48" fmla="*/ 65 w 171"/>
                <a:gd name="T49" fmla="*/ 140 h 160"/>
                <a:gd name="T50" fmla="*/ 64 w 171"/>
                <a:gd name="T51" fmla="*/ 134 h 160"/>
                <a:gd name="T52" fmla="*/ 71 w 171"/>
                <a:gd name="T53" fmla="*/ 128 h 160"/>
                <a:gd name="T54" fmla="*/ 77 w 171"/>
                <a:gd name="T55" fmla="*/ 129 h 160"/>
                <a:gd name="T56" fmla="*/ 84 w 171"/>
                <a:gd name="T57" fmla="*/ 137 h 160"/>
                <a:gd name="T58" fmla="*/ 94 w 171"/>
                <a:gd name="T59" fmla="*/ 142 h 160"/>
                <a:gd name="T60" fmla="*/ 97 w 171"/>
                <a:gd name="T61" fmla="*/ 143 h 160"/>
                <a:gd name="T62" fmla="*/ 94 w 171"/>
                <a:gd name="T63" fmla="*/ 151 h 160"/>
                <a:gd name="T64" fmla="*/ 104 w 171"/>
                <a:gd name="T65" fmla="*/ 154 h 160"/>
                <a:gd name="T66" fmla="*/ 111 w 171"/>
                <a:gd name="T67" fmla="*/ 154 h 160"/>
                <a:gd name="T68" fmla="*/ 117 w 171"/>
                <a:gd name="T69" fmla="*/ 152 h 160"/>
                <a:gd name="T70" fmla="*/ 123 w 171"/>
                <a:gd name="T71" fmla="*/ 149 h 160"/>
                <a:gd name="T72" fmla="*/ 136 w 171"/>
                <a:gd name="T73" fmla="*/ 156 h 160"/>
                <a:gd name="T74" fmla="*/ 134 w 171"/>
                <a:gd name="T75" fmla="*/ 139 h 160"/>
                <a:gd name="T76" fmla="*/ 128 w 171"/>
                <a:gd name="T77" fmla="*/ 133 h 160"/>
                <a:gd name="T78" fmla="*/ 135 w 171"/>
                <a:gd name="T79" fmla="*/ 137 h 160"/>
                <a:gd name="T80" fmla="*/ 150 w 171"/>
                <a:gd name="T81" fmla="*/ 147 h 160"/>
                <a:gd name="T82" fmla="*/ 162 w 171"/>
                <a:gd name="T83" fmla="*/ 151 h 160"/>
                <a:gd name="T84" fmla="*/ 158 w 171"/>
                <a:gd name="T85" fmla="*/ 147 h 160"/>
                <a:gd name="T86" fmla="*/ 149 w 171"/>
                <a:gd name="T87" fmla="*/ 139 h 160"/>
                <a:gd name="T88" fmla="*/ 149 w 171"/>
                <a:gd name="T89" fmla="*/ 137 h 160"/>
                <a:gd name="T90" fmla="*/ 153 w 171"/>
                <a:gd name="T91" fmla="*/ 134 h 160"/>
                <a:gd name="T92" fmla="*/ 159 w 171"/>
                <a:gd name="T93" fmla="*/ 133 h 160"/>
                <a:gd name="T94" fmla="*/ 159 w 171"/>
                <a:gd name="T95" fmla="*/ 120 h 160"/>
                <a:gd name="T96" fmla="*/ 146 w 171"/>
                <a:gd name="T97" fmla="*/ 126 h 160"/>
                <a:gd name="T98" fmla="*/ 148 w 171"/>
                <a:gd name="T99" fmla="*/ 116 h 160"/>
                <a:gd name="T100" fmla="*/ 132 w 171"/>
                <a:gd name="T101" fmla="*/ 121 h 160"/>
                <a:gd name="T102" fmla="*/ 128 w 171"/>
                <a:gd name="T103" fmla="*/ 112 h 160"/>
                <a:gd name="T104" fmla="*/ 124 w 171"/>
                <a:gd name="T105" fmla="*/ 109 h 160"/>
                <a:gd name="T106" fmla="*/ 139 w 171"/>
                <a:gd name="T107" fmla="*/ 110 h 160"/>
                <a:gd name="T108" fmla="*/ 152 w 171"/>
                <a:gd name="T109" fmla="*/ 114 h 160"/>
                <a:gd name="T110" fmla="*/ 73 w 171"/>
                <a:gd name="T111" fmla="*/ 142 h 160"/>
                <a:gd name="T112" fmla="*/ 77 w 171"/>
                <a:gd name="T113" fmla="*/ 139 h 160"/>
                <a:gd name="T114" fmla="*/ 70 w 171"/>
                <a:gd name="T115" fmla="*/ 14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1" h="160">
                  <a:moveTo>
                    <a:pt x="148" y="150"/>
                  </a:moveTo>
                  <a:cubicBezTo>
                    <a:pt x="148" y="150"/>
                    <a:pt x="148" y="150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50" y="148"/>
                    <a:pt x="150" y="148"/>
                  </a:cubicBezTo>
                  <a:cubicBezTo>
                    <a:pt x="150" y="147"/>
                    <a:pt x="151" y="148"/>
                    <a:pt x="151" y="148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50"/>
                    <a:pt x="150" y="150"/>
                    <a:pt x="150" y="150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49" y="151"/>
                    <a:pt x="149" y="151"/>
                    <a:pt x="148" y="150"/>
                  </a:cubicBezTo>
                  <a:close/>
                  <a:moveTo>
                    <a:pt x="160" y="155"/>
                  </a:moveTo>
                  <a:cubicBezTo>
                    <a:pt x="160" y="155"/>
                    <a:pt x="160" y="155"/>
                    <a:pt x="160" y="154"/>
                  </a:cubicBezTo>
                  <a:cubicBezTo>
                    <a:pt x="161" y="154"/>
                    <a:pt x="161" y="154"/>
                    <a:pt x="161" y="153"/>
                  </a:cubicBezTo>
                  <a:cubicBezTo>
                    <a:pt x="161" y="153"/>
                    <a:pt x="161" y="153"/>
                    <a:pt x="162" y="152"/>
                  </a:cubicBezTo>
                  <a:cubicBezTo>
                    <a:pt x="162" y="152"/>
                    <a:pt x="162" y="152"/>
                    <a:pt x="162" y="152"/>
                  </a:cubicBezTo>
                  <a:cubicBezTo>
                    <a:pt x="161" y="152"/>
                    <a:pt x="161" y="152"/>
                    <a:pt x="161" y="152"/>
                  </a:cubicBezTo>
                  <a:cubicBezTo>
                    <a:pt x="161" y="152"/>
                    <a:pt x="161" y="152"/>
                    <a:pt x="161" y="152"/>
                  </a:cubicBezTo>
                  <a:cubicBezTo>
                    <a:pt x="160" y="153"/>
                    <a:pt x="160" y="153"/>
                    <a:pt x="159" y="153"/>
                  </a:cubicBezTo>
                  <a:cubicBezTo>
                    <a:pt x="159" y="153"/>
                    <a:pt x="159" y="152"/>
                    <a:pt x="159" y="152"/>
                  </a:cubicBezTo>
                  <a:cubicBezTo>
                    <a:pt x="158" y="152"/>
                    <a:pt x="158" y="151"/>
                    <a:pt x="158" y="151"/>
                  </a:cubicBezTo>
                  <a:cubicBezTo>
                    <a:pt x="158" y="151"/>
                    <a:pt x="158" y="151"/>
                    <a:pt x="158" y="151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7" y="152"/>
                    <a:pt x="157" y="152"/>
                    <a:pt x="157" y="152"/>
                  </a:cubicBezTo>
                  <a:cubicBezTo>
                    <a:pt x="157" y="153"/>
                    <a:pt x="157" y="153"/>
                    <a:pt x="157" y="153"/>
                  </a:cubicBezTo>
                  <a:cubicBezTo>
                    <a:pt x="158" y="154"/>
                    <a:pt x="158" y="154"/>
                    <a:pt x="158" y="154"/>
                  </a:cubicBezTo>
                  <a:cubicBezTo>
                    <a:pt x="158" y="155"/>
                    <a:pt x="158" y="155"/>
                    <a:pt x="159" y="155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0" y="156"/>
                    <a:pt x="160" y="156"/>
                    <a:pt x="160" y="155"/>
                  </a:cubicBezTo>
                  <a:close/>
                  <a:moveTo>
                    <a:pt x="168" y="152"/>
                  </a:moveTo>
                  <a:cubicBezTo>
                    <a:pt x="168" y="152"/>
                    <a:pt x="168" y="152"/>
                    <a:pt x="169" y="152"/>
                  </a:cubicBezTo>
                  <a:cubicBezTo>
                    <a:pt x="169" y="153"/>
                    <a:pt x="169" y="153"/>
                    <a:pt x="169" y="153"/>
                  </a:cubicBezTo>
                  <a:cubicBezTo>
                    <a:pt x="170" y="152"/>
                    <a:pt x="169" y="152"/>
                    <a:pt x="169" y="152"/>
                  </a:cubicBezTo>
                  <a:cubicBezTo>
                    <a:pt x="169" y="152"/>
                    <a:pt x="169" y="151"/>
                    <a:pt x="168" y="150"/>
                  </a:cubicBezTo>
                  <a:cubicBezTo>
                    <a:pt x="168" y="150"/>
                    <a:pt x="167" y="150"/>
                    <a:pt x="167" y="150"/>
                  </a:cubicBezTo>
                  <a:cubicBezTo>
                    <a:pt x="166" y="150"/>
                    <a:pt x="166" y="150"/>
                    <a:pt x="166" y="150"/>
                  </a:cubicBezTo>
                  <a:cubicBezTo>
                    <a:pt x="166" y="151"/>
                    <a:pt x="166" y="151"/>
                    <a:pt x="166" y="151"/>
                  </a:cubicBezTo>
                  <a:cubicBezTo>
                    <a:pt x="167" y="151"/>
                    <a:pt x="167" y="152"/>
                    <a:pt x="168" y="152"/>
                  </a:cubicBezTo>
                  <a:close/>
                  <a:moveTo>
                    <a:pt x="168" y="160"/>
                  </a:moveTo>
                  <a:cubicBezTo>
                    <a:pt x="168" y="160"/>
                    <a:pt x="168" y="160"/>
                    <a:pt x="169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0" y="159"/>
                    <a:pt x="170" y="159"/>
                    <a:pt x="170" y="158"/>
                  </a:cubicBezTo>
                  <a:cubicBezTo>
                    <a:pt x="170" y="158"/>
                    <a:pt x="170" y="158"/>
                    <a:pt x="170" y="158"/>
                  </a:cubicBezTo>
                  <a:cubicBezTo>
                    <a:pt x="170" y="158"/>
                    <a:pt x="170" y="157"/>
                    <a:pt x="170" y="157"/>
                  </a:cubicBezTo>
                  <a:cubicBezTo>
                    <a:pt x="170" y="157"/>
                    <a:pt x="170" y="156"/>
                    <a:pt x="171" y="156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1" y="155"/>
                    <a:pt x="170" y="156"/>
                    <a:pt x="170" y="156"/>
                  </a:cubicBezTo>
                  <a:cubicBezTo>
                    <a:pt x="170" y="156"/>
                    <a:pt x="169" y="156"/>
                    <a:pt x="169" y="156"/>
                  </a:cubicBezTo>
                  <a:cubicBezTo>
                    <a:pt x="169" y="156"/>
                    <a:pt x="169" y="157"/>
                    <a:pt x="168" y="157"/>
                  </a:cubicBezTo>
                  <a:cubicBezTo>
                    <a:pt x="168" y="157"/>
                    <a:pt x="168" y="157"/>
                    <a:pt x="167" y="158"/>
                  </a:cubicBezTo>
                  <a:cubicBezTo>
                    <a:pt x="167" y="158"/>
                    <a:pt x="167" y="158"/>
                    <a:pt x="167" y="159"/>
                  </a:cubicBezTo>
                  <a:cubicBezTo>
                    <a:pt x="167" y="159"/>
                    <a:pt x="168" y="160"/>
                    <a:pt x="168" y="160"/>
                  </a:cubicBezTo>
                  <a:close/>
                  <a:moveTo>
                    <a:pt x="152" y="113"/>
                  </a:moveTo>
                  <a:cubicBezTo>
                    <a:pt x="152" y="113"/>
                    <a:pt x="150" y="104"/>
                    <a:pt x="150" y="104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8" y="85"/>
                    <a:pt x="148" y="85"/>
                  </a:cubicBezTo>
                  <a:cubicBezTo>
                    <a:pt x="148" y="85"/>
                    <a:pt x="148" y="82"/>
                    <a:pt x="148" y="82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2"/>
                    <a:pt x="84" y="81"/>
                    <a:pt x="84" y="81"/>
                  </a:cubicBezTo>
                  <a:cubicBezTo>
                    <a:pt x="84" y="81"/>
                    <a:pt x="85" y="80"/>
                    <a:pt x="85" y="80"/>
                  </a:cubicBezTo>
                  <a:cubicBezTo>
                    <a:pt x="85" y="79"/>
                    <a:pt x="83" y="78"/>
                    <a:pt x="83" y="78"/>
                  </a:cubicBezTo>
                  <a:cubicBezTo>
                    <a:pt x="83" y="78"/>
                    <a:pt x="83" y="77"/>
                    <a:pt x="83" y="77"/>
                  </a:cubicBezTo>
                  <a:cubicBezTo>
                    <a:pt x="83" y="76"/>
                    <a:pt x="84" y="75"/>
                    <a:pt x="84" y="75"/>
                  </a:cubicBezTo>
                  <a:cubicBezTo>
                    <a:pt x="84" y="75"/>
                    <a:pt x="84" y="74"/>
                    <a:pt x="84" y="74"/>
                  </a:cubicBezTo>
                  <a:cubicBezTo>
                    <a:pt x="83" y="73"/>
                    <a:pt x="83" y="73"/>
                    <a:pt x="83" y="7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3" y="72"/>
                    <a:pt x="84" y="72"/>
                    <a:pt x="85" y="71"/>
                  </a:cubicBezTo>
                  <a:cubicBezTo>
                    <a:pt x="86" y="71"/>
                    <a:pt x="87" y="71"/>
                    <a:pt x="87" y="71"/>
                  </a:cubicBezTo>
                  <a:cubicBezTo>
                    <a:pt x="87" y="71"/>
                    <a:pt x="86" y="69"/>
                    <a:pt x="86" y="68"/>
                  </a:cubicBezTo>
                  <a:cubicBezTo>
                    <a:pt x="85" y="67"/>
                    <a:pt x="85" y="66"/>
                    <a:pt x="85" y="65"/>
                  </a:cubicBezTo>
                  <a:cubicBezTo>
                    <a:pt x="85" y="65"/>
                    <a:pt x="86" y="65"/>
                    <a:pt x="86" y="65"/>
                  </a:cubicBezTo>
                  <a:cubicBezTo>
                    <a:pt x="87" y="65"/>
                    <a:pt x="86" y="66"/>
                    <a:pt x="86" y="66"/>
                  </a:cubicBezTo>
                  <a:cubicBezTo>
                    <a:pt x="87" y="67"/>
                    <a:pt x="87" y="68"/>
                    <a:pt x="88" y="67"/>
                  </a:cubicBezTo>
                  <a:cubicBezTo>
                    <a:pt x="88" y="67"/>
                    <a:pt x="88" y="66"/>
                    <a:pt x="88" y="66"/>
                  </a:cubicBezTo>
                  <a:cubicBezTo>
                    <a:pt x="88" y="65"/>
                    <a:pt x="88" y="64"/>
                    <a:pt x="87" y="64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6" y="61"/>
                    <a:pt x="88" y="61"/>
                    <a:pt x="88" y="60"/>
                  </a:cubicBezTo>
                  <a:cubicBezTo>
                    <a:pt x="89" y="60"/>
                    <a:pt x="89" y="60"/>
                    <a:pt x="90" y="59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90" y="58"/>
                    <a:pt x="89" y="58"/>
                    <a:pt x="89" y="58"/>
                  </a:cubicBezTo>
                  <a:cubicBezTo>
                    <a:pt x="88" y="58"/>
                    <a:pt x="88" y="58"/>
                    <a:pt x="87" y="57"/>
                  </a:cubicBezTo>
                  <a:cubicBezTo>
                    <a:pt x="87" y="57"/>
                    <a:pt x="87" y="57"/>
                    <a:pt x="88" y="57"/>
                  </a:cubicBezTo>
                  <a:cubicBezTo>
                    <a:pt x="88" y="57"/>
                    <a:pt x="89" y="57"/>
                    <a:pt x="90" y="57"/>
                  </a:cubicBezTo>
                  <a:cubicBezTo>
                    <a:pt x="90" y="57"/>
                    <a:pt x="90" y="58"/>
                    <a:pt x="91" y="58"/>
                  </a:cubicBezTo>
                  <a:cubicBezTo>
                    <a:pt x="91" y="57"/>
                    <a:pt x="91" y="55"/>
                    <a:pt x="92" y="53"/>
                  </a:cubicBezTo>
                  <a:cubicBezTo>
                    <a:pt x="92" y="53"/>
                    <a:pt x="92" y="53"/>
                    <a:pt x="92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4" y="52"/>
                    <a:pt x="94" y="52"/>
                  </a:cubicBezTo>
                  <a:cubicBezTo>
                    <a:pt x="94" y="52"/>
                    <a:pt x="95" y="52"/>
                    <a:pt x="95" y="51"/>
                  </a:cubicBezTo>
                  <a:cubicBezTo>
                    <a:pt x="95" y="51"/>
                    <a:pt x="94" y="51"/>
                    <a:pt x="94" y="51"/>
                  </a:cubicBezTo>
                  <a:cubicBezTo>
                    <a:pt x="94" y="51"/>
                    <a:pt x="93" y="51"/>
                    <a:pt x="93" y="51"/>
                  </a:cubicBezTo>
                  <a:cubicBezTo>
                    <a:pt x="92" y="50"/>
                    <a:pt x="93" y="49"/>
                    <a:pt x="93" y="49"/>
                  </a:cubicBezTo>
                  <a:cubicBezTo>
                    <a:pt x="93" y="48"/>
                    <a:pt x="94" y="47"/>
                    <a:pt x="94" y="48"/>
                  </a:cubicBezTo>
                  <a:cubicBezTo>
                    <a:pt x="95" y="48"/>
                    <a:pt x="94" y="49"/>
                    <a:pt x="95" y="49"/>
                  </a:cubicBezTo>
                  <a:cubicBezTo>
                    <a:pt x="95" y="49"/>
                    <a:pt x="95" y="49"/>
                    <a:pt x="96" y="49"/>
                  </a:cubicBezTo>
                  <a:cubicBezTo>
                    <a:pt x="96" y="48"/>
                    <a:pt x="96" y="47"/>
                    <a:pt x="96" y="47"/>
                  </a:cubicBezTo>
                  <a:cubicBezTo>
                    <a:pt x="96" y="46"/>
                    <a:pt x="97" y="46"/>
                    <a:pt x="97" y="46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4"/>
                    <a:pt x="99" y="43"/>
                    <a:pt x="100" y="42"/>
                  </a:cubicBezTo>
                  <a:cubicBezTo>
                    <a:pt x="101" y="42"/>
                    <a:pt x="102" y="42"/>
                    <a:pt x="101" y="41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9" y="38"/>
                    <a:pt x="100" y="38"/>
                    <a:pt x="100" y="38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101" y="39"/>
                    <a:pt x="102" y="40"/>
                    <a:pt x="102" y="39"/>
                  </a:cubicBezTo>
                  <a:cubicBezTo>
                    <a:pt x="102" y="39"/>
                    <a:pt x="103" y="38"/>
                    <a:pt x="103" y="38"/>
                  </a:cubicBezTo>
                  <a:cubicBezTo>
                    <a:pt x="103" y="38"/>
                    <a:pt x="103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6"/>
                    <a:pt x="104" y="36"/>
                    <a:pt x="104" y="35"/>
                  </a:cubicBezTo>
                  <a:cubicBezTo>
                    <a:pt x="104" y="35"/>
                    <a:pt x="103" y="34"/>
                    <a:pt x="103" y="34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6"/>
                    <a:pt x="103" y="36"/>
                  </a:cubicBezTo>
                  <a:cubicBezTo>
                    <a:pt x="103" y="36"/>
                    <a:pt x="102" y="36"/>
                    <a:pt x="102" y="37"/>
                  </a:cubicBezTo>
                  <a:cubicBezTo>
                    <a:pt x="101" y="37"/>
                    <a:pt x="100" y="37"/>
                    <a:pt x="100" y="36"/>
                  </a:cubicBezTo>
                  <a:cubicBezTo>
                    <a:pt x="99" y="36"/>
                    <a:pt x="99" y="35"/>
                    <a:pt x="99" y="34"/>
                  </a:cubicBezTo>
                  <a:cubicBezTo>
                    <a:pt x="99" y="34"/>
                    <a:pt x="99" y="33"/>
                    <a:pt x="100" y="33"/>
                  </a:cubicBezTo>
                  <a:cubicBezTo>
                    <a:pt x="101" y="33"/>
                    <a:pt x="101" y="33"/>
                    <a:pt x="102" y="33"/>
                  </a:cubicBezTo>
                  <a:cubicBezTo>
                    <a:pt x="102" y="32"/>
                    <a:pt x="103" y="32"/>
                    <a:pt x="104" y="32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4"/>
                    <a:pt x="105" y="34"/>
                  </a:cubicBezTo>
                  <a:cubicBezTo>
                    <a:pt x="106" y="34"/>
                    <a:pt x="105" y="32"/>
                    <a:pt x="105" y="32"/>
                  </a:cubicBezTo>
                  <a:cubicBezTo>
                    <a:pt x="105" y="31"/>
                    <a:pt x="105" y="30"/>
                    <a:pt x="106" y="30"/>
                  </a:cubicBezTo>
                  <a:cubicBezTo>
                    <a:pt x="106" y="30"/>
                    <a:pt x="108" y="29"/>
                    <a:pt x="108" y="29"/>
                  </a:cubicBezTo>
                  <a:cubicBezTo>
                    <a:pt x="109" y="29"/>
                    <a:pt x="109" y="28"/>
                    <a:pt x="109" y="27"/>
                  </a:cubicBezTo>
                  <a:cubicBezTo>
                    <a:pt x="108" y="27"/>
                    <a:pt x="108" y="28"/>
                    <a:pt x="107" y="28"/>
                  </a:cubicBezTo>
                  <a:cubicBezTo>
                    <a:pt x="107" y="28"/>
                    <a:pt x="105" y="28"/>
                    <a:pt x="105" y="27"/>
                  </a:cubicBezTo>
                  <a:cubicBezTo>
                    <a:pt x="105" y="26"/>
                    <a:pt x="106" y="25"/>
                    <a:pt x="106" y="24"/>
                  </a:cubicBezTo>
                  <a:cubicBezTo>
                    <a:pt x="105" y="24"/>
                    <a:pt x="105" y="24"/>
                    <a:pt x="104" y="24"/>
                  </a:cubicBezTo>
                  <a:cubicBezTo>
                    <a:pt x="104" y="24"/>
                    <a:pt x="103" y="24"/>
                    <a:pt x="103" y="24"/>
                  </a:cubicBezTo>
                  <a:cubicBezTo>
                    <a:pt x="102" y="24"/>
                    <a:pt x="102" y="23"/>
                    <a:pt x="101" y="23"/>
                  </a:cubicBezTo>
                  <a:cubicBezTo>
                    <a:pt x="101" y="23"/>
                    <a:pt x="101" y="22"/>
                    <a:pt x="101" y="22"/>
                  </a:cubicBezTo>
                  <a:cubicBezTo>
                    <a:pt x="101" y="21"/>
                    <a:pt x="101" y="21"/>
                    <a:pt x="101" y="20"/>
                  </a:cubicBezTo>
                  <a:cubicBezTo>
                    <a:pt x="101" y="20"/>
                    <a:pt x="101" y="19"/>
                    <a:pt x="102" y="20"/>
                  </a:cubicBezTo>
                  <a:cubicBezTo>
                    <a:pt x="102" y="20"/>
                    <a:pt x="102" y="21"/>
                    <a:pt x="103" y="21"/>
                  </a:cubicBezTo>
                  <a:cubicBezTo>
                    <a:pt x="103" y="21"/>
                    <a:pt x="105" y="22"/>
                    <a:pt x="105" y="22"/>
                  </a:cubicBezTo>
                  <a:cubicBezTo>
                    <a:pt x="105" y="21"/>
                    <a:pt x="104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19"/>
                    <a:pt x="102" y="19"/>
                    <a:pt x="102" y="19"/>
                  </a:cubicBezTo>
                  <a:cubicBezTo>
                    <a:pt x="103" y="18"/>
                    <a:pt x="104" y="18"/>
                    <a:pt x="104" y="17"/>
                  </a:cubicBezTo>
                  <a:cubicBezTo>
                    <a:pt x="105" y="16"/>
                    <a:pt x="105" y="16"/>
                    <a:pt x="104" y="16"/>
                  </a:cubicBezTo>
                  <a:cubicBezTo>
                    <a:pt x="103" y="16"/>
                    <a:pt x="103" y="16"/>
                    <a:pt x="102" y="17"/>
                  </a:cubicBezTo>
                  <a:cubicBezTo>
                    <a:pt x="102" y="17"/>
                    <a:pt x="101" y="18"/>
                    <a:pt x="100" y="18"/>
                  </a:cubicBezTo>
                  <a:cubicBezTo>
                    <a:pt x="100" y="18"/>
                    <a:pt x="100" y="17"/>
                    <a:pt x="100" y="17"/>
                  </a:cubicBezTo>
                  <a:cubicBezTo>
                    <a:pt x="100" y="16"/>
                    <a:pt x="101" y="15"/>
                    <a:pt x="101" y="14"/>
                  </a:cubicBezTo>
                  <a:cubicBezTo>
                    <a:pt x="101" y="14"/>
                    <a:pt x="102" y="13"/>
                    <a:pt x="102" y="13"/>
                  </a:cubicBezTo>
                  <a:cubicBezTo>
                    <a:pt x="103" y="12"/>
                    <a:pt x="103" y="12"/>
                    <a:pt x="102" y="12"/>
                  </a:cubicBezTo>
                  <a:cubicBezTo>
                    <a:pt x="101" y="12"/>
                    <a:pt x="100" y="12"/>
                    <a:pt x="99" y="11"/>
                  </a:cubicBezTo>
                  <a:cubicBezTo>
                    <a:pt x="99" y="11"/>
                    <a:pt x="99" y="10"/>
                    <a:pt x="99" y="10"/>
                  </a:cubicBezTo>
                  <a:cubicBezTo>
                    <a:pt x="99" y="10"/>
                    <a:pt x="99" y="9"/>
                    <a:pt x="99" y="9"/>
                  </a:cubicBezTo>
                  <a:cubicBezTo>
                    <a:pt x="99" y="9"/>
                    <a:pt x="99" y="8"/>
                    <a:pt x="99" y="8"/>
                  </a:cubicBezTo>
                  <a:cubicBezTo>
                    <a:pt x="99" y="8"/>
                    <a:pt x="100" y="8"/>
                    <a:pt x="100" y="7"/>
                  </a:cubicBezTo>
                  <a:cubicBezTo>
                    <a:pt x="101" y="7"/>
                    <a:pt x="103" y="6"/>
                    <a:pt x="102" y="4"/>
                  </a:cubicBezTo>
                  <a:cubicBezTo>
                    <a:pt x="102" y="3"/>
                    <a:pt x="102" y="3"/>
                    <a:pt x="101" y="2"/>
                  </a:cubicBezTo>
                  <a:cubicBezTo>
                    <a:pt x="101" y="2"/>
                    <a:pt x="101" y="1"/>
                    <a:pt x="100" y="1"/>
                  </a:cubicBezTo>
                  <a:cubicBezTo>
                    <a:pt x="100" y="1"/>
                    <a:pt x="100" y="2"/>
                    <a:pt x="100" y="2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4"/>
                    <a:pt x="100" y="4"/>
                    <a:pt x="99" y="5"/>
                  </a:cubicBezTo>
                  <a:cubicBezTo>
                    <a:pt x="98" y="5"/>
                    <a:pt x="97" y="4"/>
                    <a:pt x="97" y="3"/>
                  </a:cubicBezTo>
                  <a:cubicBezTo>
                    <a:pt x="97" y="3"/>
                    <a:pt x="98" y="2"/>
                    <a:pt x="98" y="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6" y="48"/>
                    <a:pt x="6" y="49"/>
                  </a:cubicBezTo>
                  <a:cubicBezTo>
                    <a:pt x="6" y="49"/>
                    <a:pt x="8" y="53"/>
                    <a:pt x="8" y="54"/>
                  </a:cubicBezTo>
                  <a:cubicBezTo>
                    <a:pt x="8" y="55"/>
                    <a:pt x="8" y="57"/>
                    <a:pt x="8" y="57"/>
                  </a:cubicBezTo>
                  <a:cubicBezTo>
                    <a:pt x="8" y="57"/>
                    <a:pt x="7" y="59"/>
                    <a:pt x="8" y="59"/>
                  </a:cubicBezTo>
                  <a:cubicBezTo>
                    <a:pt x="8" y="60"/>
                    <a:pt x="11" y="61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2"/>
                    <a:pt x="10" y="63"/>
                    <a:pt x="10" y="63"/>
                  </a:cubicBezTo>
                  <a:cubicBezTo>
                    <a:pt x="10" y="63"/>
                    <a:pt x="11" y="64"/>
                    <a:pt x="12" y="64"/>
                  </a:cubicBezTo>
                  <a:cubicBezTo>
                    <a:pt x="12" y="65"/>
                    <a:pt x="12" y="66"/>
                    <a:pt x="12" y="66"/>
                  </a:cubicBezTo>
                  <a:cubicBezTo>
                    <a:pt x="12" y="67"/>
                    <a:pt x="13" y="67"/>
                    <a:pt x="13" y="67"/>
                  </a:cubicBezTo>
                  <a:cubicBezTo>
                    <a:pt x="13" y="68"/>
                    <a:pt x="12" y="69"/>
                    <a:pt x="12" y="69"/>
                  </a:cubicBezTo>
                  <a:cubicBezTo>
                    <a:pt x="12" y="69"/>
                    <a:pt x="12" y="70"/>
                    <a:pt x="12" y="70"/>
                  </a:cubicBezTo>
                  <a:cubicBezTo>
                    <a:pt x="13" y="71"/>
                    <a:pt x="15" y="73"/>
                    <a:pt x="15" y="73"/>
                  </a:cubicBezTo>
                  <a:cubicBezTo>
                    <a:pt x="15" y="74"/>
                    <a:pt x="15" y="74"/>
                    <a:pt x="15" y="75"/>
                  </a:cubicBezTo>
                  <a:cubicBezTo>
                    <a:pt x="15" y="75"/>
                    <a:pt x="16" y="76"/>
                    <a:pt x="16" y="76"/>
                  </a:cubicBezTo>
                  <a:cubicBezTo>
                    <a:pt x="16" y="76"/>
                    <a:pt x="17" y="75"/>
                    <a:pt x="17" y="75"/>
                  </a:cubicBezTo>
                  <a:cubicBezTo>
                    <a:pt x="17" y="75"/>
                    <a:pt x="17" y="76"/>
                    <a:pt x="17" y="76"/>
                  </a:cubicBezTo>
                  <a:cubicBezTo>
                    <a:pt x="17" y="77"/>
                    <a:pt x="16" y="78"/>
                    <a:pt x="16" y="78"/>
                  </a:cubicBezTo>
                  <a:cubicBezTo>
                    <a:pt x="17" y="78"/>
                    <a:pt x="17" y="79"/>
                    <a:pt x="17" y="80"/>
                  </a:cubicBezTo>
                  <a:cubicBezTo>
                    <a:pt x="17" y="80"/>
                    <a:pt x="17" y="81"/>
                    <a:pt x="16" y="81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3"/>
                    <a:pt x="17" y="84"/>
                    <a:pt x="17" y="85"/>
                  </a:cubicBezTo>
                  <a:cubicBezTo>
                    <a:pt x="17" y="85"/>
                    <a:pt x="17" y="86"/>
                    <a:pt x="17" y="87"/>
                  </a:cubicBezTo>
                  <a:cubicBezTo>
                    <a:pt x="17" y="87"/>
                    <a:pt x="16" y="89"/>
                    <a:pt x="16" y="90"/>
                  </a:cubicBezTo>
                  <a:cubicBezTo>
                    <a:pt x="16" y="90"/>
                    <a:pt x="15" y="93"/>
                    <a:pt x="15" y="94"/>
                  </a:cubicBezTo>
                  <a:cubicBezTo>
                    <a:pt x="14" y="95"/>
                    <a:pt x="13" y="98"/>
                    <a:pt x="12" y="98"/>
                  </a:cubicBezTo>
                  <a:cubicBezTo>
                    <a:pt x="12" y="99"/>
                    <a:pt x="10" y="99"/>
                    <a:pt x="10" y="100"/>
                  </a:cubicBezTo>
                  <a:cubicBezTo>
                    <a:pt x="10" y="100"/>
                    <a:pt x="11" y="101"/>
                    <a:pt x="11" y="102"/>
                  </a:cubicBezTo>
                  <a:cubicBezTo>
                    <a:pt x="11" y="102"/>
                    <a:pt x="11" y="105"/>
                    <a:pt x="11" y="105"/>
                  </a:cubicBezTo>
                  <a:cubicBezTo>
                    <a:pt x="11" y="106"/>
                    <a:pt x="10" y="107"/>
                    <a:pt x="10" y="107"/>
                  </a:cubicBezTo>
                  <a:cubicBezTo>
                    <a:pt x="10" y="108"/>
                    <a:pt x="9" y="108"/>
                    <a:pt x="9" y="109"/>
                  </a:cubicBezTo>
                  <a:cubicBezTo>
                    <a:pt x="10" y="110"/>
                    <a:pt x="11" y="111"/>
                    <a:pt x="11" y="111"/>
                  </a:cubicBezTo>
                  <a:cubicBezTo>
                    <a:pt x="11" y="112"/>
                    <a:pt x="11" y="114"/>
                    <a:pt x="11" y="115"/>
                  </a:cubicBezTo>
                  <a:cubicBezTo>
                    <a:pt x="11" y="115"/>
                    <a:pt x="11" y="119"/>
                    <a:pt x="11" y="120"/>
                  </a:cubicBezTo>
                  <a:cubicBezTo>
                    <a:pt x="11" y="120"/>
                    <a:pt x="9" y="122"/>
                    <a:pt x="8" y="124"/>
                  </a:cubicBezTo>
                  <a:cubicBezTo>
                    <a:pt x="8" y="124"/>
                    <a:pt x="8" y="124"/>
                    <a:pt x="9" y="124"/>
                  </a:cubicBezTo>
                  <a:cubicBezTo>
                    <a:pt x="9" y="124"/>
                    <a:pt x="9" y="125"/>
                    <a:pt x="9" y="126"/>
                  </a:cubicBezTo>
                  <a:cubicBezTo>
                    <a:pt x="9" y="126"/>
                    <a:pt x="8" y="127"/>
                    <a:pt x="8" y="128"/>
                  </a:cubicBezTo>
                  <a:cubicBezTo>
                    <a:pt x="8" y="128"/>
                    <a:pt x="9" y="129"/>
                    <a:pt x="8" y="129"/>
                  </a:cubicBezTo>
                  <a:cubicBezTo>
                    <a:pt x="8" y="129"/>
                    <a:pt x="7" y="130"/>
                    <a:pt x="7" y="130"/>
                  </a:cubicBezTo>
                  <a:cubicBezTo>
                    <a:pt x="6" y="130"/>
                    <a:pt x="5" y="130"/>
                    <a:pt x="5" y="131"/>
                  </a:cubicBezTo>
                  <a:cubicBezTo>
                    <a:pt x="5" y="132"/>
                    <a:pt x="5" y="132"/>
                    <a:pt x="6" y="133"/>
                  </a:cubicBezTo>
                  <a:cubicBezTo>
                    <a:pt x="6" y="133"/>
                    <a:pt x="6" y="134"/>
                    <a:pt x="7" y="134"/>
                  </a:cubicBezTo>
                  <a:cubicBezTo>
                    <a:pt x="7" y="134"/>
                    <a:pt x="8" y="134"/>
                    <a:pt x="8" y="134"/>
                  </a:cubicBezTo>
                  <a:cubicBezTo>
                    <a:pt x="9" y="134"/>
                    <a:pt x="9" y="134"/>
                    <a:pt x="10" y="133"/>
                  </a:cubicBezTo>
                  <a:cubicBezTo>
                    <a:pt x="11" y="133"/>
                    <a:pt x="13" y="133"/>
                    <a:pt x="14" y="133"/>
                  </a:cubicBezTo>
                  <a:cubicBezTo>
                    <a:pt x="15" y="132"/>
                    <a:pt x="16" y="132"/>
                    <a:pt x="17" y="132"/>
                  </a:cubicBezTo>
                  <a:cubicBezTo>
                    <a:pt x="19" y="131"/>
                    <a:pt x="20" y="132"/>
                    <a:pt x="21" y="132"/>
                  </a:cubicBezTo>
                  <a:cubicBezTo>
                    <a:pt x="23" y="132"/>
                    <a:pt x="24" y="131"/>
                    <a:pt x="26" y="132"/>
                  </a:cubicBezTo>
                  <a:cubicBezTo>
                    <a:pt x="27" y="132"/>
                    <a:pt x="28" y="132"/>
                    <a:pt x="29" y="132"/>
                  </a:cubicBezTo>
                  <a:cubicBezTo>
                    <a:pt x="30" y="132"/>
                    <a:pt x="31" y="132"/>
                    <a:pt x="33" y="133"/>
                  </a:cubicBezTo>
                  <a:cubicBezTo>
                    <a:pt x="34" y="133"/>
                    <a:pt x="36" y="133"/>
                    <a:pt x="37" y="134"/>
                  </a:cubicBezTo>
                  <a:cubicBezTo>
                    <a:pt x="38" y="134"/>
                    <a:pt x="40" y="135"/>
                    <a:pt x="41" y="136"/>
                  </a:cubicBezTo>
                  <a:cubicBezTo>
                    <a:pt x="43" y="136"/>
                    <a:pt x="44" y="137"/>
                    <a:pt x="45" y="138"/>
                  </a:cubicBezTo>
                  <a:cubicBezTo>
                    <a:pt x="47" y="138"/>
                    <a:pt x="48" y="139"/>
                    <a:pt x="50" y="139"/>
                  </a:cubicBezTo>
                  <a:cubicBezTo>
                    <a:pt x="51" y="139"/>
                    <a:pt x="51" y="140"/>
                    <a:pt x="52" y="140"/>
                  </a:cubicBezTo>
                  <a:cubicBezTo>
                    <a:pt x="53" y="140"/>
                    <a:pt x="54" y="140"/>
                    <a:pt x="55" y="140"/>
                  </a:cubicBezTo>
                  <a:cubicBezTo>
                    <a:pt x="56" y="140"/>
                    <a:pt x="57" y="141"/>
                    <a:pt x="59" y="141"/>
                  </a:cubicBezTo>
                  <a:cubicBezTo>
                    <a:pt x="60" y="141"/>
                    <a:pt x="61" y="141"/>
                    <a:pt x="62" y="141"/>
                  </a:cubicBezTo>
                  <a:cubicBezTo>
                    <a:pt x="62" y="140"/>
                    <a:pt x="63" y="141"/>
                    <a:pt x="64" y="140"/>
                  </a:cubicBezTo>
                  <a:cubicBezTo>
                    <a:pt x="64" y="141"/>
                    <a:pt x="65" y="140"/>
                    <a:pt x="65" y="140"/>
                  </a:cubicBezTo>
                  <a:cubicBezTo>
                    <a:pt x="65" y="140"/>
                    <a:pt x="66" y="139"/>
                    <a:pt x="66" y="139"/>
                  </a:cubicBezTo>
                  <a:cubicBezTo>
                    <a:pt x="66" y="139"/>
                    <a:pt x="67" y="139"/>
                    <a:pt x="67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8" y="138"/>
                    <a:pt x="67" y="138"/>
                    <a:pt x="67" y="138"/>
                  </a:cubicBezTo>
                  <a:cubicBezTo>
                    <a:pt x="67" y="138"/>
                    <a:pt x="67" y="138"/>
                    <a:pt x="67" y="137"/>
                  </a:cubicBezTo>
                  <a:cubicBezTo>
                    <a:pt x="67" y="137"/>
                    <a:pt x="67" y="137"/>
                    <a:pt x="66" y="137"/>
                  </a:cubicBezTo>
                  <a:cubicBezTo>
                    <a:pt x="66" y="136"/>
                    <a:pt x="65" y="136"/>
                    <a:pt x="65" y="135"/>
                  </a:cubicBezTo>
                  <a:cubicBezTo>
                    <a:pt x="65" y="135"/>
                    <a:pt x="65" y="135"/>
                    <a:pt x="64" y="134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3" y="133"/>
                    <a:pt x="64" y="133"/>
                    <a:pt x="64" y="132"/>
                  </a:cubicBezTo>
                  <a:cubicBezTo>
                    <a:pt x="65" y="132"/>
                    <a:pt x="65" y="131"/>
                    <a:pt x="65" y="130"/>
                  </a:cubicBezTo>
                  <a:cubicBezTo>
                    <a:pt x="65" y="130"/>
                    <a:pt x="65" y="129"/>
                    <a:pt x="65" y="129"/>
                  </a:cubicBezTo>
                  <a:cubicBezTo>
                    <a:pt x="66" y="129"/>
                    <a:pt x="66" y="129"/>
                    <a:pt x="66" y="129"/>
                  </a:cubicBezTo>
                  <a:cubicBezTo>
                    <a:pt x="67" y="130"/>
                    <a:pt x="66" y="132"/>
                    <a:pt x="67" y="132"/>
                  </a:cubicBezTo>
                  <a:cubicBezTo>
                    <a:pt x="67" y="133"/>
                    <a:pt x="69" y="132"/>
                    <a:pt x="69" y="132"/>
                  </a:cubicBezTo>
                  <a:cubicBezTo>
                    <a:pt x="69" y="132"/>
                    <a:pt x="69" y="132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1" y="131"/>
                    <a:pt x="71" y="129"/>
                    <a:pt x="71" y="128"/>
                  </a:cubicBezTo>
                  <a:cubicBezTo>
                    <a:pt x="71" y="127"/>
                    <a:pt x="70" y="125"/>
                    <a:pt x="71" y="125"/>
                  </a:cubicBezTo>
                  <a:cubicBezTo>
                    <a:pt x="72" y="125"/>
                    <a:pt x="72" y="126"/>
                    <a:pt x="72" y="126"/>
                  </a:cubicBezTo>
                  <a:cubicBezTo>
                    <a:pt x="72" y="126"/>
                    <a:pt x="72" y="127"/>
                    <a:pt x="72" y="127"/>
                  </a:cubicBezTo>
                  <a:cubicBezTo>
                    <a:pt x="72" y="127"/>
                    <a:pt x="72" y="128"/>
                    <a:pt x="72" y="128"/>
                  </a:cubicBezTo>
                  <a:cubicBezTo>
                    <a:pt x="73" y="129"/>
                    <a:pt x="73" y="129"/>
                    <a:pt x="73" y="128"/>
                  </a:cubicBezTo>
                  <a:cubicBezTo>
                    <a:pt x="73" y="128"/>
                    <a:pt x="74" y="128"/>
                    <a:pt x="75" y="128"/>
                  </a:cubicBezTo>
                  <a:cubicBezTo>
                    <a:pt x="75" y="127"/>
                    <a:pt x="76" y="127"/>
                    <a:pt x="76" y="127"/>
                  </a:cubicBezTo>
                  <a:cubicBezTo>
                    <a:pt x="76" y="127"/>
                    <a:pt x="77" y="127"/>
                    <a:pt x="77" y="127"/>
                  </a:cubicBezTo>
                  <a:cubicBezTo>
                    <a:pt x="77" y="127"/>
                    <a:pt x="77" y="128"/>
                    <a:pt x="77" y="129"/>
                  </a:cubicBezTo>
                  <a:cubicBezTo>
                    <a:pt x="78" y="130"/>
                    <a:pt x="77" y="131"/>
                    <a:pt x="76" y="131"/>
                  </a:cubicBezTo>
                  <a:cubicBezTo>
                    <a:pt x="76" y="132"/>
                    <a:pt x="75" y="133"/>
                    <a:pt x="75" y="134"/>
                  </a:cubicBezTo>
                  <a:cubicBezTo>
                    <a:pt x="75" y="134"/>
                    <a:pt x="76" y="134"/>
                    <a:pt x="76" y="133"/>
                  </a:cubicBezTo>
                  <a:cubicBezTo>
                    <a:pt x="77" y="133"/>
                    <a:pt x="77" y="133"/>
                    <a:pt x="77" y="133"/>
                  </a:cubicBezTo>
                  <a:cubicBezTo>
                    <a:pt x="78" y="133"/>
                    <a:pt x="79" y="133"/>
                    <a:pt x="79" y="133"/>
                  </a:cubicBezTo>
                  <a:cubicBezTo>
                    <a:pt x="80" y="133"/>
                    <a:pt x="82" y="133"/>
                    <a:pt x="83" y="133"/>
                  </a:cubicBezTo>
                  <a:cubicBezTo>
                    <a:pt x="83" y="133"/>
                    <a:pt x="84" y="133"/>
                    <a:pt x="84" y="134"/>
                  </a:cubicBezTo>
                  <a:cubicBezTo>
                    <a:pt x="84" y="134"/>
                    <a:pt x="83" y="134"/>
                    <a:pt x="83" y="134"/>
                  </a:cubicBezTo>
                  <a:cubicBezTo>
                    <a:pt x="83" y="135"/>
                    <a:pt x="83" y="136"/>
                    <a:pt x="84" y="137"/>
                  </a:cubicBezTo>
                  <a:cubicBezTo>
                    <a:pt x="84" y="137"/>
                    <a:pt x="85" y="137"/>
                    <a:pt x="85" y="137"/>
                  </a:cubicBezTo>
                  <a:cubicBezTo>
                    <a:pt x="86" y="137"/>
                    <a:pt x="86" y="138"/>
                    <a:pt x="86" y="138"/>
                  </a:cubicBezTo>
                  <a:cubicBezTo>
                    <a:pt x="86" y="139"/>
                    <a:pt x="86" y="139"/>
                    <a:pt x="86" y="140"/>
                  </a:cubicBezTo>
                  <a:cubicBezTo>
                    <a:pt x="87" y="140"/>
                    <a:pt x="87" y="141"/>
                    <a:pt x="87" y="141"/>
                  </a:cubicBezTo>
                  <a:cubicBezTo>
                    <a:pt x="87" y="141"/>
                    <a:pt x="87" y="142"/>
                    <a:pt x="87" y="142"/>
                  </a:cubicBezTo>
                  <a:cubicBezTo>
                    <a:pt x="87" y="143"/>
                    <a:pt x="88" y="143"/>
                    <a:pt x="88" y="143"/>
                  </a:cubicBezTo>
                  <a:cubicBezTo>
                    <a:pt x="89" y="144"/>
                    <a:pt x="89" y="144"/>
                    <a:pt x="90" y="144"/>
                  </a:cubicBezTo>
                  <a:cubicBezTo>
                    <a:pt x="91" y="144"/>
                    <a:pt x="91" y="143"/>
                    <a:pt x="92" y="142"/>
                  </a:cubicBezTo>
                  <a:cubicBezTo>
                    <a:pt x="92" y="142"/>
                    <a:pt x="93" y="142"/>
                    <a:pt x="94" y="142"/>
                  </a:cubicBezTo>
                  <a:cubicBezTo>
                    <a:pt x="94" y="143"/>
                    <a:pt x="95" y="143"/>
                    <a:pt x="95" y="143"/>
                  </a:cubicBezTo>
                  <a:cubicBezTo>
                    <a:pt x="95" y="142"/>
                    <a:pt x="95" y="141"/>
                    <a:pt x="95" y="141"/>
                  </a:cubicBezTo>
                  <a:cubicBezTo>
                    <a:pt x="96" y="141"/>
                    <a:pt x="97" y="140"/>
                    <a:pt x="98" y="140"/>
                  </a:cubicBezTo>
                  <a:cubicBezTo>
                    <a:pt x="99" y="139"/>
                    <a:pt x="100" y="139"/>
                    <a:pt x="100" y="140"/>
                  </a:cubicBezTo>
                  <a:cubicBezTo>
                    <a:pt x="101" y="140"/>
                    <a:pt x="102" y="141"/>
                    <a:pt x="102" y="141"/>
                  </a:cubicBezTo>
                  <a:cubicBezTo>
                    <a:pt x="102" y="141"/>
                    <a:pt x="101" y="141"/>
                    <a:pt x="101" y="142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98" y="143"/>
                    <a:pt x="98" y="143"/>
                    <a:pt x="97" y="143"/>
                  </a:cubicBezTo>
                  <a:cubicBezTo>
                    <a:pt x="97" y="143"/>
                    <a:pt x="95" y="143"/>
                    <a:pt x="96" y="144"/>
                  </a:cubicBezTo>
                  <a:cubicBezTo>
                    <a:pt x="97" y="144"/>
                    <a:pt x="97" y="145"/>
                    <a:pt x="97" y="146"/>
                  </a:cubicBezTo>
                  <a:cubicBezTo>
                    <a:pt x="98" y="147"/>
                    <a:pt x="98" y="147"/>
                    <a:pt x="98" y="148"/>
                  </a:cubicBezTo>
                  <a:cubicBezTo>
                    <a:pt x="98" y="148"/>
                    <a:pt x="99" y="148"/>
                    <a:pt x="99" y="149"/>
                  </a:cubicBezTo>
                  <a:cubicBezTo>
                    <a:pt x="100" y="149"/>
                    <a:pt x="101" y="150"/>
                    <a:pt x="100" y="150"/>
                  </a:cubicBezTo>
                  <a:cubicBezTo>
                    <a:pt x="99" y="150"/>
                    <a:pt x="98" y="150"/>
                    <a:pt x="98" y="150"/>
                  </a:cubicBezTo>
                  <a:cubicBezTo>
                    <a:pt x="97" y="150"/>
                    <a:pt x="96" y="149"/>
                    <a:pt x="95" y="150"/>
                  </a:cubicBezTo>
                  <a:cubicBezTo>
                    <a:pt x="95" y="150"/>
                    <a:pt x="95" y="150"/>
                    <a:pt x="94" y="151"/>
                  </a:cubicBezTo>
                  <a:cubicBezTo>
                    <a:pt x="94" y="151"/>
                    <a:pt x="94" y="151"/>
                    <a:pt x="94" y="151"/>
                  </a:cubicBezTo>
                  <a:cubicBezTo>
                    <a:pt x="93" y="151"/>
                    <a:pt x="95" y="152"/>
                    <a:pt x="95" y="152"/>
                  </a:cubicBezTo>
                  <a:cubicBezTo>
                    <a:pt x="95" y="152"/>
                    <a:pt x="95" y="153"/>
                    <a:pt x="96" y="153"/>
                  </a:cubicBezTo>
                  <a:cubicBezTo>
                    <a:pt x="96" y="153"/>
                    <a:pt x="96" y="153"/>
                    <a:pt x="97" y="153"/>
                  </a:cubicBezTo>
                  <a:cubicBezTo>
                    <a:pt x="97" y="153"/>
                    <a:pt x="98" y="153"/>
                    <a:pt x="99" y="153"/>
                  </a:cubicBezTo>
                  <a:cubicBezTo>
                    <a:pt x="100" y="154"/>
                    <a:pt x="100" y="154"/>
                    <a:pt x="101" y="154"/>
                  </a:cubicBezTo>
                  <a:cubicBezTo>
                    <a:pt x="101" y="154"/>
                    <a:pt x="102" y="154"/>
                    <a:pt x="102" y="155"/>
                  </a:cubicBezTo>
                  <a:cubicBezTo>
                    <a:pt x="102" y="155"/>
                    <a:pt x="103" y="155"/>
                    <a:pt x="103" y="155"/>
                  </a:cubicBezTo>
                  <a:cubicBezTo>
                    <a:pt x="104" y="155"/>
                    <a:pt x="105" y="155"/>
                    <a:pt x="104" y="15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3" y="154"/>
                    <a:pt x="103" y="154"/>
                    <a:pt x="103" y="153"/>
                  </a:cubicBezTo>
                  <a:cubicBezTo>
                    <a:pt x="103" y="153"/>
                    <a:pt x="103" y="153"/>
                    <a:pt x="103" y="152"/>
                  </a:cubicBezTo>
                  <a:cubicBezTo>
                    <a:pt x="103" y="152"/>
                    <a:pt x="104" y="151"/>
                    <a:pt x="104" y="151"/>
                  </a:cubicBezTo>
                  <a:cubicBezTo>
                    <a:pt x="105" y="151"/>
                    <a:pt x="105" y="150"/>
                    <a:pt x="106" y="149"/>
                  </a:cubicBezTo>
                  <a:cubicBezTo>
                    <a:pt x="106" y="149"/>
                    <a:pt x="107" y="149"/>
                    <a:pt x="107" y="149"/>
                  </a:cubicBezTo>
                  <a:cubicBezTo>
                    <a:pt x="108" y="149"/>
                    <a:pt x="108" y="150"/>
                    <a:pt x="108" y="150"/>
                  </a:cubicBezTo>
                  <a:cubicBezTo>
                    <a:pt x="108" y="151"/>
                    <a:pt x="109" y="151"/>
                    <a:pt x="109" y="152"/>
                  </a:cubicBezTo>
                  <a:cubicBezTo>
                    <a:pt x="110" y="152"/>
                    <a:pt x="111" y="152"/>
                    <a:pt x="111" y="152"/>
                  </a:cubicBezTo>
                  <a:cubicBezTo>
                    <a:pt x="111" y="153"/>
                    <a:pt x="111" y="153"/>
                    <a:pt x="111" y="154"/>
                  </a:cubicBezTo>
                  <a:cubicBezTo>
                    <a:pt x="110" y="154"/>
                    <a:pt x="110" y="154"/>
                    <a:pt x="109" y="154"/>
                  </a:cubicBezTo>
                  <a:cubicBezTo>
                    <a:pt x="109" y="154"/>
                    <a:pt x="107" y="155"/>
                    <a:pt x="108" y="156"/>
                  </a:cubicBezTo>
                  <a:cubicBezTo>
                    <a:pt x="108" y="156"/>
                    <a:pt x="108" y="156"/>
                    <a:pt x="108" y="157"/>
                  </a:cubicBezTo>
                  <a:cubicBezTo>
                    <a:pt x="109" y="157"/>
                    <a:pt x="109" y="157"/>
                    <a:pt x="109" y="157"/>
                  </a:cubicBezTo>
                  <a:cubicBezTo>
                    <a:pt x="110" y="158"/>
                    <a:pt x="110" y="157"/>
                    <a:pt x="111" y="157"/>
                  </a:cubicBezTo>
                  <a:cubicBezTo>
                    <a:pt x="111" y="157"/>
                    <a:pt x="112" y="157"/>
                    <a:pt x="113" y="156"/>
                  </a:cubicBezTo>
                  <a:cubicBezTo>
                    <a:pt x="113" y="156"/>
                    <a:pt x="114" y="156"/>
                    <a:pt x="114" y="156"/>
                  </a:cubicBezTo>
                  <a:cubicBezTo>
                    <a:pt x="115" y="155"/>
                    <a:pt x="115" y="154"/>
                    <a:pt x="116" y="153"/>
                  </a:cubicBezTo>
                  <a:cubicBezTo>
                    <a:pt x="116" y="153"/>
                    <a:pt x="116" y="152"/>
                    <a:pt x="117" y="152"/>
                  </a:cubicBezTo>
                  <a:cubicBezTo>
                    <a:pt x="117" y="152"/>
                    <a:pt x="118" y="153"/>
                    <a:pt x="118" y="153"/>
                  </a:cubicBezTo>
                  <a:cubicBezTo>
                    <a:pt x="118" y="154"/>
                    <a:pt x="119" y="154"/>
                    <a:pt x="119" y="153"/>
                  </a:cubicBezTo>
                  <a:cubicBezTo>
                    <a:pt x="119" y="153"/>
                    <a:pt x="119" y="153"/>
                    <a:pt x="119" y="152"/>
                  </a:cubicBezTo>
                  <a:cubicBezTo>
                    <a:pt x="119" y="152"/>
                    <a:pt x="119" y="151"/>
                    <a:pt x="119" y="151"/>
                  </a:cubicBezTo>
                  <a:cubicBezTo>
                    <a:pt x="119" y="150"/>
                    <a:pt x="119" y="150"/>
                    <a:pt x="120" y="150"/>
                  </a:cubicBezTo>
                  <a:cubicBezTo>
                    <a:pt x="120" y="150"/>
                    <a:pt x="122" y="150"/>
                    <a:pt x="121" y="149"/>
                  </a:cubicBezTo>
                  <a:cubicBezTo>
                    <a:pt x="121" y="149"/>
                    <a:pt x="121" y="149"/>
                    <a:pt x="121" y="149"/>
                  </a:cubicBezTo>
                  <a:cubicBezTo>
                    <a:pt x="121" y="148"/>
                    <a:pt x="122" y="148"/>
                    <a:pt x="122" y="149"/>
                  </a:cubicBezTo>
                  <a:cubicBezTo>
                    <a:pt x="123" y="149"/>
                    <a:pt x="123" y="149"/>
                    <a:pt x="123" y="149"/>
                  </a:cubicBezTo>
                  <a:cubicBezTo>
                    <a:pt x="124" y="150"/>
                    <a:pt x="124" y="150"/>
                    <a:pt x="125" y="150"/>
                  </a:cubicBezTo>
                  <a:cubicBezTo>
                    <a:pt x="126" y="150"/>
                    <a:pt x="127" y="150"/>
                    <a:pt x="128" y="151"/>
                  </a:cubicBezTo>
                  <a:cubicBezTo>
                    <a:pt x="129" y="151"/>
                    <a:pt x="129" y="152"/>
                    <a:pt x="130" y="152"/>
                  </a:cubicBezTo>
                  <a:cubicBezTo>
                    <a:pt x="131" y="153"/>
                    <a:pt x="131" y="153"/>
                    <a:pt x="131" y="154"/>
                  </a:cubicBezTo>
                  <a:cubicBezTo>
                    <a:pt x="131" y="154"/>
                    <a:pt x="131" y="155"/>
                    <a:pt x="131" y="155"/>
                  </a:cubicBezTo>
                  <a:cubicBezTo>
                    <a:pt x="132" y="155"/>
                    <a:pt x="132" y="155"/>
                    <a:pt x="132" y="156"/>
                  </a:cubicBezTo>
                  <a:cubicBezTo>
                    <a:pt x="132" y="156"/>
                    <a:pt x="131" y="158"/>
                    <a:pt x="132" y="158"/>
                  </a:cubicBezTo>
                  <a:cubicBezTo>
                    <a:pt x="132" y="159"/>
                    <a:pt x="133" y="158"/>
                    <a:pt x="134" y="158"/>
                  </a:cubicBezTo>
                  <a:cubicBezTo>
                    <a:pt x="134" y="157"/>
                    <a:pt x="135" y="157"/>
                    <a:pt x="136" y="156"/>
                  </a:cubicBezTo>
                  <a:cubicBezTo>
                    <a:pt x="136" y="155"/>
                    <a:pt x="136" y="154"/>
                    <a:pt x="136" y="153"/>
                  </a:cubicBezTo>
                  <a:cubicBezTo>
                    <a:pt x="136" y="152"/>
                    <a:pt x="136" y="151"/>
                    <a:pt x="136" y="150"/>
                  </a:cubicBezTo>
                  <a:cubicBezTo>
                    <a:pt x="136" y="149"/>
                    <a:pt x="136" y="148"/>
                    <a:pt x="136" y="147"/>
                  </a:cubicBezTo>
                  <a:cubicBezTo>
                    <a:pt x="137" y="146"/>
                    <a:pt x="137" y="145"/>
                    <a:pt x="136" y="144"/>
                  </a:cubicBezTo>
                  <a:cubicBezTo>
                    <a:pt x="136" y="144"/>
                    <a:pt x="134" y="144"/>
                    <a:pt x="134" y="144"/>
                  </a:cubicBezTo>
                  <a:cubicBezTo>
                    <a:pt x="133" y="143"/>
                    <a:pt x="133" y="143"/>
                    <a:pt x="133" y="143"/>
                  </a:cubicBezTo>
                  <a:cubicBezTo>
                    <a:pt x="132" y="143"/>
                    <a:pt x="132" y="142"/>
                    <a:pt x="132" y="142"/>
                  </a:cubicBezTo>
                  <a:cubicBezTo>
                    <a:pt x="132" y="141"/>
                    <a:pt x="133" y="141"/>
                    <a:pt x="133" y="141"/>
                  </a:cubicBezTo>
                  <a:cubicBezTo>
                    <a:pt x="134" y="140"/>
                    <a:pt x="134" y="139"/>
                    <a:pt x="134" y="139"/>
                  </a:cubicBezTo>
                  <a:cubicBezTo>
                    <a:pt x="134" y="138"/>
                    <a:pt x="134" y="138"/>
                    <a:pt x="134" y="138"/>
                  </a:cubicBezTo>
                  <a:cubicBezTo>
                    <a:pt x="134" y="138"/>
                    <a:pt x="133" y="138"/>
                    <a:pt x="133" y="137"/>
                  </a:cubicBezTo>
                  <a:cubicBezTo>
                    <a:pt x="133" y="137"/>
                    <a:pt x="133" y="137"/>
                    <a:pt x="132" y="136"/>
                  </a:cubicBezTo>
                  <a:cubicBezTo>
                    <a:pt x="132" y="136"/>
                    <a:pt x="132" y="135"/>
                    <a:pt x="131" y="136"/>
                  </a:cubicBezTo>
                  <a:cubicBezTo>
                    <a:pt x="131" y="136"/>
                    <a:pt x="131" y="136"/>
                    <a:pt x="130" y="136"/>
                  </a:cubicBezTo>
                  <a:cubicBezTo>
                    <a:pt x="129" y="137"/>
                    <a:pt x="129" y="136"/>
                    <a:pt x="129" y="136"/>
                  </a:cubicBezTo>
                  <a:cubicBezTo>
                    <a:pt x="129" y="136"/>
                    <a:pt x="129" y="136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4"/>
                    <a:pt x="127" y="133"/>
                    <a:pt x="128" y="133"/>
                  </a:cubicBezTo>
                  <a:cubicBezTo>
                    <a:pt x="128" y="132"/>
                    <a:pt x="129" y="132"/>
                    <a:pt x="129" y="132"/>
                  </a:cubicBezTo>
                  <a:cubicBezTo>
                    <a:pt x="130" y="132"/>
                    <a:pt x="131" y="132"/>
                    <a:pt x="131" y="131"/>
                  </a:cubicBezTo>
                  <a:cubicBezTo>
                    <a:pt x="132" y="131"/>
                    <a:pt x="132" y="131"/>
                    <a:pt x="132" y="131"/>
                  </a:cubicBezTo>
                  <a:cubicBezTo>
                    <a:pt x="133" y="131"/>
                    <a:pt x="133" y="130"/>
                    <a:pt x="133" y="130"/>
                  </a:cubicBezTo>
                  <a:cubicBezTo>
                    <a:pt x="134" y="130"/>
                    <a:pt x="133" y="131"/>
                    <a:pt x="133" y="132"/>
                  </a:cubicBezTo>
                  <a:cubicBezTo>
                    <a:pt x="133" y="132"/>
                    <a:pt x="133" y="133"/>
                    <a:pt x="133" y="134"/>
                  </a:cubicBezTo>
                  <a:cubicBezTo>
                    <a:pt x="133" y="134"/>
                    <a:pt x="132" y="134"/>
                    <a:pt x="133" y="135"/>
                  </a:cubicBezTo>
                  <a:cubicBezTo>
                    <a:pt x="133" y="135"/>
                    <a:pt x="133" y="135"/>
                    <a:pt x="134" y="136"/>
                  </a:cubicBezTo>
                  <a:cubicBezTo>
                    <a:pt x="135" y="136"/>
                    <a:pt x="135" y="136"/>
                    <a:pt x="135" y="137"/>
                  </a:cubicBezTo>
                  <a:cubicBezTo>
                    <a:pt x="136" y="138"/>
                    <a:pt x="135" y="139"/>
                    <a:pt x="135" y="139"/>
                  </a:cubicBezTo>
                  <a:cubicBezTo>
                    <a:pt x="136" y="141"/>
                    <a:pt x="137" y="142"/>
                    <a:pt x="139" y="143"/>
                  </a:cubicBezTo>
                  <a:cubicBezTo>
                    <a:pt x="139" y="144"/>
                    <a:pt x="141" y="144"/>
                    <a:pt x="142" y="144"/>
                  </a:cubicBezTo>
                  <a:cubicBezTo>
                    <a:pt x="143" y="144"/>
                    <a:pt x="144" y="144"/>
                    <a:pt x="144" y="144"/>
                  </a:cubicBezTo>
                  <a:cubicBezTo>
                    <a:pt x="145" y="144"/>
                    <a:pt x="145" y="144"/>
                    <a:pt x="145" y="144"/>
                  </a:cubicBezTo>
                  <a:cubicBezTo>
                    <a:pt x="145" y="145"/>
                    <a:pt x="145" y="146"/>
                    <a:pt x="146" y="146"/>
                  </a:cubicBezTo>
                  <a:cubicBezTo>
                    <a:pt x="146" y="146"/>
                    <a:pt x="147" y="146"/>
                    <a:pt x="147" y="146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9" y="147"/>
                    <a:pt x="150" y="147"/>
                    <a:pt x="150" y="147"/>
                  </a:cubicBezTo>
                  <a:cubicBezTo>
                    <a:pt x="151" y="147"/>
                    <a:pt x="152" y="147"/>
                    <a:pt x="153" y="147"/>
                  </a:cubicBezTo>
                  <a:cubicBezTo>
                    <a:pt x="154" y="147"/>
                    <a:pt x="154" y="147"/>
                    <a:pt x="154" y="148"/>
                  </a:cubicBezTo>
                  <a:cubicBezTo>
                    <a:pt x="155" y="148"/>
                    <a:pt x="155" y="149"/>
                    <a:pt x="156" y="149"/>
                  </a:cubicBezTo>
                  <a:cubicBezTo>
                    <a:pt x="156" y="149"/>
                    <a:pt x="156" y="149"/>
                    <a:pt x="157" y="150"/>
                  </a:cubicBezTo>
                  <a:cubicBezTo>
                    <a:pt x="157" y="150"/>
                    <a:pt x="158" y="149"/>
                    <a:pt x="158" y="149"/>
                  </a:cubicBezTo>
                  <a:cubicBezTo>
                    <a:pt x="158" y="149"/>
                    <a:pt x="158" y="148"/>
                    <a:pt x="159" y="149"/>
                  </a:cubicBezTo>
                  <a:cubicBezTo>
                    <a:pt x="159" y="149"/>
                    <a:pt x="159" y="149"/>
                    <a:pt x="159" y="149"/>
                  </a:cubicBezTo>
                  <a:cubicBezTo>
                    <a:pt x="159" y="149"/>
                    <a:pt x="160" y="149"/>
                    <a:pt x="160" y="149"/>
                  </a:cubicBezTo>
                  <a:cubicBezTo>
                    <a:pt x="160" y="150"/>
                    <a:pt x="161" y="150"/>
                    <a:pt x="162" y="151"/>
                  </a:cubicBezTo>
                  <a:cubicBezTo>
                    <a:pt x="162" y="151"/>
                    <a:pt x="163" y="151"/>
                    <a:pt x="163" y="151"/>
                  </a:cubicBezTo>
                  <a:cubicBezTo>
                    <a:pt x="163" y="151"/>
                    <a:pt x="163" y="151"/>
                    <a:pt x="163" y="151"/>
                  </a:cubicBezTo>
                  <a:cubicBezTo>
                    <a:pt x="164" y="151"/>
                    <a:pt x="164" y="150"/>
                    <a:pt x="164" y="150"/>
                  </a:cubicBezTo>
                  <a:cubicBezTo>
                    <a:pt x="165" y="150"/>
                    <a:pt x="165" y="150"/>
                    <a:pt x="165" y="150"/>
                  </a:cubicBezTo>
                  <a:cubicBezTo>
                    <a:pt x="165" y="149"/>
                    <a:pt x="164" y="149"/>
                    <a:pt x="163" y="149"/>
                  </a:cubicBezTo>
                  <a:cubicBezTo>
                    <a:pt x="163" y="149"/>
                    <a:pt x="162" y="149"/>
                    <a:pt x="162" y="149"/>
                  </a:cubicBezTo>
                  <a:cubicBezTo>
                    <a:pt x="161" y="149"/>
                    <a:pt x="161" y="148"/>
                    <a:pt x="160" y="148"/>
                  </a:cubicBezTo>
                  <a:cubicBezTo>
                    <a:pt x="160" y="147"/>
                    <a:pt x="160" y="147"/>
                    <a:pt x="159" y="147"/>
                  </a:cubicBezTo>
                  <a:cubicBezTo>
                    <a:pt x="158" y="147"/>
                    <a:pt x="158" y="147"/>
                    <a:pt x="158" y="147"/>
                  </a:cubicBezTo>
                  <a:cubicBezTo>
                    <a:pt x="157" y="148"/>
                    <a:pt x="157" y="148"/>
                    <a:pt x="156" y="148"/>
                  </a:cubicBezTo>
                  <a:cubicBezTo>
                    <a:pt x="156" y="148"/>
                    <a:pt x="155" y="148"/>
                    <a:pt x="155" y="148"/>
                  </a:cubicBezTo>
                  <a:cubicBezTo>
                    <a:pt x="154" y="147"/>
                    <a:pt x="154" y="147"/>
                    <a:pt x="155" y="146"/>
                  </a:cubicBezTo>
                  <a:cubicBezTo>
                    <a:pt x="155" y="146"/>
                    <a:pt x="155" y="145"/>
                    <a:pt x="154" y="144"/>
                  </a:cubicBezTo>
                  <a:cubicBezTo>
                    <a:pt x="154" y="143"/>
                    <a:pt x="154" y="144"/>
                    <a:pt x="153" y="143"/>
                  </a:cubicBezTo>
                  <a:cubicBezTo>
                    <a:pt x="153" y="143"/>
                    <a:pt x="153" y="142"/>
                    <a:pt x="152" y="142"/>
                  </a:cubicBezTo>
                  <a:cubicBezTo>
                    <a:pt x="152" y="141"/>
                    <a:pt x="152" y="142"/>
                    <a:pt x="151" y="141"/>
                  </a:cubicBezTo>
                  <a:cubicBezTo>
                    <a:pt x="151" y="141"/>
                    <a:pt x="150" y="141"/>
                    <a:pt x="150" y="141"/>
                  </a:cubicBezTo>
                  <a:cubicBezTo>
                    <a:pt x="150" y="140"/>
                    <a:pt x="149" y="140"/>
                    <a:pt x="149" y="139"/>
                  </a:cubicBezTo>
                  <a:cubicBezTo>
                    <a:pt x="149" y="139"/>
                    <a:pt x="149" y="138"/>
                    <a:pt x="149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7" y="138"/>
                    <a:pt x="147" y="138"/>
                    <a:pt x="147" y="137"/>
                  </a:cubicBezTo>
                  <a:cubicBezTo>
                    <a:pt x="147" y="137"/>
                    <a:pt x="146" y="137"/>
                    <a:pt x="146" y="137"/>
                  </a:cubicBezTo>
                  <a:cubicBezTo>
                    <a:pt x="146" y="136"/>
                    <a:pt x="146" y="136"/>
                    <a:pt x="146" y="136"/>
                  </a:cubicBezTo>
                  <a:cubicBezTo>
                    <a:pt x="147" y="136"/>
                    <a:pt x="147" y="136"/>
                    <a:pt x="147" y="135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5"/>
                    <a:pt x="148" y="135"/>
                    <a:pt x="148" y="136"/>
                  </a:cubicBezTo>
                  <a:cubicBezTo>
                    <a:pt x="148" y="136"/>
                    <a:pt x="148" y="137"/>
                    <a:pt x="149" y="137"/>
                  </a:cubicBezTo>
                  <a:cubicBezTo>
                    <a:pt x="149" y="137"/>
                    <a:pt x="150" y="138"/>
                    <a:pt x="150" y="138"/>
                  </a:cubicBezTo>
                  <a:cubicBezTo>
                    <a:pt x="151" y="138"/>
                    <a:pt x="151" y="137"/>
                    <a:pt x="152" y="137"/>
                  </a:cubicBezTo>
                  <a:cubicBezTo>
                    <a:pt x="152" y="137"/>
                    <a:pt x="153" y="137"/>
                    <a:pt x="153" y="136"/>
                  </a:cubicBezTo>
                  <a:cubicBezTo>
                    <a:pt x="153" y="136"/>
                    <a:pt x="153" y="136"/>
                    <a:pt x="154" y="136"/>
                  </a:cubicBezTo>
                  <a:cubicBezTo>
                    <a:pt x="154" y="136"/>
                    <a:pt x="155" y="136"/>
                    <a:pt x="154" y="136"/>
                  </a:cubicBezTo>
                  <a:cubicBezTo>
                    <a:pt x="154" y="135"/>
                    <a:pt x="153" y="136"/>
                    <a:pt x="153" y="135"/>
                  </a:cubicBezTo>
                  <a:cubicBezTo>
                    <a:pt x="153" y="135"/>
                    <a:pt x="153" y="135"/>
                    <a:pt x="153" y="135"/>
                  </a:cubicBezTo>
                  <a:cubicBezTo>
                    <a:pt x="152" y="135"/>
                    <a:pt x="152" y="134"/>
                    <a:pt x="152" y="134"/>
                  </a:cubicBezTo>
                  <a:cubicBezTo>
                    <a:pt x="152" y="134"/>
                    <a:pt x="153" y="134"/>
                    <a:pt x="153" y="134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4" y="132"/>
                    <a:pt x="154" y="132"/>
                    <a:pt x="154" y="132"/>
                  </a:cubicBezTo>
                  <a:cubicBezTo>
                    <a:pt x="153" y="131"/>
                    <a:pt x="153" y="131"/>
                    <a:pt x="153" y="131"/>
                  </a:cubicBezTo>
                  <a:cubicBezTo>
                    <a:pt x="153" y="131"/>
                    <a:pt x="153" y="130"/>
                    <a:pt x="153" y="130"/>
                  </a:cubicBezTo>
                  <a:cubicBezTo>
                    <a:pt x="153" y="130"/>
                    <a:pt x="154" y="130"/>
                    <a:pt x="154" y="131"/>
                  </a:cubicBezTo>
                  <a:cubicBezTo>
                    <a:pt x="154" y="131"/>
                    <a:pt x="155" y="131"/>
                    <a:pt x="155" y="132"/>
                  </a:cubicBezTo>
                  <a:cubicBezTo>
                    <a:pt x="155" y="133"/>
                    <a:pt x="156" y="133"/>
                    <a:pt x="157" y="134"/>
                  </a:cubicBezTo>
                  <a:cubicBezTo>
                    <a:pt x="157" y="134"/>
                    <a:pt x="158" y="135"/>
                    <a:pt x="159" y="135"/>
                  </a:cubicBezTo>
                  <a:cubicBezTo>
                    <a:pt x="159" y="135"/>
                    <a:pt x="159" y="134"/>
                    <a:pt x="159" y="133"/>
                  </a:cubicBezTo>
                  <a:cubicBezTo>
                    <a:pt x="159" y="133"/>
                    <a:pt x="159" y="132"/>
                    <a:pt x="159" y="132"/>
                  </a:cubicBezTo>
                  <a:cubicBezTo>
                    <a:pt x="159" y="131"/>
                    <a:pt x="160" y="130"/>
                    <a:pt x="160" y="129"/>
                  </a:cubicBezTo>
                  <a:cubicBezTo>
                    <a:pt x="160" y="129"/>
                    <a:pt x="160" y="128"/>
                    <a:pt x="160" y="127"/>
                  </a:cubicBezTo>
                  <a:cubicBezTo>
                    <a:pt x="160" y="127"/>
                    <a:pt x="161" y="127"/>
                    <a:pt x="161" y="126"/>
                  </a:cubicBezTo>
                  <a:cubicBezTo>
                    <a:pt x="161" y="126"/>
                    <a:pt x="161" y="125"/>
                    <a:pt x="161" y="125"/>
                  </a:cubicBezTo>
                  <a:cubicBezTo>
                    <a:pt x="161" y="124"/>
                    <a:pt x="160" y="124"/>
                    <a:pt x="159" y="124"/>
                  </a:cubicBezTo>
                  <a:cubicBezTo>
                    <a:pt x="159" y="124"/>
                    <a:pt x="159" y="124"/>
                    <a:pt x="159" y="123"/>
                  </a:cubicBezTo>
                  <a:cubicBezTo>
                    <a:pt x="159" y="123"/>
                    <a:pt x="159" y="123"/>
                    <a:pt x="158" y="123"/>
                  </a:cubicBezTo>
                  <a:cubicBezTo>
                    <a:pt x="158" y="122"/>
                    <a:pt x="159" y="121"/>
                    <a:pt x="159" y="120"/>
                  </a:cubicBezTo>
                  <a:cubicBezTo>
                    <a:pt x="158" y="121"/>
                    <a:pt x="157" y="121"/>
                    <a:pt x="156" y="122"/>
                  </a:cubicBezTo>
                  <a:cubicBezTo>
                    <a:pt x="156" y="122"/>
                    <a:pt x="155" y="122"/>
                    <a:pt x="155" y="123"/>
                  </a:cubicBezTo>
                  <a:cubicBezTo>
                    <a:pt x="155" y="123"/>
                    <a:pt x="155" y="124"/>
                    <a:pt x="155" y="124"/>
                  </a:cubicBezTo>
                  <a:cubicBezTo>
                    <a:pt x="156" y="125"/>
                    <a:pt x="157" y="125"/>
                    <a:pt x="156" y="126"/>
                  </a:cubicBezTo>
                  <a:cubicBezTo>
                    <a:pt x="155" y="127"/>
                    <a:pt x="155" y="127"/>
                    <a:pt x="155" y="128"/>
                  </a:cubicBezTo>
                  <a:cubicBezTo>
                    <a:pt x="155" y="128"/>
                    <a:pt x="155" y="128"/>
                    <a:pt x="154" y="128"/>
                  </a:cubicBezTo>
                  <a:cubicBezTo>
                    <a:pt x="153" y="129"/>
                    <a:pt x="153" y="128"/>
                    <a:pt x="152" y="128"/>
                  </a:cubicBezTo>
                  <a:cubicBezTo>
                    <a:pt x="151" y="127"/>
                    <a:pt x="150" y="128"/>
                    <a:pt x="149" y="127"/>
                  </a:cubicBezTo>
                  <a:cubicBezTo>
                    <a:pt x="148" y="126"/>
                    <a:pt x="147" y="126"/>
                    <a:pt x="146" y="126"/>
                  </a:cubicBezTo>
                  <a:cubicBezTo>
                    <a:pt x="146" y="125"/>
                    <a:pt x="145" y="125"/>
                    <a:pt x="145" y="125"/>
                  </a:cubicBezTo>
                  <a:cubicBezTo>
                    <a:pt x="145" y="124"/>
                    <a:pt x="144" y="124"/>
                    <a:pt x="144" y="124"/>
                  </a:cubicBezTo>
                  <a:cubicBezTo>
                    <a:pt x="144" y="123"/>
                    <a:pt x="145" y="122"/>
                    <a:pt x="145" y="122"/>
                  </a:cubicBezTo>
                  <a:cubicBezTo>
                    <a:pt x="145" y="122"/>
                    <a:pt x="145" y="121"/>
                    <a:pt x="146" y="121"/>
                  </a:cubicBezTo>
                  <a:cubicBezTo>
                    <a:pt x="146" y="121"/>
                    <a:pt x="146" y="121"/>
                    <a:pt x="147" y="120"/>
                  </a:cubicBezTo>
                  <a:cubicBezTo>
                    <a:pt x="147" y="120"/>
                    <a:pt x="147" y="120"/>
                    <a:pt x="148" y="120"/>
                  </a:cubicBezTo>
                  <a:cubicBezTo>
                    <a:pt x="148" y="119"/>
                    <a:pt x="149" y="119"/>
                    <a:pt x="149" y="119"/>
                  </a:cubicBezTo>
                  <a:cubicBezTo>
                    <a:pt x="150" y="118"/>
                    <a:pt x="150" y="118"/>
                    <a:pt x="149" y="117"/>
                  </a:cubicBezTo>
                  <a:cubicBezTo>
                    <a:pt x="149" y="117"/>
                    <a:pt x="149" y="116"/>
                    <a:pt x="148" y="116"/>
                  </a:cubicBezTo>
                  <a:cubicBezTo>
                    <a:pt x="148" y="116"/>
                    <a:pt x="147" y="117"/>
                    <a:pt x="147" y="117"/>
                  </a:cubicBezTo>
                  <a:cubicBezTo>
                    <a:pt x="146" y="117"/>
                    <a:pt x="145" y="118"/>
                    <a:pt x="145" y="118"/>
                  </a:cubicBezTo>
                  <a:cubicBezTo>
                    <a:pt x="144" y="118"/>
                    <a:pt x="144" y="118"/>
                    <a:pt x="144" y="118"/>
                  </a:cubicBezTo>
                  <a:cubicBezTo>
                    <a:pt x="144" y="118"/>
                    <a:pt x="144" y="118"/>
                    <a:pt x="143" y="118"/>
                  </a:cubicBezTo>
                  <a:cubicBezTo>
                    <a:pt x="143" y="118"/>
                    <a:pt x="142" y="119"/>
                    <a:pt x="142" y="119"/>
                  </a:cubicBezTo>
                  <a:cubicBezTo>
                    <a:pt x="141" y="119"/>
                    <a:pt x="141" y="120"/>
                    <a:pt x="140" y="120"/>
                  </a:cubicBezTo>
                  <a:cubicBezTo>
                    <a:pt x="139" y="120"/>
                    <a:pt x="139" y="120"/>
                    <a:pt x="138" y="121"/>
                  </a:cubicBezTo>
                  <a:cubicBezTo>
                    <a:pt x="137" y="121"/>
                    <a:pt x="137" y="121"/>
                    <a:pt x="136" y="121"/>
                  </a:cubicBezTo>
                  <a:cubicBezTo>
                    <a:pt x="135" y="121"/>
                    <a:pt x="133" y="121"/>
                    <a:pt x="132" y="121"/>
                  </a:cubicBezTo>
                  <a:cubicBezTo>
                    <a:pt x="131" y="121"/>
                    <a:pt x="130" y="121"/>
                    <a:pt x="129" y="121"/>
                  </a:cubicBezTo>
                  <a:cubicBezTo>
                    <a:pt x="129" y="121"/>
                    <a:pt x="129" y="121"/>
                    <a:pt x="129" y="121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27" y="120"/>
                    <a:pt x="127" y="120"/>
                    <a:pt x="126" y="119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5" y="118"/>
                    <a:pt x="125" y="118"/>
                    <a:pt x="125" y="118"/>
                  </a:cubicBezTo>
                  <a:cubicBezTo>
                    <a:pt x="124" y="118"/>
                    <a:pt x="125" y="117"/>
                    <a:pt x="125" y="116"/>
                  </a:cubicBezTo>
                  <a:cubicBezTo>
                    <a:pt x="125" y="115"/>
                    <a:pt x="125" y="115"/>
                    <a:pt x="126" y="114"/>
                  </a:cubicBezTo>
                  <a:cubicBezTo>
                    <a:pt x="127" y="113"/>
                    <a:pt x="128" y="112"/>
                    <a:pt x="128" y="112"/>
                  </a:cubicBezTo>
                  <a:cubicBezTo>
                    <a:pt x="128" y="111"/>
                    <a:pt x="126" y="111"/>
                    <a:pt x="126" y="111"/>
                  </a:cubicBezTo>
                  <a:cubicBezTo>
                    <a:pt x="125" y="111"/>
                    <a:pt x="125" y="112"/>
                    <a:pt x="125" y="113"/>
                  </a:cubicBezTo>
                  <a:cubicBezTo>
                    <a:pt x="125" y="113"/>
                    <a:pt x="124" y="113"/>
                    <a:pt x="124" y="114"/>
                  </a:cubicBezTo>
                  <a:cubicBezTo>
                    <a:pt x="124" y="114"/>
                    <a:pt x="124" y="114"/>
                    <a:pt x="124" y="115"/>
                  </a:cubicBezTo>
                  <a:cubicBezTo>
                    <a:pt x="123" y="116"/>
                    <a:pt x="120" y="116"/>
                    <a:pt x="120" y="115"/>
                  </a:cubicBezTo>
                  <a:cubicBezTo>
                    <a:pt x="119" y="115"/>
                    <a:pt x="120" y="114"/>
                    <a:pt x="120" y="114"/>
                  </a:cubicBezTo>
                  <a:cubicBezTo>
                    <a:pt x="120" y="113"/>
                    <a:pt x="120" y="112"/>
                    <a:pt x="120" y="112"/>
                  </a:cubicBezTo>
                  <a:cubicBezTo>
                    <a:pt x="121" y="111"/>
                    <a:pt x="121" y="110"/>
                    <a:pt x="122" y="110"/>
                  </a:cubicBezTo>
                  <a:cubicBezTo>
                    <a:pt x="122" y="110"/>
                    <a:pt x="123" y="109"/>
                    <a:pt x="124" y="109"/>
                  </a:cubicBezTo>
                  <a:cubicBezTo>
                    <a:pt x="124" y="109"/>
                    <a:pt x="124" y="110"/>
                    <a:pt x="125" y="110"/>
                  </a:cubicBezTo>
                  <a:cubicBezTo>
                    <a:pt x="125" y="110"/>
                    <a:pt x="125" y="110"/>
                    <a:pt x="126" y="110"/>
                  </a:cubicBezTo>
                  <a:cubicBezTo>
                    <a:pt x="127" y="110"/>
                    <a:pt x="127" y="111"/>
                    <a:pt x="128" y="110"/>
                  </a:cubicBezTo>
                  <a:cubicBezTo>
                    <a:pt x="130" y="110"/>
                    <a:pt x="130" y="109"/>
                    <a:pt x="131" y="108"/>
                  </a:cubicBezTo>
                  <a:cubicBezTo>
                    <a:pt x="132" y="108"/>
                    <a:pt x="132" y="108"/>
                    <a:pt x="133" y="108"/>
                  </a:cubicBezTo>
                  <a:cubicBezTo>
                    <a:pt x="134" y="108"/>
                    <a:pt x="135" y="108"/>
                    <a:pt x="136" y="108"/>
                  </a:cubicBezTo>
                  <a:cubicBezTo>
                    <a:pt x="136" y="108"/>
                    <a:pt x="136" y="108"/>
                    <a:pt x="137" y="108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8" y="110"/>
                    <a:pt x="138" y="110"/>
                    <a:pt x="139" y="110"/>
                  </a:cubicBezTo>
                  <a:cubicBezTo>
                    <a:pt x="139" y="110"/>
                    <a:pt x="139" y="111"/>
                    <a:pt x="139" y="111"/>
                  </a:cubicBezTo>
                  <a:cubicBezTo>
                    <a:pt x="140" y="111"/>
                    <a:pt x="139" y="112"/>
                    <a:pt x="140" y="112"/>
                  </a:cubicBezTo>
                  <a:cubicBezTo>
                    <a:pt x="141" y="112"/>
                    <a:pt x="142" y="112"/>
                    <a:pt x="143" y="113"/>
                  </a:cubicBezTo>
                  <a:cubicBezTo>
                    <a:pt x="143" y="114"/>
                    <a:pt x="144" y="114"/>
                    <a:pt x="145" y="114"/>
                  </a:cubicBezTo>
                  <a:cubicBezTo>
                    <a:pt x="146" y="114"/>
                    <a:pt x="147" y="115"/>
                    <a:pt x="148" y="115"/>
                  </a:cubicBezTo>
                  <a:cubicBezTo>
                    <a:pt x="148" y="115"/>
                    <a:pt x="148" y="115"/>
                    <a:pt x="149" y="115"/>
                  </a:cubicBezTo>
                  <a:cubicBezTo>
                    <a:pt x="149" y="115"/>
                    <a:pt x="149" y="116"/>
                    <a:pt x="149" y="116"/>
                  </a:cubicBezTo>
                  <a:cubicBezTo>
                    <a:pt x="150" y="116"/>
                    <a:pt x="151" y="116"/>
                    <a:pt x="151" y="116"/>
                  </a:cubicBezTo>
                  <a:cubicBezTo>
                    <a:pt x="152" y="115"/>
                    <a:pt x="152" y="115"/>
                    <a:pt x="152" y="114"/>
                  </a:cubicBezTo>
                  <a:cubicBezTo>
                    <a:pt x="153" y="114"/>
                    <a:pt x="153" y="114"/>
                    <a:pt x="153" y="115"/>
                  </a:cubicBezTo>
                  <a:cubicBezTo>
                    <a:pt x="154" y="115"/>
                    <a:pt x="154" y="115"/>
                    <a:pt x="154" y="115"/>
                  </a:cubicBezTo>
                  <a:cubicBezTo>
                    <a:pt x="155" y="116"/>
                    <a:pt x="156" y="116"/>
                    <a:pt x="157" y="115"/>
                  </a:cubicBezTo>
                  <a:cubicBezTo>
                    <a:pt x="155" y="115"/>
                    <a:pt x="155" y="115"/>
                    <a:pt x="155" y="115"/>
                  </a:cubicBezTo>
                  <a:cubicBezTo>
                    <a:pt x="155" y="115"/>
                    <a:pt x="153" y="113"/>
                    <a:pt x="152" y="113"/>
                  </a:cubicBezTo>
                  <a:close/>
                  <a:moveTo>
                    <a:pt x="70" y="140"/>
                  </a:moveTo>
                  <a:cubicBezTo>
                    <a:pt x="70" y="140"/>
                    <a:pt x="70" y="140"/>
                    <a:pt x="71" y="140"/>
                  </a:cubicBezTo>
                  <a:cubicBezTo>
                    <a:pt x="71" y="140"/>
                    <a:pt x="72" y="141"/>
                    <a:pt x="72" y="141"/>
                  </a:cubicBezTo>
                  <a:cubicBezTo>
                    <a:pt x="72" y="141"/>
                    <a:pt x="73" y="142"/>
                    <a:pt x="73" y="142"/>
                  </a:cubicBezTo>
                  <a:cubicBezTo>
                    <a:pt x="74" y="142"/>
                    <a:pt x="74" y="142"/>
                    <a:pt x="75" y="143"/>
                  </a:cubicBezTo>
                  <a:cubicBezTo>
                    <a:pt x="75" y="143"/>
                    <a:pt x="75" y="143"/>
                    <a:pt x="76" y="143"/>
                  </a:cubicBezTo>
                  <a:cubicBezTo>
                    <a:pt x="76" y="143"/>
                    <a:pt x="76" y="143"/>
                    <a:pt x="76" y="144"/>
                  </a:cubicBezTo>
                  <a:cubicBezTo>
                    <a:pt x="77" y="144"/>
                    <a:pt x="77" y="143"/>
                    <a:pt x="77" y="143"/>
                  </a:cubicBezTo>
                  <a:cubicBezTo>
                    <a:pt x="77" y="143"/>
                    <a:pt x="78" y="142"/>
                    <a:pt x="78" y="142"/>
                  </a:cubicBezTo>
                  <a:cubicBezTo>
                    <a:pt x="79" y="141"/>
                    <a:pt x="79" y="141"/>
                    <a:pt x="79" y="141"/>
                  </a:cubicBezTo>
                  <a:cubicBezTo>
                    <a:pt x="80" y="140"/>
                    <a:pt x="81" y="139"/>
                    <a:pt x="80" y="139"/>
                  </a:cubicBezTo>
                  <a:cubicBezTo>
                    <a:pt x="79" y="139"/>
                    <a:pt x="79" y="139"/>
                    <a:pt x="78" y="139"/>
                  </a:cubicBezTo>
                  <a:cubicBezTo>
                    <a:pt x="78" y="139"/>
                    <a:pt x="78" y="139"/>
                    <a:pt x="77" y="139"/>
                  </a:cubicBezTo>
                  <a:cubicBezTo>
                    <a:pt x="77" y="138"/>
                    <a:pt x="77" y="138"/>
                    <a:pt x="76" y="138"/>
                  </a:cubicBezTo>
                  <a:cubicBezTo>
                    <a:pt x="76" y="138"/>
                    <a:pt x="76" y="138"/>
                    <a:pt x="75" y="138"/>
                  </a:cubicBezTo>
                  <a:cubicBezTo>
                    <a:pt x="75" y="138"/>
                    <a:pt x="75" y="137"/>
                    <a:pt x="75" y="137"/>
                  </a:cubicBezTo>
                  <a:cubicBezTo>
                    <a:pt x="75" y="137"/>
                    <a:pt x="74" y="137"/>
                    <a:pt x="74" y="137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3" y="138"/>
                    <a:pt x="72" y="138"/>
                    <a:pt x="72" y="138"/>
                  </a:cubicBezTo>
                  <a:cubicBezTo>
                    <a:pt x="72" y="139"/>
                    <a:pt x="71" y="139"/>
                    <a:pt x="71" y="139"/>
                  </a:cubicBezTo>
                  <a:cubicBezTo>
                    <a:pt x="70" y="139"/>
                    <a:pt x="70" y="139"/>
                    <a:pt x="70" y="139"/>
                  </a:cubicBezTo>
                  <a:cubicBezTo>
                    <a:pt x="69" y="140"/>
                    <a:pt x="69" y="140"/>
                    <a:pt x="70" y="14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3E42F687-863A-459A-9F60-7DF7866FA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4614" y="3146473"/>
              <a:ext cx="1019410" cy="459313"/>
            </a:xfrm>
            <a:custGeom>
              <a:avLst/>
              <a:gdLst>
                <a:gd name="T0" fmla="*/ 249 w 257"/>
                <a:gd name="T1" fmla="*/ 67 h 116"/>
                <a:gd name="T2" fmla="*/ 243 w 257"/>
                <a:gd name="T3" fmla="*/ 59 h 116"/>
                <a:gd name="T4" fmla="*/ 240 w 257"/>
                <a:gd name="T5" fmla="*/ 51 h 116"/>
                <a:gd name="T6" fmla="*/ 234 w 257"/>
                <a:gd name="T7" fmla="*/ 45 h 116"/>
                <a:gd name="T8" fmla="*/ 236 w 257"/>
                <a:gd name="T9" fmla="*/ 39 h 116"/>
                <a:gd name="T10" fmla="*/ 235 w 257"/>
                <a:gd name="T11" fmla="*/ 30 h 116"/>
                <a:gd name="T12" fmla="*/ 228 w 257"/>
                <a:gd name="T13" fmla="*/ 25 h 116"/>
                <a:gd name="T14" fmla="*/ 226 w 257"/>
                <a:gd name="T15" fmla="*/ 18 h 116"/>
                <a:gd name="T16" fmla="*/ 218 w 257"/>
                <a:gd name="T17" fmla="*/ 21 h 116"/>
                <a:gd name="T18" fmla="*/ 213 w 257"/>
                <a:gd name="T19" fmla="*/ 23 h 116"/>
                <a:gd name="T20" fmla="*/ 206 w 257"/>
                <a:gd name="T21" fmla="*/ 20 h 116"/>
                <a:gd name="T22" fmla="*/ 201 w 257"/>
                <a:gd name="T23" fmla="*/ 20 h 116"/>
                <a:gd name="T24" fmla="*/ 192 w 257"/>
                <a:gd name="T25" fmla="*/ 17 h 116"/>
                <a:gd name="T26" fmla="*/ 180 w 257"/>
                <a:gd name="T27" fmla="*/ 14 h 116"/>
                <a:gd name="T28" fmla="*/ 177 w 257"/>
                <a:gd name="T29" fmla="*/ 6 h 116"/>
                <a:gd name="T30" fmla="*/ 172 w 257"/>
                <a:gd name="T31" fmla="*/ 1 h 116"/>
                <a:gd name="T32" fmla="*/ 166 w 257"/>
                <a:gd name="T33" fmla="*/ 3 h 116"/>
                <a:gd name="T34" fmla="*/ 160 w 257"/>
                <a:gd name="T35" fmla="*/ 0 h 116"/>
                <a:gd name="T36" fmla="*/ 157 w 257"/>
                <a:gd name="T37" fmla="*/ 5 h 116"/>
                <a:gd name="T38" fmla="*/ 159 w 257"/>
                <a:gd name="T39" fmla="*/ 11 h 116"/>
                <a:gd name="T40" fmla="*/ 155 w 257"/>
                <a:gd name="T41" fmla="*/ 16 h 116"/>
                <a:gd name="T42" fmla="*/ 143 w 257"/>
                <a:gd name="T43" fmla="*/ 18 h 116"/>
                <a:gd name="T44" fmla="*/ 138 w 257"/>
                <a:gd name="T45" fmla="*/ 26 h 116"/>
                <a:gd name="T46" fmla="*/ 129 w 257"/>
                <a:gd name="T47" fmla="*/ 37 h 116"/>
                <a:gd name="T48" fmla="*/ 121 w 257"/>
                <a:gd name="T49" fmla="*/ 47 h 116"/>
                <a:gd name="T50" fmla="*/ 115 w 257"/>
                <a:gd name="T51" fmla="*/ 51 h 116"/>
                <a:gd name="T52" fmla="*/ 108 w 257"/>
                <a:gd name="T53" fmla="*/ 43 h 116"/>
                <a:gd name="T54" fmla="*/ 105 w 257"/>
                <a:gd name="T55" fmla="*/ 46 h 116"/>
                <a:gd name="T56" fmla="*/ 100 w 257"/>
                <a:gd name="T57" fmla="*/ 51 h 116"/>
                <a:gd name="T58" fmla="*/ 96 w 257"/>
                <a:gd name="T59" fmla="*/ 57 h 116"/>
                <a:gd name="T60" fmla="*/ 91 w 257"/>
                <a:gd name="T61" fmla="*/ 52 h 116"/>
                <a:gd name="T62" fmla="*/ 82 w 257"/>
                <a:gd name="T63" fmla="*/ 55 h 116"/>
                <a:gd name="T64" fmla="*/ 79 w 257"/>
                <a:gd name="T65" fmla="*/ 58 h 116"/>
                <a:gd name="T66" fmla="*/ 68 w 257"/>
                <a:gd name="T67" fmla="*/ 53 h 116"/>
                <a:gd name="T68" fmla="*/ 62 w 257"/>
                <a:gd name="T69" fmla="*/ 54 h 116"/>
                <a:gd name="T70" fmla="*/ 59 w 257"/>
                <a:gd name="T71" fmla="*/ 55 h 116"/>
                <a:gd name="T72" fmla="*/ 52 w 257"/>
                <a:gd name="T73" fmla="*/ 54 h 116"/>
                <a:gd name="T74" fmla="*/ 51 w 257"/>
                <a:gd name="T75" fmla="*/ 60 h 116"/>
                <a:gd name="T76" fmla="*/ 45 w 257"/>
                <a:gd name="T77" fmla="*/ 69 h 116"/>
                <a:gd name="T78" fmla="*/ 41 w 257"/>
                <a:gd name="T79" fmla="*/ 74 h 116"/>
                <a:gd name="T80" fmla="*/ 33 w 257"/>
                <a:gd name="T81" fmla="*/ 77 h 116"/>
                <a:gd name="T82" fmla="*/ 31 w 257"/>
                <a:gd name="T83" fmla="*/ 92 h 116"/>
                <a:gd name="T84" fmla="*/ 13 w 257"/>
                <a:gd name="T85" fmla="*/ 86 h 116"/>
                <a:gd name="T86" fmla="*/ 12 w 257"/>
                <a:gd name="T87" fmla="*/ 97 h 116"/>
                <a:gd name="T88" fmla="*/ 8 w 257"/>
                <a:gd name="T89" fmla="*/ 105 h 116"/>
                <a:gd name="T90" fmla="*/ 5 w 257"/>
                <a:gd name="T91" fmla="*/ 111 h 116"/>
                <a:gd name="T92" fmla="*/ 47 w 257"/>
                <a:gd name="T93" fmla="*/ 116 h 116"/>
                <a:gd name="T94" fmla="*/ 55 w 257"/>
                <a:gd name="T95" fmla="*/ 110 h 116"/>
                <a:gd name="T96" fmla="*/ 184 w 257"/>
                <a:gd name="T97" fmla="*/ 111 h 116"/>
                <a:gd name="T98" fmla="*/ 213 w 257"/>
                <a:gd name="T99" fmla="*/ 107 h 116"/>
                <a:gd name="T100" fmla="*/ 223 w 257"/>
                <a:gd name="T101" fmla="*/ 100 h 116"/>
                <a:gd name="T102" fmla="*/ 230 w 257"/>
                <a:gd name="T103" fmla="*/ 93 h 116"/>
                <a:gd name="T104" fmla="*/ 240 w 257"/>
                <a:gd name="T105" fmla="*/ 84 h 116"/>
                <a:gd name="T106" fmla="*/ 255 w 257"/>
                <a:gd name="T107" fmla="*/ 7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7" h="116">
                  <a:moveTo>
                    <a:pt x="255" y="71"/>
                  </a:moveTo>
                  <a:cubicBezTo>
                    <a:pt x="252" y="70"/>
                    <a:pt x="252" y="70"/>
                    <a:pt x="252" y="70"/>
                  </a:cubicBezTo>
                  <a:cubicBezTo>
                    <a:pt x="251" y="67"/>
                    <a:pt x="251" y="67"/>
                    <a:pt x="251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7"/>
                    <a:pt x="245" y="64"/>
                    <a:pt x="245" y="64"/>
                  </a:cubicBezTo>
                  <a:cubicBezTo>
                    <a:pt x="245" y="64"/>
                    <a:pt x="245" y="63"/>
                    <a:pt x="245" y="62"/>
                  </a:cubicBezTo>
                  <a:cubicBezTo>
                    <a:pt x="245" y="62"/>
                    <a:pt x="246" y="61"/>
                    <a:pt x="246" y="61"/>
                  </a:cubicBezTo>
                  <a:cubicBezTo>
                    <a:pt x="243" y="59"/>
                    <a:pt x="243" y="59"/>
                    <a:pt x="243" y="59"/>
                  </a:cubicBezTo>
                  <a:cubicBezTo>
                    <a:pt x="243" y="59"/>
                    <a:pt x="242" y="55"/>
                    <a:pt x="242" y="55"/>
                  </a:cubicBezTo>
                  <a:cubicBezTo>
                    <a:pt x="242" y="55"/>
                    <a:pt x="239" y="54"/>
                    <a:pt x="239" y="54"/>
                  </a:cubicBezTo>
                  <a:cubicBezTo>
                    <a:pt x="240" y="52"/>
                    <a:pt x="240" y="52"/>
                    <a:pt x="240" y="52"/>
                  </a:cubicBezTo>
                  <a:cubicBezTo>
                    <a:pt x="240" y="52"/>
                    <a:pt x="240" y="51"/>
                    <a:pt x="240" y="51"/>
                  </a:cubicBezTo>
                  <a:cubicBezTo>
                    <a:pt x="240" y="51"/>
                    <a:pt x="238" y="50"/>
                    <a:pt x="238" y="50"/>
                  </a:cubicBezTo>
                  <a:cubicBezTo>
                    <a:pt x="238" y="50"/>
                    <a:pt x="238" y="48"/>
                    <a:pt x="237" y="48"/>
                  </a:cubicBezTo>
                  <a:cubicBezTo>
                    <a:pt x="237" y="48"/>
                    <a:pt x="236" y="45"/>
                    <a:pt x="236" y="45"/>
                  </a:cubicBezTo>
                  <a:cubicBezTo>
                    <a:pt x="236" y="45"/>
                    <a:pt x="234" y="45"/>
                    <a:pt x="234" y="45"/>
                  </a:cubicBezTo>
                  <a:cubicBezTo>
                    <a:pt x="234" y="44"/>
                    <a:pt x="235" y="43"/>
                    <a:pt x="235" y="43"/>
                  </a:cubicBezTo>
                  <a:cubicBezTo>
                    <a:pt x="236" y="42"/>
                    <a:pt x="236" y="42"/>
                    <a:pt x="236" y="42"/>
                  </a:cubicBezTo>
                  <a:cubicBezTo>
                    <a:pt x="235" y="40"/>
                    <a:pt x="235" y="40"/>
                    <a:pt x="235" y="40"/>
                  </a:cubicBezTo>
                  <a:cubicBezTo>
                    <a:pt x="235" y="40"/>
                    <a:pt x="236" y="39"/>
                    <a:pt x="236" y="39"/>
                  </a:cubicBezTo>
                  <a:cubicBezTo>
                    <a:pt x="236" y="39"/>
                    <a:pt x="236" y="36"/>
                    <a:pt x="236" y="36"/>
                  </a:cubicBezTo>
                  <a:cubicBezTo>
                    <a:pt x="236" y="35"/>
                    <a:pt x="236" y="33"/>
                    <a:pt x="236" y="33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29"/>
                    <a:pt x="235" y="28"/>
                    <a:pt x="234" y="28"/>
                  </a:cubicBezTo>
                  <a:cubicBezTo>
                    <a:pt x="233" y="27"/>
                    <a:pt x="232" y="26"/>
                    <a:pt x="231" y="26"/>
                  </a:cubicBezTo>
                  <a:cubicBezTo>
                    <a:pt x="231" y="26"/>
                    <a:pt x="230" y="26"/>
                    <a:pt x="230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7" y="24"/>
                    <a:pt x="227" y="23"/>
                    <a:pt x="226" y="23"/>
                  </a:cubicBezTo>
                  <a:cubicBezTo>
                    <a:pt x="226" y="22"/>
                    <a:pt x="226" y="21"/>
                    <a:pt x="226" y="20"/>
                  </a:cubicBezTo>
                  <a:cubicBezTo>
                    <a:pt x="226" y="19"/>
                    <a:pt x="226" y="19"/>
                    <a:pt x="226" y="19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5" y="17"/>
                    <a:pt x="224" y="17"/>
                    <a:pt x="224" y="17"/>
                  </a:cubicBezTo>
                  <a:cubicBezTo>
                    <a:pt x="223" y="18"/>
                    <a:pt x="222" y="18"/>
                    <a:pt x="221" y="18"/>
                  </a:cubicBezTo>
                  <a:cubicBezTo>
                    <a:pt x="221" y="18"/>
                    <a:pt x="220" y="19"/>
                    <a:pt x="220" y="20"/>
                  </a:cubicBezTo>
                  <a:cubicBezTo>
                    <a:pt x="219" y="20"/>
                    <a:pt x="219" y="21"/>
                    <a:pt x="218" y="21"/>
                  </a:cubicBezTo>
                  <a:cubicBezTo>
                    <a:pt x="218" y="22"/>
                    <a:pt x="217" y="22"/>
                    <a:pt x="217" y="22"/>
                  </a:cubicBezTo>
                  <a:cubicBezTo>
                    <a:pt x="216" y="23"/>
                    <a:pt x="216" y="23"/>
                    <a:pt x="215" y="23"/>
                  </a:cubicBezTo>
                  <a:cubicBezTo>
                    <a:pt x="215" y="23"/>
                    <a:pt x="214" y="23"/>
                    <a:pt x="214" y="23"/>
                  </a:cubicBezTo>
                  <a:cubicBezTo>
                    <a:pt x="213" y="23"/>
                    <a:pt x="213" y="23"/>
                    <a:pt x="213" y="23"/>
                  </a:cubicBezTo>
                  <a:cubicBezTo>
                    <a:pt x="212" y="23"/>
                    <a:pt x="211" y="24"/>
                    <a:pt x="211" y="24"/>
                  </a:cubicBezTo>
                  <a:cubicBezTo>
                    <a:pt x="211" y="24"/>
                    <a:pt x="210" y="23"/>
                    <a:pt x="210" y="23"/>
                  </a:cubicBezTo>
                  <a:cubicBezTo>
                    <a:pt x="209" y="22"/>
                    <a:pt x="208" y="21"/>
                    <a:pt x="207" y="21"/>
                  </a:cubicBezTo>
                  <a:cubicBezTo>
                    <a:pt x="207" y="21"/>
                    <a:pt x="206" y="20"/>
                    <a:pt x="206" y="20"/>
                  </a:cubicBezTo>
                  <a:cubicBezTo>
                    <a:pt x="206" y="20"/>
                    <a:pt x="205" y="20"/>
                    <a:pt x="205" y="20"/>
                  </a:cubicBezTo>
                  <a:cubicBezTo>
                    <a:pt x="205" y="19"/>
                    <a:pt x="205" y="19"/>
                    <a:pt x="204" y="19"/>
                  </a:cubicBezTo>
                  <a:cubicBezTo>
                    <a:pt x="204" y="19"/>
                    <a:pt x="203" y="20"/>
                    <a:pt x="202" y="20"/>
                  </a:cubicBezTo>
                  <a:cubicBezTo>
                    <a:pt x="202" y="20"/>
                    <a:pt x="201" y="20"/>
                    <a:pt x="201" y="20"/>
                  </a:cubicBezTo>
                  <a:cubicBezTo>
                    <a:pt x="200" y="21"/>
                    <a:pt x="200" y="21"/>
                    <a:pt x="199" y="22"/>
                  </a:cubicBezTo>
                  <a:cubicBezTo>
                    <a:pt x="199" y="22"/>
                    <a:pt x="197" y="23"/>
                    <a:pt x="196" y="22"/>
                  </a:cubicBezTo>
                  <a:cubicBezTo>
                    <a:pt x="195" y="21"/>
                    <a:pt x="195" y="20"/>
                    <a:pt x="194" y="19"/>
                  </a:cubicBezTo>
                  <a:cubicBezTo>
                    <a:pt x="193" y="18"/>
                    <a:pt x="193" y="18"/>
                    <a:pt x="192" y="17"/>
                  </a:cubicBezTo>
                  <a:cubicBezTo>
                    <a:pt x="192" y="17"/>
                    <a:pt x="191" y="16"/>
                    <a:pt x="190" y="16"/>
                  </a:cubicBezTo>
                  <a:cubicBezTo>
                    <a:pt x="189" y="15"/>
                    <a:pt x="187" y="16"/>
                    <a:pt x="186" y="16"/>
                  </a:cubicBezTo>
                  <a:cubicBezTo>
                    <a:pt x="185" y="16"/>
                    <a:pt x="184" y="16"/>
                    <a:pt x="182" y="16"/>
                  </a:cubicBezTo>
                  <a:cubicBezTo>
                    <a:pt x="181" y="16"/>
                    <a:pt x="181" y="15"/>
                    <a:pt x="180" y="14"/>
                  </a:cubicBezTo>
                  <a:cubicBezTo>
                    <a:pt x="180" y="13"/>
                    <a:pt x="179" y="12"/>
                    <a:pt x="179" y="11"/>
                  </a:cubicBezTo>
                  <a:cubicBezTo>
                    <a:pt x="178" y="10"/>
                    <a:pt x="178" y="9"/>
                    <a:pt x="178" y="8"/>
                  </a:cubicBezTo>
                  <a:cubicBezTo>
                    <a:pt x="178" y="8"/>
                    <a:pt x="177" y="8"/>
                    <a:pt x="177" y="7"/>
                  </a:cubicBezTo>
                  <a:cubicBezTo>
                    <a:pt x="177" y="7"/>
                    <a:pt x="177" y="7"/>
                    <a:pt x="177" y="6"/>
                  </a:cubicBezTo>
                  <a:cubicBezTo>
                    <a:pt x="177" y="6"/>
                    <a:pt x="176" y="5"/>
                    <a:pt x="176" y="5"/>
                  </a:cubicBezTo>
                  <a:cubicBezTo>
                    <a:pt x="176" y="5"/>
                    <a:pt x="175" y="4"/>
                    <a:pt x="175" y="4"/>
                  </a:cubicBezTo>
                  <a:cubicBezTo>
                    <a:pt x="174" y="4"/>
                    <a:pt x="173" y="3"/>
                    <a:pt x="173" y="2"/>
                  </a:cubicBezTo>
                  <a:cubicBezTo>
                    <a:pt x="172" y="2"/>
                    <a:pt x="172" y="2"/>
                    <a:pt x="172" y="1"/>
                  </a:cubicBezTo>
                  <a:cubicBezTo>
                    <a:pt x="172" y="1"/>
                    <a:pt x="171" y="1"/>
                    <a:pt x="170" y="1"/>
                  </a:cubicBezTo>
                  <a:cubicBezTo>
                    <a:pt x="170" y="1"/>
                    <a:pt x="169" y="2"/>
                    <a:pt x="168" y="2"/>
                  </a:cubicBezTo>
                  <a:cubicBezTo>
                    <a:pt x="168" y="2"/>
                    <a:pt x="167" y="2"/>
                    <a:pt x="167" y="3"/>
                  </a:cubicBezTo>
                  <a:cubicBezTo>
                    <a:pt x="167" y="3"/>
                    <a:pt x="166" y="3"/>
                    <a:pt x="166" y="3"/>
                  </a:cubicBezTo>
                  <a:cubicBezTo>
                    <a:pt x="165" y="3"/>
                    <a:pt x="164" y="2"/>
                    <a:pt x="164" y="2"/>
                  </a:cubicBezTo>
                  <a:cubicBezTo>
                    <a:pt x="163" y="2"/>
                    <a:pt x="163" y="1"/>
                    <a:pt x="163" y="1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1" y="0"/>
                    <a:pt x="160" y="0"/>
                    <a:pt x="160" y="0"/>
                  </a:cubicBezTo>
                  <a:cubicBezTo>
                    <a:pt x="160" y="0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3"/>
                    <a:pt x="157" y="4"/>
                    <a:pt x="157" y="5"/>
                  </a:cubicBezTo>
                  <a:cubicBezTo>
                    <a:pt x="157" y="6"/>
                    <a:pt x="158" y="6"/>
                    <a:pt x="158" y="7"/>
                  </a:cubicBezTo>
                  <a:cubicBezTo>
                    <a:pt x="158" y="7"/>
                    <a:pt x="159" y="8"/>
                    <a:pt x="158" y="9"/>
                  </a:cubicBezTo>
                  <a:cubicBezTo>
                    <a:pt x="158" y="10"/>
                    <a:pt x="158" y="10"/>
                    <a:pt x="158" y="11"/>
                  </a:cubicBezTo>
                  <a:cubicBezTo>
                    <a:pt x="158" y="11"/>
                    <a:pt x="158" y="11"/>
                    <a:pt x="159" y="11"/>
                  </a:cubicBezTo>
                  <a:cubicBezTo>
                    <a:pt x="160" y="11"/>
                    <a:pt x="160" y="12"/>
                    <a:pt x="160" y="13"/>
                  </a:cubicBezTo>
                  <a:cubicBezTo>
                    <a:pt x="160" y="13"/>
                    <a:pt x="159" y="14"/>
                    <a:pt x="159" y="14"/>
                  </a:cubicBezTo>
                  <a:cubicBezTo>
                    <a:pt x="159" y="14"/>
                    <a:pt x="160" y="16"/>
                    <a:pt x="159" y="16"/>
                  </a:cubicBezTo>
                  <a:cubicBezTo>
                    <a:pt x="158" y="17"/>
                    <a:pt x="157" y="16"/>
                    <a:pt x="155" y="16"/>
                  </a:cubicBezTo>
                  <a:cubicBezTo>
                    <a:pt x="153" y="16"/>
                    <a:pt x="153" y="16"/>
                    <a:pt x="152" y="17"/>
                  </a:cubicBezTo>
                  <a:cubicBezTo>
                    <a:pt x="151" y="17"/>
                    <a:pt x="150" y="19"/>
                    <a:pt x="149" y="19"/>
                  </a:cubicBezTo>
                  <a:cubicBezTo>
                    <a:pt x="147" y="20"/>
                    <a:pt x="147" y="20"/>
                    <a:pt x="146" y="20"/>
                  </a:cubicBezTo>
                  <a:cubicBezTo>
                    <a:pt x="145" y="20"/>
                    <a:pt x="144" y="18"/>
                    <a:pt x="143" y="18"/>
                  </a:cubicBezTo>
                  <a:cubicBezTo>
                    <a:pt x="143" y="18"/>
                    <a:pt x="142" y="18"/>
                    <a:pt x="141" y="18"/>
                  </a:cubicBezTo>
                  <a:cubicBezTo>
                    <a:pt x="140" y="18"/>
                    <a:pt x="139" y="18"/>
                    <a:pt x="138" y="19"/>
                  </a:cubicBezTo>
                  <a:cubicBezTo>
                    <a:pt x="137" y="19"/>
                    <a:pt x="137" y="22"/>
                    <a:pt x="137" y="23"/>
                  </a:cubicBezTo>
                  <a:cubicBezTo>
                    <a:pt x="137" y="24"/>
                    <a:pt x="138" y="25"/>
                    <a:pt x="138" y="26"/>
                  </a:cubicBezTo>
                  <a:cubicBezTo>
                    <a:pt x="138" y="27"/>
                    <a:pt x="137" y="29"/>
                    <a:pt x="137" y="29"/>
                  </a:cubicBezTo>
                  <a:cubicBezTo>
                    <a:pt x="137" y="29"/>
                    <a:pt x="132" y="31"/>
                    <a:pt x="132" y="32"/>
                  </a:cubicBezTo>
                  <a:cubicBezTo>
                    <a:pt x="131" y="33"/>
                    <a:pt x="131" y="34"/>
                    <a:pt x="131" y="35"/>
                  </a:cubicBezTo>
                  <a:cubicBezTo>
                    <a:pt x="131" y="36"/>
                    <a:pt x="130" y="36"/>
                    <a:pt x="129" y="37"/>
                  </a:cubicBezTo>
                  <a:cubicBezTo>
                    <a:pt x="128" y="38"/>
                    <a:pt x="128" y="38"/>
                    <a:pt x="127" y="38"/>
                  </a:cubicBezTo>
                  <a:cubicBezTo>
                    <a:pt x="126" y="38"/>
                    <a:pt x="125" y="39"/>
                    <a:pt x="124" y="39"/>
                  </a:cubicBezTo>
                  <a:cubicBezTo>
                    <a:pt x="123" y="40"/>
                    <a:pt x="123" y="41"/>
                    <a:pt x="122" y="42"/>
                  </a:cubicBezTo>
                  <a:cubicBezTo>
                    <a:pt x="122" y="43"/>
                    <a:pt x="121" y="46"/>
                    <a:pt x="121" y="47"/>
                  </a:cubicBezTo>
                  <a:cubicBezTo>
                    <a:pt x="121" y="48"/>
                    <a:pt x="121" y="49"/>
                    <a:pt x="121" y="49"/>
                  </a:cubicBezTo>
                  <a:cubicBezTo>
                    <a:pt x="121" y="50"/>
                    <a:pt x="119" y="50"/>
                    <a:pt x="119" y="50"/>
                  </a:cubicBezTo>
                  <a:cubicBezTo>
                    <a:pt x="118" y="50"/>
                    <a:pt x="117" y="52"/>
                    <a:pt x="117" y="52"/>
                  </a:cubicBezTo>
                  <a:cubicBezTo>
                    <a:pt x="117" y="52"/>
                    <a:pt x="116" y="51"/>
                    <a:pt x="115" y="51"/>
                  </a:cubicBezTo>
                  <a:cubicBezTo>
                    <a:pt x="115" y="50"/>
                    <a:pt x="114" y="50"/>
                    <a:pt x="113" y="49"/>
                  </a:cubicBezTo>
                  <a:cubicBezTo>
                    <a:pt x="112" y="49"/>
                    <a:pt x="111" y="49"/>
                    <a:pt x="110" y="48"/>
                  </a:cubicBezTo>
                  <a:cubicBezTo>
                    <a:pt x="109" y="48"/>
                    <a:pt x="109" y="46"/>
                    <a:pt x="109" y="45"/>
                  </a:cubicBezTo>
                  <a:cubicBezTo>
                    <a:pt x="108" y="44"/>
                    <a:pt x="108" y="44"/>
                    <a:pt x="108" y="43"/>
                  </a:cubicBezTo>
                  <a:cubicBezTo>
                    <a:pt x="108" y="43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3"/>
                  </a:cubicBezTo>
                  <a:cubicBezTo>
                    <a:pt x="105" y="44"/>
                    <a:pt x="107" y="44"/>
                    <a:pt x="107" y="45"/>
                  </a:cubicBezTo>
                  <a:cubicBezTo>
                    <a:pt x="107" y="45"/>
                    <a:pt x="105" y="46"/>
                    <a:pt x="105" y="46"/>
                  </a:cubicBezTo>
                  <a:cubicBezTo>
                    <a:pt x="104" y="46"/>
                    <a:pt x="102" y="45"/>
                    <a:pt x="102" y="46"/>
                  </a:cubicBezTo>
                  <a:cubicBezTo>
                    <a:pt x="102" y="46"/>
                    <a:pt x="103" y="47"/>
                    <a:pt x="103" y="48"/>
                  </a:cubicBezTo>
                  <a:cubicBezTo>
                    <a:pt x="103" y="48"/>
                    <a:pt x="101" y="48"/>
                    <a:pt x="101" y="49"/>
                  </a:cubicBezTo>
                  <a:cubicBezTo>
                    <a:pt x="100" y="49"/>
                    <a:pt x="100" y="50"/>
                    <a:pt x="100" y="51"/>
                  </a:cubicBezTo>
                  <a:cubicBezTo>
                    <a:pt x="101" y="52"/>
                    <a:pt x="101" y="54"/>
                    <a:pt x="101" y="54"/>
                  </a:cubicBezTo>
                  <a:cubicBezTo>
                    <a:pt x="100" y="54"/>
                    <a:pt x="99" y="54"/>
                    <a:pt x="98" y="54"/>
                  </a:cubicBezTo>
                  <a:cubicBezTo>
                    <a:pt x="98" y="54"/>
                    <a:pt x="98" y="56"/>
                    <a:pt x="98" y="57"/>
                  </a:cubicBezTo>
                  <a:cubicBezTo>
                    <a:pt x="97" y="58"/>
                    <a:pt x="96" y="57"/>
                    <a:pt x="96" y="57"/>
                  </a:cubicBezTo>
                  <a:cubicBezTo>
                    <a:pt x="96" y="57"/>
                    <a:pt x="96" y="55"/>
                    <a:pt x="96" y="55"/>
                  </a:cubicBezTo>
                  <a:cubicBezTo>
                    <a:pt x="96" y="54"/>
                    <a:pt x="95" y="55"/>
                    <a:pt x="95" y="55"/>
                  </a:cubicBezTo>
                  <a:cubicBezTo>
                    <a:pt x="94" y="55"/>
                    <a:pt x="93" y="55"/>
                    <a:pt x="93" y="54"/>
                  </a:cubicBezTo>
                  <a:cubicBezTo>
                    <a:pt x="92" y="54"/>
                    <a:pt x="91" y="53"/>
                    <a:pt x="91" y="52"/>
                  </a:cubicBezTo>
                  <a:cubicBezTo>
                    <a:pt x="91" y="52"/>
                    <a:pt x="90" y="51"/>
                    <a:pt x="90" y="51"/>
                  </a:cubicBezTo>
                  <a:cubicBezTo>
                    <a:pt x="90" y="51"/>
                    <a:pt x="88" y="52"/>
                    <a:pt x="88" y="53"/>
                  </a:cubicBezTo>
                  <a:cubicBezTo>
                    <a:pt x="87" y="53"/>
                    <a:pt x="85" y="54"/>
                    <a:pt x="84" y="54"/>
                  </a:cubicBezTo>
                  <a:cubicBezTo>
                    <a:pt x="83" y="55"/>
                    <a:pt x="82" y="55"/>
                    <a:pt x="82" y="55"/>
                  </a:cubicBezTo>
                  <a:cubicBezTo>
                    <a:pt x="82" y="56"/>
                    <a:pt x="82" y="57"/>
                    <a:pt x="81" y="58"/>
                  </a:cubicBezTo>
                  <a:cubicBezTo>
                    <a:pt x="81" y="58"/>
                    <a:pt x="81" y="59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ubicBezTo>
                    <a:pt x="79" y="60"/>
                    <a:pt x="79" y="59"/>
                    <a:pt x="79" y="58"/>
                  </a:cubicBezTo>
                  <a:cubicBezTo>
                    <a:pt x="78" y="58"/>
                    <a:pt x="78" y="57"/>
                    <a:pt x="78" y="57"/>
                  </a:cubicBezTo>
                  <a:cubicBezTo>
                    <a:pt x="78" y="57"/>
                    <a:pt x="77" y="57"/>
                    <a:pt x="76" y="57"/>
                  </a:cubicBezTo>
                  <a:cubicBezTo>
                    <a:pt x="76" y="57"/>
                    <a:pt x="70" y="53"/>
                    <a:pt x="70" y="53"/>
                  </a:cubicBezTo>
                  <a:cubicBezTo>
                    <a:pt x="70" y="53"/>
                    <a:pt x="69" y="53"/>
                    <a:pt x="68" y="53"/>
                  </a:cubicBezTo>
                  <a:cubicBezTo>
                    <a:pt x="67" y="54"/>
                    <a:pt x="67" y="54"/>
                    <a:pt x="66" y="54"/>
                  </a:cubicBezTo>
                  <a:cubicBezTo>
                    <a:pt x="66" y="54"/>
                    <a:pt x="65" y="53"/>
                    <a:pt x="64" y="52"/>
                  </a:cubicBezTo>
                  <a:cubicBezTo>
                    <a:pt x="64" y="52"/>
                    <a:pt x="64" y="52"/>
                    <a:pt x="63" y="52"/>
                  </a:cubicBezTo>
                  <a:cubicBezTo>
                    <a:pt x="62" y="53"/>
                    <a:pt x="62" y="54"/>
                    <a:pt x="62" y="54"/>
                  </a:cubicBezTo>
                  <a:cubicBezTo>
                    <a:pt x="63" y="55"/>
                    <a:pt x="63" y="57"/>
                    <a:pt x="63" y="57"/>
                  </a:cubicBezTo>
                  <a:cubicBezTo>
                    <a:pt x="63" y="58"/>
                    <a:pt x="63" y="58"/>
                    <a:pt x="61" y="58"/>
                  </a:cubicBezTo>
                  <a:cubicBezTo>
                    <a:pt x="60" y="58"/>
                    <a:pt x="60" y="57"/>
                    <a:pt x="60" y="57"/>
                  </a:cubicBezTo>
                  <a:cubicBezTo>
                    <a:pt x="60" y="56"/>
                    <a:pt x="60" y="55"/>
                    <a:pt x="59" y="55"/>
                  </a:cubicBezTo>
                  <a:cubicBezTo>
                    <a:pt x="59" y="55"/>
                    <a:pt x="58" y="55"/>
                    <a:pt x="58" y="56"/>
                  </a:cubicBezTo>
                  <a:cubicBezTo>
                    <a:pt x="57" y="56"/>
                    <a:pt x="55" y="56"/>
                    <a:pt x="55" y="56"/>
                  </a:cubicBezTo>
                  <a:cubicBezTo>
                    <a:pt x="55" y="56"/>
                    <a:pt x="54" y="55"/>
                    <a:pt x="54" y="54"/>
                  </a:cubicBezTo>
                  <a:cubicBezTo>
                    <a:pt x="53" y="54"/>
                    <a:pt x="52" y="54"/>
                    <a:pt x="52" y="54"/>
                  </a:cubicBezTo>
                  <a:cubicBezTo>
                    <a:pt x="52" y="54"/>
                    <a:pt x="52" y="56"/>
                    <a:pt x="51" y="56"/>
                  </a:cubicBezTo>
                  <a:cubicBezTo>
                    <a:pt x="51" y="57"/>
                    <a:pt x="52" y="58"/>
                    <a:pt x="52" y="58"/>
                  </a:cubicBezTo>
                  <a:cubicBezTo>
                    <a:pt x="52" y="58"/>
                    <a:pt x="53" y="59"/>
                    <a:pt x="53" y="59"/>
                  </a:cubicBezTo>
                  <a:cubicBezTo>
                    <a:pt x="53" y="59"/>
                    <a:pt x="51" y="61"/>
                    <a:pt x="51" y="60"/>
                  </a:cubicBezTo>
                  <a:cubicBezTo>
                    <a:pt x="50" y="60"/>
                    <a:pt x="49" y="60"/>
                    <a:pt x="49" y="60"/>
                  </a:cubicBezTo>
                  <a:cubicBezTo>
                    <a:pt x="49" y="60"/>
                    <a:pt x="45" y="64"/>
                    <a:pt x="45" y="64"/>
                  </a:cubicBezTo>
                  <a:cubicBezTo>
                    <a:pt x="45" y="65"/>
                    <a:pt x="44" y="66"/>
                    <a:pt x="44" y="66"/>
                  </a:cubicBezTo>
                  <a:cubicBezTo>
                    <a:pt x="44" y="66"/>
                    <a:pt x="45" y="69"/>
                    <a:pt x="45" y="69"/>
                  </a:cubicBezTo>
                  <a:cubicBezTo>
                    <a:pt x="45" y="69"/>
                    <a:pt x="47" y="71"/>
                    <a:pt x="47" y="71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6" y="74"/>
                    <a:pt x="46" y="74"/>
                  </a:cubicBezTo>
                  <a:cubicBezTo>
                    <a:pt x="45" y="74"/>
                    <a:pt x="42" y="74"/>
                    <a:pt x="41" y="74"/>
                  </a:cubicBezTo>
                  <a:cubicBezTo>
                    <a:pt x="41" y="74"/>
                    <a:pt x="39" y="75"/>
                    <a:pt x="39" y="75"/>
                  </a:cubicBezTo>
                  <a:cubicBezTo>
                    <a:pt x="38" y="76"/>
                    <a:pt x="37" y="76"/>
                    <a:pt x="37" y="76"/>
                  </a:cubicBezTo>
                  <a:cubicBezTo>
                    <a:pt x="37" y="77"/>
                    <a:pt x="34" y="76"/>
                    <a:pt x="34" y="76"/>
                  </a:cubicBezTo>
                  <a:cubicBezTo>
                    <a:pt x="34" y="76"/>
                    <a:pt x="33" y="77"/>
                    <a:pt x="33" y="77"/>
                  </a:cubicBezTo>
                  <a:cubicBezTo>
                    <a:pt x="32" y="78"/>
                    <a:pt x="32" y="82"/>
                    <a:pt x="32" y="82"/>
                  </a:cubicBezTo>
                  <a:cubicBezTo>
                    <a:pt x="32" y="82"/>
                    <a:pt x="34" y="87"/>
                    <a:pt x="34" y="87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1" y="92"/>
                    <a:pt x="31" y="92"/>
                    <a:pt x="31" y="92"/>
                  </a:cubicBezTo>
                  <a:cubicBezTo>
                    <a:pt x="31" y="92"/>
                    <a:pt x="27" y="89"/>
                    <a:pt x="27" y="89"/>
                  </a:cubicBezTo>
                  <a:cubicBezTo>
                    <a:pt x="27" y="89"/>
                    <a:pt x="20" y="85"/>
                    <a:pt x="20" y="85"/>
                  </a:cubicBezTo>
                  <a:cubicBezTo>
                    <a:pt x="20" y="85"/>
                    <a:pt x="15" y="84"/>
                    <a:pt x="15" y="84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0" y="90"/>
                    <a:pt x="10" y="90"/>
                  </a:cubicBezTo>
                  <a:cubicBezTo>
                    <a:pt x="10" y="90"/>
                    <a:pt x="9" y="93"/>
                    <a:pt x="9" y="93"/>
                  </a:cubicBezTo>
                  <a:cubicBezTo>
                    <a:pt x="9" y="93"/>
                    <a:pt x="10" y="95"/>
                    <a:pt x="10" y="95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0" y="99"/>
                    <a:pt x="10" y="99"/>
                  </a:cubicBezTo>
                  <a:cubicBezTo>
                    <a:pt x="10" y="99"/>
                    <a:pt x="8" y="102"/>
                    <a:pt x="8" y="102"/>
                  </a:cubicBezTo>
                  <a:cubicBezTo>
                    <a:pt x="8" y="102"/>
                    <a:pt x="11" y="104"/>
                    <a:pt x="11" y="104"/>
                  </a:cubicBezTo>
                  <a:cubicBezTo>
                    <a:pt x="11" y="104"/>
                    <a:pt x="8" y="105"/>
                    <a:pt x="8" y="105"/>
                  </a:cubicBezTo>
                  <a:cubicBezTo>
                    <a:pt x="8" y="105"/>
                    <a:pt x="9" y="109"/>
                    <a:pt x="9" y="109"/>
                  </a:cubicBezTo>
                  <a:cubicBezTo>
                    <a:pt x="9" y="109"/>
                    <a:pt x="7" y="113"/>
                    <a:pt x="7" y="113"/>
                  </a:cubicBezTo>
                  <a:cubicBezTo>
                    <a:pt x="7" y="113"/>
                    <a:pt x="6" y="112"/>
                    <a:pt x="6" y="112"/>
                  </a:cubicBezTo>
                  <a:cubicBezTo>
                    <a:pt x="6" y="112"/>
                    <a:pt x="5" y="111"/>
                    <a:pt x="5" y="111"/>
                  </a:cubicBezTo>
                  <a:cubicBezTo>
                    <a:pt x="5" y="111"/>
                    <a:pt x="3" y="110"/>
                    <a:pt x="3" y="110"/>
                  </a:cubicBezTo>
                  <a:cubicBezTo>
                    <a:pt x="3" y="110"/>
                    <a:pt x="1" y="112"/>
                    <a:pt x="1" y="112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47" y="116"/>
                    <a:pt x="47" y="116"/>
                    <a:pt x="47" y="116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84" y="111"/>
                    <a:pt x="184" y="111"/>
                    <a:pt x="184" y="111"/>
                  </a:cubicBezTo>
                  <a:cubicBezTo>
                    <a:pt x="199" y="111"/>
                    <a:pt x="199" y="111"/>
                    <a:pt x="199" y="111"/>
                  </a:cubicBezTo>
                  <a:cubicBezTo>
                    <a:pt x="205" y="108"/>
                    <a:pt x="205" y="108"/>
                    <a:pt x="205" y="108"/>
                  </a:cubicBezTo>
                  <a:cubicBezTo>
                    <a:pt x="205" y="108"/>
                    <a:pt x="208" y="108"/>
                    <a:pt x="208" y="108"/>
                  </a:cubicBezTo>
                  <a:cubicBezTo>
                    <a:pt x="208" y="108"/>
                    <a:pt x="212" y="107"/>
                    <a:pt x="213" y="107"/>
                  </a:cubicBezTo>
                  <a:cubicBezTo>
                    <a:pt x="213" y="106"/>
                    <a:pt x="216" y="106"/>
                    <a:pt x="217" y="105"/>
                  </a:cubicBezTo>
                  <a:cubicBezTo>
                    <a:pt x="217" y="105"/>
                    <a:pt x="218" y="104"/>
                    <a:pt x="218" y="104"/>
                  </a:cubicBezTo>
                  <a:cubicBezTo>
                    <a:pt x="218" y="103"/>
                    <a:pt x="219" y="101"/>
                    <a:pt x="219" y="101"/>
                  </a:cubicBezTo>
                  <a:cubicBezTo>
                    <a:pt x="220" y="101"/>
                    <a:pt x="222" y="100"/>
                    <a:pt x="223" y="100"/>
                  </a:cubicBezTo>
                  <a:cubicBezTo>
                    <a:pt x="224" y="100"/>
                    <a:pt x="224" y="100"/>
                    <a:pt x="225" y="100"/>
                  </a:cubicBezTo>
                  <a:cubicBezTo>
                    <a:pt x="225" y="99"/>
                    <a:pt x="226" y="98"/>
                    <a:pt x="227" y="98"/>
                  </a:cubicBezTo>
                  <a:cubicBezTo>
                    <a:pt x="227" y="97"/>
                    <a:pt x="226" y="95"/>
                    <a:pt x="227" y="95"/>
                  </a:cubicBezTo>
                  <a:cubicBezTo>
                    <a:pt x="228" y="94"/>
                    <a:pt x="230" y="93"/>
                    <a:pt x="230" y="93"/>
                  </a:cubicBezTo>
                  <a:cubicBezTo>
                    <a:pt x="231" y="92"/>
                    <a:pt x="231" y="93"/>
                    <a:pt x="231" y="92"/>
                  </a:cubicBezTo>
                  <a:cubicBezTo>
                    <a:pt x="232" y="91"/>
                    <a:pt x="232" y="90"/>
                    <a:pt x="232" y="89"/>
                  </a:cubicBezTo>
                  <a:cubicBezTo>
                    <a:pt x="232" y="89"/>
                    <a:pt x="234" y="88"/>
                    <a:pt x="235" y="87"/>
                  </a:cubicBezTo>
                  <a:cubicBezTo>
                    <a:pt x="236" y="86"/>
                    <a:pt x="239" y="84"/>
                    <a:pt x="240" y="84"/>
                  </a:cubicBezTo>
                  <a:cubicBezTo>
                    <a:pt x="242" y="83"/>
                    <a:pt x="244" y="83"/>
                    <a:pt x="245" y="82"/>
                  </a:cubicBezTo>
                  <a:cubicBezTo>
                    <a:pt x="246" y="82"/>
                    <a:pt x="247" y="80"/>
                    <a:pt x="248" y="79"/>
                  </a:cubicBezTo>
                  <a:cubicBezTo>
                    <a:pt x="249" y="79"/>
                    <a:pt x="257" y="71"/>
                    <a:pt x="257" y="71"/>
                  </a:cubicBezTo>
                  <a:lnTo>
                    <a:pt x="255" y="71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DE580E74-172F-4BA0-862B-6FC1B7200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8062" y="2991166"/>
              <a:ext cx="1022715" cy="527053"/>
            </a:xfrm>
            <a:custGeom>
              <a:avLst/>
              <a:gdLst>
                <a:gd name="T0" fmla="*/ 258 w 258"/>
                <a:gd name="T1" fmla="*/ 40 h 133"/>
                <a:gd name="T2" fmla="*/ 257 w 258"/>
                <a:gd name="T3" fmla="*/ 38 h 133"/>
                <a:gd name="T4" fmla="*/ 255 w 258"/>
                <a:gd name="T5" fmla="*/ 38 h 133"/>
                <a:gd name="T6" fmla="*/ 251 w 258"/>
                <a:gd name="T7" fmla="*/ 37 h 133"/>
                <a:gd name="T8" fmla="*/ 249 w 258"/>
                <a:gd name="T9" fmla="*/ 34 h 133"/>
                <a:gd name="T10" fmla="*/ 247 w 258"/>
                <a:gd name="T11" fmla="*/ 30 h 133"/>
                <a:gd name="T12" fmla="*/ 247 w 258"/>
                <a:gd name="T13" fmla="*/ 28 h 133"/>
                <a:gd name="T14" fmla="*/ 246 w 258"/>
                <a:gd name="T15" fmla="*/ 28 h 133"/>
                <a:gd name="T16" fmla="*/ 245 w 258"/>
                <a:gd name="T17" fmla="*/ 28 h 133"/>
                <a:gd name="T18" fmla="*/ 243 w 258"/>
                <a:gd name="T19" fmla="*/ 26 h 133"/>
                <a:gd name="T20" fmla="*/ 242 w 258"/>
                <a:gd name="T21" fmla="*/ 24 h 133"/>
                <a:gd name="T22" fmla="*/ 241 w 258"/>
                <a:gd name="T23" fmla="*/ 19 h 133"/>
                <a:gd name="T24" fmla="*/ 242 w 258"/>
                <a:gd name="T25" fmla="*/ 19 h 133"/>
                <a:gd name="T26" fmla="*/ 242 w 258"/>
                <a:gd name="T27" fmla="*/ 18 h 133"/>
                <a:gd name="T28" fmla="*/ 243 w 258"/>
                <a:gd name="T29" fmla="*/ 16 h 133"/>
                <a:gd name="T30" fmla="*/ 243 w 258"/>
                <a:gd name="T31" fmla="*/ 15 h 133"/>
                <a:gd name="T32" fmla="*/ 245 w 258"/>
                <a:gd name="T33" fmla="*/ 15 h 133"/>
                <a:gd name="T34" fmla="*/ 245 w 258"/>
                <a:gd name="T35" fmla="*/ 13 h 133"/>
                <a:gd name="T36" fmla="*/ 247 w 258"/>
                <a:gd name="T37" fmla="*/ 13 h 133"/>
                <a:gd name="T38" fmla="*/ 246 w 258"/>
                <a:gd name="T39" fmla="*/ 11 h 133"/>
                <a:gd name="T40" fmla="*/ 247 w 258"/>
                <a:gd name="T41" fmla="*/ 11 h 133"/>
                <a:gd name="T42" fmla="*/ 248 w 258"/>
                <a:gd name="T43" fmla="*/ 10 h 133"/>
                <a:gd name="T44" fmla="*/ 248 w 258"/>
                <a:gd name="T45" fmla="*/ 8 h 133"/>
                <a:gd name="T46" fmla="*/ 246 w 258"/>
                <a:gd name="T47" fmla="*/ 8 h 133"/>
                <a:gd name="T48" fmla="*/ 245 w 258"/>
                <a:gd name="T49" fmla="*/ 6 h 133"/>
                <a:gd name="T50" fmla="*/ 244 w 258"/>
                <a:gd name="T51" fmla="*/ 5 h 133"/>
                <a:gd name="T52" fmla="*/ 243 w 258"/>
                <a:gd name="T53" fmla="*/ 6 h 133"/>
                <a:gd name="T54" fmla="*/ 242 w 258"/>
                <a:gd name="T55" fmla="*/ 7 h 133"/>
                <a:gd name="T56" fmla="*/ 240 w 258"/>
                <a:gd name="T57" fmla="*/ 7 h 133"/>
                <a:gd name="T58" fmla="*/ 238 w 258"/>
                <a:gd name="T59" fmla="*/ 5 h 133"/>
                <a:gd name="T60" fmla="*/ 236 w 258"/>
                <a:gd name="T61" fmla="*/ 3 h 133"/>
                <a:gd name="T62" fmla="*/ 234 w 258"/>
                <a:gd name="T63" fmla="*/ 1 h 133"/>
                <a:gd name="T64" fmla="*/ 232 w 258"/>
                <a:gd name="T65" fmla="*/ 0 h 133"/>
                <a:gd name="T66" fmla="*/ 0 w 258"/>
                <a:gd name="T67" fmla="*/ 0 h 133"/>
                <a:gd name="T68" fmla="*/ 0 w 258"/>
                <a:gd name="T69" fmla="*/ 133 h 133"/>
                <a:gd name="T70" fmla="*/ 257 w 258"/>
                <a:gd name="T71" fmla="*/ 133 h 133"/>
                <a:gd name="T72" fmla="*/ 258 w 258"/>
                <a:gd name="T73" fmla="*/ 4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133">
                  <a:moveTo>
                    <a:pt x="258" y="40"/>
                  </a:moveTo>
                  <a:cubicBezTo>
                    <a:pt x="257" y="38"/>
                    <a:pt x="257" y="38"/>
                    <a:pt x="257" y="38"/>
                  </a:cubicBezTo>
                  <a:cubicBezTo>
                    <a:pt x="257" y="38"/>
                    <a:pt x="256" y="38"/>
                    <a:pt x="255" y="38"/>
                  </a:cubicBezTo>
                  <a:cubicBezTo>
                    <a:pt x="254" y="38"/>
                    <a:pt x="253" y="37"/>
                    <a:pt x="251" y="37"/>
                  </a:cubicBezTo>
                  <a:cubicBezTo>
                    <a:pt x="250" y="36"/>
                    <a:pt x="250" y="35"/>
                    <a:pt x="249" y="34"/>
                  </a:cubicBezTo>
                  <a:cubicBezTo>
                    <a:pt x="248" y="33"/>
                    <a:pt x="246" y="32"/>
                    <a:pt x="247" y="30"/>
                  </a:cubicBezTo>
                  <a:cubicBezTo>
                    <a:pt x="247" y="29"/>
                    <a:pt x="247" y="29"/>
                    <a:pt x="247" y="28"/>
                  </a:cubicBezTo>
                  <a:cubicBezTo>
                    <a:pt x="247" y="28"/>
                    <a:pt x="246" y="28"/>
                    <a:pt x="246" y="28"/>
                  </a:cubicBezTo>
                  <a:cubicBezTo>
                    <a:pt x="245" y="28"/>
                    <a:pt x="245" y="28"/>
                    <a:pt x="245" y="28"/>
                  </a:cubicBezTo>
                  <a:cubicBezTo>
                    <a:pt x="244" y="27"/>
                    <a:pt x="244" y="26"/>
                    <a:pt x="243" y="26"/>
                  </a:cubicBezTo>
                  <a:cubicBezTo>
                    <a:pt x="243" y="25"/>
                    <a:pt x="242" y="24"/>
                    <a:pt x="242" y="24"/>
                  </a:cubicBezTo>
                  <a:cubicBezTo>
                    <a:pt x="241" y="23"/>
                    <a:pt x="239" y="20"/>
                    <a:pt x="241" y="19"/>
                  </a:cubicBezTo>
                  <a:cubicBezTo>
                    <a:pt x="241" y="19"/>
                    <a:pt x="242" y="19"/>
                    <a:pt x="242" y="19"/>
                  </a:cubicBezTo>
                  <a:cubicBezTo>
                    <a:pt x="242" y="19"/>
                    <a:pt x="242" y="18"/>
                    <a:pt x="242" y="18"/>
                  </a:cubicBezTo>
                  <a:cubicBezTo>
                    <a:pt x="242" y="17"/>
                    <a:pt x="242" y="17"/>
                    <a:pt x="243" y="16"/>
                  </a:cubicBezTo>
                  <a:cubicBezTo>
                    <a:pt x="243" y="16"/>
                    <a:pt x="243" y="16"/>
                    <a:pt x="243" y="15"/>
                  </a:cubicBezTo>
                  <a:cubicBezTo>
                    <a:pt x="244" y="15"/>
                    <a:pt x="244" y="15"/>
                    <a:pt x="245" y="15"/>
                  </a:cubicBezTo>
                  <a:cubicBezTo>
                    <a:pt x="245" y="14"/>
                    <a:pt x="245" y="13"/>
                    <a:pt x="245" y="13"/>
                  </a:cubicBezTo>
                  <a:cubicBezTo>
                    <a:pt x="246" y="13"/>
                    <a:pt x="247" y="13"/>
                    <a:pt x="247" y="13"/>
                  </a:cubicBezTo>
                  <a:cubicBezTo>
                    <a:pt x="247" y="12"/>
                    <a:pt x="245" y="12"/>
                    <a:pt x="246" y="11"/>
                  </a:cubicBezTo>
                  <a:cubicBezTo>
                    <a:pt x="247" y="10"/>
                    <a:pt x="247" y="11"/>
                    <a:pt x="247" y="11"/>
                  </a:cubicBezTo>
                  <a:cubicBezTo>
                    <a:pt x="248" y="11"/>
                    <a:pt x="248" y="10"/>
                    <a:pt x="248" y="10"/>
                  </a:cubicBezTo>
                  <a:cubicBezTo>
                    <a:pt x="248" y="9"/>
                    <a:pt x="248" y="9"/>
                    <a:pt x="248" y="8"/>
                  </a:cubicBezTo>
                  <a:cubicBezTo>
                    <a:pt x="247" y="8"/>
                    <a:pt x="247" y="8"/>
                    <a:pt x="246" y="8"/>
                  </a:cubicBezTo>
                  <a:cubicBezTo>
                    <a:pt x="246" y="7"/>
                    <a:pt x="246" y="6"/>
                    <a:pt x="245" y="6"/>
                  </a:cubicBezTo>
                  <a:cubicBezTo>
                    <a:pt x="245" y="5"/>
                    <a:pt x="245" y="5"/>
                    <a:pt x="244" y="5"/>
                  </a:cubicBezTo>
                  <a:cubicBezTo>
                    <a:pt x="244" y="5"/>
                    <a:pt x="243" y="5"/>
                    <a:pt x="243" y="6"/>
                  </a:cubicBezTo>
                  <a:cubicBezTo>
                    <a:pt x="243" y="6"/>
                    <a:pt x="243" y="7"/>
                    <a:pt x="242" y="7"/>
                  </a:cubicBezTo>
                  <a:cubicBezTo>
                    <a:pt x="242" y="7"/>
                    <a:pt x="241" y="7"/>
                    <a:pt x="240" y="7"/>
                  </a:cubicBezTo>
                  <a:cubicBezTo>
                    <a:pt x="239" y="6"/>
                    <a:pt x="238" y="5"/>
                    <a:pt x="238" y="5"/>
                  </a:cubicBezTo>
                  <a:cubicBezTo>
                    <a:pt x="237" y="4"/>
                    <a:pt x="236" y="4"/>
                    <a:pt x="236" y="3"/>
                  </a:cubicBezTo>
                  <a:cubicBezTo>
                    <a:pt x="235" y="2"/>
                    <a:pt x="235" y="2"/>
                    <a:pt x="234" y="1"/>
                  </a:cubicBezTo>
                  <a:cubicBezTo>
                    <a:pt x="233" y="1"/>
                    <a:pt x="233" y="1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57" y="133"/>
                    <a:pt x="257" y="133"/>
                    <a:pt x="257" y="133"/>
                  </a:cubicBezTo>
                  <a:lnTo>
                    <a:pt x="258" y="4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979EDAED-EE14-4544-ABCC-F44F7394F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8249" y="2348458"/>
              <a:ext cx="887234" cy="579924"/>
            </a:xfrm>
            <a:custGeom>
              <a:avLst/>
              <a:gdLst>
                <a:gd name="T0" fmla="*/ 173 w 224"/>
                <a:gd name="T1" fmla="*/ 138 h 146"/>
                <a:gd name="T2" fmla="*/ 176 w 224"/>
                <a:gd name="T3" fmla="*/ 142 h 146"/>
                <a:gd name="T4" fmla="*/ 180 w 224"/>
                <a:gd name="T5" fmla="*/ 145 h 146"/>
                <a:gd name="T6" fmla="*/ 182 w 224"/>
                <a:gd name="T7" fmla="*/ 142 h 146"/>
                <a:gd name="T8" fmla="*/ 182 w 224"/>
                <a:gd name="T9" fmla="*/ 135 h 146"/>
                <a:gd name="T10" fmla="*/ 189 w 224"/>
                <a:gd name="T11" fmla="*/ 133 h 146"/>
                <a:gd name="T12" fmla="*/ 192 w 224"/>
                <a:gd name="T13" fmla="*/ 125 h 146"/>
                <a:gd name="T14" fmla="*/ 195 w 224"/>
                <a:gd name="T15" fmla="*/ 111 h 146"/>
                <a:gd name="T16" fmla="*/ 192 w 224"/>
                <a:gd name="T17" fmla="*/ 100 h 146"/>
                <a:gd name="T18" fmla="*/ 197 w 224"/>
                <a:gd name="T19" fmla="*/ 98 h 146"/>
                <a:gd name="T20" fmla="*/ 206 w 224"/>
                <a:gd name="T21" fmla="*/ 95 h 146"/>
                <a:gd name="T22" fmla="*/ 215 w 224"/>
                <a:gd name="T23" fmla="*/ 91 h 146"/>
                <a:gd name="T24" fmla="*/ 221 w 224"/>
                <a:gd name="T25" fmla="*/ 81 h 146"/>
                <a:gd name="T26" fmla="*/ 223 w 224"/>
                <a:gd name="T27" fmla="*/ 66 h 146"/>
                <a:gd name="T28" fmla="*/ 213 w 224"/>
                <a:gd name="T29" fmla="*/ 54 h 146"/>
                <a:gd name="T30" fmla="*/ 207 w 224"/>
                <a:gd name="T31" fmla="*/ 47 h 146"/>
                <a:gd name="T32" fmla="*/ 203 w 224"/>
                <a:gd name="T33" fmla="*/ 41 h 146"/>
                <a:gd name="T34" fmla="*/ 196 w 224"/>
                <a:gd name="T35" fmla="*/ 39 h 146"/>
                <a:gd name="T36" fmla="*/ 191 w 224"/>
                <a:gd name="T37" fmla="*/ 30 h 146"/>
                <a:gd name="T38" fmla="*/ 189 w 224"/>
                <a:gd name="T39" fmla="*/ 24 h 146"/>
                <a:gd name="T40" fmla="*/ 190 w 224"/>
                <a:gd name="T41" fmla="*/ 15 h 146"/>
                <a:gd name="T42" fmla="*/ 187 w 224"/>
                <a:gd name="T43" fmla="*/ 7 h 146"/>
                <a:gd name="T44" fmla="*/ 187 w 224"/>
                <a:gd name="T45" fmla="*/ 0 h 146"/>
                <a:gd name="T46" fmla="*/ 1 w 224"/>
                <a:gd name="T47" fmla="*/ 3 h 146"/>
                <a:gd name="T48" fmla="*/ 2 w 224"/>
                <a:gd name="T49" fmla="*/ 10 h 146"/>
                <a:gd name="T50" fmla="*/ 6 w 224"/>
                <a:gd name="T51" fmla="*/ 14 h 146"/>
                <a:gd name="T52" fmla="*/ 5 w 224"/>
                <a:gd name="T53" fmla="*/ 22 h 146"/>
                <a:gd name="T54" fmla="*/ 3 w 224"/>
                <a:gd name="T55" fmla="*/ 28 h 146"/>
                <a:gd name="T56" fmla="*/ 0 w 224"/>
                <a:gd name="T57" fmla="*/ 37 h 146"/>
                <a:gd name="T58" fmla="*/ 6 w 224"/>
                <a:gd name="T59" fmla="*/ 46 h 146"/>
                <a:gd name="T60" fmla="*/ 8 w 224"/>
                <a:gd name="T61" fmla="*/ 52 h 146"/>
                <a:gd name="T62" fmla="*/ 11 w 224"/>
                <a:gd name="T63" fmla="*/ 59 h 146"/>
                <a:gd name="T64" fmla="*/ 12 w 224"/>
                <a:gd name="T65" fmla="*/ 65 h 146"/>
                <a:gd name="T66" fmla="*/ 14 w 224"/>
                <a:gd name="T67" fmla="*/ 71 h 146"/>
                <a:gd name="T68" fmla="*/ 17 w 224"/>
                <a:gd name="T69" fmla="*/ 73 h 146"/>
                <a:gd name="T70" fmla="*/ 19 w 224"/>
                <a:gd name="T71" fmla="*/ 82 h 146"/>
                <a:gd name="T72" fmla="*/ 18 w 224"/>
                <a:gd name="T73" fmla="*/ 87 h 146"/>
                <a:gd name="T74" fmla="*/ 20 w 224"/>
                <a:gd name="T75" fmla="*/ 94 h 146"/>
                <a:gd name="T76" fmla="*/ 24 w 224"/>
                <a:gd name="T77" fmla="*/ 96 h 146"/>
                <a:gd name="T78" fmla="*/ 25 w 224"/>
                <a:gd name="T79" fmla="*/ 105 h 146"/>
                <a:gd name="T80" fmla="*/ 26 w 224"/>
                <a:gd name="T81" fmla="*/ 113 h 146"/>
                <a:gd name="T82" fmla="*/ 28 w 224"/>
                <a:gd name="T83" fmla="*/ 127 h 146"/>
                <a:gd name="T84" fmla="*/ 29 w 224"/>
                <a:gd name="T85" fmla="*/ 133 h 146"/>
                <a:gd name="T86" fmla="*/ 169 w 224"/>
                <a:gd name="T87" fmla="*/ 13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4" h="146">
                  <a:moveTo>
                    <a:pt x="169" y="135"/>
                  </a:moveTo>
                  <a:cubicBezTo>
                    <a:pt x="169" y="135"/>
                    <a:pt x="170" y="137"/>
                    <a:pt x="171" y="137"/>
                  </a:cubicBezTo>
                  <a:cubicBezTo>
                    <a:pt x="171" y="137"/>
                    <a:pt x="173" y="138"/>
                    <a:pt x="173" y="138"/>
                  </a:cubicBezTo>
                  <a:cubicBezTo>
                    <a:pt x="173" y="138"/>
                    <a:pt x="174" y="139"/>
                    <a:pt x="174" y="139"/>
                  </a:cubicBezTo>
                  <a:cubicBezTo>
                    <a:pt x="174" y="139"/>
                    <a:pt x="174" y="141"/>
                    <a:pt x="175" y="141"/>
                  </a:cubicBezTo>
                  <a:cubicBezTo>
                    <a:pt x="175" y="141"/>
                    <a:pt x="176" y="142"/>
                    <a:pt x="176" y="142"/>
                  </a:cubicBezTo>
                  <a:cubicBezTo>
                    <a:pt x="176" y="142"/>
                    <a:pt x="176" y="143"/>
                    <a:pt x="176" y="143"/>
                  </a:cubicBezTo>
                  <a:cubicBezTo>
                    <a:pt x="177" y="144"/>
                    <a:pt x="177" y="144"/>
                    <a:pt x="178" y="144"/>
                  </a:cubicBezTo>
                  <a:cubicBezTo>
                    <a:pt x="178" y="144"/>
                    <a:pt x="180" y="145"/>
                    <a:pt x="180" y="145"/>
                  </a:cubicBezTo>
                  <a:cubicBezTo>
                    <a:pt x="180" y="146"/>
                    <a:pt x="180" y="146"/>
                    <a:pt x="180" y="146"/>
                  </a:cubicBezTo>
                  <a:cubicBezTo>
                    <a:pt x="180" y="146"/>
                    <a:pt x="181" y="145"/>
                    <a:pt x="181" y="145"/>
                  </a:cubicBezTo>
                  <a:cubicBezTo>
                    <a:pt x="182" y="144"/>
                    <a:pt x="182" y="142"/>
                    <a:pt x="182" y="142"/>
                  </a:cubicBezTo>
                  <a:cubicBezTo>
                    <a:pt x="182" y="141"/>
                    <a:pt x="181" y="140"/>
                    <a:pt x="181" y="139"/>
                  </a:cubicBezTo>
                  <a:cubicBezTo>
                    <a:pt x="181" y="139"/>
                    <a:pt x="181" y="138"/>
                    <a:pt x="181" y="137"/>
                  </a:cubicBezTo>
                  <a:cubicBezTo>
                    <a:pt x="181" y="136"/>
                    <a:pt x="182" y="136"/>
                    <a:pt x="182" y="135"/>
                  </a:cubicBezTo>
                  <a:cubicBezTo>
                    <a:pt x="183" y="135"/>
                    <a:pt x="183" y="134"/>
                    <a:pt x="184" y="134"/>
                  </a:cubicBezTo>
                  <a:cubicBezTo>
                    <a:pt x="185" y="134"/>
                    <a:pt x="186" y="134"/>
                    <a:pt x="187" y="134"/>
                  </a:cubicBezTo>
                  <a:cubicBezTo>
                    <a:pt x="188" y="134"/>
                    <a:pt x="189" y="134"/>
                    <a:pt x="189" y="133"/>
                  </a:cubicBezTo>
                  <a:cubicBezTo>
                    <a:pt x="190" y="132"/>
                    <a:pt x="190" y="132"/>
                    <a:pt x="191" y="131"/>
                  </a:cubicBezTo>
                  <a:cubicBezTo>
                    <a:pt x="191" y="130"/>
                    <a:pt x="191" y="128"/>
                    <a:pt x="191" y="128"/>
                  </a:cubicBezTo>
                  <a:cubicBezTo>
                    <a:pt x="191" y="127"/>
                    <a:pt x="191" y="126"/>
                    <a:pt x="192" y="125"/>
                  </a:cubicBezTo>
                  <a:cubicBezTo>
                    <a:pt x="192" y="124"/>
                    <a:pt x="194" y="123"/>
                    <a:pt x="195" y="122"/>
                  </a:cubicBezTo>
                  <a:cubicBezTo>
                    <a:pt x="196" y="121"/>
                    <a:pt x="196" y="118"/>
                    <a:pt x="196" y="117"/>
                  </a:cubicBezTo>
                  <a:cubicBezTo>
                    <a:pt x="196" y="116"/>
                    <a:pt x="196" y="112"/>
                    <a:pt x="195" y="111"/>
                  </a:cubicBezTo>
                  <a:cubicBezTo>
                    <a:pt x="194" y="109"/>
                    <a:pt x="192" y="107"/>
                    <a:pt x="191" y="107"/>
                  </a:cubicBezTo>
                  <a:cubicBezTo>
                    <a:pt x="191" y="106"/>
                    <a:pt x="191" y="105"/>
                    <a:pt x="191" y="104"/>
                  </a:cubicBezTo>
                  <a:cubicBezTo>
                    <a:pt x="191" y="103"/>
                    <a:pt x="192" y="101"/>
                    <a:pt x="192" y="100"/>
                  </a:cubicBezTo>
                  <a:cubicBezTo>
                    <a:pt x="192" y="100"/>
                    <a:pt x="193" y="98"/>
                    <a:pt x="193" y="98"/>
                  </a:cubicBezTo>
                  <a:cubicBezTo>
                    <a:pt x="194" y="98"/>
                    <a:pt x="194" y="97"/>
                    <a:pt x="195" y="97"/>
                  </a:cubicBezTo>
                  <a:cubicBezTo>
                    <a:pt x="196" y="97"/>
                    <a:pt x="196" y="98"/>
                    <a:pt x="197" y="98"/>
                  </a:cubicBezTo>
                  <a:cubicBezTo>
                    <a:pt x="198" y="97"/>
                    <a:pt x="198" y="97"/>
                    <a:pt x="199" y="96"/>
                  </a:cubicBezTo>
                  <a:cubicBezTo>
                    <a:pt x="200" y="96"/>
                    <a:pt x="201" y="96"/>
                    <a:pt x="201" y="96"/>
                  </a:cubicBezTo>
                  <a:cubicBezTo>
                    <a:pt x="202" y="96"/>
                    <a:pt x="206" y="96"/>
                    <a:pt x="206" y="95"/>
                  </a:cubicBezTo>
                  <a:cubicBezTo>
                    <a:pt x="207" y="94"/>
                    <a:pt x="207" y="94"/>
                    <a:pt x="208" y="93"/>
                  </a:cubicBezTo>
                  <a:cubicBezTo>
                    <a:pt x="210" y="93"/>
                    <a:pt x="211" y="94"/>
                    <a:pt x="212" y="93"/>
                  </a:cubicBezTo>
                  <a:cubicBezTo>
                    <a:pt x="213" y="93"/>
                    <a:pt x="214" y="92"/>
                    <a:pt x="215" y="91"/>
                  </a:cubicBezTo>
                  <a:cubicBezTo>
                    <a:pt x="216" y="91"/>
                    <a:pt x="216" y="91"/>
                    <a:pt x="217" y="89"/>
                  </a:cubicBezTo>
                  <a:cubicBezTo>
                    <a:pt x="218" y="88"/>
                    <a:pt x="218" y="86"/>
                    <a:pt x="218" y="85"/>
                  </a:cubicBezTo>
                  <a:cubicBezTo>
                    <a:pt x="218" y="83"/>
                    <a:pt x="219" y="82"/>
                    <a:pt x="221" y="81"/>
                  </a:cubicBezTo>
                  <a:cubicBezTo>
                    <a:pt x="222" y="80"/>
                    <a:pt x="223" y="79"/>
                    <a:pt x="223" y="78"/>
                  </a:cubicBezTo>
                  <a:cubicBezTo>
                    <a:pt x="224" y="76"/>
                    <a:pt x="224" y="73"/>
                    <a:pt x="224" y="71"/>
                  </a:cubicBezTo>
                  <a:cubicBezTo>
                    <a:pt x="224" y="70"/>
                    <a:pt x="224" y="67"/>
                    <a:pt x="223" y="66"/>
                  </a:cubicBezTo>
                  <a:cubicBezTo>
                    <a:pt x="222" y="65"/>
                    <a:pt x="218" y="62"/>
                    <a:pt x="216" y="61"/>
                  </a:cubicBezTo>
                  <a:cubicBezTo>
                    <a:pt x="215" y="60"/>
                    <a:pt x="214" y="59"/>
                    <a:pt x="214" y="57"/>
                  </a:cubicBezTo>
                  <a:cubicBezTo>
                    <a:pt x="214" y="56"/>
                    <a:pt x="214" y="55"/>
                    <a:pt x="213" y="54"/>
                  </a:cubicBezTo>
                  <a:cubicBezTo>
                    <a:pt x="212" y="53"/>
                    <a:pt x="211" y="52"/>
                    <a:pt x="210" y="51"/>
                  </a:cubicBezTo>
                  <a:cubicBezTo>
                    <a:pt x="208" y="50"/>
                    <a:pt x="207" y="50"/>
                    <a:pt x="207" y="49"/>
                  </a:cubicBezTo>
                  <a:cubicBezTo>
                    <a:pt x="207" y="49"/>
                    <a:pt x="207" y="47"/>
                    <a:pt x="207" y="47"/>
                  </a:cubicBezTo>
                  <a:cubicBezTo>
                    <a:pt x="206" y="46"/>
                    <a:pt x="206" y="45"/>
                    <a:pt x="206" y="44"/>
                  </a:cubicBezTo>
                  <a:cubicBezTo>
                    <a:pt x="205" y="44"/>
                    <a:pt x="205" y="43"/>
                    <a:pt x="205" y="42"/>
                  </a:cubicBezTo>
                  <a:cubicBezTo>
                    <a:pt x="204" y="42"/>
                    <a:pt x="204" y="41"/>
                    <a:pt x="203" y="41"/>
                  </a:cubicBezTo>
                  <a:cubicBezTo>
                    <a:pt x="202" y="40"/>
                    <a:pt x="201" y="40"/>
                    <a:pt x="200" y="40"/>
                  </a:cubicBezTo>
                  <a:cubicBezTo>
                    <a:pt x="199" y="40"/>
                    <a:pt x="199" y="40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5" y="39"/>
                    <a:pt x="195" y="38"/>
                    <a:pt x="194" y="38"/>
                  </a:cubicBezTo>
                  <a:cubicBezTo>
                    <a:pt x="192" y="36"/>
                    <a:pt x="192" y="34"/>
                    <a:pt x="192" y="32"/>
                  </a:cubicBezTo>
                  <a:cubicBezTo>
                    <a:pt x="192" y="31"/>
                    <a:pt x="192" y="30"/>
                    <a:pt x="191" y="30"/>
                  </a:cubicBezTo>
                  <a:cubicBezTo>
                    <a:pt x="191" y="29"/>
                    <a:pt x="190" y="28"/>
                    <a:pt x="190" y="28"/>
                  </a:cubicBezTo>
                  <a:cubicBezTo>
                    <a:pt x="190" y="27"/>
                    <a:pt x="189" y="27"/>
                    <a:pt x="189" y="26"/>
                  </a:cubicBezTo>
                  <a:cubicBezTo>
                    <a:pt x="189" y="25"/>
                    <a:pt x="189" y="25"/>
                    <a:pt x="189" y="24"/>
                  </a:cubicBezTo>
                  <a:cubicBezTo>
                    <a:pt x="188" y="23"/>
                    <a:pt x="189" y="21"/>
                    <a:pt x="189" y="20"/>
                  </a:cubicBezTo>
                  <a:cubicBezTo>
                    <a:pt x="189" y="19"/>
                    <a:pt x="188" y="18"/>
                    <a:pt x="189" y="17"/>
                  </a:cubicBezTo>
                  <a:cubicBezTo>
                    <a:pt x="189" y="16"/>
                    <a:pt x="190" y="15"/>
                    <a:pt x="190" y="15"/>
                  </a:cubicBezTo>
                  <a:cubicBezTo>
                    <a:pt x="191" y="14"/>
                    <a:pt x="192" y="13"/>
                    <a:pt x="192" y="13"/>
                  </a:cubicBezTo>
                  <a:cubicBezTo>
                    <a:pt x="193" y="10"/>
                    <a:pt x="190" y="9"/>
                    <a:pt x="188" y="8"/>
                  </a:cubicBezTo>
                  <a:cubicBezTo>
                    <a:pt x="188" y="8"/>
                    <a:pt x="187" y="7"/>
                    <a:pt x="187" y="7"/>
                  </a:cubicBezTo>
                  <a:cubicBezTo>
                    <a:pt x="187" y="6"/>
                    <a:pt x="187" y="6"/>
                    <a:pt x="187" y="5"/>
                  </a:cubicBezTo>
                  <a:cubicBezTo>
                    <a:pt x="187" y="4"/>
                    <a:pt x="187" y="4"/>
                    <a:pt x="187" y="3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2" y="3"/>
                    <a:pt x="4" y="5"/>
                    <a:pt x="4" y="5"/>
                  </a:cubicBezTo>
                  <a:cubicBezTo>
                    <a:pt x="4" y="6"/>
                    <a:pt x="4" y="9"/>
                    <a:pt x="4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6" y="14"/>
                    <a:pt x="6" y="14"/>
                  </a:cubicBezTo>
                  <a:cubicBezTo>
                    <a:pt x="6" y="14"/>
                    <a:pt x="7" y="18"/>
                    <a:pt x="7" y="19"/>
                  </a:cubicBezTo>
                  <a:cubicBezTo>
                    <a:pt x="7" y="19"/>
                    <a:pt x="7" y="20"/>
                    <a:pt x="7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5" y="22"/>
                    <a:pt x="4" y="22"/>
                    <a:pt x="4" y="23"/>
                  </a:cubicBezTo>
                  <a:cubicBezTo>
                    <a:pt x="4" y="23"/>
                    <a:pt x="5" y="26"/>
                    <a:pt x="5" y="27"/>
                  </a:cubicBezTo>
                  <a:cubicBezTo>
                    <a:pt x="5" y="27"/>
                    <a:pt x="3" y="28"/>
                    <a:pt x="3" y="28"/>
                  </a:cubicBezTo>
                  <a:cubicBezTo>
                    <a:pt x="3" y="29"/>
                    <a:pt x="3" y="32"/>
                    <a:pt x="3" y="32"/>
                  </a:cubicBezTo>
                  <a:cubicBezTo>
                    <a:pt x="3" y="32"/>
                    <a:pt x="0" y="35"/>
                    <a:pt x="0" y="35"/>
                  </a:cubicBezTo>
                  <a:cubicBezTo>
                    <a:pt x="0" y="35"/>
                    <a:pt x="0" y="37"/>
                    <a:pt x="0" y="37"/>
                  </a:cubicBezTo>
                  <a:cubicBezTo>
                    <a:pt x="0" y="38"/>
                    <a:pt x="4" y="41"/>
                    <a:pt x="4" y="41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6" y="46"/>
                    <a:pt x="6" y="46"/>
                  </a:cubicBezTo>
                  <a:cubicBezTo>
                    <a:pt x="6" y="46"/>
                    <a:pt x="5" y="48"/>
                    <a:pt x="5" y="48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52"/>
                    <a:pt x="8" y="52"/>
                  </a:cubicBezTo>
                  <a:cubicBezTo>
                    <a:pt x="8" y="53"/>
                    <a:pt x="8" y="54"/>
                    <a:pt x="8" y="55"/>
                  </a:cubicBezTo>
                  <a:cubicBezTo>
                    <a:pt x="8" y="55"/>
                    <a:pt x="9" y="57"/>
                    <a:pt x="9" y="57"/>
                  </a:cubicBezTo>
                  <a:cubicBezTo>
                    <a:pt x="10" y="58"/>
                    <a:pt x="11" y="59"/>
                    <a:pt x="11" y="59"/>
                  </a:cubicBezTo>
                  <a:cubicBezTo>
                    <a:pt x="11" y="59"/>
                    <a:pt x="10" y="61"/>
                    <a:pt x="10" y="61"/>
                  </a:cubicBezTo>
                  <a:cubicBezTo>
                    <a:pt x="10" y="62"/>
                    <a:pt x="10" y="63"/>
                    <a:pt x="10" y="63"/>
                  </a:cubicBezTo>
                  <a:cubicBezTo>
                    <a:pt x="10" y="63"/>
                    <a:pt x="12" y="65"/>
                    <a:pt x="12" y="65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4" y="69"/>
                    <a:pt x="14" y="69"/>
                  </a:cubicBezTo>
                  <a:cubicBezTo>
                    <a:pt x="14" y="69"/>
                    <a:pt x="14" y="71"/>
                    <a:pt x="14" y="71"/>
                  </a:cubicBezTo>
                  <a:cubicBezTo>
                    <a:pt x="14" y="72"/>
                    <a:pt x="15" y="71"/>
                    <a:pt x="15" y="71"/>
                  </a:cubicBezTo>
                  <a:cubicBezTo>
                    <a:pt x="16" y="71"/>
                    <a:pt x="16" y="72"/>
                    <a:pt x="16" y="72"/>
                  </a:cubicBezTo>
                  <a:cubicBezTo>
                    <a:pt x="16" y="72"/>
                    <a:pt x="17" y="72"/>
                    <a:pt x="17" y="73"/>
                  </a:cubicBezTo>
                  <a:cubicBezTo>
                    <a:pt x="18" y="73"/>
                    <a:pt x="16" y="76"/>
                    <a:pt x="16" y="76"/>
                  </a:cubicBezTo>
                  <a:cubicBezTo>
                    <a:pt x="16" y="76"/>
                    <a:pt x="19" y="79"/>
                    <a:pt x="20" y="80"/>
                  </a:cubicBezTo>
                  <a:cubicBezTo>
                    <a:pt x="20" y="80"/>
                    <a:pt x="19" y="82"/>
                    <a:pt x="19" y="82"/>
                  </a:cubicBezTo>
                  <a:cubicBezTo>
                    <a:pt x="19" y="82"/>
                    <a:pt x="19" y="84"/>
                    <a:pt x="19" y="85"/>
                  </a:cubicBezTo>
                  <a:cubicBezTo>
                    <a:pt x="19" y="85"/>
                    <a:pt x="18" y="85"/>
                    <a:pt x="18" y="85"/>
                  </a:cubicBezTo>
                  <a:cubicBezTo>
                    <a:pt x="18" y="85"/>
                    <a:pt x="18" y="87"/>
                    <a:pt x="18" y="87"/>
                  </a:cubicBezTo>
                  <a:cubicBezTo>
                    <a:pt x="18" y="87"/>
                    <a:pt x="18" y="89"/>
                    <a:pt x="18" y="89"/>
                  </a:cubicBezTo>
                  <a:cubicBezTo>
                    <a:pt x="18" y="89"/>
                    <a:pt x="19" y="91"/>
                    <a:pt x="19" y="92"/>
                  </a:cubicBezTo>
                  <a:cubicBezTo>
                    <a:pt x="19" y="92"/>
                    <a:pt x="20" y="94"/>
                    <a:pt x="20" y="94"/>
                  </a:cubicBezTo>
                  <a:cubicBezTo>
                    <a:pt x="20" y="94"/>
                    <a:pt x="21" y="92"/>
                    <a:pt x="22" y="92"/>
                  </a:cubicBezTo>
                  <a:cubicBezTo>
                    <a:pt x="22" y="92"/>
                    <a:pt x="21" y="95"/>
                    <a:pt x="21" y="95"/>
                  </a:cubicBezTo>
                  <a:cubicBezTo>
                    <a:pt x="21" y="95"/>
                    <a:pt x="24" y="96"/>
                    <a:pt x="24" y="96"/>
                  </a:cubicBezTo>
                  <a:cubicBezTo>
                    <a:pt x="25" y="97"/>
                    <a:pt x="25" y="98"/>
                    <a:pt x="25" y="99"/>
                  </a:cubicBezTo>
                  <a:cubicBezTo>
                    <a:pt x="25" y="99"/>
                    <a:pt x="26" y="102"/>
                    <a:pt x="26" y="103"/>
                  </a:cubicBezTo>
                  <a:cubicBezTo>
                    <a:pt x="26" y="104"/>
                    <a:pt x="25" y="104"/>
                    <a:pt x="25" y="105"/>
                  </a:cubicBezTo>
                  <a:cubicBezTo>
                    <a:pt x="24" y="105"/>
                    <a:pt x="24" y="106"/>
                    <a:pt x="24" y="107"/>
                  </a:cubicBezTo>
                  <a:cubicBezTo>
                    <a:pt x="24" y="108"/>
                    <a:pt x="25" y="109"/>
                    <a:pt x="26" y="109"/>
                  </a:cubicBezTo>
                  <a:cubicBezTo>
                    <a:pt x="26" y="110"/>
                    <a:pt x="26" y="112"/>
                    <a:pt x="26" y="113"/>
                  </a:cubicBezTo>
                  <a:cubicBezTo>
                    <a:pt x="26" y="114"/>
                    <a:pt x="27" y="116"/>
                    <a:pt x="27" y="117"/>
                  </a:cubicBezTo>
                  <a:cubicBezTo>
                    <a:pt x="28" y="118"/>
                    <a:pt x="28" y="121"/>
                    <a:pt x="28" y="122"/>
                  </a:cubicBezTo>
                  <a:cubicBezTo>
                    <a:pt x="28" y="123"/>
                    <a:pt x="28" y="126"/>
                    <a:pt x="28" y="127"/>
                  </a:cubicBezTo>
                  <a:cubicBezTo>
                    <a:pt x="27" y="129"/>
                    <a:pt x="27" y="129"/>
                    <a:pt x="26" y="129"/>
                  </a:cubicBezTo>
                  <a:cubicBezTo>
                    <a:pt x="25" y="130"/>
                    <a:pt x="26" y="131"/>
                    <a:pt x="27" y="131"/>
                  </a:cubicBezTo>
                  <a:cubicBezTo>
                    <a:pt x="27" y="132"/>
                    <a:pt x="29" y="132"/>
                    <a:pt x="29" y="133"/>
                  </a:cubicBezTo>
                  <a:cubicBezTo>
                    <a:pt x="30" y="133"/>
                    <a:pt x="30" y="136"/>
                    <a:pt x="30" y="136"/>
                  </a:cubicBezTo>
                  <a:cubicBezTo>
                    <a:pt x="70" y="136"/>
                    <a:pt x="70" y="136"/>
                    <a:pt x="70" y="136"/>
                  </a:cubicBezTo>
                  <a:lnTo>
                    <a:pt x="169" y="13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5BFB2D03-DDB8-4954-B6EF-BCB2CFDEC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8009" y="2673942"/>
              <a:ext cx="451052" cy="713753"/>
            </a:xfrm>
            <a:custGeom>
              <a:avLst/>
              <a:gdLst>
                <a:gd name="T0" fmla="*/ 5 w 114"/>
                <a:gd name="T1" fmla="*/ 175 h 180"/>
                <a:gd name="T2" fmla="*/ 9 w 114"/>
                <a:gd name="T3" fmla="*/ 175 h 180"/>
                <a:gd name="T4" fmla="*/ 14 w 114"/>
                <a:gd name="T5" fmla="*/ 176 h 180"/>
                <a:gd name="T6" fmla="*/ 16 w 114"/>
                <a:gd name="T7" fmla="*/ 173 h 180"/>
                <a:gd name="T8" fmla="*/ 20 w 114"/>
                <a:gd name="T9" fmla="*/ 173 h 180"/>
                <a:gd name="T10" fmla="*/ 30 w 114"/>
                <a:gd name="T11" fmla="*/ 176 h 180"/>
                <a:gd name="T12" fmla="*/ 33 w 114"/>
                <a:gd name="T13" fmla="*/ 179 h 180"/>
                <a:gd name="T14" fmla="*/ 36 w 114"/>
                <a:gd name="T15" fmla="*/ 174 h 180"/>
                <a:gd name="T16" fmla="*/ 44 w 114"/>
                <a:gd name="T17" fmla="*/ 170 h 180"/>
                <a:gd name="T18" fmla="*/ 49 w 114"/>
                <a:gd name="T19" fmla="*/ 174 h 180"/>
                <a:gd name="T20" fmla="*/ 52 w 114"/>
                <a:gd name="T21" fmla="*/ 176 h 180"/>
                <a:gd name="T22" fmla="*/ 54 w 114"/>
                <a:gd name="T23" fmla="*/ 170 h 180"/>
                <a:gd name="T24" fmla="*/ 56 w 114"/>
                <a:gd name="T25" fmla="*/ 165 h 180"/>
                <a:gd name="T26" fmla="*/ 60 w 114"/>
                <a:gd name="T27" fmla="*/ 162 h 180"/>
                <a:gd name="T28" fmla="*/ 63 w 114"/>
                <a:gd name="T29" fmla="*/ 164 h 180"/>
                <a:gd name="T30" fmla="*/ 69 w 114"/>
                <a:gd name="T31" fmla="*/ 170 h 180"/>
                <a:gd name="T32" fmla="*/ 75 w 114"/>
                <a:gd name="T33" fmla="*/ 168 h 180"/>
                <a:gd name="T34" fmla="*/ 78 w 114"/>
                <a:gd name="T35" fmla="*/ 158 h 180"/>
                <a:gd name="T36" fmla="*/ 85 w 114"/>
                <a:gd name="T37" fmla="*/ 154 h 180"/>
                <a:gd name="T38" fmla="*/ 92 w 114"/>
                <a:gd name="T39" fmla="*/ 145 h 180"/>
                <a:gd name="T40" fmla="*/ 95 w 114"/>
                <a:gd name="T41" fmla="*/ 137 h 180"/>
                <a:gd name="T42" fmla="*/ 103 w 114"/>
                <a:gd name="T43" fmla="*/ 138 h 180"/>
                <a:gd name="T44" fmla="*/ 113 w 114"/>
                <a:gd name="T45" fmla="*/ 135 h 180"/>
                <a:gd name="T46" fmla="*/ 113 w 114"/>
                <a:gd name="T47" fmla="*/ 130 h 180"/>
                <a:gd name="T48" fmla="*/ 112 w 114"/>
                <a:gd name="T49" fmla="*/ 126 h 180"/>
                <a:gd name="T50" fmla="*/ 113 w 114"/>
                <a:gd name="T51" fmla="*/ 120 h 180"/>
                <a:gd name="T52" fmla="*/ 45 w 114"/>
                <a:gd name="T53" fmla="*/ 0 h 180"/>
                <a:gd name="T54" fmla="*/ 41 w 114"/>
                <a:gd name="T55" fmla="*/ 2 h 180"/>
                <a:gd name="T56" fmla="*/ 33 w 114"/>
                <a:gd name="T57" fmla="*/ 6 h 180"/>
                <a:gd name="T58" fmla="*/ 30 w 114"/>
                <a:gd name="T59" fmla="*/ 7 h 180"/>
                <a:gd name="T60" fmla="*/ 27 w 114"/>
                <a:gd name="T61" fmla="*/ 7 h 180"/>
                <a:gd name="T62" fmla="*/ 22 w 114"/>
                <a:gd name="T63" fmla="*/ 4 h 180"/>
                <a:gd name="T64" fmla="*/ 19 w 114"/>
                <a:gd name="T65" fmla="*/ 0 h 180"/>
                <a:gd name="T66" fmla="*/ 17 w 114"/>
                <a:gd name="T67" fmla="*/ 113 h 180"/>
                <a:gd name="T68" fmla="*/ 16 w 114"/>
                <a:gd name="T69" fmla="*/ 119 h 180"/>
                <a:gd name="T70" fmla="*/ 18 w 114"/>
                <a:gd name="T71" fmla="*/ 123 h 180"/>
                <a:gd name="T72" fmla="*/ 20 w 114"/>
                <a:gd name="T73" fmla="*/ 128 h 180"/>
                <a:gd name="T74" fmla="*/ 19 w 114"/>
                <a:gd name="T75" fmla="*/ 133 h 180"/>
                <a:gd name="T76" fmla="*/ 17 w 114"/>
                <a:gd name="T77" fmla="*/ 141 h 180"/>
                <a:gd name="T78" fmla="*/ 15 w 114"/>
                <a:gd name="T79" fmla="*/ 145 h 180"/>
                <a:gd name="T80" fmla="*/ 14 w 114"/>
                <a:gd name="T81" fmla="*/ 148 h 180"/>
                <a:gd name="T82" fmla="*/ 9 w 114"/>
                <a:gd name="T83" fmla="*/ 154 h 180"/>
                <a:gd name="T84" fmla="*/ 6 w 114"/>
                <a:gd name="T85" fmla="*/ 157 h 180"/>
                <a:gd name="T86" fmla="*/ 4 w 114"/>
                <a:gd name="T87" fmla="*/ 158 h 180"/>
                <a:gd name="T88" fmla="*/ 6 w 114"/>
                <a:gd name="T89" fmla="*/ 162 h 180"/>
                <a:gd name="T90" fmla="*/ 5 w 114"/>
                <a:gd name="T91" fmla="*/ 166 h 180"/>
                <a:gd name="T92" fmla="*/ 3 w 114"/>
                <a:gd name="T93" fmla="*/ 168 h 180"/>
                <a:gd name="T94" fmla="*/ 1 w 114"/>
                <a:gd name="T95" fmla="*/ 173 h 180"/>
                <a:gd name="T96" fmla="*/ 2 w 114"/>
                <a:gd name="T97" fmla="*/ 177 h 180"/>
                <a:gd name="T98" fmla="*/ 5 w 114"/>
                <a:gd name="T99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4" h="180">
                  <a:moveTo>
                    <a:pt x="7" y="178"/>
                  </a:moveTo>
                  <a:cubicBezTo>
                    <a:pt x="7" y="178"/>
                    <a:pt x="6" y="177"/>
                    <a:pt x="6" y="177"/>
                  </a:cubicBezTo>
                  <a:cubicBezTo>
                    <a:pt x="6" y="177"/>
                    <a:pt x="5" y="176"/>
                    <a:pt x="5" y="175"/>
                  </a:cubicBezTo>
                  <a:cubicBezTo>
                    <a:pt x="6" y="175"/>
                    <a:pt x="6" y="173"/>
                    <a:pt x="6" y="173"/>
                  </a:cubicBezTo>
                  <a:cubicBezTo>
                    <a:pt x="6" y="173"/>
                    <a:pt x="7" y="173"/>
                    <a:pt x="8" y="173"/>
                  </a:cubicBezTo>
                  <a:cubicBezTo>
                    <a:pt x="8" y="174"/>
                    <a:pt x="9" y="175"/>
                    <a:pt x="9" y="175"/>
                  </a:cubicBezTo>
                  <a:cubicBezTo>
                    <a:pt x="9" y="175"/>
                    <a:pt x="11" y="175"/>
                    <a:pt x="12" y="175"/>
                  </a:cubicBezTo>
                  <a:cubicBezTo>
                    <a:pt x="12" y="174"/>
                    <a:pt x="13" y="174"/>
                    <a:pt x="13" y="174"/>
                  </a:cubicBezTo>
                  <a:cubicBezTo>
                    <a:pt x="14" y="174"/>
                    <a:pt x="14" y="175"/>
                    <a:pt x="14" y="176"/>
                  </a:cubicBezTo>
                  <a:cubicBezTo>
                    <a:pt x="14" y="176"/>
                    <a:pt x="14" y="177"/>
                    <a:pt x="15" y="177"/>
                  </a:cubicBezTo>
                  <a:cubicBezTo>
                    <a:pt x="17" y="177"/>
                    <a:pt x="17" y="177"/>
                    <a:pt x="17" y="176"/>
                  </a:cubicBezTo>
                  <a:cubicBezTo>
                    <a:pt x="17" y="176"/>
                    <a:pt x="17" y="174"/>
                    <a:pt x="16" y="173"/>
                  </a:cubicBezTo>
                  <a:cubicBezTo>
                    <a:pt x="16" y="173"/>
                    <a:pt x="16" y="172"/>
                    <a:pt x="17" y="171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19" y="172"/>
                    <a:pt x="20" y="173"/>
                    <a:pt x="20" y="173"/>
                  </a:cubicBezTo>
                  <a:cubicBezTo>
                    <a:pt x="21" y="173"/>
                    <a:pt x="21" y="173"/>
                    <a:pt x="22" y="172"/>
                  </a:cubicBezTo>
                  <a:cubicBezTo>
                    <a:pt x="23" y="172"/>
                    <a:pt x="24" y="172"/>
                    <a:pt x="24" y="172"/>
                  </a:cubicBezTo>
                  <a:cubicBezTo>
                    <a:pt x="24" y="172"/>
                    <a:pt x="30" y="176"/>
                    <a:pt x="30" y="176"/>
                  </a:cubicBezTo>
                  <a:cubicBezTo>
                    <a:pt x="31" y="176"/>
                    <a:pt x="32" y="176"/>
                    <a:pt x="32" y="176"/>
                  </a:cubicBezTo>
                  <a:cubicBezTo>
                    <a:pt x="32" y="176"/>
                    <a:pt x="32" y="177"/>
                    <a:pt x="33" y="177"/>
                  </a:cubicBezTo>
                  <a:cubicBezTo>
                    <a:pt x="33" y="178"/>
                    <a:pt x="33" y="179"/>
                    <a:pt x="33" y="179"/>
                  </a:cubicBezTo>
                  <a:cubicBezTo>
                    <a:pt x="33" y="179"/>
                    <a:pt x="34" y="179"/>
                    <a:pt x="34" y="179"/>
                  </a:cubicBezTo>
                  <a:cubicBezTo>
                    <a:pt x="35" y="178"/>
                    <a:pt x="35" y="177"/>
                    <a:pt x="35" y="177"/>
                  </a:cubicBezTo>
                  <a:cubicBezTo>
                    <a:pt x="36" y="176"/>
                    <a:pt x="36" y="175"/>
                    <a:pt x="36" y="174"/>
                  </a:cubicBezTo>
                  <a:cubicBezTo>
                    <a:pt x="36" y="174"/>
                    <a:pt x="37" y="174"/>
                    <a:pt x="38" y="173"/>
                  </a:cubicBezTo>
                  <a:cubicBezTo>
                    <a:pt x="39" y="173"/>
                    <a:pt x="41" y="172"/>
                    <a:pt x="42" y="172"/>
                  </a:cubicBezTo>
                  <a:cubicBezTo>
                    <a:pt x="42" y="171"/>
                    <a:pt x="44" y="170"/>
                    <a:pt x="44" y="170"/>
                  </a:cubicBezTo>
                  <a:cubicBezTo>
                    <a:pt x="44" y="170"/>
                    <a:pt x="45" y="171"/>
                    <a:pt x="45" y="171"/>
                  </a:cubicBezTo>
                  <a:cubicBezTo>
                    <a:pt x="45" y="172"/>
                    <a:pt x="46" y="173"/>
                    <a:pt x="47" y="173"/>
                  </a:cubicBezTo>
                  <a:cubicBezTo>
                    <a:pt x="47" y="174"/>
                    <a:pt x="48" y="174"/>
                    <a:pt x="49" y="174"/>
                  </a:cubicBezTo>
                  <a:cubicBezTo>
                    <a:pt x="49" y="174"/>
                    <a:pt x="50" y="173"/>
                    <a:pt x="50" y="174"/>
                  </a:cubicBezTo>
                  <a:cubicBezTo>
                    <a:pt x="50" y="174"/>
                    <a:pt x="50" y="176"/>
                    <a:pt x="50" y="176"/>
                  </a:cubicBezTo>
                  <a:cubicBezTo>
                    <a:pt x="50" y="176"/>
                    <a:pt x="51" y="177"/>
                    <a:pt x="52" y="176"/>
                  </a:cubicBezTo>
                  <a:cubicBezTo>
                    <a:pt x="52" y="175"/>
                    <a:pt x="52" y="173"/>
                    <a:pt x="52" y="173"/>
                  </a:cubicBezTo>
                  <a:cubicBezTo>
                    <a:pt x="53" y="173"/>
                    <a:pt x="54" y="173"/>
                    <a:pt x="55" y="173"/>
                  </a:cubicBezTo>
                  <a:cubicBezTo>
                    <a:pt x="55" y="173"/>
                    <a:pt x="55" y="171"/>
                    <a:pt x="54" y="170"/>
                  </a:cubicBezTo>
                  <a:cubicBezTo>
                    <a:pt x="54" y="169"/>
                    <a:pt x="54" y="168"/>
                    <a:pt x="55" y="168"/>
                  </a:cubicBezTo>
                  <a:cubicBezTo>
                    <a:pt x="55" y="167"/>
                    <a:pt x="57" y="167"/>
                    <a:pt x="57" y="167"/>
                  </a:cubicBezTo>
                  <a:cubicBezTo>
                    <a:pt x="57" y="166"/>
                    <a:pt x="56" y="165"/>
                    <a:pt x="56" y="165"/>
                  </a:cubicBezTo>
                  <a:cubicBezTo>
                    <a:pt x="56" y="164"/>
                    <a:pt x="58" y="165"/>
                    <a:pt x="59" y="165"/>
                  </a:cubicBezTo>
                  <a:cubicBezTo>
                    <a:pt x="59" y="165"/>
                    <a:pt x="61" y="164"/>
                    <a:pt x="61" y="164"/>
                  </a:cubicBezTo>
                  <a:cubicBezTo>
                    <a:pt x="61" y="163"/>
                    <a:pt x="59" y="163"/>
                    <a:pt x="60" y="162"/>
                  </a:cubicBezTo>
                  <a:cubicBezTo>
                    <a:pt x="60" y="161"/>
                    <a:pt x="60" y="161"/>
                    <a:pt x="60" y="161"/>
                  </a:cubicBezTo>
                  <a:cubicBezTo>
                    <a:pt x="60" y="161"/>
                    <a:pt x="62" y="162"/>
                    <a:pt x="62" y="162"/>
                  </a:cubicBezTo>
                  <a:cubicBezTo>
                    <a:pt x="62" y="163"/>
                    <a:pt x="62" y="163"/>
                    <a:pt x="63" y="164"/>
                  </a:cubicBezTo>
                  <a:cubicBezTo>
                    <a:pt x="63" y="165"/>
                    <a:pt x="63" y="167"/>
                    <a:pt x="64" y="167"/>
                  </a:cubicBezTo>
                  <a:cubicBezTo>
                    <a:pt x="65" y="168"/>
                    <a:pt x="66" y="168"/>
                    <a:pt x="67" y="168"/>
                  </a:cubicBezTo>
                  <a:cubicBezTo>
                    <a:pt x="68" y="169"/>
                    <a:pt x="69" y="169"/>
                    <a:pt x="69" y="170"/>
                  </a:cubicBezTo>
                  <a:cubicBezTo>
                    <a:pt x="70" y="170"/>
                    <a:pt x="71" y="171"/>
                    <a:pt x="71" y="171"/>
                  </a:cubicBezTo>
                  <a:cubicBezTo>
                    <a:pt x="71" y="171"/>
                    <a:pt x="72" y="169"/>
                    <a:pt x="73" y="169"/>
                  </a:cubicBezTo>
                  <a:cubicBezTo>
                    <a:pt x="73" y="169"/>
                    <a:pt x="75" y="169"/>
                    <a:pt x="75" y="168"/>
                  </a:cubicBezTo>
                  <a:cubicBezTo>
                    <a:pt x="75" y="168"/>
                    <a:pt x="75" y="167"/>
                    <a:pt x="75" y="166"/>
                  </a:cubicBezTo>
                  <a:cubicBezTo>
                    <a:pt x="75" y="165"/>
                    <a:pt x="76" y="162"/>
                    <a:pt x="76" y="161"/>
                  </a:cubicBezTo>
                  <a:cubicBezTo>
                    <a:pt x="77" y="160"/>
                    <a:pt x="77" y="159"/>
                    <a:pt x="78" y="158"/>
                  </a:cubicBezTo>
                  <a:cubicBezTo>
                    <a:pt x="79" y="158"/>
                    <a:pt x="80" y="157"/>
                    <a:pt x="81" y="157"/>
                  </a:cubicBezTo>
                  <a:cubicBezTo>
                    <a:pt x="82" y="157"/>
                    <a:pt x="82" y="157"/>
                    <a:pt x="83" y="156"/>
                  </a:cubicBezTo>
                  <a:cubicBezTo>
                    <a:pt x="84" y="155"/>
                    <a:pt x="85" y="155"/>
                    <a:pt x="85" y="154"/>
                  </a:cubicBezTo>
                  <a:cubicBezTo>
                    <a:pt x="85" y="153"/>
                    <a:pt x="85" y="152"/>
                    <a:pt x="86" y="151"/>
                  </a:cubicBezTo>
                  <a:cubicBezTo>
                    <a:pt x="86" y="150"/>
                    <a:pt x="91" y="148"/>
                    <a:pt x="91" y="148"/>
                  </a:cubicBezTo>
                  <a:cubicBezTo>
                    <a:pt x="91" y="148"/>
                    <a:pt x="92" y="146"/>
                    <a:pt x="92" y="145"/>
                  </a:cubicBezTo>
                  <a:cubicBezTo>
                    <a:pt x="92" y="144"/>
                    <a:pt x="91" y="143"/>
                    <a:pt x="91" y="142"/>
                  </a:cubicBezTo>
                  <a:cubicBezTo>
                    <a:pt x="91" y="141"/>
                    <a:pt x="91" y="138"/>
                    <a:pt x="92" y="138"/>
                  </a:cubicBezTo>
                  <a:cubicBezTo>
                    <a:pt x="93" y="137"/>
                    <a:pt x="94" y="137"/>
                    <a:pt x="95" y="137"/>
                  </a:cubicBezTo>
                  <a:cubicBezTo>
                    <a:pt x="96" y="137"/>
                    <a:pt x="97" y="137"/>
                    <a:pt x="97" y="137"/>
                  </a:cubicBezTo>
                  <a:cubicBezTo>
                    <a:pt x="98" y="137"/>
                    <a:pt x="99" y="139"/>
                    <a:pt x="100" y="139"/>
                  </a:cubicBezTo>
                  <a:cubicBezTo>
                    <a:pt x="101" y="139"/>
                    <a:pt x="101" y="139"/>
                    <a:pt x="103" y="138"/>
                  </a:cubicBezTo>
                  <a:cubicBezTo>
                    <a:pt x="104" y="138"/>
                    <a:pt x="105" y="136"/>
                    <a:pt x="106" y="136"/>
                  </a:cubicBezTo>
                  <a:cubicBezTo>
                    <a:pt x="107" y="135"/>
                    <a:pt x="107" y="135"/>
                    <a:pt x="109" y="135"/>
                  </a:cubicBezTo>
                  <a:cubicBezTo>
                    <a:pt x="111" y="135"/>
                    <a:pt x="112" y="136"/>
                    <a:pt x="113" y="135"/>
                  </a:cubicBezTo>
                  <a:cubicBezTo>
                    <a:pt x="114" y="135"/>
                    <a:pt x="113" y="133"/>
                    <a:pt x="113" y="133"/>
                  </a:cubicBezTo>
                  <a:cubicBezTo>
                    <a:pt x="113" y="133"/>
                    <a:pt x="114" y="132"/>
                    <a:pt x="114" y="132"/>
                  </a:cubicBezTo>
                  <a:cubicBezTo>
                    <a:pt x="114" y="131"/>
                    <a:pt x="114" y="130"/>
                    <a:pt x="113" y="130"/>
                  </a:cubicBezTo>
                  <a:cubicBezTo>
                    <a:pt x="112" y="130"/>
                    <a:pt x="112" y="130"/>
                    <a:pt x="112" y="130"/>
                  </a:cubicBezTo>
                  <a:cubicBezTo>
                    <a:pt x="112" y="129"/>
                    <a:pt x="112" y="129"/>
                    <a:pt x="112" y="128"/>
                  </a:cubicBezTo>
                  <a:cubicBezTo>
                    <a:pt x="113" y="127"/>
                    <a:pt x="112" y="126"/>
                    <a:pt x="112" y="126"/>
                  </a:cubicBezTo>
                  <a:cubicBezTo>
                    <a:pt x="112" y="125"/>
                    <a:pt x="111" y="125"/>
                    <a:pt x="111" y="124"/>
                  </a:cubicBezTo>
                  <a:cubicBezTo>
                    <a:pt x="111" y="123"/>
                    <a:pt x="112" y="122"/>
                    <a:pt x="112" y="122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1"/>
                    <a:pt x="43" y="1"/>
                    <a:pt x="42" y="1"/>
                  </a:cubicBezTo>
                  <a:cubicBezTo>
                    <a:pt x="42" y="1"/>
                    <a:pt x="41" y="2"/>
                    <a:pt x="41" y="2"/>
                  </a:cubicBezTo>
                  <a:cubicBezTo>
                    <a:pt x="41" y="2"/>
                    <a:pt x="41" y="2"/>
                    <a:pt x="40" y="2"/>
                  </a:cubicBezTo>
                  <a:cubicBezTo>
                    <a:pt x="39" y="3"/>
                    <a:pt x="38" y="3"/>
                    <a:pt x="37" y="4"/>
                  </a:cubicBezTo>
                  <a:cubicBezTo>
                    <a:pt x="36" y="5"/>
                    <a:pt x="35" y="5"/>
                    <a:pt x="33" y="6"/>
                  </a:cubicBezTo>
                  <a:cubicBezTo>
                    <a:pt x="33" y="6"/>
                    <a:pt x="33" y="6"/>
                    <a:pt x="32" y="6"/>
                  </a:cubicBezTo>
                  <a:cubicBezTo>
                    <a:pt x="32" y="6"/>
                    <a:pt x="32" y="6"/>
                    <a:pt x="31" y="6"/>
                  </a:cubicBezTo>
                  <a:cubicBezTo>
                    <a:pt x="31" y="7"/>
                    <a:pt x="30" y="7"/>
                    <a:pt x="30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7" y="7"/>
                  </a:cubicBezTo>
                  <a:cubicBezTo>
                    <a:pt x="27" y="6"/>
                    <a:pt x="26" y="6"/>
                    <a:pt x="25" y="6"/>
                  </a:cubicBezTo>
                  <a:cubicBezTo>
                    <a:pt x="24" y="6"/>
                    <a:pt x="24" y="6"/>
                    <a:pt x="23" y="5"/>
                  </a:cubicBezTo>
                  <a:cubicBezTo>
                    <a:pt x="23" y="5"/>
                    <a:pt x="22" y="4"/>
                    <a:pt x="22" y="4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0" y="2"/>
                    <a:pt x="20" y="1"/>
                    <a:pt x="20" y="1"/>
                  </a:cubicBezTo>
                  <a:cubicBezTo>
                    <a:pt x="20" y="1"/>
                    <a:pt x="19" y="1"/>
                    <a:pt x="19" y="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7" y="113"/>
                    <a:pt x="17" y="113"/>
                  </a:cubicBezTo>
                  <a:cubicBezTo>
                    <a:pt x="17" y="114"/>
                    <a:pt x="18" y="114"/>
                    <a:pt x="18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6" y="118"/>
                    <a:pt x="16" y="119"/>
                  </a:cubicBezTo>
                  <a:cubicBezTo>
                    <a:pt x="16" y="119"/>
                    <a:pt x="16" y="120"/>
                    <a:pt x="16" y="120"/>
                  </a:cubicBezTo>
                  <a:cubicBezTo>
                    <a:pt x="16" y="120"/>
                    <a:pt x="16" y="121"/>
                    <a:pt x="16" y="121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20" y="127"/>
                    <a:pt x="20" y="127"/>
                    <a:pt x="20" y="127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0" y="128"/>
                    <a:pt x="19" y="130"/>
                    <a:pt x="19" y="130"/>
                  </a:cubicBezTo>
                  <a:cubicBezTo>
                    <a:pt x="19" y="130"/>
                    <a:pt x="18" y="132"/>
                    <a:pt x="18" y="132"/>
                  </a:cubicBezTo>
                  <a:cubicBezTo>
                    <a:pt x="18" y="132"/>
                    <a:pt x="19" y="133"/>
                    <a:pt x="19" y="133"/>
                  </a:cubicBezTo>
                  <a:cubicBezTo>
                    <a:pt x="21" y="137"/>
                    <a:pt x="21" y="137"/>
                    <a:pt x="21" y="137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5" y="145"/>
                    <a:pt x="15" y="145"/>
                    <a:pt x="15" y="145"/>
                  </a:cubicBezTo>
                  <a:cubicBezTo>
                    <a:pt x="15" y="145"/>
                    <a:pt x="15" y="146"/>
                    <a:pt x="15" y="146"/>
                  </a:cubicBezTo>
                  <a:cubicBezTo>
                    <a:pt x="15" y="146"/>
                    <a:pt x="15" y="147"/>
                    <a:pt x="15" y="147"/>
                  </a:cubicBezTo>
                  <a:cubicBezTo>
                    <a:pt x="14" y="148"/>
                    <a:pt x="14" y="148"/>
                    <a:pt x="14" y="148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9" y="154"/>
                    <a:pt x="9" y="154"/>
                    <a:pt x="9" y="154"/>
                  </a:cubicBezTo>
                  <a:cubicBezTo>
                    <a:pt x="9" y="157"/>
                    <a:pt x="9" y="157"/>
                    <a:pt x="9" y="157"/>
                  </a:cubicBezTo>
                  <a:cubicBezTo>
                    <a:pt x="8" y="156"/>
                    <a:pt x="8" y="156"/>
                    <a:pt x="8" y="156"/>
                  </a:cubicBezTo>
                  <a:cubicBezTo>
                    <a:pt x="6" y="157"/>
                    <a:pt x="6" y="157"/>
                    <a:pt x="6" y="157"/>
                  </a:cubicBezTo>
                  <a:cubicBezTo>
                    <a:pt x="5" y="156"/>
                    <a:pt x="5" y="156"/>
                    <a:pt x="5" y="156"/>
                  </a:cubicBezTo>
                  <a:cubicBezTo>
                    <a:pt x="5" y="159"/>
                    <a:pt x="5" y="159"/>
                    <a:pt x="5" y="159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4" y="158"/>
                    <a:pt x="4" y="159"/>
                    <a:pt x="4" y="159"/>
                  </a:cubicBezTo>
                  <a:cubicBezTo>
                    <a:pt x="4" y="160"/>
                    <a:pt x="4" y="161"/>
                    <a:pt x="4" y="161"/>
                  </a:cubicBezTo>
                  <a:cubicBezTo>
                    <a:pt x="6" y="162"/>
                    <a:pt x="6" y="162"/>
                    <a:pt x="6" y="162"/>
                  </a:cubicBezTo>
                  <a:cubicBezTo>
                    <a:pt x="6" y="162"/>
                    <a:pt x="5" y="164"/>
                    <a:pt x="5" y="164"/>
                  </a:cubicBezTo>
                  <a:cubicBezTo>
                    <a:pt x="5" y="164"/>
                    <a:pt x="3" y="165"/>
                    <a:pt x="3" y="165"/>
                  </a:cubicBezTo>
                  <a:cubicBezTo>
                    <a:pt x="3" y="165"/>
                    <a:pt x="5" y="166"/>
                    <a:pt x="5" y="166"/>
                  </a:cubicBezTo>
                  <a:cubicBezTo>
                    <a:pt x="5" y="166"/>
                    <a:pt x="4" y="167"/>
                    <a:pt x="4" y="167"/>
                  </a:cubicBezTo>
                  <a:cubicBezTo>
                    <a:pt x="2" y="167"/>
                    <a:pt x="2" y="167"/>
                    <a:pt x="2" y="167"/>
                  </a:cubicBezTo>
                  <a:cubicBezTo>
                    <a:pt x="3" y="168"/>
                    <a:pt x="3" y="168"/>
                    <a:pt x="3" y="168"/>
                  </a:cubicBezTo>
                  <a:cubicBezTo>
                    <a:pt x="3" y="171"/>
                    <a:pt x="3" y="171"/>
                    <a:pt x="3" y="171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1" y="173"/>
                    <a:pt x="1" y="173"/>
                  </a:cubicBezTo>
                  <a:cubicBezTo>
                    <a:pt x="1" y="172"/>
                    <a:pt x="0" y="174"/>
                    <a:pt x="0" y="174"/>
                  </a:cubicBezTo>
                  <a:cubicBezTo>
                    <a:pt x="0" y="174"/>
                    <a:pt x="1" y="175"/>
                    <a:pt x="2" y="176"/>
                  </a:cubicBezTo>
                  <a:cubicBezTo>
                    <a:pt x="2" y="176"/>
                    <a:pt x="2" y="177"/>
                    <a:pt x="2" y="177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3" y="179"/>
                    <a:pt x="3" y="179"/>
                    <a:pt x="3" y="179"/>
                  </a:cubicBezTo>
                  <a:cubicBezTo>
                    <a:pt x="3" y="179"/>
                    <a:pt x="4" y="179"/>
                    <a:pt x="5" y="179"/>
                  </a:cubicBezTo>
                  <a:cubicBezTo>
                    <a:pt x="5" y="180"/>
                    <a:pt x="7" y="178"/>
                    <a:pt x="7" y="178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45">
              <a:extLst>
                <a:ext uri="{FF2B5EF4-FFF2-40B4-BE49-F238E27FC236}">
                  <a16:creationId xmlns:a16="http://schemas.microsoft.com/office/drawing/2014/main" id="{8D25BF9B-F4F6-4193-8EEB-92E7BBBD0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0435" y="2535157"/>
              <a:ext cx="550184" cy="988019"/>
            </a:xfrm>
            <a:custGeom>
              <a:avLst/>
              <a:gdLst>
                <a:gd name="T0" fmla="*/ 138 w 139"/>
                <a:gd name="T1" fmla="*/ 163 h 249"/>
                <a:gd name="T2" fmla="*/ 134 w 139"/>
                <a:gd name="T3" fmla="*/ 156 h 249"/>
                <a:gd name="T4" fmla="*/ 136 w 139"/>
                <a:gd name="T5" fmla="*/ 149 h 249"/>
                <a:gd name="T6" fmla="*/ 137 w 139"/>
                <a:gd name="T7" fmla="*/ 35 h 249"/>
                <a:gd name="T8" fmla="*/ 134 w 139"/>
                <a:gd name="T9" fmla="*/ 27 h 249"/>
                <a:gd name="T10" fmla="*/ 133 w 139"/>
                <a:gd name="T11" fmla="*/ 22 h 249"/>
                <a:gd name="T12" fmla="*/ 129 w 139"/>
                <a:gd name="T13" fmla="*/ 16 h 249"/>
                <a:gd name="T14" fmla="*/ 128 w 139"/>
                <a:gd name="T15" fmla="*/ 5 h 249"/>
                <a:gd name="T16" fmla="*/ 30 w 139"/>
                <a:gd name="T17" fmla="*/ 0 h 249"/>
                <a:gd name="T18" fmla="*/ 37 w 139"/>
                <a:gd name="T19" fmla="*/ 10 h 249"/>
                <a:gd name="T20" fmla="*/ 46 w 139"/>
                <a:gd name="T21" fmla="*/ 31 h 249"/>
                <a:gd name="T22" fmla="*/ 38 w 139"/>
                <a:gd name="T23" fmla="*/ 44 h 249"/>
                <a:gd name="T24" fmla="*/ 24 w 139"/>
                <a:gd name="T25" fmla="*/ 49 h 249"/>
                <a:gd name="T26" fmla="*/ 16 w 139"/>
                <a:gd name="T27" fmla="*/ 51 h 249"/>
                <a:gd name="T28" fmla="*/ 18 w 139"/>
                <a:gd name="T29" fmla="*/ 64 h 249"/>
                <a:gd name="T30" fmla="*/ 14 w 139"/>
                <a:gd name="T31" fmla="*/ 81 h 249"/>
                <a:gd name="T32" fmla="*/ 7 w 139"/>
                <a:gd name="T33" fmla="*/ 87 h 249"/>
                <a:gd name="T34" fmla="*/ 5 w 139"/>
                <a:gd name="T35" fmla="*/ 95 h 249"/>
                <a:gd name="T36" fmla="*/ 0 w 139"/>
                <a:gd name="T37" fmla="*/ 104 h 249"/>
                <a:gd name="T38" fmla="*/ 2 w 139"/>
                <a:gd name="T39" fmla="*/ 116 h 249"/>
                <a:gd name="T40" fmla="*/ 5 w 139"/>
                <a:gd name="T41" fmla="*/ 125 h 249"/>
                <a:gd name="T42" fmla="*/ 12 w 139"/>
                <a:gd name="T43" fmla="*/ 136 h 249"/>
                <a:gd name="T44" fmla="*/ 27 w 139"/>
                <a:gd name="T45" fmla="*/ 149 h 249"/>
                <a:gd name="T46" fmla="*/ 29 w 139"/>
                <a:gd name="T47" fmla="*/ 161 h 249"/>
                <a:gd name="T48" fmla="*/ 37 w 139"/>
                <a:gd name="T49" fmla="*/ 162 h 249"/>
                <a:gd name="T50" fmla="*/ 45 w 139"/>
                <a:gd name="T51" fmla="*/ 173 h 249"/>
                <a:gd name="T52" fmla="*/ 42 w 139"/>
                <a:gd name="T53" fmla="*/ 185 h 249"/>
                <a:gd name="T54" fmla="*/ 51 w 139"/>
                <a:gd name="T55" fmla="*/ 205 h 249"/>
                <a:gd name="T56" fmla="*/ 55 w 139"/>
                <a:gd name="T57" fmla="*/ 210 h 249"/>
                <a:gd name="T58" fmla="*/ 63 w 139"/>
                <a:gd name="T59" fmla="*/ 216 h 249"/>
                <a:gd name="T60" fmla="*/ 70 w 139"/>
                <a:gd name="T61" fmla="*/ 223 h 249"/>
                <a:gd name="T62" fmla="*/ 71 w 139"/>
                <a:gd name="T63" fmla="*/ 229 h 249"/>
                <a:gd name="T64" fmla="*/ 69 w 139"/>
                <a:gd name="T65" fmla="*/ 235 h 249"/>
                <a:gd name="T66" fmla="*/ 73 w 139"/>
                <a:gd name="T67" fmla="*/ 243 h 249"/>
                <a:gd name="T68" fmla="*/ 77 w 139"/>
                <a:gd name="T69" fmla="*/ 248 h 249"/>
                <a:gd name="T70" fmla="*/ 78 w 139"/>
                <a:gd name="T71" fmla="*/ 245 h 249"/>
                <a:gd name="T72" fmla="*/ 82 w 139"/>
                <a:gd name="T73" fmla="*/ 249 h 249"/>
                <a:gd name="T74" fmla="*/ 87 w 139"/>
                <a:gd name="T75" fmla="*/ 238 h 249"/>
                <a:gd name="T76" fmla="*/ 106 w 139"/>
                <a:gd name="T77" fmla="*/ 245 h 249"/>
                <a:gd name="T78" fmla="*/ 106 w 139"/>
                <a:gd name="T79" fmla="*/ 230 h 249"/>
                <a:gd name="T80" fmla="*/ 118 w 139"/>
                <a:gd name="T81" fmla="*/ 228 h 249"/>
                <a:gd name="T82" fmla="*/ 116 w 139"/>
                <a:gd name="T83" fmla="*/ 220 h 249"/>
                <a:gd name="T84" fmla="*/ 120 w 139"/>
                <a:gd name="T85" fmla="*/ 212 h 249"/>
                <a:gd name="T86" fmla="*/ 120 w 139"/>
                <a:gd name="T87" fmla="*/ 209 h 249"/>
                <a:gd name="T88" fmla="*/ 122 w 139"/>
                <a:gd name="T89" fmla="*/ 202 h 249"/>
                <a:gd name="T90" fmla="*/ 124 w 139"/>
                <a:gd name="T91" fmla="*/ 197 h 249"/>
                <a:gd name="T92" fmla="*/ 123 w 139"/>
                <a:gd name="T93" fmla="*/ 194 h 249"/>
                <a:gd name="T94" fmla="*/ 127 w 139"/>
                <a:gd name="T95" fmla="*/ 192 h 249"/>
                <a:gd name="T96" fmla="*/ 132 w 139"/>
                <a:gd name="T97" fmla="*/ 183 h 249"/>
                <a:gd name="T98" fmla="*/ 135 w 139"/>
                <a:gd name="T99" fmla="*/ 179 h 249"/>
                <a:gd name="T100" fmla="*/ 139 w 139"/>
                <a:gd name="T101" fmla="*/ 17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9" h="249">
                  <a:moveTo>
                    <a:pt x="137" y="168"/>
                  </a:moveTo>
                  <a:cubicBezTo>
                    <a:pt x="137" y="168"/>
                    <a:pt x="136" y="167"/>
                    <a:pt x="136" y="167"/>
                  </a:cubicBezTo>
                  <a:cubicBezTo>
                    <a:pt x="136" y="167"/>
                    <a:pt x="137" y="165"/>
                    <a:pt x="137" y="165"/>
                  </a:cubicBezTo>
                  <a:cubicBezTo>
                    <a:pt x="137" y="165"/>
                    <a:pt x="138" y="163"/>
                    <a:pt x="138" y="163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34" y="156"/>
                    <a:pt x="134" y="155"/>
                    <a:pt x="134" y="155"/>
                  </a:cubicBezTo>
                  <a:cubicBezTo>
                    <a:pt x="134" y="155"/>
                    <a:pt x="134" y="154"/>
                    <a:pt x="134" y="154"/>
                  </a:cubicBezTo>
                  <a:cubicBezTo>
                    <a:pt x="134" y="153"/>
                    <a:pt x="135" y="152"/>
                    <a:pt x="135" y="152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6" y="149"/>
                    <a:pt x="135" y="149"/>
                    <a:pt x="135" y="148"/>
                  </a:cubicBezTo>
                  <a:cubicBezTo>
                    <a:pt x="135" y="148"/>
                    <a:pt x="134" y="146"/>
                    <a:pt x="134" y="146"/>
                  </a:cubicBezTo>
                  <a:cubicBezTo>
                    <a:pt x="138" y="145"/>
                    <a:pt x="138" y="145"/>
                    <a:pt x="138" y="14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35"/>
                    <a:pt x="137" y="35"/>
                    <a:pt x="137" y="34"/>
                  </a:cubicBezTo>
                  <a:cubicBezTo>
                    <a:pt x="136" y="33"/>
                    <a:pt x="136" y="32"/>
                    <a:pt x="135" y="31"/>
                  </a:cubicBezTo>
                  <a:cubicBezTo>
                    <a:pt x="135" y="30"/>
                    <a:pt x="135" y="29"/>
                    <a:pt x="134" y="28"/>
                  </a:cubicBezTo>
                  <a:cubicBezTo>
                    <a:pt x="134" y="28"/>
                    <a:pt x="134" y="27"/>
                    <a:pt x="134" y="27"/>
                  </a:cubicBezTo>
                  <a:cubicBezTo>
                    <a:pt x="134" y="26"/>
                    <a:pt x="134" y="26"/>
                    <a:pt x="134" y="25"/>
                  </a:cubicBezTo>
                  <a:cubicBezTo>
                    <a:pt x="134" y="25"/>
                    <a:pt x="134" y="25"/>
                    <a:pt x="134" y="24"/>
                  </a:cubicBezTo>
                  <a:cubicBezTo>
                    <a:pt x="133" y="24"/>
                    <a:pt x="134" y="23"/>
                    <a:pt x="133" y="23"/>
                  </a:cubicBezTo>
                  <a:cubicBezTo>
                    <a:pt x="133" y="23"/>
                    <a:pt x="133" y="22"/>
                    <a:pt x="133" y="22"/>
                  </a:cubicBezTo>
                  <a:cubicBezTo>
                    <a:pt x="133" y="21"/>
                    <a:pt x="133" y="21"/>
                    <a:pt x="132" y="21"/>
                  </a:cubicBezTo>
                  <a:cubicBezTo>
                    <a:pt x="132" y="21"/>
                    <a:pt x="132" y="20"/>
                    <a:pt x="132" y="20"/>
                  </a:cubicBezTo>
                  <a:cubicBezTo>
                    <a:pt x="131" y="20"/>
                    <a:pt x="131" y="19"/>
                    <a:pt x="131" y="19"/>
                  </a:cubicBezTo>
                  <a:cubicBezTo>
                    <a:pt x="130" y="18"/>
                    <a:pt x="130" y="17"/>
                    <a:pt x="129" y="16"/>
                  </a:cubicBezTo>
                  <a:cubicBezTo>
                    <a:pt x="129" y="16"/>
                    <a:pt x="128" y="15"/>
                    <a:pt x="128" y="14"/>
                  </a:cubicBezTo>
                  <a:cubicBezTo>
                    <a:pt x="128" y="13"/>
                    <a:pt x="127" y="12"/>
                    <a:pt x="128" y="10"/>
                  </a:cubicBezTo>
                  <a:cubicBezTo>
                    <a:pt x="128" y="9"/>
                    <a:pt x="128" y="8"/>
                    <a:pt x="128" y="7"/>
                  </a:cubicBezTo>
                  <a:cubicBezTo>
                    <a:pt x="128" y="6"/>
                    <a:pt x="128" y="6"/>
                    <a:pt x="128" y="5"/>
                  </a:cubicBezTo>
                  <a:cubicBezTo>
                    <a:pt x="128" y="5"/>
                    <a:pt x="128" y="4"/>
                    <a:pt x="128" y="4"/>
                  </a:cubicBezTo>
                  <a:cubicBezTo>
                    <a:pt x="128" y="3"/>
                    <a:pt x="129" y="2"/>
                    <a:pt x="128" y="1"/>
                  </a:cubicBezTo>
                  <a:cubicBezTo>
                    <a:pt x="128" y="1"/>
                    <a:pt x="128" y="1"/>
                    <a:pt x="12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2"/>
                    <a:pt x="30" y="2"/>
                  </a:cubicBezTo>
                  <a:cubicBezTo>
                    <a:pt x="30" y="3"/>
                    <a:pt x="31" y="3"/>
                    <a:pt x="33" y="4"/>
                  </a:cubicBezTo>
                  <a:cubicBezTo>
                    <a:pt x="34" y="5"/>
                    <a:pt x="35" y="6"/>
                    <a:pt x="36" y="7"/>
                  </a:cubicBezTo>
                  <a:cubicBezTo>
                    <a:pt x="37" y="8"/>
                    <a:pt x="37" y="9"/>
                    <a:pt x="37" y="10"/>
                  </a:cubicBezTo>
                  <a:cubicBezTo>
                    <a:pt x="37" y="12"/>
                    <a:pt x="38" y="13"/>
                    <a:pt x="39" y="14"/>
                  </a:cubicBezTo>
                  <a:cubicBezTo>
                    <a:pt x="41" y="15"/>
                    <a:pt x="45" y="18"/>
                    <a:pt x="46" y="19"/>
                  </a:cubicBezTo>
                  <a:cubicBezTo>
                    <a:pt x="47" y="20"/>
                    <a:pt x="47" y="23"/>
                    <a:pt x="47" y="24"/>
                  </a:cubicBezTo>
                  <a:cubicBezTo>
                    <a:pt x="47" y="26"/>
                    <a:pt x="47" y="29"/>
                    <a:pt x="46" y="31"/>
                  </a:cubicBezTo>
                  <a:cubicBezTo>
                    <a:pt x="46" y="32"/>
                    <a:pt x="45" y="33"/>
                    <a:pt x="44" y="34"/>
                  </a:cubicBezTo>
                  <a:cubicBezTo>
                    <a:pt x="42" y="35"/>
                    <a:pt x="41" y="36"/>
                    <a:pt x="41" y="38"/>
                  </a:cubicBezTo>
                  <a:cubicBezTo>
                    <a:pt x="41" y="39"/>
                    <a:pt x="41" y="41"/>
                    <a:pt x="40" y="42"/>
                  </a:cubicBezTo>
                  <a:cubicBezTo>
                    <a:pt x="39" y="44"/>
                    <a:pt x="39" y="44"/>
                    <a:pt x="38" y="44"/>
                  </a:cubicBezTo>
                  <a:cubicBezTo>
                    <a:pt x="37" y="45"/>
                    <a:pt x="36" y="46"/>
                    <a:pt x="35" y="46"/>
                  </a:cubicBezTo>
                  <a:cubicBezTo>
                    <a:pt x="34" y="47"/>
                    <a:pt x="33" y="46"/>
                    <a:pt x="31" y="46"/>
                  </a:cubicBezTo>
                  <a:cubicBezTo>
                    <a:pt x="30" y="47"/>
                    <a:pt x="30" y="47"/>
                    <a:pt x="29" y="48"/>
                  </a:cubicBezTo>
                  <a:cubicBezTo>
                    <a:pt x="29" y="49"/>
                    <a:pt x="25" y="49"/>
                    <a:pt x="24" y="49"/>
                  </a:cubicBezTo>
                  <a:cubicBezTo>
                    <a:pt x="24" y="49"/>
                    <a:pt x="23" y="49"/>
                    <a:pt x="22" y="49"/>
                  </a:cubicBezTo>
                  <a:cubicBezTo>
                    <a:pt x="21" y="50"/>
                    <a:pt x="21" y="50"/>
                    <a:pt x="20" y="51"/>
                  </a:cubicBezTo>
                  <a:cubicBezTo>
                    <a:pt x="19" y="51"/>
                    <a:pt x="19" y="50"/>
                    <a:pt x="18" y="50"/>
                  </a:cubicBezTo>
                  <a:cubicBezTo>
                    <a:pt x="17" y="50"/>
                    <a:pt x="17" y="51"/>
                    <a:pt x="16" y="51"/>
                  </a:cubicBezTo>
                  <a:cubicBezTo>
                    <a:pt x="16" y="51"/>
                    <a:pt x="15" y="53"/>
                    <a:pt x="15" y="53"/>
                  </a:cubicBezTo>
                  <a:cubicBezTo>
                    <a:pt x="15" y="54"/>
                    <a:pt x="14" y="56"/>
                    <a:pt x="14" y="57"/>
                  </a:cubicBezTo>
                  <a:cubicBezTo>
                    <a:pt x="14" y="58"/>
                    <a:pt x="14" y="59"/>
                    <a:pt x="14" y="60"/>
                  </a:cubicBezTo>
                  <a:cubicBezTo>
                    <a:pt x="15" y="60"/>
                    <a:pt x="17" y="62"/>
                    <a:pt x="18" y="64"/>
                  </a:cubicBezTo>
                  <a:cubicBezTo>
                    <a:pt x="19" y="65"/>
                    <a:pt x="19" y="69"/>
                    <a:pt x="19" y="70"/>
                  </a:cubicBezTo>
                  <a:cubicBezTo>
                    <a:pt x="19" y="71"/>
                    <a:pt x="19" y="74"/>
                    <a:pt x="18" y="75"/>
                  </a:cubicBezTo>
                  <a:cubicBezTo>
                    <a:pt x="17" y="76"/>
                    <a:pt x="15" y="77"/>
                    <a:pt x="15" y="78"/>
                  </a:cubicBezTo>
                  <a:cubicBezTo>
                    <a:pt x="14" y="79"/>
                    <a:pt x="14" y="80"/>
                    <a:pt x="14" y="81"/>
                  </a:cubicBezTo>
                  <a:cubicBezTo>
                    <a:pt x="14" y="81"/>
                    <a:pt x="14" y="83"/>
                    <a:pt x="14" y="84"/>
                  </a:cubicBezTo>
                  <a:cubicBezTo>
                    <a:pt x="13" y="85"/>
                    <a:pt x="13" y="85"/>
                    <a:pt x="12" y="86"/>
                  </a:cubicBezTo>
                  <a:cubicBezTo>
                    <a:pt x="12" y="87"/>
                    <a:pt x="11" y="87"/>
                    <a:pt x="10" y="87"/>
                  </a:cubicBezTo>
                  <a:cubicBezTo>
                    <a:pt x="9" y="87"/>
                    <a:pt x="8" y="87"/>
                    <a:pt x="7" y="87"/>
                  </a:cubicBezTo>
                  <a:cubicBezTo>
                    <a:pt x="6" y="87"/>
                    <a:pt x="6" y="88"/>
                    <a:pt x="5" y="88"/>
                  </a:cubicBezTo>
                  <a:cubicBezTo>
                    <a:pt x="5" y="89"/>
                    <a:pt x="4" y="89"/>
                    <a:pt x="4" y="90"/>
                  </a:cubicBezTo>
                  <a:cubicBezTo>
                    <a:pt x="4" y="91"/>
                    <a:pt x="4" y="92"/>
                    <a:pt x="4" y="92"/>
                  </a:cubicBezTo>
                  <a:cubicBezTo>
                    <a:pt x="4" y="93"/>
                    <a:pt x="5" y="94"/>
                    <a:pt x="5" y="95"/>
                  </a:cubicBezTo>
                  <a:cubicBezTo>
                    <a:pt x="5" y="95"/>
                    <a:pt x="5" y="97"/>
                    <a:pt x="4" y="98"/>
                  </a:cubicBezTo>
                  <a:cubicBezTo>
                    <a:pt x="4" y="98"/>
                    <a:pt x="3" y="99"/>
                    <a:pt x="3" y="99"/>
                  </a:cubicBezTo>
                  <a:cubicBezTo>
                    <a:pt x="3" y="99"/>
                    <a:pt x="1" y="102"/>
                    <a:pt x="1" y="102"/>
                  </a:cubicBezTo>
                  <a:cubicBezTo>
                    <a:pt x="1" y="102"/>
                    <a:pt x="0" y="104"/>
                    <a:pt x="0" y="104"/>
                  </a:cubicBezTo>
                  <a:cubicBezTo>
                    <a:pt x="0" y="104"/>
                    <a:pt x="0" y="108"/>
                    <a:pt x="0" y="108"/>
                  </a:cubicBezTo>
                  <a:cubicBezTo>
                    <a:pt x="0" y="108"/>
                    <a:pt x="1" y="113"/>
                    <a:pt x="1" y="113"/>
                  </a:cubicBezTo>
                  <a:cubicBezTo>
                    <a:pt x="1" y="113"/>
                    <a:pt x="1" y="114"/>
                    <a:pt x="1" y="114"/>
                  </a:cubicBezTo>
                  <a:cubicBezTo>
                    <a:pt x="1" y="114"/>
                    <a:pt x="2" y="116"/>
                    <a:pt x="2" y="116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3" y="119"/>
                    <a:pt x="3" y="121"/>
                    <a:pt x="3" y="121"/>
                  </a:cubicBezTo>
                  <a:cubicBezTo>
                    <a:pt x="3" y="121"/>
                    <a:pt x="3" y="123"/>
                    <a:pt x="3" y="123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7" y="130"/>
                    <a:pt x="7" y="130"/>
                    <a:pt x="7" y="130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6"/>
                    <a:pt x="12" y="136"/>
                  </a:cubicBezTo>
                  <a:cubicBezTo>
                    <a:pt x="12" y="136"/>
                    <a:pt x="14" y="136"/>
                    <a:pt x="14" y="136"/>
                  </a:cubicBezTo>
                  <a:cubicBezTo>
                    <a:pt x="14" y="136"/>
                    <a:pt x="17" y="141"/>
                    <a:pt x="17" y="141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28" y="159"/>
                    <a:pt x="28" y="159"/>
                  </a:cubicBezTo>
                  <a:cubicBezTo>
                    <a:pt x="28" y="160"/>
                    <a:pt x="29" y="161"/>
                    <a:pt x="29" y="161"/>
                  </a:cubicBezTo>
                  <a:cubicBezTo>
                    <a:pt x="29" y="161"/>
                    <a:pt x="30" y="166"/>
                    <a:pt x="30" y="166"/>
                  </a:cubicBezTo>
                  <a:cubicBezTo>
                    <a:pt x="30" y="166"/>
                    <a:pt x="32" y="166"/>
                    <a:pt x="32" y="166"/>
                  </a:cubicBezTo>
                  <a:cubicBezTo>
                    <a:pt x="32" y="166"/>
                    <a:pt x="34" y="166"/>
                    <a:pt x="34" y="166"/>
                  </a:cubicBezTo>
                  <a:cubicBezTo>
                    <a:pt x="34" y="165"/>
                    <a:pt x="37" y="162"/>
                    <a:pt x="37" y="162"/>
                  </a:cubicBezTo>
                  <a:cubicBezTo>
                    <a:pt x="43" y="163"/>
                    <a:pt x="43" y="163"/>
                    <a:pt x="43" y="163"/>
                  </a:cubicBezTo>
                  <a:cubicBezTo>
                    <a:pt x="48" y="167"/>
                    <a:pt x="48" y="167"/>
                    <a:pt x="48" y="167"/>
                  </a:cubicBezTo>
                  <a:cubicBezTo>
                    <a:pt x="48" y="167"/>
                    <a:pt x="47" y="170"/>
                    <a:pt x="47" y="171"/>
                  </a:cubicBezTo>
                  <a:cubicBezTo>
                    <a:pt x="47" y="171"/>
                    <a:pt x="45" y="173"/>
                    <a:pt x="45" y="173"/>
                  </a:cubicBezTo>
                  <a:cubicBezTo>
                    <a:pt x="45" y="174"/>
                    <a:pt x="45" y="177"/>
                    <a:pt x="45" y="177"/>
                  </a:cubicBezTo>
                  <a:cubicBezTo>
                    <a:pt x="45" y="177"/>
                    <a:pt x="44" y="181"/>
                    <a:pt x="44" y="181"/>
                  </a:cubicBezTo>
                  <a:cubicBezTo>
                    <a:pt x="44" y="181"/>
                    <a:pt x="43" y="183"/>
                    <a:pt x="43" y="183"/>
                  </a:cubicBezTo>
                  <a:cubicBezTo>
                    <a:pt x="43" y="183"/>
                    <a:pt x="42" y="185"/>
                    <a:pt x="42" y="185"/>
                  </a:cubicBezTo>
                  <a:cubicBezTo>
                    <a:pt x="42" y="185"/>
                    <a:pt x="40" y="188"/>
                    <a:pt x="40" y="189"/>
                  </a:cubicBezTo>
                  <a:cubicBezTo>
                    <a:pt x="40" y="189"/>
                    <a:pt x="40" y="191"/>
                    <a:pt x="40" y="191"/>
                  </a:cubicBezTo>
                  <a:cubicBezTo>
                    <a:pt x="40" y="191"/>
                    <a:pt x="40" y="196"/>
                    <a:pt x="40" y="196"/>
                  </a:cubicBezTo>
                  <a:cubicBezTo>
                    <a:pt x="51" y="205"/>
                    <a:pt x="51" y="205"/>
                    <a:pt x="51" y="205"/>
                  </a:cubicBezTo>
                  <a:cubicBezTo>
                    <a:pt x="55" y="207"/>
                    <a:pt x="55" y="207"/>
                    <a:pt x="55" y="207"/>
                  </a:cubicBezTo>
                  <a:cubicBezTo>
                    <a:pt x="53" y="207"/>
                    <a:pt x="53" y="207"/>
                    <a:pt x="53" y="207"/>
                  </a:cubicBezTo>
                  <a:cubicBezTo>
                    <a:pt x="53" y="207"/>
                    <a:pt x="53" y="209"/>
                    <a:pt x="53" y="209"/>
                  </a:cubicBezTo>
                  <a:cubicBezTo>
                    <a:pt x="53" y="210"/>
                    <a:pt x="55" y="210"/>
                    <a:pt x="55" y="210"/>
                  </a:cubicBezTo>
                  <a:cubicBezTo>
                    <a:pt x="55" y="210"/>
                    <a:pt x="57" y="210"/>
                    <a:pt x="57" y="209"/>
                  </a:cubicBezTo>
                  <a:cubicBezTo>
                    <a:pt x="57" y="209"/>
                    <a:pt x="58" y="209"/>
                    <a:pt x="58" y="209"/>
                  </a:cubicBezTo>
                  <a:cubicBezTo>
                    <a:pt x="64" y="213"/>
                    <a:pt x="64" y="213"/>
                    <a:pt x="64" y="213"/>
                  </a:cubicBezTo>
                  <a:cubicBezTo>
                    <a:pt x="64" y="213"/>
                    <a:pt x="63" y="215"/>
                    <a:pt x="63" y="216"/>
                  </a:cubicBezTo>
                  <a:cubicBezTo>
                    <a:pt x="63" y="216"/>
                    <a:pt x="65" y="216"/>
                    <a:pt x="66" y="216"/>
                  </a:cubicBezTo>
                  <a:cubicBezTo>
                    <a:pt x="66" y="216"/>
                    <a:pt x="69" y="218"/>
                    <a:pt x="69" y="219"/>
                  </a:cubicBezTo>
                  <a:cubicBezTo>
                    <a:pt x="69" y="219"/>
                    <a:pt x="70" y="220"/>
                    <a:pt x="70" y="221"/>
                  </a:cubicBezTo>
                  <a:cubicBezTo>
                    <a:pt x="70" y="221"/>
                    <a:pt x="70" y="223"/>
                    <a:pt x="70" y="223"/>
                  </a:cubicBezTo>
                  <a:cubicBezTo>
                    <a:pt x="69" y="223"/>
                    <a:pt x="69" y="223"/>
                    <a:pt x="69" y="223"/>
                  </a:cubicBezTo>
                  <a:cubicBezTo>
                    <a:pt x="69" y="223"/>
                    <a:pt x="69" y="224"/>
                    <a:pt x="69" y="224"/>
                  </a:cubicBezTo>
                  <a:cubicBezTo>
                    <a:pt x="69" y="224"/>
                    <a:pt x="69" y="226"/>
                    <a:pt x="69" y="226"/>
                  </a:cubicBezTo>
                  <a:cubicBezTo>
                    <a:pt x="70" y="226"/>
                    <a:pt x="71" y="229"/>
                    <a:pt x="71" y="229"/>
                  </a:cubicBezTo>
                  <a:cubicBezTo>
                    <a:pt x="71" y="229"/>
                    <a:pt x="72" y="231"/>
                    <a:pt x="72" y="231"/>
                  </a:cubicBezTo>
                  <a:cubicBezTo>
                    <a:pt x="72" y="232"/>
                    <a:pt x="71" y="233"/>
                    <a:pt x="71" y="233"/>
                  </a:cubicBezTo>
                  <a:cubicBezTo>
                    <a:pt x="71" y="233"/>
                    <a:pt x="70" y="234"/>
                    <a:pt x="70" y="234"/>
                  </a:cubicBezTo>
                  <a:cubicBezTo>
                    <a:pt x="69" y="235"/>
                    <a:pt x="69" y="235"/>
                    <a:pt x="69" y="235"/>
                  </a:cubicBezTo>
                  <a:cubicBezTo>
                    <a:pt x="69" y="235"/>
                    <a:pt x="69" y="236"/>
                    <a:pt x="69" y="236"/>
                  </a:cubicBezTo>
                  <a:cubicBezTo>
                    <a:pt x="69" y="237"/>
                    <a:pt x="71" y="237"/>
                    <a:pt x="71" y="237"/>
                  </a:cubicBezTo>
                  <a:cubicBezTo>
                    <a:pt x="71" y="237"/>
                    <a:pt x="71" y="239"/>
                    <a:pt x="71" y="239"/>
                  </a:cubicBezTo>
                  <a:cubicBezTo>
                    <a:pt x="73" y="243"/>
                    <a:pt x="73" y="243"/>
                    <a:pt x="73" y="243"/>
                  </a:cubicBezTo>
                  <a:cubicBezTo>
                    <a:pt x="73" y="243"/>
                    <a:pt x="73" y="244"/>
                    <a:pt x="73" y="245"/>
                  </a:cubicBezTo>
                  <a:cubicBezTo>
                    <a:pt x="73" y="245"/>
                    <a:pt x="74" y="247"/>
                    <a:pt x="74" y="247"/>
                  </a:cubicBezTo>
                  <a:cubicBezTo>
                    <a:pt x="74" y="247"/>
                    <a:pt x="76" y="248"/>
                    <a:pt x="76" y="248"/>
                  </a:cubicBezTo>
                  <a:cubicBezTo>
                    <a:pt x="76" y="248"/>
                    <a:pt x="77" y="248"/>
                    <a:pt x="77" y="248"/>
                  </a:cubicBezTo>
                  <a:cubicBezTo>
                    <a:pt x="77" y="248"/>
                    <a:pt x="78" y="247"/>
                    <a:pt x="78" y="247"/>
                  </a:cubicBezTo>
                  <a:cubicBezTo>
                    <a:pt x="78" y="247"/>
                    <a:pt x="77" y="246"/>
                    <a:pt x="77" y="246"/>
                  </a:cubicBezTo>
                  <a:cubicBezTo>
                    <a:pt x="77" y="246"/>
                    <a:pt x="76" y="245"/>
                    <a:pt x="76" y="245"/>
                  </a:cubicBezTo>
                  <a:cubicBezTo>
                    <a:pt x="78" y="245"/>
                    <a:pt x="78" y="245"/>
                    <a:pt x="78" y="245"/>
                  </a:cubicBezTo>
                  <a:cubicBezTo>
                    <a:pt x="78" y="245"/>
                    <a:pt x="79" y="247"/>
                    <a:pt x="79" y="248"/>
                  </a:cubicBezTo>
                  <a:cubicBezTo>
                    <a:pt x="79" y="248"/>
                    <a:pt x="80" y="249"/>
                    <a:pt x="80" y="249"/>
                  </a:cubicBezTo>
                  <a:cubicBezTo>
                    <a:pt x="82" y="249"/>
                    <a:pt x="82" y="249"/>
                    <a:pt x="82" y="249"/>
                  </a:cubicBezTo>
                  <a:cubicBezTo>
                    <a:pt x="82" y="249"/>
                    <a:pt x="82" y="249"/>
                    <a:pt x="82" y="249"/>
                  </a:cubicBezTo>
                  <a:cubicBezTo>
                    <a:pt x="82" y="249"/>
                    <a:pt x="81" y="247"/>
                    <a:pt x="81" y="247"/>
                  </a:cubicBezTo>
                  <a:cubicBezTo>
                    <a:pt x="81" y="247"/>
                    <a:pt x="82" y="244"/>
                    <a:pt x="82" y="244"/>
                  </a:cubicBezTo>
                  <a:cubicBezTo>
                    <a:pt x="82" y="244"/>
                    <a:pt x="85" y="240"/>
                    <a:pt x="85" y="240"/>
                  </a:cubicBezTo>
                  <a:cubicBezTo>
                    <a:pt x="87" y="238"/>
                    <a:pt x="87" y="238"/>
                    <a:pt x="87" y="238"/>
                  </a:cubicBezTo>
                  <a:cubicBezTo>
                    <a:pt x="87" y="238"/>
                    <a:pt x="92" y="239"/>
                    <a:pt x="92" y="239"/>
                  </a:cubicBezTo>
                  <a:cubicBezTo>
                    <a:pt x="92" y="239"/>
                    <a:pt x="99" y="243"/>
                    <a:pt x="99" y="243"/>
                  </a:cubicBezTo>
                  <a:cubicBezTo>
                    <a:pt x="99" y="243"/>
                    <a:pt x="103" y="246"/>
                    <a:pt x="103" y="246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6" y="241"/>
                    <a:pt x="106" y="241"/>
                    <a:pt x="106" y="241"/>
                  </a:cubicBezTo>
                  <a:cubicBezTo>
                    <a:pt x="106" y="241"/>
                    <a:pt x="104" y="236"/>
                    <a:pt x="104" y="236"/>
                  </a:cubicBezTo>
                  <a:cubicBezTo>
                    <a:pt x="104" y="236"/>
                    <a:pt x="104" y="232"/>
                    <a:pt x="105" y="231"/>
                  </a:cubicBezTo>
                  <a:cubicBezTo>
                    <a:pt x="105" y="231"/>
                    <a:pt x="106" y="230"/>
                    <a:pt x="106" y="230"/>
                  </a:cubicBezTo>
                  <a:cubicBezTo>
                    <a:pt x="106" y="230"/>
                    <a:pt x="109" y="231"/>
                    <a:pt x="109" y="230"/>
                  </a:cubicBezTo>
                  <a:cubicBezTo>
                    <a:pt x="109" y="230"/>
                    <a:pt x="110" y="230"/>
                    <a:pt x="111" y="229"/>
                  </a:cubicBezTo>
                  <a:cubicBezTo>
                    <a:pt x="111" y="229"/>
                    <a:pt x="113" y="228"/>
                    <a:pt x="113" y="228"/>
                  </a:cubicBezTo>
                  <a:cubicBezTo>
                    <a:pt x="114" y="228"/>
                    <a:pt x="117" y="228"/>
                    <a:pt x="118" y="228"/>
                  </a:cubicBezTo>
                  <a:cubicBezTo>
                    <a:pt x="118" y="228"/>
                    <a:pt x="119" y="227"/>
                    <a:pt x="119" y="227"/>
                  </a:cubicBezTo>
                  <a:cubicBezTo>
                    <a:pt x="119" y="225"/>
                    <a:pt x="119" y="225"/>
                    <a:pt x="119" y="225"/>
                  </a:cubicBezTo>
                  <a:cubicBezTo>
                    <a:pt x="119" y="225"/>
                    <a:pt x="117" y="223"/>
                    <a:pt x="117" y="223"/>
                  </a:cubicBezTo>
                  <a:cubicBezTo>
                    <a:pt x="117" y="223"/>
                    <a:pt x="116" y="220"/>
                    <a:pt x="116" y="220"/>
                  </a:cubicBezTo>
                  <a:cubicBezTo>
                    <a:pt x="116" y="220"/>
                    <a:pt x="117" y="219"/>
                    <a:pt x="117" y="218"/>
                  </a:cubicBezTo>
                  <a:cubicBezTo>
                    <a:pt x="117" y="218"/>
                    <a:pt x="121" y="214"/>
                    <a:pt x="121" y="214"/>
                  </a:cubicBezTo>
                  <a:cubicBezTo>
                    <a:pt x="118" y="213"/>
                    <a:pt x="118" y="213"/>
                    <a:pt x="118" y="213"/>
                  </a:cubicBezTo>
                  <a:cubicBezTo>
                    <a:pt x="120" y="212"/>
                    <a:pt x="120" y="212"/>
                    <a:pt x="120" y="212"/>
                  </a:cubicBezTo>
                  <a:cubicBezTo>
                    <a:pt x="120" y="212"/>
                    <a:pt x="120" y="211"/>
                    <a:pt x="120" y="211"/>
                  </a:cubicBezTo>
                  <a:cubicBezTo>
                    <a:pt x="119" y="210"/>
                    <a:pt x="118" y="209"/>
                    <a:pt x="118" y="209"/>
                  </a:cubicBezTo>
                  <a:cubicBezTo>
                    <a:pt x="118" y="209"/>
                    <a:pt x="119" y="207"/>
                    <a:pt x="119" y="208"/>
                  </a:cubicBezTo>
                  <a:cubicBezTo>
                    <a:pt x="119" y="208"/>
                    <a:pt x="120" y="209"/>
                    <a:pt x="120" y="209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1" y="203"/>
                    <a:pt x="121" y="203"/>
                    <a:pt x="121" y="203"/>
                  </a:cubicBezTo>
                  <a:cubicBezTo>
                    <a:pt x="120" y="202"/>
                    <a:pt x="120" y="202"/>
                    <a:pt x="120" y="202"/>
                  </a:cubicBezTo>
                  <a:cubicBezTo>
                    <a:pt x="122" y="202"/>
                    <a:pt x="122" y="202"/>
                    <a:pt x="122" y="202"/>
                  </a:cubicBezTo>
                  <a:cubicBezTo>
                    <a:pt x="122" y="202"/>
                    <a:pt x="123" y="201"/>
                    <a:pt x="123" y="201"/>
                  </a:cubicBezTo>
                  <a:cubicBezTo>
                    <a:pt x="123" y="201"/>
                    <a:pt x="121" y="200"/>
                    <a:pt x="121" y="200"/>
                  </a:cubicBezTo>
                  <a:cubicBezTo>
                    <a:pt x="121" y="200"/>
                    <a:pt x="123" y="199"/>
                    <a:pt x="123" y="199"/>
                  </a:cubicBezTo>
                  <a:cubicBezTo>
                    <a:pt x="123" y="199"/>
                    <a:pt x="124" y="197"/>
                    <a:pt x="124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2" y="195"/>
                    <a:pt x="122" y="194"/>
                  </a:cubicBezTo>
                  <a:cubicBezTo>
                    <a:pt x="122" y="194"/>
                    <a:pt x="122" y="193"/>
                    <a:pt x="122" y="193"/>
                  </a:cubicBezTo>
                  <a:cubicBezTo>
                    <a:pt x="123" y="194"/>
                    <a:pt x="123" y="194"/>
                    <a:pt x="123" y="194"/>
                  </a:cubicBezTo>
                  <a:cubicBezTo>
                    <a:pt x="123" y="191"/>
                    <a:pt x="123" y="191"/>
                    <a:pt x="123" y="191"/>
                  </a:cubicBezTo>
                  <a:cubicBezTo>
                    <a:pt x="124" y="192"/>
                    <a:pt x="124" y="192"/>
                    <a:pt x="124" y="192"/>
                  </a:cubicBezTo>
                  <a:cubicBezTo>
                    <a:pt x="126" y="191"/>
                    <a:pt x="126" y="191"/>
                    <a:pt x="126" y="191"/>
                  </a:cubicBezTo>
                  <a:cubicBezTo>
                    <a:pt x="127" y="192"/>
                    <a:pt x="127" y="192"/>
                    <a:pt x="127" y="192"/>
                  </a:cubicBezTo>
                  <a:cubicBezTo>
                    <a:pt x="127" y="189"/>
                    <a:pt x="127" y="189"/>
                    <a:pt x="127" y="189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184"/>
                    <a:pt x="130" y="184"/>
                    <a:pt x="130" y="184"/>
                  </a:cubicBezTo>
                  <a:cubicBezTo>
                    <a:pt x="132" y="183"/>
                    <a:pt x="132" y="183"/>
                    <a:pt x="132" y="183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2"/>
                    <a:pt x="133" y="181"/>
                    <a:pt x="133" y="181"/>
                  </a:cubicBezTo>
                  <a:cubicBezTo>
                    <a:pt x="133" y="181"/>
                    <a:pt x="133" y="180"/>
                    <a:pt x="133" y="180"/>
                  </a:cubicBezTo>
                  <a:cubicBezTo>
                    <a:pt x="135" y="179"/>
                    <a:pt x="135" y="179"/>
                    <a:pt x="135" y="179"/>
                  </a:cubicBezTo>
                  <a:cubicBezTo>
                    <a:pt x="135" y="177"/>
                    <a:pt x="135" y="177"/>
                    <a:pt x="135" y="177"/>
                  </a:cubicBezTo>
                  <a:cubicBezTo>
                    <a:pt x="135" y="176"/>
                    <a:pt x="135" y="176"/>
                    <a:pt x="135" y="176"/>
                  </a:cubicBezTo>
                  <a:cubicBezTo>
                    <a:pt x="137" y="175"/>
                    <a:pt x="137" y="175"/>
                    <a:pt x="137" y="175"/>
                  </a:cubicBezTo>
                  <a:cubicBezTo>
                    <a:pt x="139" y="172"/>
                    <a:pt x="139" y="172"/>
                    <a:pt x="139" y="172"/>
                  </a:cubicBezTo>
                  <a:lnTo>
                    <a:pt x="137" y="168"/>
                  </a:ln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8EBD296F-C63B-4E43-BE86-FE0A5508B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9590" y="1258003"/>
              <a:ext cx="847581" cy="1372982"/>
            </a:xfrm>
            <a:custGeom>
              <a:avLst/>
              <a:gdLst>
                <a:gd name="T0" fmla="*/ 200 w 214"/>
                <a:gd name="T1" fmla="*/ 217 h 346"/>
                <a:gd name="T2" fmla="*/ 199 w 214"/>
                <a:gd name="T3" fmla="*/ 224 h 346"/>
                <a:gd name="T4" fmla="*/ 193 w 214"/>
                <a:gd name="T5" fmla="*/ 225 h 346"/>
                <a:gd name="T6" fmla="*/ 186 w 214"/>
                <a:gd name="T7" fmla="*/ 225 h 346"/>
                <a:gd name="T8" fmla="*/ 171 w 214"/>
                <a:gd name="T9" fmla="*/ 224 h 346"/>
                <a:gd name="T10" fmla="*/ 168 w 214"/>
                <a:gd name="T11" fmla="*/ 230 h 346"/>
                <a:gd name="T12" fmla="*/ 156 w 214"/>
                <a:gd name="T13" fmla="*/ 228 h 346"/>
                <a:gd name="T14" fmla="*/ 151 w 214"/>
                <a:gd name="T15" fmla="*/ 233 h 346"/>
                <a:gd name="T16" fmla="*/ 147 w 214"/>
                <a:gd name="T17" fmla="*/ 227 h 346"/>
                <a:gd name="T18" fmla="*/ 145 w 214"/>
                <a:gd name="T19" fmla="*/ 222 h 346"/>
                <a:gd name="T20" fmla="*/ 142 w 214"/>
                <a:gd name="T21" fmla="*/ 214 h 346"/>
                <a:gd name="T22" fmla="*/ 135 w 214"/>
                <a:gd name="T23" fmla="*/ 213 h 346"/>
                <a:gd name="T24" fmla="*/ 130 w 214"/>
                <a:gd name="T25" fmla="*/ 208 h 346"/>
                <a:gd name="T26" fmla="*/ 132 w 214"/>
                <a:gd name="T27" fmla="*/ 201 h 346"/>
                <a:gd name="T28" fmla="*/ 129 w 214"/>
                <a:gd name="T29" fmla="*/ 197 h 346"/>
                <a:gd name="T30" fmla="*/ 124 w 214"/>
                <a:gd name="T31" fmla="*/ 191 h 346"/>
                <a:gd name="T32" fmla="*/ 122 w 214"/>
                <a:gd name="T33" fmla="*/ 184 h 346"/>
                <a:gd name="T34" fmla="*/ 120 w 214"/>
                <a:gd name="T35" fmla="*/ 178 h 346"/>
                <a:gd name="T36" fmla="*/ 118 w 214"/>
                <a:gd name="T37" fmla="*/ 174 h 346"/>
                <a:gd name="T38" fmla="*/ 112 w 214"/>
                <a:gd name="T39" fmla="*/ 169 h 346"/>
                <a:gd name="T40" fmla="*/ 106 w 214"/>
                <a:gd name="T41" fmla="*/ 176 h 346"/>
                <a:gd name="T42" fmla="*/ 101 w 214"/>
                <a:gd name="T43" fmla="*/ 180 h 346"/>
                <a:gd name="T44" fmla="*/ 94 w 214"/>
                <a:gd name="T45" fmla="*/ 176 h 346"/>
                <a:gd name="T46" fmla="*/ 95 w 214"/>
                <a:gd name="T47" fmla="*/ 169 h 346"/>
                <a:gd name="T48" fmla="*/ 96 w 214"/>
                <a:gd name="T49" fmla="*/ 161 h 346"/>
                <a:gd name="T50" fmla="*/ 99 w 214"/>
                <a:gd name="T51" fmla="*/ 158 h 346"/>
                <a:gd name="T52" fmla="*/ 96 w 214"/>
                <a:gd name="T53" fmla="*/ 151 h 346"/>
                <a:gd name="T54" fmla="*/ 96 w 214"/>
                <a:gd name="T55" fmla="*/ 146 h 346"/>
                <a:gd name="T56" fmla="*/ 97 w 214"/>
                <a:gd name="T57" fmla="*/ 140 h 346"/>
                <a:gd name="T58" fmla="*/ 99 w 214"/>
                <a:gd name="T59" fmla="*/ 130 h 346"/>
                <a:gd name="T60" fmla="*/ 101 w 214"/>
                <a:gd name="T61" fmla="*/ 125 h 346"/>
                <a:gd name="T62" fmla="*/ 97 w 214"/>
                <a:gd name="T63" fmla="*/ 122 h 346"/>
                <a:gd name="T64" fmla="*/ 92 w 214"/>
                <a:gd name="T65" fmla="*/ 122 h 346"/>
                <a:gd name="T66" fmla="*/ 88 w 214"/>
                <a:gd name="T67" fmla="*/ 117 h 346"/>
                <a:gd name="T68" fmla="*/ 85 w 214"/>
                <a:gd name="T69" fmla="*/ 115 h 346"/>
                <a:gd name="T70" fmla="*/ 80 w 214"/>
                <a:gd name="T71" fmla="*/ 112 h 346"/>
                <a:gd name="T72" fmla="*/ 76 w 214"/>
                <a:gd name="T73" fmla="*/ 105 h 346"/>
                <a:gd name="T74" fmla="*/ 68 w 214"/>
                <a:gd name="T75" fmla="*/ 94 h 346"/>
                <a:gd name="T76" fmla="*/ 62 w 214"/>
                <a:gd name="T77" fmla="*/ 90 h 346"/>
                <a:gd name="T78" fmla="*/ 55 w 214"/>
                <a:gd name="T79" fmla="*/ 84 h 346"/>
                <a:gd name="T80" fmla="*/ 54 w 214"/>
                <a:gd name="T81" fmla="*/ 81 h 346"/>
                <a:gd name="T82" fmla="*/ 55 w 214"/>
                <a:gd name="T83" fmla="*/ 78 h 346"/>
                <a:gd name="T84" fmla="*/ 54 w 214"/>
                <a:gd name="T85" fmla="*/ 74 h 346"/>
                <a:gd name="T86" fmla="*/ 42 w 214"/>
                <a:gd name="T87" fmla="*/ 54 h 346"/>
                <a:gd name="T88" fmla="*/ 8 w 214"/>
                <a:gd name="T89" fmla="*/ 133 h 346"/>
                <a:gd name="T90" fmla="*/ 9 w 214"/>
                <a:gd name="T91" fmla="*/ 139 h 346"/>
                <a:gd name="T92" fmla="*/ 11 w 214"/>
                <a:gd name="T93" fmla="*/ 145 h 346"/>
                <a:gd name="T94" fmla="*/ 12 w 214"/>
                <a:gd name="T95" fmla="*/ 154 h 346"/>
                <a:gd name="T96" fmla="*/ 25 w 214"/>
                <a:gd name="T97" fmla="*/ 166 h 346"/>
                <a:gd name="T98" fmla="*/ 27 w 214"/>
                <a:gd name="T99" fmla="*/ 174 h 346"/>
                <a:gd name="T100" fmla="*/ 20 w 214"/>
                <a:gd name="T101" fmla="*/ 189 h 346"/>
                <a:gd name="T102" fmla="*/ 14 w 214"/>
                <a:gd name="T103" fmla="*/ 203 h 346"/>
                <a:gd name="T104" fmla="*/ 14 w 214"/>
                <a:gd name="T105" fmla="*/ 207 h 346"/>
                <a:gd name="T106" fmla="*/ 10 w 214"/>
                <a:gd name="T107" fmla="*/ 215 h 346"/>
                <a:gd name="T108" fmla="*/ 5 w 214"/>
                <a:gd name="T109" fmla="*/ 221 h 346"/>
                <a:gd name="T110" fmla="*/ 1 w 214"/>
                <a:gd name="T111" fmla="*/ 232 h 346"/>
                <a:gd name="T112" fmla="*/ 2 w 214"/>
                <a:gd name="T113" fmla="*/ 236 h 346"/>
                <a:gd name="T114" fmla="*/ 7 w 214"/>
                <a:gd name="T115" fmla="*/ 240 h 346"/>
                <a:gd name="T116" fmla="*/ 10 w 214"/>
                <a:gd name="T117" fmla="*/ 242 h 346"/>
                <a:gd name="T118" fmla="*/ 11 w 214"/>
                <a:gd name="T119" fmla="*/ 252 h 346"/>
                <a:gd name="T120" fmla="*/ 8 w 214"/>
                <a:gd name="T121" fmla="*/ 346 h 346"/>
                <a:gd name="T122" fmla="*/ 212 w 214"/>
                <a:gd name="T123" fmla="*/ 22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4" h="346">
                  <a:moveTo>
                    <a:pt x="203" y="215"/>
                  </a:moveTo>
                  <a:cubicBezTo>
                    <a:pt x="203" y="214"/>
                    <a:pt x="202" y="216"/>
                    <a:pt x="202" y="217"/>
                  </a:cubicBezTo>
                  <a:cubicBezTo>
                    <a:pt x="201" y="217"/>
                    <a:pt x="201" y="217"/>
                    <a:pt x="200" y="217"/>
                  </a:cubicBezTo>
                  <a:cubicBezTo>
                    <a:pt x="199" y="218"/>
                    <a:pt x="199" y="218"/>
                    <a:pt x="199" y="219"/>
                  </a:cubicBezTo>
                  <a:cubicBezTo>
                    <a:pt x="199" y="220"/>
                    <a:pt x="199" y="221"/>
                    <a:pt x="198" y="222"/>
                  </a:cubicBezTo>
                  <a:cubicBezTo>
                    <a:pt x="198" y="222"/>
                    <a:pt x="199" y="223"/>
                    <a:pt x="199" y="224"/>
                  </a:cubicBezTo>
                  <a:cubicBezTo>
                    <a:pt x="199" y="225"/>
                    <a:pt x="200" y="225"/>
                    <a:pt x="199" y="225"/>
                  </a:cubicBezTo>
                  <a:cubicBezTo>
                    <a:pt x="199" y="225"/>
                    <a:pt x="197" y="225"/>
                    <a:pt x="197" y="225"/>
                  </a:cubicBezTo>
                  <a:cubicBezTo>
                    <a:pt x="196" y="225"/>
                    <a:pt x="194" y="224"/>
                    <a:pt x="193" y="225"/>
                  </a:cubicBezTo>
                  <a:cubicBezTo>
                    <a:pt x="191" y="225"/>
                    <a:pt x="190" y="226"/>
                    <a:pt x="189" y="226"/>
                  </a:cubicBezTo>
                  <a:cubicBezTo>
                    <a:pt x="188" y="227"/>
                    <a:pt x="187" y="227"/>
                    <a:pt x="187" y="227"/>
                  </a:cubicBezTo>
                  <a:cubicBezTo>
                    <a:pt x="187" y="227"/>
                    <a:pt x="186" y="225"/>
                    <a:pt x="186" y="225"/>
                  </a:cubicBezTo>
                  <a:cubicBezTo>
                    <a:pt x="186" y="225"/>
                    <a:pt x="184" y="225"/>
                    <a:pt x="183" y="225"/>
                  </a:cubicBezTo>
                  <a:cubicBezTo>
                    <a:pt x="183" y="225"/>
                    <a:pt x="179" y="226"/>
                    <a:pt x="179" y="226"/>
                  </a:cubicBezTo>
                  <a:cubicBezTo>
                    <a:pt x="178" y="226"/>
                    <a:pt x="172" y="224"/>
                    <a:pt x="171" y="224"/>
                  </a:cubicBezTo>
                  <a:cubicBezTo>
                    <a:pt x="171" y="224"/>
                    <a:pt x="170" y="224"/>
                    <a:pt x="170" y="224"/>
                  </a:cubicBezTo>
                  <a:cubicBezTo>
                    <a:pt x="169" y="224"/>
                    <a:pt x="169" y="227"/>
                    <a:pt x="169" y="228"/>
                  </a:cubicBezTo>
                  <a:cubicBezTo>
                    <a:pt x="168" y="229"/>
                    <a:pt x="168" y="230"/>
                    <a:pt x="168" y="230"/>
                  </a:cubicBezTo>
                  <a:cubicBezTo>
                    <a:pt x="168" y="230"/>
                    <a:pt x="166" y="230"/>
                    <a:pt x="165" y="229"/>
                  </a:cubicBezTo>
                  <a:cubicBezTo>
                    <a:pt x="163" y="229"/>
                    <a:pt x="161" y="229"/>
                    <a:pt x="159" y="228"/>
                  </a:cubicBezTo>
                  <a:cubicBezTo>
                    <a:pt x="157" y="227"/>
                    <a:pt x="157" y="228"/>
                    <a:pt x="156" y="228"/>
                  </a:cubicBezTo>
                  <a:cubicBezTo>
                    <a:pt x="155" y="229"/>
                    <a:pt x="154" y="229"/>
                    <a:pt x="153" y="230"/>
                  </a:cubicBezTo>
                  <a:cubicBezTo>
                    <a:pt x="153" y="231"/>
                    <a:pt x="153" y="233"/>
                    <a:pt x="153" y="234"/>
                  </a:cubicBezTo>
                  <a:cubicBezTo>
                    <a:pt x="153" y="234"/>
                    <a:pt x="152" y="234"/>
                    <a:pt x="151" y="233"/>
                  </a:cubicBezTo>
                  <a:cubicBezTo>
                    <a:pt x="150" y="232"/>
                    <a:pt x="149" y="232"/>
                    <a:pt x="148" y="231"/>
                  </a:cubicBezTo>
                  <a:cubicBezTo>
                    <a:pt x="148" y="230"/>
                    <a:pt x="147" y="230"/>
                    <a:pt x="147" y="229"/>
                  </a:cubicBezTo>
                  <a:cubicBezTo>
                    <a:pt x="146" y="228"/>
                    <a:pt x="147" y="228"/>
                    <a:pt x="147" y="227"/>
                  </a:cubicBezTo>
                  <a:cubicBezTo>
                    <a:pt x="147" y="226"/>
                    <a:pt x="146" y="226"/>
                    <a:pt x="146" y="225"/>
                  </a:cubicBezTo>
                  <a:cubicBezTo>
                    <a:pt x="146" y="224"/>
                    <a:pt x="144" y="223"/>
                    <a:pt x="144" y="223"/>
                  </a:cubicBezTo>
                  <a:cubicBezTo>
                    <a:pt x="144" y="223"/>
                    <a:pt x="145" y="222"/>
                    <a:pt x="145" y="222"/>
                  </a:cubicBezTo>
                  <a:cubicBezTo>
                    <a:pt x="145" y="221"/>
                    <a:pt x="145" y="221"/>
                    <a:pt x="145" y="220"/>
                  </a:cubicBezTo>
                  <a:cubicBezTo>
                    <a:pt x="144" y="219"/>
                    <a:pt x="144" y="218"/>
                    <a:pt x="144" y="217"/>
                  </a:cubicBezTo>
                  <a:cubicBezTo>
                    <a:pt x="143" y="216"/>
                    <a:pt x="142" y="215"/>
                    <a:pt x="142" y="214"/>
                  </a:cubicBezTo>
                  <a:cubicBezTo>
                    <a:pt x="141" y="214"/>
                    <a:pt x="140" y="213"/>
                    <a:pt x="139" y="212"/>
                  </a:cubicBezTo>
                  <a:cubicBezTo>
                    <a:pt x="138" y="212"/>
                    <a:pt x="138" y="212"/>
                    <a:pt x="137" y="212"/>
                  </a:cubicBezTo>
                  <a:cubicBezTo>
                    <a:pt x="136" y="213"/>
                    <a:pt x="135" y="213"/>
                    <a:pt x="135" y="213"/>
                  </a:cubicBezTo>
                  <a:cubicBezTo>
                    <a:pt x="135" y="213"/>
                    <a:pt x="134" y="212"/>
                    <a:pt x="134" y="212"/>
                  </a:cubicBezTo>
                  <a:cubicBezTo>
                    <a:pt x="134" y="211"/>
                    <a:pt x="133" y="211"/>
                    <a:pt x="133" y="210"/>
                  </a:cubicBezTo>
                  <a:cubicBezTo>
                    <a:pt x="132" y="210"/>
                    <a:pt x="131" y="208"/>
                    <a:pt x="130" y="208"/>
                  </a:cubicBezTo>
                  <a:cubicBezTo>
                    <a:pt x="130" y="207"/>
                    <a:pt x="130" y="206"/>
                    <a:pt x="130" y="206"/>
                  </a:cubicBezTo>
                  <a:cubicBezTo>
                    <a:pt x="130" y="205"/>
                    <a:pt x="132" y="205"/>
                    <a:pt x="132" y="205"/>
                  </a:cubicBezTo>
                  <a:cubicBezTo>
                    <a:pt x="132" y="205"/>
                    <a:pt x="132" y="202"/>
                    <a:pt x="132" y="201"/>
                  </a:cubicBezTo>
                  <a:cubicBezTo>
                    <a:pt x="132" y="200"/>
                    <a:pt x="131" y="200"/>
                    <a:pt x="131" y="200"/>
                  </a:cubicBezTo>
                  <a:cubicBezTo>
                    <a:pt x="131" y="199"/>
                    <a:pt x="130" y="199"/>
                    <a:pt x="130" y="199"/>
                  </a:cubicBezTo>
                  <a:cubicBezTo>
                    <a:pt x="130" y="199"/>
                    <a:pt x="129" y="198"/>
                    <a:pt x="129" y="197"/>
                  </a:cubicBezTo>
                  <a:cubicBezTo>
                    <a:pt x="129" y="197"/>
                    <a:pt x="128" y="197"/>
                    <a:pt x="127" y="196"/>
                  </a:cubicBezTo>
                  <a:cubicBezTo>
                    <a:pt x="127" y="196"/>
                    <a:pt x="126" y="195"/>
                    <a:pt x="126" y="194"/>
                  </a:cubicBezTo>
                  <a:cubicBezTo>
                    <a:pt x="125" y="194"/>
                    <a:pt x="125" y="192"/>
                    <a:pt x="124" y="191"/>
                  </a:cubicBezTo>
                  <a:cubicBezTo>
                    <a:pt x="123" y="190"/>
                    <a:pt x="123" y="189"/>
                    <a:pt x="123" y="188"/>
                  </a:cubicBezTo>
                  <a:cubicBezTo>
                    <a:pt x="122" y="187"/>
                    <a:pt x="122" y="186"/>
                    <a:pt x="122" y="185"/>
                  </a:cubicBezTo>
                  <a:cubicBezTo>
                    <a:pt x="122" y="184"/>
                    <a:pt x="122" y="184"/>
                    <a:pt x="122" y="184"/>
                  </a:cubicBezTo>
                  <a:cubicBezTo>
                    <a:pt x="121" y="184"/>
                    <a:pt x="121" y="183"/>
                    <a:pt x="120" y="182"/>
                  </a:cubicBezTo>
                  <a:cubicBezTo>
                    <a:pt x="120" y="182"/>
                    <a:pt x="120" y="181"/>
                    <a:pt x="120" y="180"/>
                  </a:cubicBezTo>
                  <a:cubicBezTo>
                    <a:pt x="121" y="180"/>
                    <a:pt x="120" y="179"/>
                    <a:pt x="120" y="178"/>
                  </a:cubicBezTo>
                  <a:cubicBezTo>
                    <a:pt x="120" y="178"/>
                    <a:pt x="120" y="178"/>
                    <a:pt x="119" y="177"/>
                  </a:cubicBezTo>
                  <a:cubicBezTo>
                    <a:pt x="118" y="177"/>
                    <a:pt x="118" y="176"/>
                    <a:pt x="118" y="176"/>
                  </a:cubicBezTo>
                  <a:cubicBezTo>
                    <a:pt x="119" y="176"/>
                    <a:pt x="119" y="174"/>
                    <a:pt x="118" y="174"/>
                  </a:cubicBezTo>
                  <a:cubicBezTo>
                    <a:pt x="118" y="173"/>
                    <a:pt x="118" y="173"/>
                    <a:pt x="117" y="173"/>
                  </a:cubicBezTo>
                  <a:cubicBezTo>
                    <a:pt x="116" y="173"/>
                    <a:pt x="115" y="172"/>
                    <a:pt x="115" y="171"/>
                  </a:cubicBezTo>
                  <a:cubicBezTo>
                    <a:pt x="115" y="171"/>
                    <a:pt x="114" y="169"/>
                    <a:pt x="112" y="169"/>
                  </a:cubicBezTo>
                  <a:cubicBezTo>
                    <a:pt x="111" y="169"/>
                    <a:pt x="112" y="170"/>
                    <a:pt x="112" y="171"/>
                  </a:cubicBezTo>
                  <a:cubicBezTo>
                    <a:pt x="112" y="172"/>
                    <a:pt x="111" y="173"/>
                    <a:pt x="110" y="173"/>
                  </a:cubicBezTo>
                  <a:cubicBezTo>
                    <a:pt x="110" y="174"/>
                    <a:pt x="107" y="176"/>
                    <a:pt x="106" y="176"/>
                  </a:cubicBezTo>
                  <a:cubicBezTo>
                    <a:pt x="105" y="176"/>
                    <a:pt x="104" y="176"/>
                    <a:pt x="104" y="177"/>
                  </a:cubicBezTo>
                  <a:cubicBezTo>
                    <a:pt x="104" y="177"/>
                    <a:pt x="104" y="179"/>
                    <a:pt x="103" y="179"/>
                  </a:cubicBezTo>
                  <a:cubicBezTo>
                    <a:pt x="102" y="179"/>
                    <a:pt x="101" y="180"/>
                    <a:pt x="101" y="180"/>
                  </a:cubicBezTo>
                  <a:cubicBezTo>
                    <a:pt x="100" y="180"/>
                    <a:pt x="99" y="179"/>
                    <a:pt x="98" y="179"/>
                  </a:cubicBezTo>
                  <a:cubicBezTo>
                    <a:pt x="97" y="178"/>
                    <a:pt x="97" y="177"/>
                    <a:pt x="97" y="176"/>
                  </a:cubicBezTo>
                  <a:cubicBezTo>
                    <a:pt x="96" y="176"/>
                    <a:pt x="95" y="176"/>
                    <a:pt x="94" y="176"/>
                  </a:cubicBezTo>
                  <a:cubicBezTo>
                    <a:pt x="93" y="176"/>
                    <a:pt x="93" y="175"/>
                    <a:pt x="93" y="174"/>
                  </a:cubicBezTo>
                  <a:cubicBezTo>
                    <a:pt x="93" y="173"/>
                    <a:pt x="94" y="172"/>
                    <a:pt x="94" y="172"/>
                  </a:cubicBezTo>
                  <a:cubicBezTo>
                    <a:pt x="95" y="171"/>
                    <a:pt x="95" y="169"/>
                    <a:pt x="95" y="169"/>
                  </a:cubicBezTo>
                  <a:cubicBezTo>
                    <a:pt x="95" y="168"/>
                    <a:pt x="93" y="166"/>
                    <a:pt x="93" y="165"/>
                  </a:cubicBezTo>
                  <a:cubicBezTo>
                    <a:pt x="93" y="164"/>
                    <a:pt x="94" y="164"/>
                    <a:pt x="94" y="163"/>
                  </a:cubicBezTo>
                  <a:cubicBezTo>
                    <a:pt x="95" y="162"/>
                    <a:pt x="95" y="162"/>
                    <a:pt x="96" y="161"/>
                  </a:cubicBezTo>
                  <a:cubicBezTo>
                    <a:pt x="96" y="161"/>
                    <a:pt x="97" y="161"/>
                    <a:pt x="98" y="161"/>
                  </a:cubicBezTo>
                  <a:cubicBezTo>
                    <a:pt x="99" y="161"/>
                    <a:pt x="99" y="161"/>
                    <a:pt x="99" y="160"/>
                  </a:cubicBezTo>
                  <a:cubicBezTo>
                    <a:pt x="99" y="159"/>
                    <a:pt x="99" y="159"/>
                    <a:pt x="99" y="158"/>
                  </a:cubicBezTo>
                  <a:cubicBezTo>
                    <a:pt x="98" y="156"/>
                    <a:pt x="98" y="155"/>
                    <a:pt x="98" y="155"/>
                  </a:cubicBezTo>
                  <a:cubicBezTo>
                    <a:pt x="97" y="154"/>
                    <a:pt x="96" y="154"/>
                    <a:pt x="96" y="153"/>
                  </a:cubicBezTo>
                  <a:cubicBezTo>
                    <a:pt x="96" y="153"/>
                    <a:pt x="96" y="151"/>
                    <a:pt x="96" y="151"/>
                  </a:cubicBezTo>
                  <a:cubicBezTo>
                    <a:pt x="96" y="151"/>
                    <a:pt x="96" y="150"/>
                    <a:pt x="96" y="149"/>
                  </a:cubicBezTo>
                  <a:cubicBezTo>
                    <a:pt x="96" y="149"/>
                    <a:pt x="95" y="148"/>
                    <a:pt x="95" y="147"/>
                  </a:cubicBezTo>
                  <a:cubicBezTo>
                    <a:pt x="95" y="147"/>
                    <a:pt x="95" y="146"/>
                    <a:pt x="96" y="146"/>
                  </a:cubicBezTo>
                  <a:cubicBezTo>
                    <a:pt x="97" y="146"/>
                    <a:pt x="97" y="145"/>
                    <a:pt x="97" y="145"/>
                  </a:cubicBezTo>
                  <a:cubicBezTo>
                    <a:pt x="97" y="144"/>
                    <a:pt x="97" y="143"/>
                    <a:pt x="96" y="143"/>
                  </a:cubicBezTo>
                  <a:cubicBezTo>
                    <a:pt x="96" y="142"/>
                    <a:pt x="96" y="141"/>
                    <a:pt x="97" y="140"/>
                  </a:cubicBezTo>
                  <a:cubicBezTo>
                    <a:pt x="97" y="140"/>
                    <a:pt x="98" y="138"/>
                    <a:pt x="98" y="138"/>
                  </a:cubicBezTo>
                  <a:cubicBezTo>
                    <a:pt x="98" y="137"/>
                    <a:pt x="99" y="135"/>
                    <a:pt x="99" y="134"/>
                  </a:cubicBezTo>
                  <a:cubicBezTo>
                    <a:pt x="99" y="133"/>
                    <a:pt x="99" y="131"/>
                    <a:pt x="99" y="130"/>
                  </a:cubicBezTo>
                  <a:cubicBezTo>
                    <a:pt x="99" y="130"/>
                    <a:pt x="99" y="129"/>
                    <a:pt x="99" y="129"/>
                  </a:cubicBezTo>
                  <a:cubicBezTo>
                    <a:pt x="99" y="129"/>
                    <a:pt x="100" y="128"/>
                    <a:pt x="100" y="128"/>
                  </a:cubicBezTo>
                  <a:cubicBezTo>
                    <a:pt x="101" y="128"/>
                    <a:pt x="101" y="125"/>
                    <a:pt x="101" y="125"/>
                  </a:cubicBezTo>
                  <a:cubicBezTo>
                    <a:pt x="101" y="125"/>
                    <a:pt x="101" y="122"/>
                    <a:pt x="101" y="122"/>
                  </a:cubicBezTo>
                  <a:cubicBezTo>
                    <a:pt x="101" y="121"/>
                    <a:pt x="100" y="121"/>
                    <a:pt x="100" y="121"/>
                  </a:cubicBezTo>
                  <a:cubicBezTo>
                    <a:pt x="100" y="121"/>
                    <a:pt x="98" y="122"/>
                    <a:pt x="97" y="122"/>
                  </a:cubicBezTo>
                  <a:cubicBezTo>
                    <a:pt x="97" y="123"/>
                    <a:pt x="96" y="122"/>
                    <a:pt x="96" y="122"/>
                  </a:cubicBezTo>
                  <a:cubicBezTo>
                    <a:pt x="95" y="122"/>
                    <a:pt x="94" y="122"/>
                    <a:pt x="94" y="122"/>
                  </a:cubicBezTo>
                  <a:cubicBezTo>
                    <a:pt x="94" y="122"/>
                    <a:pt x="92" y="122"/>
                    <a:pt x="92" y="122"/>
                  </a:cubicBezTo>
                  <a:cubicBezTo>
                    <a:pt x="92" y="122"/>
                    <a:pt x="91" y="121"/>
                    <a:pt x="91" y="120"/>
                  </a:cubicBezTo>
                  <a:cubicBezTo>
                    <a:pt x="90" y="119"/>
                    <a:pt x="90" y="118"/>
                    <a:pt x="90" y="118"/>
                  </a:cubicBezTo>
                  <a:cubicBezTo>
                    <a:pt x="90" y="117"/>
                    <a:pt x="89" y="117"/>
                    <a:pt x="88" y="117"/>
                  </a:cubicBezTo>
                  <a:cubicBezTo>
                    <a:pt x="88" y="117"/>
                    <a:pt x="87" y="119"/>
                    <a:pt x="86" y="119"/>
                  </a:cubicBezTo>
                  <a:cubicBezTo>
                    <a:pt x="86" y="119"/>
                    <a:pt x="86" y="118"/>
                    <a:pt x="86" y="117"/>
                  </a:cubicBezTo>
                  <a:cubicBezTo>
                    <a:pt x="86" y="116"/>
                    <a:pt x="86" y="116"/>
                    <a:pt x="85" y="115"/>
                  </a:cubicBezTo>
                  <a:cubicBezTo>
                    <a:pt x="85" y="115"/>
                    <a:pt x="84" y="114"/>
                    <a:pt x="83" y="113"/>
                  </a:cubicBezTo>
                  <a:cubicBezTo>
                    <a:pt x="83" y="113"/>
                    <a:pt x="82" y="114"/>
                    <a:pt x="82" y="114"/>
                  </a:cubicBezTo>
                  <a:cubicBezTo>
                    <a:pt x="81" y="114"/>
                    <a:pt x="80" y="112"/>
                    <a:pt x="80" y="112"/>
                  </a:cubicBezTo>
                  <a:cubicBezTo>
                    <a:pt x="80" y="111"/>
                    <a:pt x="80" y="109"/>
                    <a:pt x="80" y="108"/>
                  </a:cubicBezTo>
                  <a:cubicBezTo>
                    <a:pt x="80" y="107"/>
                    <a:pt x="79" y="106"/>
                    <a:pt x="78" y="106"/>
                  </a:cubicBezTo>
                  <a:cubicBezTo>
                    <a:pt x="77" y="105"/>
                    <a:pt x="76" y="105"/>
                    <a:pt x="76" y="105"/>
                  </a:cubicBezTo>
                  <a:cubicBezTo>
                    <a:pt x="75" y="104"/>
                    <a:pt x="74" y="101"/>
                    <a:pt x="74" y="101"/>
                  </a:cubicBezTo>
                  <a:cubicBezTo>
                    <a:pt x="74" y="100"/>
                    <a:pt x="73" y="99"/>
                    <a:pt x="72" y="98"/>
                  </a:cubicBezTo>
                  <a:cubicBezTo>
                    <a:pt x="72" y="98"/>
                    <a:pt x="68" y="95"/>
                    <a:pt x="68" y="94"/>
                  </a:cubicBezTo>
                  <a:cubicBezTo>
                    <a:pt x="67" y="94"/>
                    <a:pt x="67" y="92"/>
                    <a:pt x="67" y="91"/>
                  </a:cubicBezTo>
                  <a:cubicBezTo>
                    <a:pt x="67" y="91"/>
                    <a:pt x="66" y="91"/>
                    <a:pt x="65" y="90"/>
                  </a:cubicBezTo>
                  <a:cubicBezTo>
                    <a:pt x="65" y="90"/>
                    <a:pt x="63" y="90"/>
                    <a:pt x="62" y="90"/>
                  </a:cubicBezTo>
                  <a:cubicBezTo>
                    <a:pt x="61" y="89"/>
                    <a:pt x="61" y="89"/>
                    <a:pt x="60" y="89"/>
                  </a:cubicBezTo>
                  <a:cubicBezTo>
                    <a:pt x="59" y="88"/>
                    <a:pt x="58" y="86"/>
                    <a:pt x="57" y="85"/>
                  </a:cubicBezTo>
                  <a:cubicBezTo>
                    <a:pt x="57" y="84"/>
                    <a:pt x="56" y="84"/>
                    <a:pt x="55" y="84"/>
                  </a:cubicBezTo>
                  <a:cubicBezTo>
                    <a:pt x="55" y="83"/>
                    <a:pt x="53" y="83"/>
                    <a:pt x="53" y="83"/>
                  </a:cubicBezTo>
                  <a:cubicBezTo>
                    <a:pt x="52" y="82"/>
                    <a:pt x="52" y="82"/>
                    <a:pt x="52" y="82"/>
                  </a:cubicBezTo>
                  <a:cubicBezTo>
                    <a:pt x="52" y="82"/>
                    <a:pt x="54" y="81"/>
                    <a:pt x="54" y="81"/>
                  </a:cubicBezTo>
                  <a:cubicBezTo>
                    <a:pt x="55" y="81"/>
                    <a:pt x="56" y="80"/>
                    <a:pt x="56" y="80"/>
                  </a:cubicBezTo>
                  <a:cubicBezTo>
                    <a:pt x="56" y="80"/>
                    <a:pt x="56" y="80"/>
                    <a:pt x="56" y="79"/>
                  </a:cubicBezTo>
                  <a:cubicBezTo>
                    <a:pt x="56" y="79"/>
                    <a:pt x="55" y="79"/>
                    <a:pt x="55" y="78"/>
                  </a:cubicBezTo>
                  <a:cubicBezTo>
                    <a:pt x="54" y="78"/>
                    <a:pt x="52" y="76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54" y="71"/>
                    <a:pt x="54" y="71"/>
                  </a:cubicBezTo>
                  <a:cubicBezTo>
                    <a:pt x="54" y="70"/>
                    <a:pt x="52" y="67"/>
                    <a:pt x="52" y="67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8" y="133"/>
                    <a:pt x="7" y="135"/>
                    <a:pt x="7" y="135"/>
                  </a:cubicBezTo>
                  <a:cubicBezTo>
                    <a:pt x="7" y="136"/>
                    <a:pt x="7" y="136"/>
                    <a:pt x="7" y="137"/>
                  </a:cubicBezTo>
                  <a:cubicBezTo>
                    <a:pt x="7" y="137"/>
                    <a:pt x="8" y="138"/>
                    <a:pt x="9" y="139"/>
                  </a:cubicBezTo>
                  <a:cubicBezTo>
                    <a:pt x="10" y="139"/>
                    <a:pt x="10" y="140"/>
                    <a:pt x="10" y="141"/>
                  </a:cubicBezTo>
                  <a:cubicBezTo>
                    <a:pt x="10" y="141"/>
                    <a:pt x="10" y="143"/>
                    <a:pt x="10" y="144"/>
                  </a:cubicBezTo>
                  <a:cubicBezTo>
                    <a:pt x="10" y="145"/>
                    <a:pt x="11" y="145"/>
                    <a:pt x="11" y="145"/>
                  </a:cubicBezTo>
                  <a:cubicBezTo>
                    <a:pt x="12" y="145"/>
                    <a:pt x="11" y="146"/>
                    <a:pt x="11" y="147"/>
                  </a:cubicBezTo>
                  <a:cubicBezTo>
                    <a:pt x="11" y="147"/>
                    <a:pt x="9" y="150"/>
                    <a:pt x="9" y="150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7" y="162"/>
                    <a:pt x="20" y="164"/>
                    <a:pt x="21" y="164"/>
                  </a:cubicBezTo>
                  <a:cubicBezTo>
                    <a:pt x="21" y="164"/>
                    <a:pt x="25" y="166"/>
                    <a:pt x="25" y="166"/>
                  </a:cubicBezTo>
                  <a:cubicBezTo>
                    <a:pt x="25" y="166"/>
                    <a:pt x="25" y="168"/>
                    <a:pt x="25" y="169"/>
                  </a:cubicBezTo>
                  <a:cubicBezTo>
                    <a:pt x="25" y="169"/>
                    <a:pt x="26" y="171"/>
                    <a:pt x="26" y="171"/>
                  </a:cubicBezTo>
                  <a:cubicBezTo>
                    <a:pt x="27" y="174"/>
                    <a:pt x="27" y="174"/>
                    <a:pt x="27" y="174"/>
                  </a:cubicBezTo>
                  <a:cubicBezTo>
                    <a:pt x="27" y="174"/>
                    <a:pt x="26" y="177"/>
                    <a:pt x="25" y="177"/>
                  </a:cubicBezTo>
                  <a:cubicBezTo>
                    <a:pt x="25" y="178"/>
                    <a:pt x="25" y="179"/>
                    <a:pt x="25" y="179"/>
                  </a:cubicBezTo>
                  <a:cubicBezTo>
                    <a:pt x="25" y="179"/>
                    <a:pt x="20" y="189"/>
                    <a:pt x="20" y="189"/>
                  </a:cubicBezTo>
                  <a:cubicBezTo>
                    <a:pt x="20" y="189"/>
                    <a:pt x="18" y="196"/>
                    <a:pt x="18" y="196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5" y="204"/>
                    <a:pt x="15" y="204"/>
                    <a:pt x="15" y="204"/>
                  </a:cubicBezTo>
                  <a:cubicBezTo>
                    <a:pt x="15" y="205"/>
                    <a:pt x="15" y="205"/>
                    <a:pt x="15" y="205"/>
                  </a:cubicBezTo>
                  <a:cubicBezTo>
                    <a:pt x="14" y="206"/>
                    <a:pt x="14" y="206"/>
                    <a:pt x="14" y="207"/>
                  </a:cubicBezTo>
                  <a:cubicBezTo>
                    <a:pt x="14" y="208"/>
                    <a:pt x="14" y="209"/>
                    <a:pt x="13" y="210"/>
                  </a:cubicBezTo>
                  <a:cubicBezTo>
                    <a:pt x="12" y="211"/>
                    <a:pt x="12" y="212"/>
                    <a:pt x="11" y="213"/>
                  </a:cubicBezTo>
                  <a:cubicBezTo>
                    <a:pt x="11" y="214"/>
                    <a:pt x="11" y="214"/>
                    <a:pt x="10" y="215"/>
                  </a:cubicBezTo>
                  <a:cubicBezTo>
                    <a:pt x="9" y="215"/>
                    <a:pt x="8" y="215"/>
                    <a:pt x="8" y="216"/>
                  </a:cubicBezTo>
                  <a:cubicBezTo>
                    <a:pt x="7" y="216"/>
                    <a:pt x="7" y="216"/>
                    <a:pt x="7" y="217"/>
                  </a:cubicBezTo>
                  <a:cubicBezTo>
                    <a:pt x="6" y="218"/>
                    <a:pt x="6" y="220"/>
                    <a:pt x="5" y="221"/>
                  </a:cubicBezTo>
                  <a:cubicBezTo>
                    <a:pt x="5" y="222"/>
                    <a:pt x="5" y="224"/>
                    <a:pt x="4" y="225"/>
                  </a:cubicBezTo>
                  <a:cubicBezTo>
                    <a:pt x="3" y="227"/>
                    <a:pt x="2" y="227"/>
                    <a:pt x="1" y="229"/>
                  </a:cubicBezTo>
                  <a:cubicBezTo>
                    <a:pt x="1" y="230"/>
                    <a:pt x="2" y="231"/>
                    <a:pt x="1" y="232"/>
                  </a:cubicBezTo>
                  <a:cubicBezTo>
                    <a:pt x="1" y="232"/>
                    <a:pt x="0" y="232"/>
                    <a:pt x="0" y="233"/>
                  </a:cubicBezTo>
                  <a:cubicBezTo>
                    <a:pt x="0" y="233"/>
                    <a:pt x="1" y="233"/>
                    <a:pt x="1" y="234"/>
                  </a:cubicBezTo>
                  <a:cubicBezTo>
                    <a:pt x="2" y="234"/>
                    <a:pt x="2" y="235"/>
                    <a:pt x="2" y="236"/>
                  </a:cubicBezTo>
                  <a:cubicBezTo>
                    <a:pt x="2" y="236"/>
                    <a:pt x="2" y="237"/>
                    <a:pt x="2" y="237"/>
                  </a:cubicBezTo>
                  <a:cubicBezTo>
                    <a:pt x="2" y="238"/>
                    <a:pt x="4" y="239"/>
                    <a:pt x="4" y="238"/>
                  </a:cubicBezTo>
                  <a:cubicBezTo>
                    <a:pt x="5" y="238"/>
                    <a:pt x="6" y="239"/>
                    <a:pt x="7" y="240"/>
                  </a:cubicBezTo>
                  <a:cubicBezTo>
                    <a:pt x="8" y="240"/>
                    <a:pt x="8" y="240"/>
                    <a:pt x="8" y="240"/>
                  </a:cubicBezTo>
                  <a:cubicBezTo>
                    <a:pt x="9" y="240"/>
                    <a:pt x="9" y="239"/>
                    <a:pt x="10" y="240"/>
                  </a:cubicBezTo>
                  <a:cubicBezTo>
                    <a:pt x="10" y="240"/>
                    <a:pt x="10" y="242"/>
                    <a:pt x="10" y="242"/>
                  </a:cubicBezTo>
                  <a:cubicBezTo>
                    <a:pt x="10" y="243"/>
                    <a:pt x="11" y="243"/>
                    <a:pt x="12" y="243"/>
                  </a:cubicBezTo>
                  <a:cubicBezTo>
                    <a:pt x="13" y="244"/>
                    <a:pt x="11" y="247"/>
                    <a:pt x="10" y="247"/>
                  </a:cubicBezTo>
                  <a:cubicBezTo>
                    <a:pt x="9" y="249"/>
                    <a:pt x="11" y="250"/>
                    <a:pt x="11" y="252"/>
                  </a:cubicBezTo>
                  <a:cubicBezTo>
                    <a:pt x="11" y="253"/>
                    <a:pt x="10" y="254"/>
                    <a:pt x="10" y="256"/>
                  </a:cubicBezTo>
                  <a:cubicBezTo>
                    <a:pt x="9" y="257"/>
                    <a:pt x="9" y="259"/>
                    <a:pt x="8" y="259"/>
                  </a:cubicBezTo>
                  <a:cubicBezTo>
                    <a:pt x="8" y="346"/>
                    <a:pt x="8" y="346"/>
                    <a:pt x="8" y="346"/>
                  </a:cubicBezTo>
                  <a:cubicBezTo>
                    <a:pt x="214" y="346"/>
                    <a:pt x="214" y="346"/>
                    <a:pt x="214" y="346"/>
                  </a:cubicBezTo>
                  <a:cubicBezTo>
                    <a:pt x="214" y="229"/>
                    <a:pt x="214" y="229"/>
                    <a:pt x="214" y="229"/>
                  </a:cubicBezTo>
                  <a:cubicBezTo>
                    <a:pt x="212" y="228"/>
                    <a:pt x="212" y="228"/>
                    <a:pt x="212" y="228"/>
                  </a:cubicBezTo>
                  <a:cubicBezTo>
                    <a:pt x="212" y="228"/>
                    <a:pt x="204" y="215"/>
                    <a:pt x="203" y="215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BE6983CA-372C-4282-9E3A-245929C2A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363" y="3858574"/>
              <a:ext cx="652621" cy="758362"/>
            </a:xfrm>
            <a:custGeom>
              <a:avLst/>
              <a:gdLst>
                <a:gd name="T0" fmla="*/ 155 w 165"/>
                <a:gd name="T1" fmla="*/ 115 h 191"/>
                <a:gd name="T2" fmla="*/ 152 w 165"/>
                <a:gd name="T3" fmla="*/ 106 h 191"/>
                <a:gd name="T4" fmla="*/ 145 w 165"/>
                <a:gd name="T5" fmla="*/ 95 h 191"/>
                <a:gd name="T6" fmla="*/ 139 w 165"/>
                <a:gd name="T7" fmla="*/ 79 h 191"/>
                <a:gd name="T8" fmla="*/ 130 w 165"/>
                <a:gd name="T9" fmla="*/ 73 h 191"/>
                <a:gd name="T10" fmla="*/ 127 w 165"/>
                <a:gd name="T11" fmla="*/ 69 h 191"/>
                <a:gd name="T12" fmla="*/ 123 w 165"/>
                <a:gd name="T13" fmla="*/ 60 h 191"/>
                <a:gd name="T14" fmla="*/ 105 w 165"/>
                <a:gd name="T15" fmla="*/ 44 h 191"/>
                <a:gd name="T16" fmla="*/ 99 w 165"/>
                <a:gd name="T17" fmla="*/ 30 h 191"/>
                <a:gd name="T18" fmla="*/ 88 w 165"/>
                <a:gd name="T19" fmla="*/ 20 h 191"/>
                <a:gd name="T20" fmla="*/ 79 w 165"/>
                <a:gd name="T21" fmla="*/ 13 h 191"/>
                <a:gd name="T22" fmla="*/ 86 w 165"/>
                <a:gd name="T23" fmla="*/ 2 h 191"/>
                <a:gd name="T24" fmla="*/ 15 w 165"/>
                <a:gd name="T25" fmla="*/ 89 h 191"/>
                <a:gd name="T26" fmla="*/ 18 w 165"/>
                <a:gd name="T27" fmla="*/ 99 h 191"/>
                <a:gd name="T28" fmla="*/ 23 w 165"/>
                <a:gd name="T29" fmla="*/ 112 h 191"/>
                <a:gd name="T30" fmla="*/ 19 w 165"/>
                <a:gd name="T31" fmla="*/ 122 h 191"/>
                <a:gd name="T32" fmla="*/ 18 w 165"/>
                <a:gd name="T33" fmla="*/ 137 h 191"/>
                <a:gd name="T34" fmla="*/ 17 w 165"/>
                <a:gd name="T35" fmla="*/ 156 h 191"/>
                <a:gd name="T36" fmla="*/ 23 w 165"/>
                <a:gd name="T37" fmla="*/ 169 h 191"/>
                <a:gd name="T38" fmla="*/ 116 w 165"/>
                <a:gd name="T39" fmla="*/ 181 h 191"/>
                <a:gd name="T40" fmla="*/ 120 w 165"/>
                <a:gd name="T41" fmla="*/ 190 h 191"/>
                <a:gd name="T42" fmla="*/ 124 w 165"/>
                <a:gd name="T43" fmla="*/ 181 h 191"/>
                <a:gd name="T44" fmla="*/ 125 w 165"/>
                <a:gd name="T45" fmla="*/ 173 h 191"/>
                <a:gd name="T46" fmla="*/ 132 w 165"/>
                <a:gd name="T47" fmla="*/ 174 h 191"/>
                <a:gd name="T48" fmla="*/ 142 w 165"/>
                <a:gd name="T49" fmla="*/ 175 h 191"/>
                <a:gd name="T50" fmla="*/ 141 w 165"/>
                <a:gd name="T51" fmla="*/ 170 h 191"/>
                <a:gd name="T52" fmla="*/ 143 w 165"/>
                <a:gd name="T53" fmla="*/ 169 h 191"/>
                <a:gd name="T54" fmla="*/ 144 w 165"/>
                <a:gd name="T55" fmla="*/ 171 h 191"/>
                <a:gd name="T56" fmla="*/ 145 w 165"/>
                <a:gd name="T57" fmla="*/ 167 h 191"/>
                <a:gd name="T58" fmla="*/ 144 w 165"/>
                <a:gd name="T59" fmla="*/ 166 h 191"/>
                <a:gd name="T60" fmla="*/ 142 w 165"/>
                <a:gd name="T61" fmla="*/ 166 h 191"/>
                <a:gd name="T62" fmla="*/ 141 w 165"/>
                <a:gd name="T63" fmla="*/ 162 h 191"/>
                <a:gd name="T64" fmla="*/ 142 w 165"/>
                <a:gd name="T65" fmla="*/ 160 h 191"/>
                <a:gd name="T66" fmla="*/ 144 w 165"/>
                <a:gd name="T67" fmla="*/ 158 h 191"/>
                <a:gd name="T68" fmla="*/ 146 w 165"/>
                <a:gd name="T69" fmla="*/ 153 h 191"/>
                <a:gd name="T70" fmla="*/ 145 w 165"/>
                <a:gd name="T71" fmla="*/ 156 h 191"/>
                <a:gd name="T72" fmla="*/ 146 w 165"/>
                <a:gd name="T73" fmla="*/ 158 h 191"/>
                <a:gd name="T74" fmla="*/ 148 w 165"/>
                <a:gd name="T75" fmla="*/ 155 h 191"/>
                <a:gd name="T76" fmla="*/ 148 w 165"/>
                <a:gd name="T77" fmla="*/ 152 h 191"/>
                <a:gd name="T78" fmla="*/ 148 w 165"/>
                <a:gd name="T79" fmla="*/ 151 h 191"/>
                <a:gd name="T80" fmla="*/ 150 w 165"/>
                <a:gd name="T81" fmla="*/ 149 h 191"/>
                <a:gd name="T82" fmla="*/ 151 w 165"/>
                <a:gd name="T83" fmla="*/ 146 h 191"/>
                <a:gd name="T84" fmla="*/ 151 w 165"/>
                <a:gd name="T85" fmla="*/ 144 h 191"/>
                <a:gd name="T86" fmla="*/ 148 w 165"/>
                <a:gd name="T87" fmla="*/ 143 h 191"/>
                <a:gd name="T88" fmla="*/ 150 w 165"/>
                <a:gd name="T89" fmla="*/ 142 h 191"/>
                <a:gd name="T90" fmla="*/ 151 w 165"/>
                <a:gd name="T91" fmla="*/ 139 h 191"/>
                <a:gd name="T92" fmla="*/ 148 w 165"/>
                <a:gd name="T93" fmla="*/ 138 h 191"/>
                <a:gd name="T94" fmla="*/ 152 w 165"/>
                <a:gd name="T95" fmla="*/ 136 h 191"/>
                <a:gd name="T96" fmla="*/ 153 w 165"/>
                <a:gd name="T97" fmla="*/ 134 h 191"/>
                <a:gd name="T98" fmla="*/ 157 w 165"/>
                <a:gd name="T99" fmla="*/ 133 h 191"/>
                <a:gd name="T100" fmla="*/ 155 w 165"/>
                <a:gd name="T101" fmla="*/ 130 h 191"/>
                <a:gd name="T102" fmla="*/ 156 w 165"/>
                <a:gd name="T103" fmla="*/ 128 h 191"/>
                <a:gd name="T104" fmla="*/ 161 w 165"/>
                <a:gd name="T105" fmla="*/ 128 h 191"/>
                <a:gd name="T106" fmla="*/ 160 w 165"/>
                <a:gd name="T107" fmla="*/ 125 h 191"/>
                <a:gd name="T108" fmla="*/ 164 w 165"/>
                <a:gd name="T109" fmla="*/ 125 h 191"/>
                <a:gd name="T110" fmla="*/ 161 w 165"/>
                <a:gd name="T111" fmla="*/ 122 h 191"/>
                <a:gd name="T112" fmla="*/ 160 w 165"/>
                <a:gd name="T113" fmla="*/ 12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5" h="191">
                  <a:moveTo>
                    <a:pt x="159" y="120"/>
                  </a:moveTo>
                  <a:cubicBezTo>
                    <a:pt x="159" y="120"/>
                    <a:pt x="157" y="120"/>
                    <a:pt x="157" y="120"/>
                  </a:cubicBezTo>
                  <a:cubicBezTo>
                    <a:pt x="156" y="120"/>
                    <a:pt x="155" y="120"/>
                    <a:pt x="155" y="119"/>
                  </a:cubicBezTo>
                  <a:cubicBezTo>
                    <a:pt x="155" y="119"/>
                    <a:pt x="155" y="116"/>
                    <a:pt x="155" y="115"/>
                  </a:cubicBezTo>
                  <a:cubicBezTo>
                    <a:pt x="155" y="115"/>
                    <a:pt x="155" y="113"/>
                    <a:pt x="155" y="112"/>
                  </a:cubicBezTo>
                  <a:cubicBezTo>
                    <a:pt x="155" y="111"/>
                    <a:pt x="155" y="111"/>
                    <a:pt x="154" y="110"/>
                  </a:cubicBezTo>
                  <a:cubicBezTo>
                    <a:pt x="153" y="109"/>
                    <a:pt x="153" y="108"/>
                    <a:pt x="153" y="108"/>
                  </a:cubicBezTo>
                  <a:cubicBezTo>
                    <a:pt x="152" y="108"/>
                    <a:pt x="152" y="107"/>
                    <a:pt x="152" y="106"/>
                  </a:cubicBezTo>
                  <a:cubicBezTo>
                    <a:pt x="152" y="106"/>
                    <a:pt x="152" y="105"/>
                    <a:pt x="152" y="105"/>
                  </a:cubicBezTo>
                  <a:cubicBezTo>
                    <a:pt x="152" y="105"/>
                    <a:pt x="145" y="99"/>
                    <a:pt x="145" y="99"/>
                  </a:cubicBezTo>
                  <a:cubicBezTo>
                    <a:pt x="145" y="98"/>
                    <a:pt x="145" y="97"/>
                    <a:pt x="145" y="97"/>
                  </a:cubicBezTo>
                  <a:cubicBezTo>
                    <a:pt x="145" y="96"/>
                    <a:pt x="145" y="95"/>
                    <a:pt x="145" y="95"/>
                  </a:cubicBezTo>
                  <a:cubicBezTo>
                    <a:pt x="144" y="95"/>
                    <a:pt x="145" y="91"/>
                    <a:pt x="144" y="90"/>
                  </a:cubicBezTo>
                  <a:cubicBezTo>
                    <a:pt x="144" y="90"/>
                    <a:pt x="143" y="88"/>
                    <a:pt x="142" y="88"/>
                  </a:cubicBezTo>
                  <a:cubicBezTo>
                    <a:pt x="142" y="87"/>
                    <a:pt x="142" y="83"/>
                    <a:pt x="142" y="83"/>
                  </a:cubicBezTo>
                  <a:cubicBezTo>
                    <a:pt x="141" y="82"/>
                    <a:pt x="139" y="80"/>
                    <a:pt x="139" y="79"/>
                  </a:cubicBezTo>
                  <a:cubicBezTo>
                    <a:pt x="138" y="79"/>
                    <a:pt x="134" y="77"/>
                    <a:pt x="134" y="77"/>
                  </a:cubicBezTo>
                  <a:cubicBezTo>
                    <a:pt x="133" y="77"/>
                    <a:pt x="133" y="77"/>
                    <a:pt x="133" y="76"/>
                  </a:cubicBezTo>
                  <a:cubicBezTo>
                    <a:pt x="133" y="76"/>
                    <a:pt x="133" y="74"/>
                    <a:pt x="132" y="74"/>
                  </a:cubicBezTo>
                  <a:cubicBezTo>
                    <a:pt x="132" y="74"/>
                    <a:pt x="131" y="73"/>
                    <a:pt x="130" y="73"/>
                  </a:cubicBezTo>
                  <a:cubicBezTo>
                    <a:pt x="130" y="73"/>
                    <a:pt x="130" y="72"/>
                    <a:pt x="130" y="72"/>
                  </a:cubicBezTo>
                  <a:cubicBezTo>
                    <a:pt x="130" y="72"/>
                    <a:pt x="129" y="71"/>
                    <a:pt x="129" y="71"/>
                  </a:cubicBezTo>
                  <a:cubicBezTo>
                    <a:pt x="129" y="70"/>
                    <a:pt x="130" y="70"/>
                    <a:pt x="129" y="70"/>
                  </a:cubicBezTo>
                  <a:cubicBezTo>
                    <a:pt x="128" y="69"/>
                    <a:pt x="127" y="69"/>
                    <a:pt x="127" y="69"/>
                  </a:cubicBezTo>
                  <a:cubicBezTo>
                    <a:pt x="127" y="69"/>
                    <a:pt x="126" y="67"/>
                    <a:pt x="126" y="67"/>
                  </a:cubicBezTo>
                  <a:cubicBezTo>
                    <a:pt x="126" y="66"/>
                    <a:pt x="127" y="65"/>
                    <a:pt x="127" y="65"/>
                  </a:cubicBezTo>
                  <a:cubicBezTo>
                    <a:pt x="127" y="65"/>
                    <a:pt x="127" y="64"/>
                    <a:pt x="126" y="63"/>
                  </a:cubicBezTo>
                  <a:cubicBezTo>
                    <a:pt x="125" y="63"/>
                    <a:pt x="124" y="61"/>
                    <a:pt x="123" y="60"/>
                  </a:cubicBezTo>
                  <a:cubicBezTo>
                    <a:pt x="122" y="60"/>
                    <a:pt x="118" y="58"/>
                    <a:pt x="118" y="57"/>
                  </a:cubicBezTo>
                  <a:cubicBezTo>
                    <a:pt x="117" y="57"/>
                    <a:pt x="117" y="54"/>
                    <a:pt x="117" y="53"/>
                  </a:cubicBezTo>
                  <a:cubicBezTo>
                    <a:pt x="117" y="53"/>
                    <a:pt x="114" y="49"/>
                    <a:pt x="113" y="48"/>
                  </a:cubicBezTo>
                  <a:cubicBezTo>
                    <a:pt x="112" y="48"/>
                    <a:pt x="106" y="44"/>
                    <a:pt x="105" y="44"/>
                  </a:cubicBezTo>
                  <a:cubicBezTo>
                    <a:pt x="105" y="43"/>
                    <a:pt x="104" y="41"/>
                    <a:pt x="104" y="40"/>
                  </a:cubicBezTo>
                  <a:cubicBezTo>
                    <a:pt x="103" y="39"/>
                    <a:pt x="102" y="37"/>
                    <a:pt x="101" y="36"/>
                  </a:cubicBezTo>
                  <a:cubicBezTo>
                    <a:pt x="101" y="36"/>
                    <a:pt x="99" y="36"/>
                    <a:pt x="99" y="34"/>
                  </a:cubicBezTo>
                  <a:cubicBezTo>
                    <a:pt x="99" y="33"/>
                    <a:pt x="99" y="31"/>
                    <a:pt x="99" y="30"/>
                  </a:cubicBezTo>
                  <a:cubicBezTo>
                    <a:pt x="98" y="30"/>
                    <a:pt x="96" y="27"/>
                    <a:pt x="96" y="27"/>
                  </a:cubicBezTo>
                  <a:cubicBezTo>
                    <a:pt x="96" y="26"/>
                    <a:pt x="95" y="24"/>
                    <a:pt x="95" y="23"/>
                  </a:cubicBezTo>
                  <a:cubicBezTo>
                    <a:pt x="95" y="22"/>
                    <a:pt x="95" y="21"/>
                    <a:pt x="93" y="21"/>
                  </a:cubicBezTo>
                  <a:cubicBezTo>
                    <a:pt x="91" y="21"/>
                    <a:pt x="89" y="21"/>
                    <a:pt x="88" y="20"/>
                  </a:cubicBezTo>
                  <a:cubicBezTo>
                    <a:pt x="87" y="19"/>
                    <a:pt x="86" y="18"/>
                    <a:pt x="85" y="18"/>
                  </a:cubicBezTo>
                  <a:cubicBezTo>
                    <a:pt x="85" y="17"/>
                    <a:pt x="86" y="16"/>
                    <a:pt x="84" y="16"/>
                  </a:cubicBezTo>
                  <a:cubicBezTo>
                    <a:pt x="82" y="16"/>
                    <a:pt x="81" y="15"/>
                    <a:pt x="80" y="15"/>
                  </a:cubicBezTo>
                  <a:cubicBezTo>
                    <a:pt x="80" y="14"/>
                    <a:pt x="79" y="14"/>
                    <a:pt x="79" y="13"/>
                  </a:cubicBezTo>
                  <a:cubicBezTo>
                    <a:pt x="78" y="13"/>
                    <a:pt x="77" y="13"/>
                    <a:pt x="78" y="12"/>
                  </a:cubicBezTo>
                  <a:cubicBezTo>
                    <a:pt x="78" y="11"/>
                    <a:pt x="78" y="8"/>
                    <a:pt x="79" y="8"/>
                  </a:cubicBezTo>
                  <a:cubicBezTo>
                    <a:pt x="80" y="7"/>
                    <a:pt x="81" y="6"/>
                    <a:pt x="81" y="5"/>
                  </a:cubicBezTo>
                  <a:cubicBezTo>
                    <a:pt x="82" y="5"/>
                    <a:pt x="86" y="2"/>
                    <a:pt x="86" y="2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5" y="88"/>
                    <a:pt x="15" y="89"/>
                  </a:cubicBezTo>
                  <a:cubicBezTo>
                    <a:pt x="15" y="89"/>
                    <a:pt x="16" y="91"/>
                    <a:pt x="16" y="92"/>
                  </a:cubicBezTo>
                  <a:cubicBezTo>
                    <a:pt x="16" y="92"/>
                    <a:pt x="16" y="93"/>
                    <a:pt x="16" y="93"/>
                  </a:cubicBezTo>
                  <a:cubicBezTo>
                    <a:pt x="17" y="94"/>
                    <a:pt x="17" y="95"/>
                    <a:pt x="17" y="96"/>
                  </a:cubicBezTo>
                  <a:cubicBezTo>
                    <a:pt x="17" y="97"/>
                    <a:pt x="18" y="98"/>
                    <a:pt x="18" y="99"/>
                  </a:cubicBezTo>
                  <a:cubicBezTo>
                    <a:pt x="18" y="100"/>
                    <a:pt x="21" y="105"/>
                    <a:pt x="21" y="105"/>
                  </a:cubicBezTo>
                  <a:cubicBezTo>
                    <a:pt x="22" y="105"/>
                    <a:pt x="22" y="107"/>
                    <a:pt x="21" y="108"/>
                  </a:cubicBezTo>
                  <a:cubicBezTo>
                    <a:pt x="21" y="108"/>
                    <a:pt x="21" y="109"/>
                    <a:pt x="21" y="110"/>
                  </a:cubicBezTo>
                  <a:cubicBezTo>
                    <a:pt x="21" y="111"/>
                    <a:pt x="22" y="111"/>
                    <a:pt x="23" y="112"/>
                  </a:cubicBezTo>
                  <a:cubicBezTo>
                    <a:pt x="23" y="112"/>
                    <a:pt x="24" y="113"/>
                    <a:pt x="24" y="113"/>
                  </a:cubicBezTo>
                  <a:cubicBezTo>
                    <a:pt x="24" y="113"/>
                    <a:pt x="22" y="115"/>
                    <a:pt x="22" y="115"/>
                  </a:cubicBezTo>
                  <a:cubicBezTo>
                    <a:pt x="22" y="116"/>
                    <a:pt x="19" y="118"/>
                    <a:pt x="19" y="119"/>
                  </a:cubicBezTo>
                  <a:cubicBezTo>
                    <a:pt x="19" y="120"/>
                    <a:pt x="19" y="121"/>
                    <a:pt x="19" y="122"/>
                  </a:cubicBezTo>
                  <a:cubicBezTo>
                    <a:pt x="19" y="123"/>
                    <a:pt x="18" y="124"/>
                    <a:pt x="18" y="125"/>
                  </a:cubicBezTo>
                  <a:cubicBezTo>
                    <a:pt x="17" y="126"/>
                    <a:pt x="16" y="128"/>
                    <a:pt x="16" y="129"/>
                  </a:cubicBezTo>
                  <a:cubicBezTo>
                    <a:pt x="16" y="129"/>
                    <a:pt x="16" y="132"/>
                    <a:pt x="16" y="133"/>
                  </a:cubicBezTo>
                  <a:cubicBezTo>
                    <a:pt x="16" y="134"/>
                    <a:pt x="17" y="137"/>
                    <a:pt x="18" y="137"/>
                  </a:cubicBezTo>
                  <a:cubicBezTo>
                    <a:pt x="18" y="138"/>
                    <a:pt x="19" y="143"/>
                    <a:pt x="19" y="144"/>
                  </a:cubicBezTo>
                  <a:cubicBezTo>
                    <a:pt x="19" y="144"/>
                    <a:pt x="19" y="148"/>
                    <a:pt x="18" y="149"/>
                  </a:cubicBezTo>
                  <a:cubicBezTo>
                    <a:pt x="18" y="149"/>
                    <a:pt x="17" y="152"/>
                    <a:pt x="17" y="152"/>
                  </a:cubicBezTo>
                  <a:cubicBezTo>
                    <a:pt x="17" y="152"/>
                    <a:pt x="17" y="155"/>
                    <a:pt x="17" y="156"/>
                  </a:cubicBezTo>
                  <a:cubicBezTo>
                    <a:pt x="17" y="156"/>
                    <a:pt x="18" y="157"/>
                    <a:pt x="18" y="158"/>
                  </a:cubicBezTo>
                  <a:cubicBezTo>
                    <a:pt x="19" y="159"/>
                    <a:pt x="20" y="160"/>
                    <a:pt x="20" y="160"/>
                  </a:cubicBezTo>
                  <a:cubicBezTo>
                    <a:pt x="20" y="161"/>
                    <a:pt x="21" y="164"/>
                    <a:pt x="21" y="164"/>
                  </a:cubicBezTo>
                  <a:cubicBezTo>
                    <a:pt x="23" y="169"/>
                    <a:pt x="23" y="169"/>
                    <a:pt x="23" y="169"/>
                  </a:cubicBezTo>
                  <a:cubicBezTo>
                    <a:pt x="23" y="169"/>
                    <a:pt x="23" y="172"/>
                    <a:pt x="23" y="172"/>
                  </a:cubicBezTo>
                  <a:cubicBezTo>
                    <a:pt x="23" y="173"/>
                    <a:pt x="24" y="174"/>
                    <a:pt x="24" y="174"/>
                  </a:cubicBezTo>
                  <a:cubicBezTo>
                    <a:pt x="24" y="175"/>
                    <a:pt x="27" y="176"/>
                    <a:pt x="27" y="176"/>
                  </a:cubicBezTo>
                  <a:cubicBezTo>
                    <a:pt x="27" y="176"/>
                    <a:pt x="116" y="181"/>
                    <a:pt x="116" y="181"/>
                  </a:cubicBezTo>
                  <a:cubicBezTo>
                    <a:pt x="116" y="181"/>
                    <a:pt x="117" y="183"/>
                    <a:pt x="117" y="183"/>
                  </a:cubicBezTo>
                  <a:cubicBezTo>
                    <a:pt x="117" y="184"/>
                    <a:pt x="117" y="186"/>
                    <a:pt x="117" y="186"/>
                  </a:cubicBezTo>
                  <a:cubicBezTo>
                    <a:pt x="117" y="187"/>
                    <a:pt x="117" y="188"/>
                    <a:pt x="118" y="189"/>
                  </a:cubicBezTo>
                  <a:cubicBezTo>
                    <a:pt x="118" y="189"/>
                    <a:pt x="119" y="190"/>
                    <a:pt x="120" y="190"/>
                  </a:cubicBezTo>
                  <a:cubicBezTo>
                    <a:pt x="121" y="190"/>
                    <a:pt x="122" y="191"/>
                    <a:pt x="122" y="190"/>
                  </a:cubicBezTo>
                  <a:cubicBezTo>
                    <a:pt x="122" y="190"/>
                    <a:pt x="123" y="188"/>
                    <a:pt x="124" y="188"/>
                  </a:cubicBezTo>
                  <a:cubicBezTo>
                    <a:pt x="124" y="187"/>
                    <a:pt x="123" y="185"/>
                    <a:pt x="124" y="184"/>
                  </a:cubicBezTo>
                  <a:cubicBezTo>
                    <a:pt x="124" y="184"/>
                    <a:pt x="124" y="182"/>
                    <a:pt x="124" y="181"/>
                  </a:cubicBezTo>
                  <a:cubicBezTo>
                    <a:pt x="124" y="181"/>
                    <a:pt x="123" y="179"/>
                    <a:pt x="123" y="178"/>
                  </a:cubicBezTo>
                  <a:cubicBezTo>
                    <a:pt x="123" y="178"/>
                    <a:pt x="123" y="177"/>
                    <a:pt x="123" y="176"/>
                  </a:cubicBezTo>
                  <a:cubicBezTo>
                    <a:pt x="123" y="175"/>
                    <a:pt x="123" y="174"/>
                    <a:pt x="123" y="173"/>
                  </a:cubicBezTo>
                  <a:cubicBezTo>
                    <a:pt x="123" y="173"/>
                    <a:pt x="124" y="173"/>
                    <a:pt x="125" y="173"/>
                  </a:cubicBezTo>
                  <a:cubicBezTo>
                    <a:pt x="125" y="173"/>
                    <a:pt x="125" y="173"/>
                    <a:pt x="126" y="172"/>
                  </a:cubicBezTo>
                  <a:cubicBezTo>
                    <a:pt x="126" y="172"/>
                    <a:pt x="127" y="171"/>
                    <a:pt x="127" y="171"/>
                  </a:cubicBezTo>
                  <a:cubicBezTo>
                    <a:pt x="127" y="171"/>
                    <a:pt x="129" y="172"/>
                    <a:pt x="129" y="172"/>
                  </a:cubicBezTo>
                  <a:cubicBezTo>
                    <a:pt x="129" y="172"/>
                    <a:pt x="131" y="173"/>
                    <a:pt x="132" y="174"/>
                  </a:cubicBezTo>
                  <a:cubicBezTo>
                    <a:pt x="132" y="174"/>
                    <a:pt x="134" y="174"/>
                    <a:pt x="134" y="174"/>
                  </a:cubicBezTo>
                  <a:cubicBezTo>
                    <a:pt x="135" y="175"/>
                    <a:pt x="138" y="176"/>
                    <a:pt x="138" y="176"/>
                  </a:cubicBezTo>
                  <a:cubicBezTo>
                    <a:pt x="138" y="176"/>
                    <a:pt x="140" y="176"/>
                    <a:pt x="142" y="176"/>
                  </a:cubicBezTo>
                  <a:cubicBezTo>
                    <a:pt x="142" y="175"/>
                    <a:pt x="142" y="175"/>
                    <a:pt x="142" y="175"/>
                  </a:cubicBezTo>
                  <a:cubicBezTo>
                    <a:pt x="142" y="174"/>
                    <a:pt x="142" y="174"/>
                    <a:pt x="142" y="173"/>
                  </a:cubicBezTo>
                  <a:cubicBezTo>
                    <a:pt x="141" y="173"/>
                    <a:pt x="141" y="173"/>
                    <a:pt x="141" y="172"/>
                  </a:cubicBezTo>
                  <a:cubicBezTo>
                    <a:pt x="141" y="172"/>
                    <a:pt x="141" y="172"/>
                    <a:pt x="141" y="171"/>
                  </a:cubicBezTo>
                  <a:cubicBezTo>
                    <a:pt x="141" y="171"/>
                    <a:pt x="141" y="171"/>
                    <a:pt x="141" y="170"/>
                  </a:cubicBezTo>
                  <a:cubicBezTo>
                    <a:pt x="141" y="170"/>
                    <a:pt x="141" y="170"/>
                    <a:pt x="141" y="169"/>
                  </a:cubicBezTo>
                  <a:cubicBezTo>
                    <a:pt x="141" y="169"/>
                    <a:pt x="142" y="168"/>
                    <a:pt x="142" y="168"/>
                  </a:cubicBezTo>
                  <a:cubicBezTo>
                    <a:pt x="142" y="168"/>
                    <a:pt x="143" y="168"/>
                    <a:pt x="143" y="168"/>
                  </a:cubicBezTo>
                  <a:cubicBezTo>
                    <a:pt x="143" y="169"/>
                    <a:pt x="143" y="169"/>
                    <a:pt x="143" y="169"/>
                  </a:cubicBezTo>
                  <a:cubicBezTo>
                    <a:pt x="143" y="169"/>
                    <a:pt x="143" y="170"/>
                    <a:pt x="143" y="170"/>
                  </a:cubicBezTo>
                  <a:cubicBezTo>
                    <a:pt x="143" y="171"/>
                    <a:pt x="143" y="171"/>
                    <a:pt x="143" y="172"/>
                  </a:cubicBezTo>
                  <a:cubicBezTo>
                    <a:pt x="143" y="172"/>
                    <a:pt x="143" y="171"/>
                    <a:pt x="144" y="171"/>
                  </a:cubicBezTo>
                  <a:cubicBezTo>
                    <a:pt x="144" y="171"/>
                    <a:pt x="144" y="171"/>
                    <a:pt x="144" y="171"/>
                  </a:cubicBezTo>
                  <a:cubicBezTo>
                    <a:pt x="144" y="170"/>
                    <a:pt x="144" y="170"/>
                    <a:pt x="145" y="170"/>
                  </a:cubicBezTo>
                  <a:cubicBezTo>
                    <a:pt x="145" y="169"/>
                    <a:pt x="145" y="169"/>
                    <a:pt x="145" y="169"/>
                  </a:cubicBezTo>
                  <a:cubicBezTo>
                    <a:pt x="146" y="169"/>
                    <a:pt x="146" y="168"/>
                    <a:pt x="146" y="168"/>
                  </a:cubicBezTo>
                  <a:cubicBezTo>
                    <a:pt x="146" y="167"/>
                    <a:pt x="146" y="168"/>
                    <a:pt x="145" y="167"/>
                  </a:cubicBezTo>
                  <a:cubicBezTo>
                    <a:pt x="145" y="167"/>
                    <a:pt x="145" y="167"/>
                    <a:pt x="145" y="167"/>
                  </a:cubicBezTo>
                  <a:cubicBezTo>
                    <a:pt x="145" y="167"/>
                    <a:pt x="145" y="166"/>
                    <a:pt x="145" y="166"/>
                  </a:cubicBezTo>
                  <a:cubicBezTo>
                    <a:pt x="145" y="166"/>
                    <a:pt x="144" y="166"/>
                    <a:pt x="144" y="166"/>
                  </a:cubicBezTo>
                  <a:cubicBezTo>
                    <a:pt x="144" y="166"/>
                    <a:pt x="144" y="166"/>
                    <a:pt x="144" y="166"/>
                  </a:cubicBezTo>
                  <a:cubicBezTo>
                    <a:pt x="144" y="167"/>
                    <a:pt x="144" y="167"/>
                    <a:pt x="144" y="167"/>
                  </a:cubicBezTo>
                  <a:cubicBezTo>
                    <a:pt x="144" y="167"/>
                    <a:pt x="144" y="167"/>
                    <a:pt x="143" y="167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2" y="167"/>
                    <a:pt x="142" y="167"/>
                    <a:pt x="142" y="166"/>
                  </a:cubicBezTo>
                  <a:cubicBezTo>
                    <a:pt x="142" y="166"/>
                    <a:pt x="141" y="166"/>
                    <a:pt x="141" y="165"/>
                  </a:cubicBezTo>
                  <a:cubicBezTo>
                    <a:pt x="141" y="165"/>
                    <a:pt x="142" y="164"/>
                    <a:pt x="142" y="164"/>
                  </a:cubicBezTo>
                  <a:cubicBezTo>
                    <a:pt x="142" y="164"/>
                    <a:pt x="142" y="163"/>
                    <a:pt x="142" y="163"/>
                  </a:cubicBezTo>
                  <a:cubicBezTo>
                    <a:pt x="142" y="162"/>
                    <a:pt x="141" y="162"/>
                    <a:pt x="141" y="162"/>
                  </a:cubicBezTo>
                  <a:cubicBezTo>
                    <a:pt x="140" y="162"/>
                    <a:pt x="140" y="161"/>
                    <a:pt x="141" y="161"/>
                  </a:cubicBezTo>
                  <a:cubicBezTo>
                    <a:pt x="141" y="161"/>
                    <a:pt x="141" y="161"/>
                    <a:pt x="142" y="161"/>
                  </a:cubicBezTo>
                  <a:cubicBezTo>
                    <a:pt x="142" y="161"/>
                    <a:pt x="142" y="161"/>
                    <a:pt x="143" y="160"/>
                  </a:cubicBezTo>
                  <a:cubicBezTo>
                    <a:pt x="143" y="160"/>
                    <a:pt x="142" y="160"/>
                    <a:pt x="142" y="160"/>
                  </a:cubicBezTo>
                  <a:cubicBezTo>
                    <a:pt x="142" y="160"/>
                    <a:pt x="141" y="160"/>
                    <a:pt x="141" y="159"/>
                  </a:cubicBezTo>
                  <a:cubicBezTo>
                    <a:pt x="141" y="159"/>
                    <a:pt x="142" y="159"/>
                    <a:pt x="142" y="159"/>
                  </a:cubicBezTo>
                  <a:cubicBezTo>
                    <a:pt x="142" y="159"/>
                    <a:pt x="142" y="159"/>
                    <a:pt x="142" y="158"/>
                  </a:cubicBezTo>
                  <a:cubicBezTo>
                    <a:pt x="143" y="158"/>
                    <a:pt x="143" y="158"/>
                    <a:pt x="144" y="158"/>
                  </a:cubicBezTo>
                  <a:cubicBezTo>
                    <a:pt x="144" y="158"/>
                    <a:pt x="144" y="157"/>
                    <a:pt x="144" y="156"/>
                  </a:cubicBezTo>
                  <a:cubicBezTo>
                    <a:pt x="144" y="156"/>
                    <a:pt x="144" y="155"/>
                    <a:pt x="144" y="155"/>
                  </a:cubicBezTo>
                  <a:cubicBezTo>
                    <a:pt x="144" y="155"/>
                    <a:pt x="145" y="154"/>
                    <a:pt x="145" y="154"/>
                  </a:cubicBezTo>
                  <a:cubicBezTo>
                    <a:pt x="145" y="154"/>
                    <a:pt x="146" y="153"/>
                    <a:pt x="146" y="153"/>
                  </a:cubicBezTo>
                  <a:cubicBezTo>
                    <a:pt x="146" y="153"/>
                    <a:pt x="146" y="154"/>
                    <a:pt x="146" y="154"/>
                  </a:cubicBezTo>
                  <a:cubicBezTo>
                    <a:pt x="146" y="154"/>
                    <a:pt x="146" y="154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6"/>
                    <a:pt x="145" y="156"/>
                    <a:pt x="145" y="156"/>
                  </a:cubicBezTo>
                  <a:cubicBezTo>
                    <a:pt x="145" y="156"/>
                    <a:pt x="145" y="157"/>
                    <a:pt x="145" y="15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9"/>
                    <a:pt x="146" y="159"/>
                    <a:pt x="146" y="159"/>
                  </a:cubicBezTo>
                  <a:cubicBezTo>
                    <a:pt x="146" y="159"/>
                    <a:pt x="146" y="159"/>
                    <a:pt x="146" y="158"/>
                  </a:cubicBezTo>
                  <a:cubicBezTo>
                    <a:pt x="146" y="158"/>
                    <a:pt x="146" y="158"/>
                    <a:pt x="147" y="158"/>
                  </a:cubicBezTo>
                  <a:cubicBezTo>
                    <a:pt x="147" y="158"/>
                    <a:pt x="147" y="157"/>
                    <a:pt x="147" y="157"/>
                  </a:cubicBezTo>
                  <a:cubicBezTo>
                    <a:pt x="147" y="157"/>
                    <a:pt x="147" y="156"/>
                    <a:pt x="147" y="156"/>
                  </a:cubicBezTo>
                  <a:cubicBezTo>
                    <a:pt x="147" y="156"/>
                    <a:pt x="148" y="156"/>
                    <a:pt x="148" y="155"/>
                  </a:cubicBezTo>
                  <a:cubicBezTo>
                    <a:pt x="148" y="155"/>
                    <a:pt x="148" y="155"/>
                    <a:pt x="148" y="154"/>
                  </a:cubicBezTo>
                  <a:cubicBezTo>
                    <a:pt x="148" y="154"/>
                    <a:pt x="148" y="154"/>
                    <a:pt x="149" y="153"/>
                  </a:cubicBezTo>
                  <a:cubicBezTo>
                    <a:pt x="149" y="153"/>
                    <a:pt x="149" y="152"/>
                    <a:pt x="149" y="152"/>
                  </a:cubicBezTo>
                  <a:cubicBezTo>
                    <a:pt x="149" y="152"/>
                    <a:pt x="148" y="152"/>
                    <a:pt x="148" y="152"/>
                  </a:cubicBezTo>
                  <a:cubicBezTo>
                    <a:pt x="147" y="152"/>
                    <a:pt x="147" y="152"/>
                    <a:pt x="146" y="15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6" y="151"/>
                    <a:pt x="147" y="151"/>
                    <a:pt x="147" y="151"/>
                  </a:cubicBezTo>
                  <a:cubicBezTo>
                    <a:pt x="147" y="151"/>
                    <a:pt x="148" y="151"/>
                    <a:pt x="148" y="151"/>
                  </a:cubicBezTo>
                  <a:cubicBezTo>
                    <a:pt x="148" y="151"/>
                    <a:pt x="148" y="151"/>
                    <a:pt x="148" y="151"/>
                  </a:cubicBezTo>
                  <a:cubicBezTo>
                    <a:pt x="148" y="151"/>
                    <a:pt x="149" y="151"/>
                    <a:pt x="149" y="151"/>
                  </a:cubicBezTo>
                  <a:cubicBezTo>
                    <a:pt x="149" y="151"/>
                    <a:pt x="149" y="151"/>
                    <a:pt x="149" y="150"/>
                  </a:cubicBezTo>
                  <a:cubicBezTo>
                    <a:pt x="149" y="150"/>
                    <a:pt x="149" y="149"/>
                    <a:pt x="150" y="149"/>
                  </a:cubicBezTo>
                  <a:cubicBezTo>
                    <a:pt x="150" y="149"/>
                    <a:pt x="150" y="149"/>
                    <a:pt x="150" y="148"/>
                  </a:cubicBezTo>
                  <a:cubicBezTo>
                    <a:pt x="150" y="148"/>
                    <a:pt x="151" y="148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2" y="145"/>
                    <a:pt x="151" y="145"/>
                    <a:pt x="152" y="144"/>
                  </a:cubicBezTo>
                  <a:cubicBezTo>
                    <a:pt x="152" y="144"/>
                    <a:pt x="153" y="143"/>
                    <a:pt x="152" y="143"/>
                  </a:cubicBezTo>
                  <a:cubicBezTo>
                    <a:pt x="152" y="143"/>
                    <a:pt x="152" y="144"/>
                    <a:pt x="152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49" y="144"/>
                    <a:pt x="149" y="144"/>
                    <a:pt x="149" y="144"/>
                  </a:cubicBezTo>
                  <a:cubicBezTo>
                    <a:pt x="149" y="143"/>
                    <a:pt x="149" y="143"/>
                    <a:pt x="148" y="143"/>
                  </a:cubicBezTo>
                  <a:cubicBezTo>
                    <a:pt x="148" y="143"/>
                    <a:pt x="147" y="142"/>
                    <a:pt x="147" y="142"/>
                  </a:cubicBezTo>
                  <a:cubicBezTo>
                    <a:pt x="147" y="142"/>
                    <a:pt x="148" y="142"/>
                    <a:pt x="148" y="142"/>
                  </a:cubicBezTo>
                  <a:cubicBezTo>
                    <a:pt x="149" y="142"/>
                    <a:pt x="149" y="142"/>
                    <a:pt x="149" y="142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1" y="142"/>
                    <a:pt x="151" y="142"/>
                    <a:pt x="151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39"/>
                    <a:pt x="151" y="139"/>
                    <a:pt x="151" y="139"/>
                  </a:cubicBezTo>
                  <a:cubicBezTo>
                    <a:pt x="150" y="139"/>
                    <a:pt x="149" y="139"/>
                    <a:pt x="149" y="139"/>
                  </a:cubicBezTo>
                  <a:cubicBezTo>
                    <a:pt x="148" y="139"/>
                    <a:pt x="148" y="139"/>
                    <a:pt x="148" y="138"/>
                  </a:cubicBezTo>
                  <a:cubicBezTo>
                    <a:pt x="148" y="138"/>
                    <a:pt x="147" y="138"/>
                    <a:pt x="147" y="138"/>
                  </a:cubicBezTo>
                  <a:cubicBezTo>
                    <a:pt x="147" y="138"/>
                    <a:pt x="147" y="138"/>
                    <a:pt x="148" y="138"/>
                  </a:cubicBezTo>
                  <a:cubicBezTo>
                    <a:pt x="148" y="138"/>
                    <a:pt x="149" y="138"/>
                    <a:pt x="149" y="137"/>
                  </a:cubicBezTo>
                  <a:cubicBezTo>
                    <a:pt x="150" y="137"/>
                    <a:pt x="150" y="137"/>
                    <a:pt x="151" y="137"/>
                  </a:cubicBezTo>
                  <a:cubicBezTo>
                    <a:pt x="151" y="137"/>
                    <a:pt x="152" y="137"/>
                    <a:pt x="152" y="137"/>
                  </a:cubicBezTo>
                  <a:cubicBezTo>
                    <a:pt x="152" y="136"/>
                    <a:pt x="152" y="136"/>
                    <a:pt x="152" y="136"/>
                  </a:cubicBezTo>
                  <a:cubicBezTo>
                    <a:pt x="152" y="136"/>
                    <a:pt x="152" y="136"/>
                    <a:pt x="152" y="135"/>
                  </a:cubicBezTo>
                  <a:cubicBezTo>
                    <a:pt x="152" y="135"/>
                    <a:pt x="151" y="135"/>
                    <a:pt x="151" y="135"/>
                  </a:cubicBezTo>
                  <a:cubicBezTo>
                    <a:pt x="151" y="135"/>
                    <a:pt x="151" y="134"/>
                    <a:pt x="151" y="134"/>
                  </a:cubicBezTo>
                  <a:cubicBezTo>
                    <a:pt x="151" y="134"/>
                    <a:pt x="152" y="134"/>
                    <a:pt x="153" y="134"/>
                  </a:cubicBezTo>
                  <a:cubicBezTo>
                    <a:pt x="153" y="134"/>
                    <a:pt x="154" y="134"/>
                    <a:pt x="154" y="134"/>
                  </a:cubicBezTo>
                  <a:cubicBezTo>
                    <a:pt x="154" y="134"/>
                    <a:pt x="154" y="135"/>
                    <a:pt x="154" y="135"/>
                  </a:cubicBezTo>
                  <a:cubicBezTo>
                    <a:pt x="154" y="136"/>
                    <a:pt x="155" y="135"/>
                    <a:pt x="155" y="135"/>
                  </a:cubicBezTo>
                  <a:cubicBezTo>
                    <a:pt x="156" y="134"/>
                    <a:pt x="156" y="134"/>
                    <a:pt x="157" y="133"/>
                  </a:cubicBezTo>
                  <a:cubicBezTo>
                    <a:pt x="157" y="133"/>
                    <a:pt x="159" y="131"/>
                    <a:pt x="157" y="131"/>
                  </a:cubicBezTo>
                  <a:cubicBezTo>
                    <a:pt x="157" y="131"/>
                    <a:pt x="157" y="131"/>
                    <a:pt x="156" y="131"/>
                  </a:cubicBezTo>
                  <a:cubicBezTo>
                    <a:pt x="156" y="131"/>
                    <a:pt x="156" y="131"/>
                    <a:pt x="156" y="130"/>
                  </a:cubicBezTo>
                  <a:cubicBezTo>
                    <a:pt x="156" y="130"/>
                    <a:pt x="155" y="130"/>
                    <a:pt x="155" y="130"/>
                  </a:cubicBezTo>
                  <a:cubicBezTo>
                    <a:pt x="154" y="130"/>
                    <a:pt x="155" y="130"/>
                    <a:pt x="155" y="129"/>
                  </a:cubicBezTo>
                  <a:cubicBezTo>
                    <a:pt x="155" y="129"/>
                    <a:pt x="155" y="129"/>
                    <a:pt x="155" y="129"/>
                  </a:cubicBezTo>
                  <a:cubicBezTo>
                    <a:pt x="155" y="128"/>
                    <a:pt x="155" y="128"/>
                    <a:pt x="155" y="128"/>
                  </a:cubicBezTo>
                  <a:cubicBezTo>
                    <a:pt x="155" y="127"/>
                    <a:pt x="156" y="127"/>
                    <a:pt x="156" y="128"/>
                  </a:cubicBezTo>
                  <a:cubicBezTo>
                    <a:pt x="156" y="128"/>
                    <a:pt x="157" y="128"/>
                    <a:pt x="157" y="129"/>
                  </a:cubicBezTo>
                  <a:cubicBezTo>
                    <a:pt x="158" y="129"/>
                    <a:pt x="158" y="129"/>
                    <a:pt x="158" y="129"/>
                  </a:cubicBezTo>
                  <a:cubicBezTo>
                    <a:pt x="159" y="129"/>
                    <a:pt x="159" y="129"/>
                    <a:pt x="160" y="129"/>
                  </a:cubicBezTo>
                  <a:cubicBezTo>
                    <a:pt x="160" y="128"/>
                    <a:pt x="160" y="128"/>
                    <a:pt x="161" y="128"/>
                  </a:cubicBezTo>
                  <a:cubicBezTo>
                    <a:pt x="161" y="127"/>
                    <a:pt x="160" y="127"/>
                    <a:pt x="160" y="127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59" y="126"/>
                    <a:pt x="158" y="126"/>
                    <a:pt x="159" y="125"/>
                  </a:cubicBezTo>
                  <a:cubicBezTo>
                    <a:pt x="159" y="125"/>
                    <a:pt x="159" y="125"/>
                    <a:pt x="160" y="125"/>
                  </a:cubicBezTo>
                  <a:cubicBezTo>
                    <a:pt x="160" y="126"/>
                    <a:pt x="160" y="126"/>
                    <a:pt x="160" y="126"/>
                  </a:cubicBezTo>
                  <a:cubicBezTo>
                    <a:pt x="161" y="126"/>
                    <a:pt x="161" y="126"/>
                    <a:pt x="162" y="126"/>
                  </a:cubicBezTo>
                  <a:cubicBezTo>
                    <a:pt x="162" y="126"/>
                    <a:pt x="163" y="126"/>
                    <a:pt x="163" y="126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65" y="124"/>
                    <a:pt x="164" y="124"/>
                    <a:pt x="164" y="123"/>
                  </a:cubicBezTo>
                  <a:cubicBezTo>
                    <a:pt x="164" y="123"/>
                    <a:pt x="164" y="123"/>
                    <a:pt x="163" y="123"/>
                  </a:cubicBezTo>
                  <a:cubicBezTo>
                    <a:pt x="163" y="123"/>
                    <a:pt x="163" y="123"/>
                    <a:pt x="162" y="123"/>
                  </a:cubicBezTo>
                  <a:cubicBezTo>
                    <a:pt x="162" y="123"/>
                    <a:pt x="161" y="122"/>
                    <a:pt x="161" y="122"/>
                  </a:cubicBezTo>
                  <a:cubicBezTo>
                    <a:pt x="161" y="122"/>
                    <a:pt x="160" y="122"/>
                    <a:pt x="160" y="122"/>
                  </a:cubicBezTo>
                  <a:cubicBezTo>
                    <a:pt x="160" y="122"/>
                    <a:pt x="160" y="122"/>
                    <a:pt x="160" y="122"/>
                  </a:cubicBezTo>
                  <a:cubicBezTo>
                    <a:pt x="159" y="121"/>
                    <a:pt x="160" y="121"/>
                    <a:pt x="160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0" y="121"/>
                    <a:pt x="160" y="120"/>
                    <a:pt x="159" y="12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5CE0A6D3-D06C-4401-A1D1-322F9DC5C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70793" y="4509543"/>
              <a:ext cx="1042541" cy="915322"/>
            </a:xfrm>
            <a:custGeom>
              <a:avLst/>
              <a:gdLst>
                <a:gd name="T0" fmla="*/ 251 w 263"/>
                <a:gd name="T1" fmla="*/ 230 h 231"/>
                <a:gd name="T2" fmla="*/ 193 w 263"/>
                <a:gd name="T3" fmla="*/ 12 h 231"/>
                <a:gd name="T4" fmla="*/ 187 w 263"/>
                <a:gd name="T5" fmla="*/ 19 h 231"/>
                <a:gd name="T6" fmla="*/ 0 w 263"/>
                <a:gd name="T7" fmla="*/ 6 h 231"/>
                <a:gd name="T8" fmla="*/ 9 w 263"/>
                <a:gd name="T9" fmla="*/ 22 h 231"/>
                <a:gd name="T10" fmla="*/ 11 w 263"/>
                <a:gd name="T11" fmla="*/ 27 h 231"/>
                <a:gd name="T12" fmla="*/ 18 w 263"/>
                <a:gd name="T13" fmla="*/ 22 h 231"/>
                <a:gd name="T14" fmla="*/ 22 w 263"/>
                <a:gd name="T15" fmla="*/ 21 h 231"/>
                <a:gd name="T16" fmla="*/ 35 w 263"/>
                <a:gd name="T17" fmla="*/ 25 h 231"/>
                <a:gd name="T18" fmla="*/ 46 w 263"/>
                <a:gd name="T19" fmla="*/ 22 h 231"/>
                <a:gd name="T20" fmla="*/ 50 w 263"/>
                <a:gd name="T21" fmla="*/ 26 h 231"/>
                <a:gd name="T22" fmla="*/ 65 w 263"/>
                <a:gd name="T23" fmla="*/ 35 h 231"/>
                <a:gd name="T24" fmla="*/ 69 w 263"/>
                <a:gd name="T25" fmla="*/ 37 h 231"/>
                <a:gd name="T26" fmla="*/ 81 w 263"/>
                <a:gd name="T27" fmla="*/ 53 h 231"/>
                <a:gd name="T28" fmla="*/ 94 w 263"/>
                <a:gd name="T29" fmla="*/ 50 h 231"/>
                <a:gd name="T30" fmla="*/ 104 w 263"/>
                <a:gd name="T31" fmla="*/ 46 h 231"/>
                <a:gd name="T32" fmla="*/ 116 w 263"/>
                <a:gd name="T33" fmla="*/ 38 h 231"/>
                <a:gd name="T34" fmla="*/ 133 w 263"/>
                <a:gd name="T35" fmla="*/ 42 h 231"/>
                <a:gd name="T36" fmla="*/ 150 w 263"/>
                <a:gd name="T37" fmla="*/ 62 h 231"/>
                <a:gd name="T38" fmla="*/ 157 w 263"/>
                <a:gd name="T39" fmla="*/ 68 h 231"/>
                <a:gd name="T40" fmla="*/ 168 w 263"/>
                <a:gd name="T41" fmla="*/ 78 h 231"/>
                <a:gd name="T42" fmla="*/ 171 w 263"/>
                <a:gd name="T43" fmla="*/ 88 h 231"/>
                <a:gd name="T44" fmla="*/ 169 w 263"/>
                <a:gd name="T45" fmla="*/ 110 h 231"/>
                <a:gd name="T46" fmla="*/ 169 w 263"/>
                <a:gd name="T47" fmla="*/ 129 h 231"/>
                <a:gd name="T48" fmla="*/ 171 w 263"/>
                <a:gd name="T49" fmla="*/ 122 h 231"/>
                <a:gd name="T50" fmla="*/ 178 w 263"/>
                <a:gd name="T51" fmla="*/ 126 h 231"/>
                <a:gd name="T52" fmla="*/ 181 w 263"/>
                <a:gd name="T53" fmla="*/ 126 h 231"/>
                <a:gd name="T54" fmla="*/ 175 w 263"/>
                <a:gd name="T55" fmla="*/ 137 h 231"/>
                <a:gd name="T56" fmla="*/ 173 w 263"/>
                <a:gd name="T57" fmla="*/ 142 h 231"/>
                <a:gd name="T58" fmla="*/ 182 w 263"/>
                <a:gd name="T59" fmla="*/ 160 h 231"/>
                <a:gd name="T60" fmla="*/ 189 w 263"/>
                <a:gd name="T61" fmla="*/ 164 h 231"/>
                <a:gd name="T62" fmla="*/ 195 w 263"/>
                <a:gd name="T63" fmla="*/ 159 h 231"/>
                <a:gd name="T64" fmla="*/ 192 w 263"/>
                <a:gd name="T65" fmla="*/ 170 h 231"/>
                <a:gd name="T66" fmla="*/ 192 w 263"/>
                <a:gd name="T67" fmla="*/ 178 h 231"/>
                <a:gd name="T68" fmla="*/ 198 w 263"/>
                <a:gd name="T69" fmla="*/ 181 h 231"/>
                <a:gd name="T70" fmla="*/ 202 w 263"/>
                <a:gd name="T71" fmla="*/ 194 h 231"/>
                <a:gd name="T72" fmla="*/ 213 w 263"/>
                <a:gd name="T73" fmla="*/ 204 h 231"/>
                <a:gd name="T74" fmla="*/ 222 w 263"/>
                <a:gd name="T75" fmla="*/ 217 h 231"/>
                <a:gd name="T76" fmla="*/ 224 w 263"/>
                <a:gd name="T77" fmla="*/ 222 h 231"/>
                <a:gd name="T78" fmla="*/ 234 w 263"/>
                <a:gd name="T79" fmla="*/ 229 h 231"/>
                <a:gd name="T80" fmla="*/ 252 w 263"/>
                <a:gd name="T81" fmla="*/ 222 h 231"/>
                <a:gd name="T82" fmla="*/ 255 w 263"/>
                <a:gd name="T83" fmla="*/ 210 h 231"/>
                <a:gd name="T84" fmla="*/ 259 w 263"/>
                <a:gd name="T85" fmla="*/ 200 h 231"/>
                <a:gd name="T86" fmla="*/ 262 w 263"/>
                <a:gd name="T87" fmla="*/ 179 h 231"/>
                <a:gd name="T88" fmla="*/ 261 w 263"/>
                <a:gd name="T89" fmla="*/ 160 h 231"/>
                <a:gd name="T90" fmla="*/ 256 w 263"/>
                <a:gd name="T91" fmla="*/ 151 h 231"/>
                <a:gd name="T92" fmla="*/ 255 w 263"/>
                <a:gd name="T93" fmla="*/ 147 h 231"/>
                <a:gd name="T94" fmla="*/ 252 w 263"/>
                <a:gd name="T95" fmla="*/ 140 h 231"/>
                <a:gd name="T96" fmla="*/ 250 w 263"/>
                <a:gd name="T97" fmla="*/ 131 h 231"/>
                <a:gd name="T98" fmla="*/ 245 w 263"/>
                <a:gd name="T99" fmla="*/ 120 h 231"/>
                <a:gd name="T100" fmla="*/ 239 w 263"/>
                <a:gd name="T101" fmla="*/ 107 h 231"/>
                <a:gd name="T102" fmla="*/ 242 w 263"/>
                <a:gd name="T103" fmla="*/ 100 h 231"/>
                <a:gd name="T104" fmla="*/ 245 w 263"/>
                <a:gd name="T105" fmla="*/ 101 h 231"/>
                <a:gd name="T106" fmla="*/ 236 w 263"/>
                <a:gd name="T107" fmla="*/ 88 h 231"/>
                <a:gd name="T108" fmla="*/ 231 w 263"/>
                <a:gd name="T109" fmla="*/ 76 h 231"/>
                <a:gd name="T110" fmla="*/ 228 w 263"/>
                <a:gd name="T111" fmla="*/ 69 h 231"/>
                <a:gd name="T112" fmla="*/ 225 w 263"/>
                <a:gd name="T113" fmla="*/ 63 h 231"/>
                <a:gd name="T114" fmla="*/ 219 w 263"/>
                <a:gd name="T115" fmla="*/ 46 h 231"/>
                <a:gd name="T116" fmla="*/ 217 w 263"/>
                <a:gd name="T117" fmla="*/ 34 h 231"/>
                <a:gd name="T118" fmla="*/ 216 w 263"/>
                <a:gd name="T119" fmla="*/ 26 h 231"/>
                <a:gd name="T120" fmla="*/ 214 w 263"/>
                <a:gd name="T121" fmla="*/ 22 h 231"/>
                <a:gd name="T122" fmla="*/ 213 w 263"/>
                <a:gd name="T123" fmla="*/ 17 h 231"/>
                <a:gd name="T124" fmla="*/ 212 w 263"/>
                <a:gd name="T125" fmla="*/ 1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3" h="231">
                  <a:moveTo>
                    <a:pt x="249" y="231"/>
                  </a:moveTo>
                  <a:cubicBezTo>
                    <a:pt x="249" y="229"/>
                    <a:pt x="249" y="229"/>
                    <a:pt x="250" y="228"/>
                  </a:cubicBezTo>
                  <a:cubicBezTo>
                    <a:pt x="251" y="227"/>
                    <a:pt x="252" y="226"/>
                    <a:pt x="252" y="225"/>
                  </a:cubicBezTo>
                  <a:cubicBezTo>
                    <a:pt x="252" y="224"/>
                    <a:pt x="253" y="223"/>
                    <a:pt x="254" y="223"/>
                  </a:cubicBezTo>
                  <a:cubicBezTo>
                    <a:pt x="254" y="223"/>
                    <a:pt x="254" y="224"/>
                    <a:pt x="254" y="225"/>
                  </a:cubicBezTo>
                  <a:cubicBezTo>
                    <a:pt x="253" y="225"/>
                    <a:pt x="253" y="226"/>
                    <a:pt x="253" y="227"/>
                  </a:cubicBezTo>
                  <a:cubicBezTo>
                    <a:pt x="252" y="227"/>
                    <a:pt x="252" y="228"/>
                    <a:pt x="252" y="228"/>
                  </a:cubicBezTo>
                  <a:cubicBezTo>
                    <a:pt x="252" y="229"/>
                    <a:pt x="251" y="229"/>
                    <a:pt x="251" y="229"/>
                  </a:cubicBezTo>
                  <a:cubicBezTo>
                    <a:pt x="251" y="230"/>
                    <a:pt x="251" y="230"/>
                    <a:pt x="251" y="230"/>
                  </a:cubicBezTo>
                  <a:cubicBezTo>
                    <a:pt x="250" y="231"/>
                    <a:pt x="250" y="231"/>
                    <a:pt x="249" y="231"/>
                  </a:cubicBezTo>
                  <a:close/>
                  <a:moveTo>
                    <a:pt x="204" y="10"/>
                  </a:moveTo>
                  <a:cubicBezTo>
                    <a:pt x="204" y="10"/>
                    <a:pt x="202" y="10"/>
                    <a:pt x="202" y="10"/>
                  </a:cubicBezTo>
                  <a:cubicBezTo>
                    <a:pt x="201" y="9"/>
                    <a:pt x="199" y="8"/>
                    <a:pt x="199" y="8"/>
                  </a:cubicBezTo>
                  <a:cubicBezTo>
                    <a:pt x="199" y="8"/>
                    <a:pt x="197" y="7"/>
                    <a:pt x="197" y="7"/>
                  </a:cubicBezTo>
                  <a:cubicBezTo>
                    <a:pt x="197" y="7"/>
                    <a:pt x="196" y="8"/>
                    <a:pt x="196" y="8"/>
                  </a:cubicBezTo>
                  <a:cubicBezTo>
                    <a:pt x="195" y="9"/>
                    <a:pt x="195" y="9"/>
                    <a:pt x="195" y="9"/>
                  </a:cubicBezTo>
                  <a:cubicBezTo>
                    <a:pt x="194" y="9"/>
                    <a:pt x="193" y="9"/>
                    <a:pt x="193" y="9"/>
                  </a:cubicBezTo>
                  <a:cubicBezTo>
                    <a:pt x="193" y="10"/>
                    <a:pt x="193" y="11"/>
                    <a:pt x="193" y="12"/>
                  </a:cubicBezTo>
                  <a:cubicBezTo>
                    <a:pt x="193" y="13"/>
                    <a:pt x="193" y="14"/>
                    <a:pt x="193" y="14"/>
                  </a:cubicBezTo>
                  <a:cubicBezTo>
                    <a:pt x="193" y="15"/>
                    <a:pt x="194" y="17"/>
                    <a:pt x="194" y="17"/>
                  </a:cubicBezTo>
                  <a:cubicBezTo>
                    <a:pt x="194" y="18"/>
                    <a:pt x="194" y="20"/>
                    <a:pt x="194" y="20"/>
                  </a:cubicBezTo>
                  <a:cubicBezTo>
                    <a:pt x="193" y="21"/>
                    <a:pt x="194" y="23"/>
                    <a:pt x="194" y="24"/>
                  </a:cubicBezTo>
                  <a:cubicBezTo>
                    <a:pt x="193" y="24"/>
                    <a:pt x="192" y="26"/>
                    <a:pt x="192" y="26"/>
                  </a:cubicBezTo>
                  <a:cubicBezTo>
                    <a:pt x="192" y="27"/>
                    <a:pt x="191" y="26"/>
                    <a:pt x="190" y="26"/>
                  </a:cubicBezTo>
                  <a:cubicBezTo>
                    <a:pt x="189" y="26"/>
                    <a:pt x="188" y="25"/>
                    <a:pt x="188" y="25"/>
                  </a:cubicBezTo>
                  <a:cubicBezTo>
                    <a:pt x="187" y="24"/>
                    <a:pt x="187" y="23"/>
                    <a:pt x="187" y="22"/>
                  </a:cubicBezTo>
                  <a:cubicBezTo>
                    <a:pt x="187" y="22"/>
                    <a:pt x="187" y="20"/>
                    <a:pt x="187" y="19"/>
                  </a:cubicBezTo>
                  <a:cubicBezTo>
                    <a:pt x="187" y="19"/>
                    <a:pt x="186" y="17"/>
                    <a:pt x="186" y="17"/>
                  </a:cubicBezTo>
                  <a:cubicBezTo>
                    <a:pt x="186" y="17"/>
                    <a:pt x="97" y="12"/>
                    <a:pt x="97" y="12"/>
                  </a:cubicBezTo>
                  <a:cubicBezTo>
                    <a:pt x="97" y="12"/>
                    <a:pt x="94" y="11"/>
                    <a:pt x="94" y="10"/>
                  </a:cubicBezTo>
                  <a:cubicBezTo>
                    <a:pt x="94" y="10"/>
                    <a:pt x="93" y="9"/>
                    <a:pt x="93" y="8"/>
                  </a:cubicBezTo>
                  <a:cubicBezTo>
                    <a:pt x="93" y="8"/>
                    <a:pt x="93" y="5"/>
                    <a:pt x="93" y="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2" y="8"/>
                    <a:pt x="2" y="8"/>
                  </a:cubicBezTo>
                  <a:cubicBezTo>
                    <a:pt x="2" y="9"/>
                    <a:pt x="4" y="10"/>
                    <a:pt x="4" y="10"/>
                  </a:cubicBezTo>
                  <a:cubicBezTo>
                    <a:pt x="4" y="11"/>
                    <a:pt x="4" y="12"/>
                    <a:pt x="5" y="12"/>
                  </a:cubicBezTo>
                  <a:cubicBezTo>
                    <a:pt x="5" y="12"/>
                    <a:pt x="8" y="13"/>
                    <a:pt x="8" y="13"/>
                  </a:cubicBezTo>
                  <a:cubicBezTo>
                    <a:pt x="8" y="13"/>
                    <a:pt x="8" y="15"/>
                    <a:pt x="8" y="15"/>
                  </a:cubicBezTo>
                  <a:cubicBezTo>
                    <a:pt x="8" y="15"/>
                    <a:pt x="7" y="17"/>
                    <a:pt x="7" y="17"/>
                  </a:cubicBezTo>
                  <a:cubicBezTo>
                    <a:pt x="7" y="18"/>
                    <a:pt x="7" y="19"/>
                    <a:pt x="7" y="19"/>
                  </a:cubicBezTo>
                  <a:cubicBezTo>
                    <a:pt x="7" y="19"/>
                    <a:pt x="7" y="20"/>
                    <a:pt x="7" y="21"/>
                  </a:cubicBezTo>
                  <a:cubicBezTo>
                    <a:pt x="8" y="21"/>
                    <a:pt x="8" y="22"/>
                    <a:pt x="9" y="22"/>
                  </a:cubicBezTo>
                  <a:cubicBezTo>
                    <a:pt x="9" y="22"/>
                    <a:pt x="10" y="22"/>
                    <a:pt x="10" y="23"/>
                  </a:cubicBezTo>
                  <a:cubicBezTo>
                    <a:pt x="10" y="24"/>
                    <a:pt x="9" y="24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7" y="26"/>
                    <a:pt x="7" y="26"/>
                    <a:pt x="7" y="27"/>
                  </a:cubicBezTo>
                  <a:cubicBezTo>
                    <a:pt x="6" y="27"/>
                    <a:pt x="6" y="28"/>
                    <a:pt x="6" y="29"/>
                  </a:cubicBezTo>
                  <a:cubicBezTo>
                    <a:pt x="6" y="29"/>
                    <a:pt x="6" y="29"/>
                    <a:pt x="7" y="29"/>
                  </a:cubicBezTo>
                  <a:cubicBezTo>
                    <a:pt x="7" y="28"/>
                    <a:pt x="8" y="28"/>
                    <a:pt x="8" y="28"/>
                  </a:cubicBezTo>
                  <a:cubicBezTo>
                    <a:pt x="9" y="28"/>
                    <a:pt x="10" y="28"/>
                    <a:pt x="11" y="2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3" y="26"/>
                    <a:pt x="13" y="26"/>
                    <a:pt x="13" y="25"/>
                  </a:cubicBezTo>
                  <a:cubicBezTo>
                    <a:pt x="13" y="25"/>
                    <a:pt x="14" y="25"/>
                    <a:pt x="14" y="25"/>
                  </a:cubicBezTo>
                  <a:cubicBezTo>
                    <a:pt x="15" y="25"/>
                    <a:pt x="16" y="24"/>
                    <a:pt x="16" y="23"/>
                  </a:cubicBezTo>
                  <a:cubicBezTo>
                    <a:pt x="16" y="22"/>
                    <a:pt x="17" y="21"/>
                    <a:pt x="17" y="20"/>
                  </a:cubicBezTo>
                  <a:cubicBezTo>
                    <a:pt x="17" y="20"/>
                    <a:pt x="17" y="19"/>
                    <a:pt x="17" y="19"/>
                  </a:cubicBezTo>
                  <a:cubicBezTo>
                    <a:pt x="17" y="19"/>
                    <a:pt x="18" y="19"/>
                    <a:pt x="18" y="20"/>
                  </a:cubicBezTo>
                  <a:cubicBezTo>
                    <a:pt x="18" y="20"/>
                    <a:pt x="18" y="20"/>
                    <a:pt x="18" y="21"/>
                  </a:cubicBezTo>
                  <a:cubicBezTo>
                    <a:pt x="18" y="21"/>
                    <a:pt x="18" y="22"/>
                    <a:pt x="18" y="22"/>
                  </a:cubicBezTo>
                  <a:cubicBezTo>
                    <a:pt x="19" y="22"/>
                    <a:pt x="19" y="22"/>
                    <a:pt x="19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19"/>
                    <a:pt x="20" y="19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1" y="19"/>
                    <a:pt x="21" y="19"/>
                  </a:cubicBezTo>
                  <a:cubicBezTo>
                    <a:pt x="21" y="19"/>
                    <a:pt x="21" y="20"/>
                    <a:pt x="21" y="20"/>
                  </a:cubicBezTo>
                  <a:cubicBezTo>
                    <a:pt x="21" y="20"/>
                    <a:pt x="21" y="20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3" y="22"/>
                    <a:pt x="24" y="21"/>
                    <a:pt x="24" y="22"/>
                  </a:cubicBezTo>
                  <a:cubicBezTo>
                    <a:pt x="25" y="23"/>
                    <a:pt x="22" y="23"/>
                    <a:pt x="22" y="24"/>
                  </a:cubicBezTo>
                  <a:cubicBezTo>
                    <a:pt x="21" y="24"/>
                    <a:pt x="21" y="24"/>
                    <a:pt x="20" y="25"/>
                  </a:cubicBezTo>
                  <a:cubicBezTo>
                    <a:pt x="20" y="25"/>
                    <a:pt x="18" y="25"/>
                    <a:pt x="18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1" y="25"/>
                    <a:pt x="22" y="25"/>
                    <a:pt x="23" y="25"/>
                  </a:cubicBezTo>
                  <a:cubicBezTo>
                    <a:pt x="23" y="25"/>
                    <a:pt x="24" y="25"/>
                    <a:pt x="25" y="25"/>
                  </a:cubicBezTo>
                  <a:cubicBezTo>
                    <a:pt x="26" y="25"/>
                    <a:pt x="28" y="25"/>
                    <a:pt x="29" y="25"/>
                  </a:cubicBezTo>
                  <a:cubicBezTo>
                    <a:pt x="31" y="24"/>
                    <a:pt x="33" y="25"/>
                    <a:pt x="35" y="25"/>
                  </a:cubicBezTo>
                  <a:cubicBezTo>
                    <a:pt x="35" y="25"/>
                    <a:pt x="36" y="25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3"/>
                    <a:pt x="36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8" y="22"/>
                    <a:pt x="39" y="22"/>
                    <a:pt x="40" y="21"/>
                  </a:cubicBezTo>
                  <a:cubicBezTo>
                    <a:pt x="40" y="21"/>
                    <a:pt x="41" y="21"/>
                    <a:pt x="42" y="21"/>
                  </a:cubicBezTo>
                  <a:cubicBezTo>
                    <a:pt x="42" y="21"/>
                    <a:pt x="42" y="22"/>
                    <a:pt x="42" y="22"/>
                  </a:cubicBezTo>
                  <a:cubicBezTo>
                    <a:pt x="43" y="22"/>
                    <a:pt x="44" y="22"/>
                    <a:pt x="44" y="22"/>
                  </a:cubicBezTo>
                  <a:cubicBezTo>
                    <a:pt x="45" y="22"/>
                    <a:pt x="45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7" y="22"/>
                    <a:pt x="48" y="22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2"/>
                  </a:cubicBezTo>
                  <a:cubicBezTo>
                    <a:pt x="50" y="22"/>
                    <a:pt x="51" y="23"/>
                    <a:pt x="51" y="23"/>
                  </a:cubicBezTo>
                  <a:cubicBezTo>
                    <a:pt x="52" y="23"/>
                    <a:pt x="52" y="24"/>
                    <a:pt x="52" y="24"/>
                  </a:cubicBezTo>
                  <a:cubicBezTo>
                    <a:pt x="52" y="24"/>
                    <a:pt x="52" y="24"/>
                    <a:pt x="52" y="25"/>
                  </a:cubicBezTo>
                  <a:cubicBezTo>
                    <a:pt x="53" y="25"/>
                    <a:pt x="53" y="25"/>
                    <a:pt x="52" y="25"/>
                  </a:cubicBezTo>
                  <a:cubicBezTo>
                    <a:pt x="51" y="26"/>
                    <a:pt x="51" y="26"/>
                    <a:pt x="50" y="26"/>
                  </a:cubicBezTo>
                  <a:cubicBezTo>
                    <a:pt x="48" y="26"/>
                    <a:pt x="47" y="26"/>
                    <a:pt x="45" y="25"/>
                  </a:cubicBezTo>
                  <a:cubicBezTo>
                    <a:pt x="45" y="25"/>
                    <a:pt x="42" y="25"/>
                    <a:pt x="42" y="25"/>
                  </a:cubicBezTo>
                  <a:cubicBezTo>
                    <a:pt x="43" y="25"/>
                    <a:pt x="45" y="26"/>
                    <a:pt x="46" y="26"/>
                  </a:cubicBezTo>
                  <a:cubicBezTo>
                    <a:pt x="48" y="27"/>
                    <a:pt x="50" y="27"/>
                    <a:pt x="52" y="28"/>
                  </a:cubicBezTo>
                  <a:cubicBezTo>
                    <a:pt x="53" y="29"/>
                    <a:pt x="55" y="29"/>
                    <a:pt x="56" y="30"/>
                  </a:cubicBezTo>
                  <a:cubicBezTo>
                    <a:pt x="58" y="30"/>
                    <a:pt x="59" y="31"/>
                    <a:pt x="60" y="32"/>
                  </a:cubicBezTo>
                  <a:cubicBezTo>
                    <a:pt x="61" y="32"/>
                    <a:pt x="61" y="32"/>
                    <a:pt x="62" y="33"/>
                  </a:cubicBezTo>
                  <a:cubicBezTo>
                    <a:pt x="62" y="33"/>
                    <a:pt x="63" y="33"/>
                    <a:pt x="63" y="33"/>
                  </a:cubicBezTo>
                  <a:cubicBezTo>
                    <a:pt x="63" y="34"/>
                    <a:pt x="64" y="34"/>
                    <a:pt x="65" y="35"/>
                  </a:cubicBezTo>
                  <a:cubicBezTo>
                    <a:pt x="65" y="35"/>
                    <a:pt x="65" y="35"/>
                    <a:pt x="66" y="35"/>
                  </a:cubicBezTo>
                  <a:cubicBezTo>
                    <a:pt x="66" y="35"/>
                    <a:pt x="66" y="35"/>
                    <a:pt x="66" y="34"/>
                  </a:cubicBezTo>
                  <a:cubicBezTo>
                    <a:pt x="67" y="34"/>
                    <a:pt x="67" y="34"/>
                    <a:pt x="68" y="34"/>
                  </a:cubicBezTo>
                  <a:cubicBezTo>
                    <a:pt x="68" y="35"/>
                    <a:pt x="69" y="35"/>
                    <a:pt x="69" y="35"/>
                  </a:cubicBezTo>
                  <a:cubicBezTo>
                    <a:pt x="70" y="35"/>
                    <a:pt x="71" y="35"/>
                    <a:pt x="72" y="35"/>
                  </a:cubicBezTo>
                  <a:cubicBezTo>
                    <a:pt x="72" y="35"/>
                    <a:pt x="72" y="36"/>
                    <a:pt x="72" y="36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1" y="37"/>
                    <a:pt x="71" y="37"/>
                    <a:pt x="70" y="37"/>
                  </a:cubicBezTo>
                  <a:cubicBezTo>
                    <a:pt x="70" y="37"/>
                    <a:pt x="69" y="36"/>
                    <a:pt x="69" y="37"/>
                  </a:cubicBezTo>
                  <a:cubicBezTo>
                    <a:pt x="68" y="37"/>
                    <a:pt x="70" y="38"/>
                    <a:pt x="70" y="38"/>
                  </a:cubicBezTo>
                  <a:cubicBezTo>
                    <a:pt x="71" y="38"/>
                    <a:pt x="71" y="39"/>
                    <a:pt x="72" y="40"/>
                  </a:cubicBezTo>
                  <a:cubicBezTo>
                    <a:pt x="73" y="40"/>
                    <a:pt x="73" y="41"/>
                    <a:pt x="74" y="42"/>
                  </a:cubicBezTo>
                  <a:cubicBezTo>
                    <a:pt x="75" y="43"/>
                    <a:pt x="76" y="43"/>
                    <a:pt x="77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6"/>
                    <a:pt x="79" y="46"/>
                  </a:cubicBezTo>
                  <a:cubicBezTo>
                    <a:pt x="79" y="47"/>
                    <a:pt x="80" y="48"/>
                    <a:pt x="80" y="49"/>
                  </a:cubicBezTo>
                  <a:cubicBezTo>
                    <a:pt x="80" y="50"/>
                    <a:pt x="81" y="50"/>
                    <a:pt x="81" y="51"/>
                  </a:cubicBezTo>
                  <a:cubicBezTo>
                    <a:pt x="81" y="52"/>
                    <a:pt x="80" y="52"/>
                    <a:pt x="81" y="53"/>
                  </a:cubicBezTo>
                  <a:cubicBezTo>
                    <a:pt x="81" y="54"/>
                    <a:pt x="82" y="53"/>
                    <a:pt x="82" y="53"/>
                  </a:cubicBezTo>
                  <a:cubicBezTo>
                    <a:pt x="83" y="53"/>
                    <a:pt x="84" y="53"/>
                    <a:pt x="85" y="53"/>
                  </a:cubicBezTo>
                  <a:cubicBezTo>
                    <a:pt x="85" y="52"/>
                    <a:pt x="85" y="52"/>
                    <a:pt x="86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8" y="52"/>
                    <a:pt x="88" y="52"/>
                    <a:pt x="89" y="52"/>
                  </a:cubicBezTo>
                  <a:cubicBezTo>
                    <a:pt x="90" y="52"/>
                    <a:pt x="91" y="52"/>
                    <a:pt x="91" y="52"/>
                  </a:cubicBezTo>
                  <a:cubicBezTo>
                    <a:pt x="92" y="52"/>
                    <a:pt x="92" y="52"/>
                    <a:pt x="92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1"/>
                    <a:pt x="94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6" y="50"/>
                    <a:pt x="95" y="50"/>
                    <a:pt x="95" y="51"/>
                  </a:cubicBezTo>
                  <a:cubicBezTo>
                    <a:pt x="95" y="51"/>
                    <a:pt x="95" y="51"/>
                    <a:pt x="96" y="51"/>
                  </a:cubicBezTo>
                  <a:cubicBezTo>
                    <a:pt x="96" y="51"/>
                    <a:pt x="97" y="50"/>
                    <a:pt x="97" y="50"/>
                  </a:cubicBezTo>
                  <a:cubicBezTo>
                    <a:pt x="98" y="50"/>
                    <a:pt x="98" y="49"/>
                    <a:pt x="99" y="49"/>
                  </a:cubicBezTo>
                  <a:cubicBezTo>
                    <a:pt x="99" y="49"/>
                    <a:pt x="100" y="49"/>
                    <a:pt x="100" y="48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3" y="47"/>
                    <a:pt x="104" y="47"/>
                    <a:pt x="104" y="46"/>
                  </a:cubicBezTo>
                  <a:cubicBezTo>
                    <a:pt x="104" y="46"/>
                    <a:pt x="105" y="46"/>
                    <a:pt x="105" y="46"/>
                  </a:cubicBezTo>
                  <a:cubicBezTo>
                    <a:pt x="106" y="45"/>
                    <a:pt x="106" y="44"/>
                    <a:pt x="107" y="44"/>
                  </a:cubicBezTo>
                  <a:cubicBezTo>
                    <a:pt x="108" y="44"/>
                    <a:pt x="110" y="44"/>
                    <a:pt x="111" y="44"/>
                  </a:cubicBezTo>
                  <a:cubicBezTo>
                    <a:pt x="112" y="44"/>
                    <a:pt x="114" y="45"/>
                    <a:pt x="114" y="43"/>
                  </a:cubicBezTo>
                  <a:cubicBezTo>
                    <a:pt x="114" y="43"/>
                    <a:pt x="113" y="43"/>
                    <a:pt x="112" y="43"/>
                  </a:cubicBezTo>
                  <a:cubicBezTo>
                    <a:pt x="112" y="42"/>
                    <a:pt x="113" y="42"/>
                    <a:pt x="113" y="41"/>
                  </a:cubicBezTo>
                  <a:cubicBezTo>
                    <a:pt x="113" y="41"/>
                    <a:pt x="113" y="40"/>
                    <a:pt x="113" y="40"/>
                  </a:cubicBezTo>
                  <a:cubicBezTo>
                    <a:pt x="113" y="39"/>
                    <a:pt x="114" y="39"/>
                    <a:pt x="114" y="38"/>
                  </a:cubicBezTo>
                  <a:cubicBezTo>
                    <a:pt x="115" y="38"/>
                    <a:pt x="115" y="38"/>
                    <a:pt x="116" y="38"/>
                  </a:cubicBezTo>
                  <a:cubicBezTo>
                    <a:pt x="116" y="37"/>
                    <a:pt x="116" y="37"/>
                    <a:pt x="117" y="37"/>
                  </a:cubicBezTo>
                  <a:cubicBezTo>
                    <a:pt x="117" y="37"/>
                    <a:pt x="118" y="37"/>
                    <a:pt x="119" y="37"/>
                  </a:cubicBezTo>
                  <a:cubicBezTo>
                    <a:pt x="119" y="38"/>
                    <a:pt x="120" y="38"/>
                    <a:pt x="120" y="38"/>
                  </a:cubicBezTo>
                  <a:cubicBezTo>
                    <a:pt x="121" y="37"/>
                    <a:pt x="121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4" y="37"/>
                    <a:pt x="124" y="37"/>
                    <a:pt x="125" y="37"/>
                  </a:cubicBezTo>
                  <a:cubicBezTo>
                    <a:pt x="125" y="37"/>
                    <a:pt x="126" y="37"/>
                    <a:pt x="126" y="38"/>
                  </a:cubicBezTo>
                  <a:cubicBezTo>
                    <a:pt x="127" y="39"/>
                    <a:pt x="129" y="39"/>
                    <a:pt x="130" y="40"/>
                  </a:cubicBezTo>
                  <a:cubicBezTo>
                    <a:pt x="131" y="41"/>
                    <a:pt x="132" y="41"/>
                    <a:pt x="133" y="42"/>
                  </a:cubicBezTo>
                  <a:cubicBezTo>
                    <a:pt x="134" y="42"/>
                    <a:pt x="135" y="43"/>
                    <a:pt x="136" y="43"/>
                  </a:cubicBezTo>
                  <a:cubicBezTo>
                    <a:pt x="137" y="45"/>
                    <a:pt x="138" y="46"/>
                    <a:pt x="139" y="47"/>
                  </a:cubicBezTo>
                  <a:cubicBezTo>
                    <a:pt x="140" y="49"/>
                    <a:pt x="140" y="50"/>
                    <a:pt x="141" y="51"/>
                  </a:cubicBezTo>
                  <a:cubicBezTo>
                    <a:pt x="142" y="52"/>
                    <a:pt x="142" y="52"/>
                    <a:pt x="143" y="53"/>
                  </a:cubicBezTo>
                  <a:cubicBezTo>
                    <a:pt x="143" y="53"/>
                    <a:pt x="143" y="53"/>
                    <a:pt x="144" y="53"/>
                  </a:cubicBezTo>
                  <a:cubicBezTo>
                    <a:pt x="144" y="53"/>
                    <a:pt x="145" y="53"/>
                    <a:pt x="145" y="54"/>
                  </a:cubicBezTo>
                  <a:cubicBezTo>
                    <a:pt x="145" y="54"/>
                    <a:pt x="146" y="54"/>
                    <a:pt x="147" y="55"/>
                  </a:cubicBezTo>
                  <a:cubicBezTo>
                    <a:pt x="147" y="57"/>
                    <a:pt x="147" y="58"/>
                    <a:pt x="147" y="60"/>
                  </a:cubicBezTo>
                  <a:cubicBezTo>
                    <a:pt x="147" y="61"/>
                    <a:pt x="149" y="62"/>
                    <a:pt x="150" y="62"/>
                  </a:cubicBezTo>
                  <a:cubicBezTo>
                    <a:pt x="151" y="63"/>
                    <a:pt x="153" y="64"/>
                    <a:pt x="153" y="65"/>
                  </a:cubicBezTo>
                  <a:cubicBezTo>
                    <a:pt x="154" y="65"/>
                    <a:pt x="154" y="66"/>
                    <a:pt x="154" y="66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5" y="68"/>
                    <a:pt x="155" y="68"/>
                    <a:pt x="156" y="68"/>
                  </a:cubicBezTo>
                  <a:cubicBezTo>
                    <a:pt x="156" y="67"/>
                    <a:pt x="156" y="67"/>
                    <a:pt x="156" y="67"/>
                  </a:cubicBezTo>
                  <a:cubicBezTo>
                    <a:pt x="157" y="66"/>
                    <a:pt x="157" y="66"/>
                    <a:pt x="157" y="66"/>
                  </a:cubicBezTo>
                  <a:cubicBezTo>
                    <a:pt x="158" y="66"/>
                    <a:pt x="158" y="66"/>
                    <a:pt x="158" y="67"/>
                  </a:cubicBezTo>
                  <a:cubicBezTo>
                    <a:pt x="158" y="67"/>
                    <a:pt x="157" y="67"/>
                    <a:pt x="157" y="68"/>
                  </a:cubicBezTo>
                  <a:cubicBezTo>
                    <a:pt x="157" y="68"/>
                    <a:pt x="157" y="68"/>
                    <a:pt x="157" y="68"/>
                  </a:cubicBezTo>
                  <a:cubicBezTo>
                    <a:pt x="156" y="69"/>
                    <a:pt x="156" y="70"/>
                    <a:pt x="157" y="70"/>
                  </a:cubicBezTo>
                  <a:cubicBezTo>
                    <a:pt x="157" y="71"/>
                    <a:pt x="157" y="71"/>
                    <a:pt x="158" y="72"/>
                  </a:cubicBezTo>
                  <a:cubicBezTo>
                    <a:pt x="158" y="73"/>
                    <a:pt x="158" y="73"/>
                    <a:pt x="159" y="74"/>
                  </a:cubicBezTo>
                  <a:cubicBezTo>
                    <a:pt x="159" y="74"/>
                    <a:pt x="159" y="74"/>
                    <a:pt x="159" y="74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61" y="74"/>
                    <a:pt x="162" y="74"/>
                    <a:pt x="163" y="74"/>
                  </a:cubicBezTo>
                  <a:cubicBezTo>
                    <a:pt x="164" y="74"/>
                    <a:pt x="165" y="74"/>
                    <a:pt x="166" y="74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6"/>
                    <a:pt x="167" y="77"/>
                    <a:pt x="168" y="78"/>
                  </a:cubicBezTo>
                  <a:cubicBezTo>
                    <a:pt x="168" y="79"/>
                    <a:pt x="168" y="79"/>
                    <a:pt x="169" y="80"/>
                  </a:cubicBezTo>
                  <a:cubicBezTo>
                    <a:pt x="169" y="80"/>
                    <a:pt x="169" y="80"/>
                    <a:pt x="169" y="81"/>
                  </a:cubicBezTo>
                  <a:cubicBezTo>
                    <a:pt x="169" y="81"/>
                    <a:pt x="170" y="82"/>
                    <a:pt x="170" y="83"/>
                  </a:cubicBezTo>
                  <a:cubicBezTo>
                    <a:pt x="171" y="83"/>
                    <a:pt x="171" y="84"/>
                    <a:pt x="171" y="84"/>
                  </a:cubicBezTo>
                  <a:cubicBezTo>
                    <a:pt x="172" y="85"/>
                    <a:pt x="172" y="85"/>
                    <a:pt x="171" y="85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0" y="86"/>
                    <a:pt x="170" y="86"/>
                    <a:pt x="170" y="86"/>
                  </a:cubicBezTo>
                  <a:cubicBezTo>
                    <a:pt x="170" y="86"/>
                    <a:pt x="170" y="87"/>
                    <a:pt x="170" y="87"/>
                  </a:cubicBezTo>
                  <a:cubicBezTo>
                    <a:pt x="170" y="87"/>
                    <a:pt x="171" y="87"/>
                    <a:pt x="171" y="88"/>
                  </a:cubicBezTo>
                  <a:cubicBezTo>
                    <a:pt x="171" y="88"/>
                    <a:pt x="171" y="89"/>
                    <a:pt x="171" y="89"/>
                  </a:cubicBezTo>
                  <a:cubicBezTo>
                    <a:pt x="172" y="90"/>
                    <a:pt x="172" y="90"/>
                    <a:pt x="172" y="91"/>
                  </a:cubicBezTo>
                  <a:cubicBezTo>
                    <a:pt x="172" y="91"/>
                    <a:pt x="172" y="92"/>
                    <a:pt x="172" y="92"/>
                  </a:cubicBezTo>
                  <a:cubicBezTo>
                    <a:pt x="172" y="94"/>
                    <a:pt x="172" y="96"/>
                    <a:pt x="172" y="98"/>
                  </a:cubicBezTo>
                  <a:cubicBezTo>
                    <a:pt x="172" y="99"/>
                    <a:pt x="172" y="99"/>
                    <a:pt x="172" y="100"/>
                  </a:cubicBezTo>
                  <a:cubicBezTo>
                    <a:pt x="171" y="101"/>
                    <a:pt x="171" y="101"/>
                    <a:pt x="171" y="102"/>
                  </a:cubicBezTo>
                  <a:cubicBezTo>
                    <a:pt x="171" y="103"/>
                    <a:pt x="171" y="103"/>
                    <a:pt x="171" y="104"/>
                  </a:cubicBezTo>
                  <a:cubicBezTo>
                    <a:pt x="171" y="105"/>
                    <a:pt x="171" y="106"/>
                    <a:pt x="170" y="107"/>
                  </a:cubicBezTo>
                  <a:cubicBezTo>
                    <a:pt x="170" y="108"/>
                    <a:pt x="169" y="109"/>
                    <a:pt x="169" y="110"/>
                  </a:cubicBezTo>
                  <a:cubicBezTo>
                    <a:pt x="169" y="111"/>
                    <a:pt x="168" y="112"/>
                    <a:pt x="168" y="114"/>
                  </a:cubicBezTo>
                  <a:cubicBezTo>
                    <a:pt x="167" y="115"/>
                    <a:pt x="168" y="116"/>
                    <a:pt x="168" y="117"/>
                  </a:cubicBezTo>
                  <a:cubicBezTo>
                    <a:pt x="168" y="118"/>
                    <a:pt x="168" y="119"/>
                    <a:pt x="167" y="120"/>
                  </a:cubicBezTo>
                  <a:cubicBezTo>
                    <a:pt x="167" y="120"/>
                    <a:pt x="167" y="121"/>
                    <a:pt x="166" y="121"/>
                  </a:cubicBezTo>
                  <a:cubicBezTo>
                    <a:pt x="166" y="121"/>
                    <a:pt x="166" y="122"/>
                    <a:pt x="166" y="122"/>
                  </a:cubicBezTo>
                  <a:cubicBezTo>
                    <a:pt x="166" y="123"/>
                    <a:pt x="165" y="123"/>
                    <a:pt x="165" y="123"/>
                  </a:cubicBezTo>
                  <a:cubicBezTo>
                    <a:pt x="165" y="124"/>
                    <a:pt x="165" y="125"/>
                    <a:pt x="166" y="125"/>
                  </a:cubicBezTo>
                  <a:cubicBezTo>
                    <a:pt x="166" y="126"/>
                    <a:pt x="167" y="127"/>
                    <a:pt x="168" y="127"/>
                  </a:cubicBezTo>
                  <a:cubicBezTo>
                    <a:pt x="168" y="128"/>
                    <a:pt x="169" y="128"/>
                    <a:pt x="169" y="129"/>
                  </a:cubicBezTo>
                  <a:cubicBezTo>
                    <a:pt x="169" y="129"/>
                    <a:pt x="169" y="130"/>
                    <a:pt x="170" y="130"/>
                  </a:cubicBezTo>
                  <a:cubicBezTo>
                    <a:pt x="170" y="131"/>
                    <a:pt x="172" y="131"/>
                    <a:pt x="172" y="131"/>
                  </a:cubicBezTo>
                  <a:cubicBezTo>
                    <a:pt x="173" y="131"/>
                    <a:pt x="173" y="129"/>
                    <a:pt x="173" y="129"/>
                  </a:cubicBezTo>
                  <a:cubicBezTo>
                    <a:pt x="173" y="128"/>
                    <a:pt x="174" y="128"/>
                    <a:pt x="174" y="128"/>
                  </a:cubicBezTo>
                  <a:cubicBezTo>
                    <a:pt x="174" y="127"/>
                    <a:pt x="174" y="127"/>
                    <a:pt x="174" y="126"/>
                  </a:cubicBezTo>
                  <a:cubicBezTo>
                    <a:pt x="174" y="126"/>
                    <a:pt x="174" y="125"/>
                    <a:pt x="173" y="124"/>
                  </a:cubicBezTo>
                  <a:cubicBezTo>
                    <a:pt x="173" y="124"/>
                    <a:pt x="172" y="124"/>
                    <a:pt x="172" y="124"/>
                  </a:cubicBezTo>
                  <a:cubicBezTo>
                    <a:pt x="172" y="123"/>
                    <a:pt x="172" y="123"/>
                    <a:pt x="171" y="123"/>
                  </a:cubicBezTo>
                  <a:cubicBezTo>
                    <a:pt x="171" y="123"/>
                    <a:pt x="171" y="123"/>
                    <a:pt x="171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1" y="122"/>
                    <a:pt x="171" y="121"/>
                  </a:cubicBezTo>
                  <a:cubicBezTo>
                    <a:pt x="171" y="121"/>
                    <a:pt x="171" y="120"/>
                    <a:pt x="172" y="120"/>
                  </a:cubicBezTo>
                  <a:cubicBezTo>
                    <a:pt x="173" y="119"/>
                    <a:pt x="173" y="120"/>
                    <a:pt x="174" y="120"/>
                  </a:cubicBezTo>
                  <a:cubicBezTo>
                    <a:pt x="174" y="121"/>
                    <a:pt x="175" y="121"/>
                    <a:pt x="176" y="122"/>
                  </a:cubicBezTo>
                  <a:cubicBezTo>
                    <a:pt x="176" y="122"/>
                    <a:pt x="176" y="122"/>
                    <a:pt x="176" y="123"/>
                  </a:cubicBezTo>
                  <a:cubicBezTo>
                    <a:pt x="176" y="123"/>
                    <a:pt x="176" y="124"/>
                    <a:pt x="176" y="124"/>
                  </a:cubicBezTo>
                  <a:cubicBezTo>
                    <a:pt x="176" y="125"/>
                    <a:pt x="176" y="126"/>
                    <a:pt x="177" y="126"/>
                  </a:cubicBezTo>
                  <a:cubicBezTo>
                    <a:pt x="177" y="126"/>
                    <a:pt x="178" y="126"/>
                    <a:pt x="178" y="126"/>
                  </a:cubicBezTo>
                  <a:cubicBezTo>
                    <a:pt x="178" y="126"/>
                    <a:pt x="178" y="125"/>
                    <a:pt x="178" y="125"/>
                  </a:cubicBezTo>
                  <a:cubicBezTo>
                    <a:pt x="178" y="125"/>
                    <a:pt x="178" y="124"/>
                    <a:pt x="178" y="124"/>
                  </a:cubicBezTo>
                  <a:cubicBezTo>
                    <a:pt x="178" y="124"/>
                    <a:pt x="178" y="124"/>
                    <a:pt x="177" y="123"/>
                  </a:cubicBezTo>
                  <a:cubicBezTo>
                    <a:pt x="177" y="123"/>
                    <a:pt x="178" y="123"/>
                    <a:pt x="178" y="123"/>
                  </a:cubicBezTo>
                  <a:cubicBezTo>
                    <a:pt x="179" y="123"/>
                    <a:pt x="179" y="122"/>
                    <a:pt x="179" y="122"/>
                  </a:cubicBezTo>
                  <a:cubicBezTo>
                    <a:pt x="179" y="122"/>
                    <a:pt x="180" y="122"/>
                    <a:pt x="180" y="122"/>
                  </a:cubicBezTo>
                  <a:cubicBezTo>
                    <a:pt x="181" y="122"/>
                    <a:pt x="181" y="122"/>
                    <a:pt x="181" y="123"/>
                  </a:cubicBezTo>
                  <a:cubicBezTo>
                    <a:pt x="181" y="124"/>
                    <a:pt x="181" y="124"/>
                    <a:pt x="181" y="125"/>
                  </a:cubicBezTo>
                  <a:cubicBezTo>
                    <a:pt x="181" y="125"/>
                    <a:pt x="181" y="126"/>
                    <a:pt x="181" y="126"/>
                  </a:cubicBezTo>
                  <a:cubicBezTo>
                    <a:pt x="181" y="127"/>
                    <a:pt x="181" y="127"/>
                    <a:pt x="181" y="127"/>
                  </a:cubicBezTo>
                  <a:cubicBezTo>
                    <a:pt x="180" y="128"/>
                    <a:pt x="179" y="128"/>
                    <a:pt x="179" y="129"/>
                  </a:cubicBezTo>
                  <a:cubicBezTo>
                    <a:pt x="179" y="129"/>
                    <a:pt x="178" y="130"/>
                    <a:pt x="178" y="130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7" y="131"/>
                    <a:pt x="177" y="132"/>
                    <a:pt x="177" y="132"/>
                  </a:cubicBezTo>
                  <a:cubicBezTo>
                    <a:pt x="177" y="133"/>
                    <a:pt x="177" y="133"/>
                    <a:pt x="176" y="133"/>
                  </a:cubicBezTo>
                  <a:cubicBezTo>
                    <a:pt x="176" y="134"/>
                    <a:pt x="176" y="135"/>
                    <a:pt x="176" y="135"/>
                  </a:cubicBezTo>
                  <a:cubicBezTo>
                    <a:pt x="175" y="135"/>
                    <a:pt x="175" y="135"/>
                    <a:pt x="175" y="136"/>
                  </a:cubicBezTo>
                  <a:cubicBezTo>
                    <a:pt x="175" y="136"/>
                    <a:pt x="175" y="136"/>
                    <a:pt x="175" y="137"/>
                  </a:cubicBezTo>
                  <a:cubicBezTo>
                    <a:pt x="175" y="137"/>
                    <a:pt x="175" y="137"/>
                    <a:pt x="175" y="137"/>
                  </a:cubicBezTo>
                  <a:cubicBezTo>
                    <a:pt x="175" y="138"/>
                    <a:pt x="175" y="138"/>
                    <a:pt x="175" y="138"/>
                  </a:cubicBezTo>
                  <a:cubicBezTo>
                    <a:pt x="175" y="139"/>
                    <a:pt x="176" y="138"/>
                    <a:pt x="176" y="139"/>
                  </a:cubicBezTo>
                  <a:cubicBezTo>
                    <a:pt x="177" y="139"/>
                    <a:pt x="177" y="139"/>
                    <a:pt x="177" y="139"/>
                  </a:cubicBezTo>
                  <a:cubicBezTo>
                    <a:pt x="176" y="139"/>
                    <a:pt x="176" y="139"/>
                    <a:pt x="176" y="139"/>
                  </a:cubicBezTo>
                  <a:cubicBezTo>
                    <a:pt x="175" y="139"/>
                    <a:pt x="175" y="139"/>
                    <a:pt x="174" y="139"/>
                  </a:cubicBezTo>
                  <a:cubicBezTo>
                    <a:pt x="174" y="139"/>
                    <a:pt x="173" y="139"/>
                    <a:pt x="172" y="139"/>
                  </a:cubicBezTo>
                  <a:cubicBezTo>
                    <a:pt x="171" y="140"/>
                    <a:pt x="172" y="141"/>
                    <a:pt x="172" y="141"/>
                  </a:cubicBezTo>
                  <a:cubicBezTo>
                    <a:pt x="173" y="142"/>
                    <a:pt x="173" y="142"/>
                    <a:pt x="173" y="142"/>
                  </a:cubicBezTo>
                  <a:cubicBezTo>
                    <a:pt x="174" y="142"/>
                    <a:pt x="175" y="143"/>
                    <a:pt x="175" y="143"/>
                  </a:cubicBezTo>
                  <a:cubicBezTo>
                    <a:pt x="176" y="144"/>
                    <a:pt x="175" y="145"/>
                    <a:pt x="175" y="146"/>
                  </a:cubicBezTo>
                  <a:cubicBezTo>
                    <a:pt x="175" y="147"/>
                    <a:pt x="176" y="148"/>
                    <a:pt x="176" y="149"/>
                  </a:cubicBezTo>
                  <a:cubicBezTo>
                    <a:pt x="177" y="149"/>
                    <a:pt x="177" y="150"/>
                    <a:pt x="178" y="151"/>
                  </a:cubicBezTo>
                  <a:cubicBezTo>
                    <a:pt x="178" y="152"/>
                    <a:pt x="178" y="153"/>
                    <a:pt x="178" y="154"/>
                  </a:cubicBezTo>
                  <a:cubicBezTo>
                    <a:pt x="179" y="154"/>
                    <a:pt x="179" y="155"/>
                    <a:pt x="179" y="155"/>
                  </a:cubicBezTo>
                  <a:cubicBezTo>
                    <a:pt x="179" y="155"/>
                    <a:pt x="179" y="156"/>
                    <a:pt x="179" y="156"/>
                  </a:cubicBezTo>
                  <a:cubicBezTo>
                    <a:pt x="180" y="157"/>
                    <a:pt x="180" y="157"/>
                    <a:pt x="180" y="158"/>
                  </a:cubicBezTo>
                  <a:cubicBezTo>
                    <a:pt x="181" y="159"/>
                    <a:pt x="181" y="159"/>
                    <a:pt x="182" y="160"/>
                  </a:cubicBezTo>
                  <a:cubicBezTo>
                    <a:pt x="183" y="161"/>
                    <a:pt x="183" y="161"/>
                    <a:pt x="183" y="162"/>
                  </a:cubicBezTo>
                  <a:cubicBezTo>
                    <a:pt x="184" y="163"/>
                    <a:pt x="184" y="163"/>
                    <a:pt x="184" y="163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64"/>
                    <a:pt x="185" y="164"/>
                    <a:pt x="185" y="165"/>
                  </a:cubicBezTo>
                  <a:cubicBezTo>
                    <a:pt x="185" y="165"/>
                    <a:pt x="186" y="166"/>
                    <a:pt x="186" y="166"/>
                  </a:cubicBezTo>
                  <a:cubicBezTo>
                    <a:pt x="187" y="166"/>
                    <a:pt x="187" y="167"/>
                    <a:pt x="188" y="166"/>
                  </a:cubicBezTo>
                  <a:cubicBezTo>
                    <a:pt x="188" y="166"/>
                    <a:pt x="189" y="166"/>
                    <a:pt x="189" y="165"/>
                  </a:cubicBezTo>
                  <a:cubicBezTo>
                    <a:pt x="189" y="165"/>
                    <a:pt x="190" y="165"/>
                    <a:pt x="189" y="165"/>
                  </a:cubicBezTo>
                  <a:cubicBezTo>
                    <a:pt x="189" y="164"/>
                    <a:pt x="189" y="164"/>
                    <a:pt x="189" y="164"/>
                  </a:cubicBezTo>
                  <a:cubicBezTo>
                    <a:pt x="189" y="164"/>
                    <a:pt x="189" y="164"/>
                    <a:pt x="189" y="163"/>
                  </a:cubicBezTo>
                  <a:cubicBezTo>
                    <a:pt x="189" y="163"/>
                    <a:pt x="189" y="162"/>
                    <a:pt x="188" y="162"/>
                  </a:cubicBezTo>
                  <a:cubicBezTo>
                    <a:pt x="188" y="161"/>
                    <a:pt x="187" y="160"/>
                    <a:pt x="187" y="159"/>
                  </a:cubicBezTo>
                  <a:cubicBezTo>
                    <a:pt x="187" y="159"/>
                    <a:pt x="188" y="159"/>
                    <a:pt x="188" y="160"/>
                  </a:cubicBezTo>
                  <a:cubicBezTo>
                    <a:pt x="188" y="160"/>
                    <a:pt x="189" y="161"/>
                    <a:pt x="189" y="161"/>
                  </a:cubicBezTo>
                  <a:cubicBezTo>
                    <a:pt x="190" y="161"/>
                    <a:pt x="191" y="161"/>
                    <a:pt x="192" y="161"/>
                  </a:cubicBezTo>
                  <a:cubicBezTo>
                    <a:pt x="193" y="160"/>
                    <a:pt x="193" y="160"/>
                    <a:pt x="193" y="159"/>
                  </a:cubicBezTo>
                  <a:cubicBezTo>
                    <a:pt x="194" y="159"/>
                    <a:pt x="194" y="159"/>
                    <a:pt x="194" y="159"/>
                  </a:cubicBezTo>
                  <a:cubicBezTo>
                    <a:pt x="194" y="159"/>
                    <a:pt x="195" y="159"/>
                    <a:pt x="195" y="159"/>
                  </a:cubicBezTo>
                  <a:cubicBezTo>
                    <a:pt x="195" y="160"/>
                    <a:pt x="194" y="160"/>
                    <a:pt x="194" y="160"/>
                  </a:cubicBezTo>
                  <a:cubicBezTo>
                    <a:pt x="193" y="160"/>
                    <a:pt x="193" y="161"/>
                    <a:pt x="193" y="161"/>
                  </a:cubicBezTo>
                  <a:cubicBezTo>
                    <a:pt x="193" y="161"/>
                    <a:pt x="193" y="161"/>
                    <a:pt x="193" y="162"/>
                  </a:cubicBezTo>
                  <a:cubicBezTo>
                    <a:pt x="192" y="162"/>
                    <a:pt x="192" y="162"/>
                    <a:pt x="192" y="163"/>
                  </a:cubicBezTo>
                  <a:cubicBezTo>
                    <a:pt x="192" y="163"/>
                    <a:pt x="192" y="164"/>
                    <a:pt x="192" y="164"/>
                  </a:cubicBezTo>
                  <a:cubicBezTo>
                    <a:pt x="192" y="165"/>
                    <a:pt x="192" y="166"/>
                    <a:pt x="192" y="166"/>
                  </a:cubicBezTo>
                  <a:cubicBezTo>
                    <a:pt x="193" y="167"/>
                    <a:pt x="193" y="167"/>
                    <a:pt x="193" y="168"/>
                  </a:cubicBezTo>
                  <a:cubicBezTo>
                    <a:pt x="193" y="168"/>
                    <a:pt x="192" y="168"/>
                    <a:pt x="192" y="169"/>
                  </a:cubicBezTo>
                  <a:cubicBezTo>
                    <a:pt x="192" y="169"/>
                    <a:pt x="192" y="170"/>
                    <a:pt x="192" y="170"/>
                  </a:cubicBezTo>
                  <a:cubicBezTo>
                    <a:pt x="192" y="171"/>
                    <a:pt x="192" y="172"/>
                    <a:pt x="191" y="172"/>
                  </a:cubicBezTo>
                  <a:cubicBezTo>
                    <a:pt x="190" y="172"/>
                    <a:pt x="190" y="171"/>
                    <a:pt x="190" y="170"/>
                  </a:cubicBezTo>
                  <a:cubicBezTo>
                    <a:pt x="190" y="170"/>
                    <a:pt x="188" y="170"/>
                    <a:pt x="189" y="171"/>
                  </a:cubicBezTo>
                  <a:cubicBezTo>
                    <a:pt x="189" y="171"/>
                    <a:pt x="189" y="172"/>
                    <a:pt x="189" y="172"/>
                  </a:cubicBezTo>
                  <a:cubicBezTo>
                    <a:pt x="190" y="172"/>
                    <a:pt x="190" y="173"/>
                    <a:pt x="190" y="173"/>
                  </a:cubicBezTo>
                  <a:cubicBezTo>
                    <a:pt x="190" y="173"/>
                    <a:pt x="191" y="174"/>
                    <a:pt x="191" y="174"/>
                  </a:cubicBezTo>
                  <a:cubicBezTo>
                    <a:pt x="190" y="175"/>
                    <a:pt x="190" y="175"/>
                    <a:pt x="190" y="176"/>
                  </a:cubicBezTo>
                  <a:cubicBezTo>
                    <a:pt x="191" y="176"/>
                    <a:pt x="191" y="176"/>
                    <a:pt x="191" y="176"/>
                  </a:cubicBezTo>
                  <a:cubicBezTo>
                    <a:pt x="191" y="177"/>
                    <a:pt x="191" y="178"/>
                    <a:pt x="192" y="178"/>
                  </a:cubicBezTo>
                  <a:cubicBezTo>
                    <a:pt x="192" y="178"/>
                    <a:pt x="193" y="178"/>
                    <a:pt x="193" y="177"/>
                  </a:cubicBezTo>
                  <a:cubicBezTo>
                    <a:pt x="192" y="177"/>
                    <a:pt x="192" y="177"/>
                    <a:pt x="192" y="177"/>
                  </a:cubicBezTo>
                  <a:cubicBezTo>
                    <a:pt x="192" y="176"/>
                    <a:pt x="192" y="176"/>
                    <a:pt x="193" y="176"/>
                  </a:cubicBezTo>
                  <a:cubicBezTo>
                    <a:pt x="193" y="176"/>
                    <a:pt x="194" y="176"/>
                    <a:pt x="194" y="176"/>
                  </a:cubicBezTo>
                  <a:cubicBezTo>
                    <a:pt x="195" y="177"/>
                    <a:pt x="196" y="176"/>
                    <a:pt x="195" y="177"/>
                  </a:cubicBezTo>
                  <a:cubicBezTo>
                    <a:pt x="195" y="178"/>
                    <a:pt x="194" y="178"/>
                    <a:pt x="195" y="179"/>
                  </a:cubicBezTo>
                  <a:cubicBezTo>
                    <a:pt x="195" y="179"/>
                    <a:pt x="195" y="179"/>
                    <a:pt x="196" y="179"/>
                  </a:cubicBezTo>
                  <a:cubicBezTo>
                    <a:pt x="196" y="179"/>
                    <a:pt x="196" y="180"/>
                    <a:pt x="196" y="180"/>
                  </a:cubicBezTo>
                  <a:cubicBezTo>
                    <a:pt x="197" y="181"/>
                    <a:pt x="198" y="181"/>
                    <a:pt x="198" y="181"/>
                  </a:cubicBezTo>
                  <a:cubicBezTo>
                    <a:pt x="198" y="182"/>
                    <a:pt x="199" y="182"/>
                    <a:pt x="199" y="181"/>
                  </a:cubicBezTo>
                  <a:cubicBezTo>
                    <a:pt x="199" y="181"/>
                    <a:pt x="198" y="181"/>
                    <a:pt x="198" y="181"/>
                  </a:cubicBezTo>
                  <a:cubicBezTo>
                    <a:pt x="198" y="180"/>
                    <a:pt x="198" y="180"/>
                    <a:pt x="199" y="180"/>
                  </a:cubicBezTo>
                  <a:cubicBezTo>
                    <a:pt x="200" y="180"/>
                    <a:pt x="200" y="181"/>
                    <a:pt x="200" y="181"/>
                  </a:cubicBezTo>
                  <a:cubicBezTo>
                    <a:pt x="200" y="182"/>
                    <a:pt x="200" y="182"/>
                    <a:pt x="200" y="183"/>
                  </a:cubicBezTo>
                  <a:cubicBezTo>
                    <a:pt x="200" y="183"/>
                    <a:pt x="200" y="184"/>
                    <a:pt x="200" y="184"/>
                  </a:cubicBezTo>
                  <a:cubicBezTo>
                    <a:pt x="201" y="186"/>
                    <a:pt x="200" y="187"/>
                    <a:pt x="201" y="189"/>
                  </a:cubicBezTo>
                  <a:cubicBezTo>
                    <a:pt x="201" y="190"/>
                    <a:pt x="201" y="191"/>
                    <a:pt x="201" y="193"/>
                  </a:cubicBezTo>
                  <a:cubicBezTo>
                    <a:pt x="201" y="193"/>
                    <a:pt x="202" y="193"/>
                    <a:pt x="202" y="194"/>
                  </a:cubicBezTo>
                  <a:cubicBezTo>
                    <a:pt x="202" y="195"/>
                    <a:pt x="202" y="195"/>
                    <a:pt x="202" y="196"/>
                  </a:cubicBezTo>
                  <a:cubicBezTo>
                    <a:pt x="203" y="196"/>
                    <a:pt x="203" y="196"/>
                    <a:pt x="203" y="197"/>
                  </a:cubicBezTo>
                  <a:cubicBezTo>
                    <a:pt x="204" y="198"/>
                    <a:pt x="204" y="198"/>
                    <a:pt x="204" y="199"/>
                  </a:cubicBezTo>
                  <a:cubicBezTo>
                    <a:pt x="205" y="199"/>
                    <a:pt x="205" y="201"/>
                    <a:pt x="206" y="201"/>
                  </a:cubicBezTo>
                  <a:cubicBezTo>
                    <a:pt x="207" y="201"/>
                    <a:pt x="207" y="199"/>
                    <a:pt x="208" y="200"/>
                  </a:cubicBezTo>
                  <a:cubicBezTo>
                    <a:pt x="208" y="200"/>
                    <a:pt x="208" y="200"/>
                    <a:pt x="209" y="200"/>
                  </a:cubicBezTo>
                  <a:cubicBezTo>
                    <a:pt x="209" y="201"/>
                    <a:pt x="210" y="201"/>
                    <a:pt x="210" y="201"/>
                  </a:cubicBezTo>
                  <a:cubicBezTo>
                    <a:pt x="211" y="202"/>
                    <a:pt x="211" y="203"/>
                    <a:pt x="212" y="204"/>
                  </a:cubicBezTo>
                  <a:cubicBezTo>
                    <a:pt x="212" y="204"/>
                    <a:pt x="213" y="204"/>
                    <a:pt x="213" y="204"/>
                  </a:cubicBezTo>
                  <a:cubicBezTo>
                    <a:pt x="213" y="204"/>
                    <a:pt x="213" y="204"/>
                    <a:pt x="214" y="204"/>
                  </a:cubicBezTo>
                  <a:cubicBezTo>
                    <a:pt x="214" y="203"/>
                    <a:pt x="215" y="202"/>
                    <a:pt x="215" y="202"/>
                  </a:cubicBezTo>
                  <a:cubicBezTo>
                    <a:pt x="216" y="202"/>
                    <a:pt x="216" y="203"/>
                    <a:pt x="217" y="204"/>
                  </a:cubicBezTo>
                  <a:cubicBezTo>
                    <a:pt x="217" y="205"/>
                    <a:pt x="217" y="206"/>
                    <a:pt x="217" y="207"/>
                  </a:cubicBezTo>
                  <a:cubicBezTo>
                    <a:pt x="217" y="207"/>
                    <a:pt x="217" y="208"/>
                    <a:pt x="217" y="208"/>
                  </a:cubicBezTo>
                  <a:cubicBezTo>
                    <a:pt x="217" y="209"/>
                    <a:pt x="218" y="209"/>
                    <a:pt x="219" y="210"/>
                  </a:cubicBezTo>
                  <a:cubicBezTo>
                    <a:pt x="220" y="211"/>
                    <a:pt x="221" y="212"/>
                    <a:pt x="221" y="213"/>
                  </a:cubicBezTo>
                  <a:cubicBezTo>
                    <a:pt x="221" y="214"/>
                    <a:pt x="221" y="214"/>
                    <a:pt x="221" y="215"/>
                  </a:cubicBezTo>
                  <a:cubicBezTo>
                    <a:pt x="221" y="216"/>
                    <a:pt x="222" y="216"/>
                    <a:pt x="222" y="217"/>
                  </a:cubicBezTo>
                  <a:cubicBezTo>
                    <a:pt x="223" y="218"/>
                    <a:pt x="224" y="219"/>
                    <a:pt x="225" y="219"/>
                  </a:cubicBezTo>
                  <a:cubicBezTo>
                    <a:pt x="225" y="219"/>
                    <a:pt x="227" y="219"/>
                    <a:pt x="228" y="219"/>
                  </a:cubicBezTo>
                  <a:cubicBezTo>
                    <a:pt x="228" y="219"/>
                    <a:pt x="228" y="218"/>
                    <a:pt x="229" y="218"/>
                  </a:cubicBezTo>
                  <a:cubicBezTo>
                    <a:pt x="229" y="218"/>
                    <a:pt x="230" y="218"/>
                    <a:pt x="230" y="218"/>
                  </a:cubicBezTo>
                  <a:cubicBezTo>
                    <a:pt x="231" y="218"/>
                    <a:pt x="231" y="219"/>
                    <a:pt x="231" y="219"/>
                  </a:cubicBezTo>
                  <a:cubicBezTo>
                    <a:pt x="230" y="220"/>
                    <a:pt x="229" y="220"/>
                    <a:pt x="229" y="220"/>
                  </a:cubicBezTo>
                  <a:cubicBezTo>
                    <a:pt x="228" y="220"/>
                    <a:pt x="226" y="220"/>
                    <a:pt x="225" y="220"/>
                  </a:cubicBezTo>
                  <a:cubicBezTo>
                    <a:pt x="225" y="220"/>
                    <a:pt x="224" y="220"/>
                    <a:pt x="224" y="220"/>
                  </a:cubicBezTo>
                  <a:cubicBezTo>
                    <a:pt x="224" y="221"/>
                    <a:pt x="224" y="222"/>
                    <a:pt x="224" y="222"/>
                  </a:cubicBezTo>
                  <a:cubicBezTo>
                    <a:pt x="224" y="223"/>
                    <a:pt x="224" y="223"/>
                    <a:pt x="223" y="224"/>
                  </a:cubicBezTo>
                  <a:cubicBezTo>
                    <a:pt x="223" y="224"/>
                    <a:pt x="223" y="225"/>
                    <a:pt x="223" y="225"/>
                  </a:cubicBezTo>
                  <a:cubicBezTo>
                    <a:pt x="223" y="226"/>
                    <a:pt x="223" y="226"/>
                    <a:pt x="223" y="227"/>
                  </a:cubicBezTo>
                  <a:cubicBezTo>
                    <a:pt x="224" y="227"/>
                    <a:pt x="224" y="227"/>
                    <a:pt x="224" y="228"/>
                  </a:cubicBezTo>
                  <a:cubicBezTo>
                    <a:pt x="224" y="228"/>
                    <a:pt x="225" y="229"/>
                    <a:pt x="225" y="230"/>
                  </a:cubicBezTo>
                  <a:cubicBezTo>
                    <a:pt x="226" y="230"/>
                    <a:pt x="227" y="230"/>
                    <a:pt x="228" y="230"/>
                  </a:cubicBezTo>
                  <a:cubicBezTo>
                    <a:pt x="229" y="230"/>
                    <a:pt x="231" y="230"/>
                    <a:pt x="232" y="230"/>
                  </a:cubicBezTo>
                  <a:cubicBezTo>
                    <a:pt x="232" y="230"/>
                    <a:pt x="233" y="230"/>
                    <a:pt x="233" y="229"/>
                  </a:cubicBezTo>
                  <a:cubicBezTo>
                    <a:pt x="233" y="229"/>
                    <a:pt x="233" y="229"/>
                    <a:pt x="234" y="229"/>
                  </a:cubicBezTo>
                  <a:cubicBezTo>
                    <a:pt x="235" y="229"/>
                    <a:pt x="236" y="229"/>
                    <a:pt x="237" y="229"/>
                  </a:cubicBezTo>
                  <a:cubicBezTo>
                    <a:pt x="238" y="229"/>
                    <a:pt x="239" y="229"/>
                    <a:pt x="240" y="229"/>
                  </a:cubicBezTo>
                  <a:cubicBezTo>
                    <a:pt x="240" y="229"/>
                    <a:pt x="241" y="229"/>
                    <a:pt x="242" y="228"/>
                  </a:cubicBezTo>
                  <a:cubicBezTo>
                    <a:pt x="242" y="228"/>
                    <a:pt x="243" y="228"/>
                    <a:pt x="243" y="228"/>
                  </a:cubicBezTo>
                  <a:cubicBezTo>
                    <a:pt x="244" y="227"/>
                    <a:pt x="245" y="226"/>
                    <a:pt x="246" y="227"/>
                  </a:cubicBezTo>
                  <a:cubicBezTo>
                    <a:pt x="247" y="227"/>
                    <a:pt x="247" y="227"/>
                    <a:pt x="247" y="227"/>
                  </a:cubicBezTo>
                  <a:cubicBezTo>
                    <a:pt x="248" y="227"/>
                    <a:pt x="248" y="226"/>
                    <a:pt x="248" y="226"/>
                  </a:cubicBezTo>
                  <a:cubicBezTo>
                    <a:pt x="249" y="225"/>
                    <a:pt x="250" y="224"/>
                    <a:pt x="251" y="224"/>
                  </a:cubicBezTo>
                  <a:cubicBezTo>
                    <a:pt x="251" y="223"/>
                    <a:pt x="252" y="223"/>
                    <a:pt x="252" y="222"/>
                  </a:cubicBezTo>
                  <a:cubicBezTo>
                    <a:pt x="253" y="221"/>
                    <a:pt x="253" y="221"/>
                    <a:pt x="252" y="220"/>
                  </a:cubicBezTo>
                  <a:cubicBezTo>
                    <a:pt x="252" y="219"/>
                    <a:pt x="252" y="219"/>
                    <a:pt x="252" y="218"/>
                  </a:cubicBezTo>
                  <a:cubicBezTo>
                    <a:pt x="252" y="218"/>
                    <a:pt x="252" y="217"/>
                    <a:pt x="253" y="217"/>
                  </a:cubicBezTo>
                  <a:cubicBezTo>
                    <a:pt x="253" y="216"/>
                    <a:pt x="253" y="216"/>
                    <a:pt x="253" y="215"/>
                  </a:cubicBezTo>
                  <a:cubicBezTo>
                    <a:pt x="253" y="215"/>
                    <a:pt x="253" y="214"/>
                    <a:pt x="253" y="214"/>
                  </a:cubicBezTo>
                  <a:cubicBezTo>
                    <a:pt x="253" y="214"/>
                    <a:pt x="253" y="214"/>
                    <a:pt x="253" y="213"/>
                  </a:cubicBezTo>
                  <a:cubicBezTo>
                    <a:pt x="253" y="213"/>
                    <a:pt x="253" y="212"/>
                    <a:pt x="253" y="212"/>
                  </a:cubicBezTo>
                  <a:cubicBezTo>
                    <a:pt x="253" y="212"/>
                    <a:pt x="254" y="211"/>
                    <a:pt x="254" y="211"/>
                  </a:cubicBezTo>
                  <a:cubicBezTo>
                    <a:pt x="254" y="211"/>
                    <a:pt x="255" y="211"/>
                    <a:pt x="255" y="210"/>
                  </a:cubicBezTo>
                  <a:cubicBezTo>
                    <a:pt x="255" y="210"/>
                    <a:pt x="255" y="209"/>
                    <a:pt x="255" y="209"/>
                  </a:cubicBezTo>
                  <a:cubicBezTo>
                    <a:pt x="256" y="209"/>
                    <a:pt x="256" y="208"/>
                    <a:pt x="256" y="208"/>
                  </a:cubicBezTo>
                  <a:cubicBezTo>
                    <a:pt x="257" y="207"/>
                    <a:pt x="257" y="207"/>
                    <a:pt x="257" y="206"/>
                  </a:cubicBezTo>
                  <a:cubicBezTo>
                    <a:pt x="258" y="206"/>
                    <a:pt x="258" y="206"/>
                    <a:pt x="258" y="205"/>
                  </a:cubicBezTo>
                  <a:cubicBezTo>
                    <a:pt x="258" y="205"/>
                    <a:pt x="259" y="205"/>
                    <a:pt x="259" y="204"/>
                  </a:cubicBezTo>
                  <a:cubicBezTo>
                    <a:pt x="259" y="204"/>
                    <a:pt x="260" y="203"/>
                    <a:pt x="259" y="202"/>
                  </a:cubicBezTo>
                  <a:cubicBezTo>
                    <a:pt x="259" y="202"/>
                    <a:pt x="258" y="202"/>
                    <a:pt x="258" y="201"/>
                  </a:cubicBezTo>
                  <a:cubicBezTo>
                    <a:pt x="258" y="201"/>
                    <a:pt x="259" y="201"/>
                    <a:pt x="259" y="201"/>
                  </a:cubicBezTo>
                  <a:cubicBezTo>
                    <a:pt x="259" y="200"/>
                    <a:pt x="259" y="200"/>
                    <a:pt x="259" y="200"/>
                  </a:cubicBezTo>
                  <a:cubicBezTo>
                    <a:pt x="259" y="199"/>
                    <a:pt x="259" y="198"/>
                    <a:pt x="259" y="198"/>
                  </a:cubicBezTo>
                  <a:cubicBezTo>
                    <a:pt x="259" y="197"/>
                    <a:pt x="259" y="195"/>
                    <a:pt x="260" y="195"/>
                  </a:cubicBezTo>
                  <a:cubicBezTo>
                    <a:pt x="260" y="193"/>
                    <a:pt x="260" y="192"/>
                    <a:pt x="260" y="191"/>
                  </a:cubicBezTo>
                  <a:cubicBezTo>
                    <a:pt x="260" y="190"/>
                    <a:pt x="260" y="190"/>
                    <a:pt x="260" y="189"/>
                  </a:cubicBezTo>
                  <a:cubicBezTo>
                    <a:pt x="261" y="188"/>
                    <a:pt x="261" y="188"/>
                    <a:pt x="261" y="188"/>
                  </a:cubicBezTo>
                  <a:cubicBezTo>
                    <a:pt x="261" y="187"/>
                    <a:pt x="261" y="187"/>
                    <a:pt x="261" y="186"/>
                  </a:cubicBezTo>
                  <a:cubicBezTo>
                    <a:pt x="261" y="186"/>
                    <a:pt x="261" y="185"/>
                    <a:pt x="261" y="184"/>
                  </a:cubicBezTo>
                  <a:cubicBezTo>
                    <a:pt x="261" y="183"/>
                    <a:pt x="261" y="182"/>
                    <a:pt x="261" y="182"/>
                  </a:cubicBezTo>
                  <a:cubicBezTo>
                    <a:pt x="262" y="181"/>
                    <a:pt x="262" y="180"/>
                    <a:pt x="262" y="179"/>
                  </a:cubicBezTo>
                  <a:cubicBezTo>
                    <a:pt x="262" y="178"/>
                    <a:pt x="262" y="177"/>
                    <a:pt x="262" y="177"/>
                  </a:cubicBezTo>
                  <a:cubicBezTo>
                    <a:pt x="262" y="176"/>
                    <a:pt x="263" y="176"/>
                    <a:pt x="263" y="175"/>
                  </a:cubicBezTo>
                  <a:cubicBezTo>
                    <a:pt x="263" y="175"/>
                    <a:pt x="263" y="174"/>
                    <a:pt x="263" y="173"/>
                  </a:cubicBezTo>
                  <a:cubicBezTo>
                    <a:pt x="263" y="172"/>
                    <a:pt x="263" y="171"/>
                    <a:pt x="263" y="170"/>
                  </a:cubicBezTo>
                  <a:cubicBezTo>
                    <a:pt x="263" y="169"/>
                    <a:pt x="262" y="168"/>
                    <a:pt x="262" y="168"/>
                  </a:cubicBezTo>
                  <a:cubicBezTo>
                    <a:pt x="262" y="167"/>
                    <a:pt x="262" y="166"/>
                    <a:pt x="262" y="165"/>
                  </a:cubicBezTo>
                  <a:cubicBezTo>
                    <a:pt x="262" y="164"/>
                    <a:pt x="262" y="163"/>
                    <a:pt x="262" y="162"/>
                  </a:cubicBezTo>
                  <a:cubicBezTo>
                    <a:pt x="262" y="162"/>
                    <a:pt x="262" y="162"/>
                    <a:pt x="262" y="161"/>
                  </a:cubicBezTo>
                  <a:cubicBezTo>
                    <a:pt x="262" y="161"/>
                    <a:pt x="261" y="161"/>
                    <a:pt x="261" y="160"/>
                  </a:cubicBezTo>
                  <a:cubicBezTo>
                    <a:pt x="261" y="160"/>
                    <a:pt x="261" y="159"/>
                    <a:pt x="261" y="159"/>
                  </a:cubicBezTo>
                  <a:cubicBezTo>
                    <a:pt x="261" y="158"/>
                    <a:pt x="260" y="158"/>
                    <a:pt x="260" y="158"/>
                  </a:cubicBezTo>
                  <a:cubicBezTo>
                    <a:pt x="260" y="157"/>
                    <a:pt x="260" y="157"/>
                    <a:pt x="260" y="157"/>
                  </a:cubicBezTo>
                  <a:cubicBezTo>
                    <a:pt x="260" y="156"/>
                    <a:pt x="259" y="156"/>
                    <a:pt x="259" y="156"/>
                  </a:cubicBezTo>
                  <a:cubicBezTo>
                    <a:pt x="259" y="155"/>
                    <a:pt x="259" y="155"/>
                    <a:pt x="259" y="155"/>
                  </a:cubicBezTo>
                  <a:cubicBezTo>
                    <a:pt x="259" y="154"/>
                    <a:pt x="258" y="154"/>
                    <a:pt x="258" y="154"/>
                  </a:cubicBezTo>
                  <a:cubicBezTo>
                    <a:pt x="258" y="153"/>
                    <a:pt x="258" y="153"/>
                    <a:pt x="258" y="153"/>
                  </a:cubicBezTo>
                  <a:cubicBezTo>
                    <a:pt x="258" y="152"/>
                    <a:pt x="257" y="152"/>
                    <a:pt x="257" y="151"/>
                  </a:cubicBezTo>
                  <a:cubicBezTo>
                    <a:pt x="256" y="151"/>
                    <a:pt x="256" y="151"/>
                    <a:pt x="256" y="151"/>
                  </a:cubicBezTo>
                  <a:cubicBezTo>
                    <a:pt x="256" y="151"/>
                    <a:pt x="255" y="151"/>
                    <a:pt x="255" y="151"/>
                  </a:cubicBezTo>
                  <a:cubicBezTo>
                    <a:pt x="255" y="152"/>
                    <a:pt x="254" y="151"/>
                    <a:pt x="254" y="150"/>
                  </a:cubicBezTo>
                  <a:cubicBezTo>
                    <a:pt x="254" y="150"/>
                    <a:pt x="254" y="150"/>
                    <a:pt x="253" y="150"/>
                  </a:cubicBezTo>
                  <a:cubicBezTo>
                    <a:pt x="253" y="150"/>
                    <a:pt x="253" y="150"/>
                    <a:pt x="253" y="149"/>
                  </a:cubicBezTo>
                  <a:cubicBezTo>
                    <a:pt x="253" y="149"/>
                    <a:pt x="253" y="149"/>
                    <a:pt x="253" y="149"/>
                  </a:cubicBezTo>
                  <a:cubicBezTo>
                    <a:pt x="254" y="149"/>
                    <a:pt x="254" y="149"/>
                    <a:pt x="254" y="150"/>
                  </a:cubicBezTo>
                  <a:cubicBezTo>
                    <a:pt x="254" y="150"/>
                    <a:pt x="255" y="150"/>
                    <a:pt x="256" y="150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55" y="148"/>
                    <a:pt x="255" y="148"/>
                    <a:pt x="255" y="147"/>
                  </a:cubicBezTo>
                  <a:cubicBezTo>
                    <a:pt x="255" y="147"/>
                    <a:pt x="255" y="147"/>
                    <a:pt x="255" y="147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4" y="145"/>
                    <a:pt x="254" y="145"/>
                    <a:pt x="254" y="144"/>
                  </a:cubicBezTo>
                  <a:cubicBezTo>
                    <a:pt x="254" y="144"/>
                    <a:pt x="254" y="143"/>
                    <a:pt x="254" y="143"/>
                  </a:cubicBezTo>
                  <a:cubicBezTo>
                    <a:pt x="253" y="142"/>
                    <a:pt x="253" y="142"/>
                    <a:pt x="253" y="142"/>
                  </a:cubicBezTo>
                  <a:cubicBezTo>
                    <a:pt x="253" y="141"/>
                    <a:pt x="253" y="141"/>
                    <a:pt x="253" y="140"/>
                  </a:cubicBezTo>
                  <a:cubicBezTo>
                    <a:pt x="253" y="140"/>
                    <a:pt x="254" y="140"/>
                    <a:pt x="254" y="139"/>
                  </a:cubicBezTo>
                  <a:cubicBezTo>
                    <a:pt x="254" y="139"/>
                    <a:pt x="253" y="139"/>
                    <a:pt x="253" y="139"/>
                  </a:cubicBezTo>
                  <a:cubicBezTo>
                    <a:pt x="252" y="139"/>
                    <a:pt x="253" y="139"/>
                    <a:pt x="252" y="140"/>
                  </a:cubicBezTo>
                  <a:cubicBezTo>
                    <a:pt x="252" y="139"/>
                    <a:pt x="252" y="139"/>
                    <a:pt x="252" y="139"/>
                  </a:cubicBezTo>
                  <a:cubicBezTo>
                    <a:pt x="252" y="138"/>
                    <a:pt x="252" y="138"/>
                    <a:pt x="252" y="137"/>
                  </a:cubicBezTo>
                  <a:cubicBezTo>
                    <a:pt x="252" y="137"/>
                    <a:pt x="253" y="137"/>
                    <a:pt x="253" y="137"/>
                  </a:cubicBezTo>
                  <a:cubicBezTo>
                    <a:pt x="252" y="136"/>
                    <a:pt x="252" y="136"/>
                    <a:pt x="252" y="136"/>
                  </a:cubicBezTo>
                  <a:cubicBezTo>
                    <a:pt x="252" y="136"/>
                    <a:pt x="252" y="135"/>
                    <a:pt x="252" y="135"/>
                  </a:cubicBezTo>
                  <a:cubicBezTo>
                    <a:pt x="252" y="134"/>
                    <a:pt x="252" y="134"/>
                    <a:pt x="251" y="133"/>
                  </a:cubicBezTo>
                  <a:cubicBezTo>
                    <a:pt x="251" y="133"/>
                    <a:pt x="251" y="132"/>
                    <a:pt x="251" y="132"/>
                  </a:cubicBezTo>
                  <a:cubicBezTo>
                    <a:pt x="251" y="132"/>
                    <a:pt x="250" y="132"/>
                    <a:pt x="250" y="131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49" y="130"/>
                    <a:pt x="249" y="130"/>
                    <a:pt x="249" y="129"/>
                  </a:cubicBezTo>
                  <a:cubicBezTo>
                    <a:pt x="249" y="129"/>
                    <a:pt x="248" y="128"/>
                    <a:pt x="248" y="127"/>
                  </a:cubicBezTo>
                  <a:cubicBezTo>
                    <a:pt x="248" y="127"/>
                    <a:pt x="247" y="126"/>
                    <a:pt x="247" y="125"/>
                  </a:cubicBezTo>
                  <a:cubicBezTo>
                    <a:pt x="247" y="125"/>
                    <a:pt x="247" y="125"/>
                    <a:pt x="246" y="124"/>
                  </a:cubicBezTo>
                  <a:cubicBezTo>
                    <a:pt x="246" y="124"/>
                    <a:pt x="246" y="124"/>
                    <a:pt x="246" y="123"/>
                  </a:cubicBezTo>
                  <a:cubicBezTo>
                    <a:pt x="246" y="123"/>
                    <a:pt x="246" y="123"/>
                    <a:pt x="246" y="122"/>
                  </a:cubicBezTo>
                  <a:cubicBezTo>
                    <a:pt x="246" y="122"/>
                    <a:pt x="245" y="122"/>
                    <a:pt x="245" y="121"/>
                  </a:cubicBezTo>
                  <a:cubicBezTo>
                    <a:pt x="245" y="121"/>
                    <a:pt x="245" y="121"/>
                    <a:pt x="245" y="121"/>
                  </a:cubicBezTo>
                  <a:cubicBezTo>
                    <a:pt x="245" y="120"/>
                    <a:pt x="245" y="120"/>
                    <a:pt x="245" y="120"/>
                  </a:cubicBezTo>
                  <a:cubicBezTo>
                    <a:pt x="245" y="119"/>
                    <a:pt x="244" y="119"/>
                    <a:pt x="244" y="118"/>
                  </a:cubicBezTo>
                  <a:cubicBezTo>
                    <a:pt x="244" y="118"/>
                    <a:pt x="244" y="118"/>
                    <a:pt x="244" y="117"/>
                  </a:cubicBezTo>
                  <a:cubicBezTo>
                    <a:pt x="243" y="117"/>
                    <a:pt x="243" y="116"/>
                    <a:pt x="243" y="116"/>
                  </a:cubicBezTo>
                  <a:cubicBezTo>
                    <a:pt x="243" y="115"/>
                    <a:pt x="243" y="115"/>
                    <a:pt x="242" y="114"/>
                  </a:cubicBezTo>
                  <a:cubicBezTo>
                    <a:pt x="242" y="114"/>
                    <a:pt x="242" y="114"/>
                    <a:pt x="242" y="113"/>
                  </a:cubicBezTo>
                  <a:cubicBezTo>
                    <a:pt x="242" y="113"/>
                    <a:pt x="242" y="113"/>
                    <a:pt x="242" y="112"/>
                  </a:cubicBezTo>
                  <a:cubicBezTo>
                    <a:pt x="241" y="112"/>
                    <a:pt x="241" y="111"/>
                    <a:pt x="241" y="110"/>
                  </a:cubicBezTo>
                  <a:cubicBezTo>
                    <a:pt x="240" y="110"/>
                    <a:pt x="240" y="109"/>
                    <a:pt x="240" y="109"/>
                  </a:cubicBezTo>
                  <a:cubicBezTo>
                    <a:pt x="240" y="108"/>
                    <a:pt x="240" y="108"/>
                    <a:pt x="239" y="107"/>
                  </a:cubicBezTo>
                  <a:cubicBezTo>
                    <a:pt x="239" y="107"/>
                    <a:pt x="239" y="106"/>
                    <a:pt x="239" y="106"/>
                  </a:cubicBezTo>
                  <a:cubicBezTo>
                    <a:pt x="239" y="106"/>
                    <a:pt x="240" y="106"/>
                    <a:pt x="240" y="106"/>
                  </a:cubicBezTo>
                  <a:cubicBezTo>
                    <a:pt x="240" y="107"/>
                    <a:pt x="240" y="107"/>
                    <a:pt x="240" y="107"/>
                  </a:cubicBezTo>
                  <a:cubicBezTo>
                    <a:pt x="240" y="107"/>
                    <a:pt x="241" y="107"/>
                    <a:pt x="241" y="107"/>
                  </a:cubicBezTo>
                  <a:cubicBezTo>
                    <a:pt x="241" y="106"/>
                    <a:pt x="241" y="106"/>
                    <a:pt x="241" y="105"/>
                  </a:cubicBezTo>
                  <a:cubicBezTo>
                    <a:pt x="241" y="104"/>
                    <a:pt x="241" y="104"/>
                    <a:pt x="241" y="103"/>
                  </a:cubicBezTo>
                  <a:cubicBezTo>
                    <a:pt x="241" y="103"/>
                    <a:pt x="241" y="102"/>
                    <a:pt x="241" y="102"/>
                  </a:cubicBezTo>
                  <a:cubicBezTo>
                    <a:pt x="242" y="101"/>
                    <a:pt x="242" y="101"/>
                    <a:pt x="242" y="101"/>
                  </a:cubicBezTo>
                  <a:cubicBezTo>
                    <a:pt x="242" y="101"/>
                    <a:pt x="242" y="100"/>
                    <a:pt x="242" y="100"/>
                  </a:cubicBezTo>
                  <a:cubicBezTo>
                    <a:pt x="242" y="100"/>
                    <a:pt x="242" y="99"/>
                    <a:pt x="243" y="99"/>
                  </a:cubicBezTo>
                  <a:cubicBezTo>
                    <a:pt x="243" y="100"/>
                    <a:pt x="243" y="100"/>
                    <a:pt x="243" y="101"/>
                  </a:cubicBezTo>
                  <a:cubicBezTo>
                    <a:pt x="243" y="101"/>
                    <a:pt x="243" y="101"/>
                    <a:pt x="243" y="101"/>
                  </a:cubicBezTo>
                  <a:cubicBezTo>
                    <a:pt x="243" y="101"/>
                    <a:pt x="243" y="102"/>
                    <a:pt x="243" y="102"/>
                  </a:cubicBezTo>
                  <a:cubicBezTo>
                    <a:pt x="243" y="102"/>
                    <a:pt x="242" y="102"/>
                    <a:pt x="242" y="103"/>
                  </a:cubicBezTo>
                  <a:cubicBezTo>
                    <a:pt x="242" y="103"/>
                    <a:pt x="242" y="104"/>
                    <a:pt x="243" y="104"/>
                  </a:cubicBezTo>
                  <a:cubicBezTo>
                    <a:pt x="243" y="104"/>
                    <a:pt x="244" y="103"/>
                    <a:pt x="244" y="103"/>
                  </a:cubicBezTo>
                  <a:cubicBezTo>
                    <a:pt x="245" y="103"/>
                    <a:pt x="246" y="102"/>
                    <a:pt x="246" y="102"/>
                  </a:cubicBezTo>
                  <a:cubicBezTo>
                    <a:pt x="246" y="101"/>
                    <a:pt x="245" y="101"/>
                    <a:pt x="245" y="101"/>
                  </a:cubicBezTo>
                  <a:cubicBezTo>
                    <a:pt x="245" y="101"/>
                    <a:pt x="245" y="100"/>
                    <a:pt x="245" y="100"/>
                  </a:cubicBezTo>
                  <a:cubicBezTo>
                    <a:pt x="245" y="99"/>
                    <a:pt x="244" y="99"/>
                    <a:pt x="244" y="98"/>
                  </a:cubicBezTo>
                  <a:cubicBezTo>
                    <a:pt x="244" y="98"/>
                    <a:pt x="244" y="97"/>
                    <a:pt x="244" y="97"/>
                  </a:cubicBezTo>
                  <a:cubicBezTo>
                    <a:pt x="244" y="97"/>
                    <a:pt x="244" y="96"/>
                    <a:pt x="244" y="96"/>
                  </a:cubicBezTo>
                  <a:cubicBezTo>
                    <a:pt x="243" y="96"/>
                    <a:pt x="243" y="96"/>
                    <a:pt x="243" y="95"/>
                  </a:cubicBezTo>
                  <a:cubicBezTo>
                    <a:pt x="243" y="95"/>
                    <a:pt x="242" y="94"/>
                    <a:pt x="241" y="94"/>
                  </a:cubicBezTo>
                  <a:cubicBezTo>
                    <a:pt x="241" y="93"/>
                    <a:pt x="240" y="93"/>
                    <a:pt x="240" y="93"/>
                  </a:cubicBezTo>
                  <a:cubicBezTo>
                    <a:pt x="239" y="92"/>
                    <a:pt x="239" y="92"/>
                    <a:pt x="238" y="91"/>
                  </a:cubicBezTo>
                  <a:cubicBezTo>
                    <a:pt x="237" y="90"/>
                    <a:pt x="236" y="89"/>
                    <a:pt x="236" y="88"/>
                  </a:cubicBezTo>
                  <a:cubicBezTo>
                    <a:pt x="235" y="86"/>
                    <a:pt x="235" y="85"/>
                    <a:pt x="235" y="84"/>
                  </a:cubicBezTo>
                  <a:cubicBezTo>
                    <a:pt x="235" y="83"/>
                    <a:pt x="235" y="83"/>
                    <a:pt x="235" y="82"/>
                  </a:cubicBezTo>
                  <a:cubicBezTo>
                    <a:pt x="234" y="82"/>
                    <a:pt x="234" y="81"/>
                    <a:pt x="234" y="81"/>
                  </a:cubicBezTo>
                  <a:cubicBezTo>
                    <a:pt x="234" y="80"/>
                    <a:pt x="233" y="80"/>
                    <a:pt x="233" y="79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3" y="79"/>
                    <a:pt x="233" y="78"/>
                    <a:pt x="233" y="78"/>
                  </a:cubicBezTo>
                  <a:cubicBezTo>
                    <a:pt x="232" y="78"/>
                    <a:pt x="232" y="78"/>
                    <a:pt x="232" y="78"/>
                  </a:cubicBezTo>
                  <a:cubicBezTo>
                    <a:pt x="232" y="77"/>
                    <a:pt x="232" y="77"/>
                    <a:pt x="232" y="77"/>
                  </a:cubicBezTo>
                  <a:cubicBezTo>
                    <a:pt x="232" y="76"/>
                    <a:pt x="231" y="76"/>
                    <a:pt x="231" y="76"/>
                  </a:cubicBezTo>
                  <a:cubicBezTo>
                    <a:pt x="231" y="75"/>
                    <a:pt x="231" y="75"/>
                    <a:pt x="230" y="75"/>
                  </a:cubicBezTo>
                  <a:cubicBezTo>
                    <a:pt x="230" y="75"/>
                    <a:pt x="230" y="74"/>
                    <a:pt x="230" y="74"/>
                  </a:cubicBezTo>
                  <a:cubicBezTo>
                    <a:pt x="230" y="74"/>
                    <a:pt x="230" y="73"/>
                    <a:pt x="230" y="73"/>
                  </a:cubicBezTo>
                  <a:cubicBezTo>
                    <a:pt x="230" y="72"/>
                    <a:pt x="230" y="72"/>
                    <a:pt x="229" y="72"/>
                  </a:cubicBezTo>
                  <a:cubicBezTo>
                    <a:pt x="229" y="72"/>
                    <a:pt x="229" y="72"/>
                    <a:pt x="229" y="71"/>
                  </a:cubicBezTo>
                  <a:cubicBezTo>
                    <a:pt x="229" y="71"/>
                    <a:pt x="228" y="71"/>
                    <a:pt x="228" y="71"/>
                  </a:cubicBezTo>
                  <a:cubicBezTo>
                    <a:pt x="228" y="71"/>
                    <a:pt x="228" y="71"/>
                    <a:pt x="228" y="71"/>
                  </a:cubicBezTo>
                  <a:cubicBezTo>
                    <a:pt x="227" y="70"/>
                    <a:pt x="228" y="70"/>
                    <a:pt x="229" y="69"/>
                  </a:cubicBezTo>
                  <a:cubicBezTo>
                    <a:pt x="229" y="69"/>
                    <a:pt x="228" y="69"/>
                    <a:pt x="228" y="69"/>
                  </a:cubicBezTo>
                  <a:cubicBezTo>
                    <a:pt x="228" y="69"/>
                    <a:pt x="227" y="68"/>
                    <a:pt x="227" y="68"/>
                  </a:cubicBezTo>
                  <a:cubicBezTo>
                    <a:pt x="227" y="68"/>
                    <a:pt x="228" y="68"/>
                    <a:pt x="228" y="68"/>
                  </a:cubicBezTo>
                  <a:cubicBezTo>
                    <a:pt x="228" y="68"/>
                    <a:pt x="228" y="67"/>
                    <a:pt x="228" y="67"/>
                  </a:cubicBezTo>
                  <a:cubicBezTo>
                    <a:pt x="227" y="67"/>
                    <a:pt x="226" y="67"/>
                    <a:pt x="226" y="67"/>
                  </a:cubicBezTo>
                  <a:cubicBezTo>
                    <a:pt x="227" y="67"/>
                    <a:pt x="227" y="66"/>
                    <a:pt x="227" y="66"/>
                  </a:cubicBezTo>
                  <a:cubicBezTo>
                    <a:pt x="227" y="66"/>
                    <a:pt x="227" y="66"/>
                    <a:pt x="227" y="66"/>
                  </a:cubicBezTo>
                  <a:cubicBezTo>
                    <a:pt x="227" y="66"/>
                    <a:pt x="226" y="66"/>
                    <a:pt x="226" y="66"/>
                  </a:cubicBezTo>
                  <a:cubicBezTo>
                    <a:pt x="226" y="65"/>
                    <a:pt x="226" y="65"/>
                    <a:pt x="226" y="65"/>
                  </a:cubicBezTo>
                  <a:cubicBezTo>
                    <a:pt x="226" y="64"/>
                    <a:pt x="225" y="63"/>
                    <a:pt x="225" y="63"/>
                  </a:cubicBezTo>
                  <a:cubicBezTo>
                    <a:pt x="224" y="61"/>
                    <a:pt x="224" y="60"/>
                    <a:pt x="223" y="59"/>
                  </a:cubicBezTo>
                  <a:cubicBezTo>
                    <a:pt x="223" y="58"/>
                    <a:pt x="223" y="57"/>
                    <a:pt x="223" y="57"/>
                  </a:cubicBezTo>
                  <a:cubicBezTo>
                    <a:pt x="223" y="56"/>
                    <a:pt x="222" y="55"/>
                    <a:pt x="222" y="55"/>
                  </a:cubicBezTo>
                  <a:cubicBezTo>
                    <a:pt x="222" y="54"/>
                    <a:pt x="222" y="54"/>
                    <a:pt x="222" y="53"/>
                  </a:cubicBezTo>
                  <a:cubicBezTo>
                    <a:pt x="222" y="53"/>
                    <a:pt x="222" y="53"/>
                    <a:pt x="221" y="52"/>
                  </a:cubicBezTo>
                  <a:cubicBezTo>
                    <a:pt x="221" y="51"/>
                    <a:pt x="220" y="51"/>
                    <a:pt x="220" y="50"/>
                  </a:cubicBezTo>
                  <a:cubicBezTo>
                    <a:pt x="220" y="49"/>
                    <a:pt x="219" y="49"/>
                    <a:pt x="219" y="48"/>
                  </a:cubicBezTo>
                  <a:cubicBezTo>
                    <a:pt x="219" y="48"/>
                    <a:pt x="219" y="47"/>
                    <a:pt x="219" y="47"/>
                  </a:cubicBezTo>
                  <a:cubicBezTo>
                    <a:pt x="219" y="47"/>
                    <a:pt x="219" y="46"/>
                    <a:pt x="219" y="46"/>
                  </a:cubicBezTo>
                  <a:cubicBezTo>
                    <a:pt x="219" y="46"/>
                    <a:pt x="219" y="45"/>
                    <a:pt x="219" y="45"/>
                  </a:cubicBezTo>
                  <a:cubicBezTo>
                    <a:pt x="219" y="44"/>
                    <a:pt x="219" y="44"/>
                    <a:pt x="219" y="43"/>
                  </a:cubicBezTo>
                  <a:cubicBezTo>
                    <a:pt x="219" y="42"/>
                    <a:pt x="219" y="42"/>
                    <a:pt x="218" y="41"/>
                  </a:cubicBezTo>
                  <a:cubicBezTo>
                    <a:pt x="218" y="41"/>
                    <a:pt x="218" y="40"/>
                    <a:pt x="218" y="39"/>
                  </a:cubicBezTo>
                  <a:cubicBezTo>
                    <a:pt x="218" y="39"/>
                    <a:pt x="218" y="38"/>
                    <a:pt x="218" y="38"/>
                  </a:cubicBezTo>
                  <a:cubicBezTo>
                    <a:pt x="218" y="37"/>
                    <a:pt x="218" y="37"/>
                    <a:pt x="217" y="37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7" y="36"/>
                    <a:pt x="217" y="36"/>
                    <a:pt x="217" y="35"/>
                  </a:cubicBezTo>
                  <a:cubicBezTo>
                    <a:pt x="217" y="35"/>
                    <a:pt x="217" y="35"/>
                    <a:pt x="217" y="34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6" y="33"/>
                    <a:pt x="216" y="32"/>
                  </a:cubicBezTo>
                  <a:cubicBezTo>
                    <a:pt x="216" y="32"/>
                    <a:pt x="216" y="31"/>
                    <a:pt x="216" y="30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29"/>
                    <a:pt x="216" y="29"/>
                    <a:pt x="216" y="29"/>
                  </a:cubicBezTo>
                  <a:cubicBezTo>
                    <a:pt x="216" y="29"/>
                    <a:pt x="216" y="28"/>
                    <a:pt x="216" y="28"/>
                  </a:cubicBezTo>
                  <a:cubicBezTo>
                    <a:pt x="216" y="27"/>
                    <a:pt x="216" y="27"/>
                    <a:pt x="216" y="26"/>
                  </a:cubicBezTo>
                  <a:cubicBezTo>
                    <a:pt x="216" y="26"/>
                    <a:pt x="216" y="25"/>
                    <a:pt x="216" y="25"/>
                  </a:cubicBezTo>
                  <a:cubicBezTo>
                    <a:pt x="216" y="25"/>
                    <a:pt x="215" y="25"/>
                    <a:pt x="215" y="25"/>
                  </a:cubicBezTo>
                  <a:cubicBezTo>
                    <a:pt x="215" y="25"/>
                    <a:pt x="214" y="25"/>
                    <a:pt x="214" y="25"/>
                  </a:cubicBezTo>
                  <a:cubicBezTo>
                    <a:pt x="213" y="25"/>
                    <a:pt x="213" y="25"/>
                    <a:pt x="212" y="24"/>
                  </a:cubicBezTo>
                  <a:cubicBezTo>
                    <a:pt x="212" y="24"/>
                    <a:pt x="212" y="24"/>
                    <a:pt x="212" y="24"/>
                  </a:cubicBezTo>
                  <a:cubicBezTo>
                    <a:pt x="212" y="24"/>
                    <a:pt x="212" y="24"/>
                    <a:pt x="212" y="23"/>
                  </a:cubicBezTo>
                  <a:cubicBezTo>
                    <a:pt x="213" y="23"/>
                    <a:pt x="213" y="23"/>
                    <a:pt x="213" y="23"/>
                  </a:cubicBezTo>
                  <a:cubicBezTo>
                    <a:pt x="213" y="23"/>
                    <a:pt x="214" y="23"/>
                    <a:pt x="214" y="23"/>
                  </a:cubicBezTo>
                  <a:cubicBezTo>
                    <a:pt x="214" y="23"/>
                    <a:pt x="214" y="23"/>
                    <a:pt x="214" y="22"/>
                  </a:cubicBezTo>
                  <a:cubicBezTo>
                    <a:pt x="213" y="22"/>
                    <a:pt x="213" y="22"/>
                    <a:pt x="213" y="21"/>
                  </a:cubicBezTo>
                  <a:cubicBezTo>
                    <a:pt x="213" y="21"/>
                    <a:pt x="213" y="20"/>
                    <a:pt x="213" y="20"/>
                  </a:cubicBezTo>
                  <a:cubicBezTo>
                    <a:pt x="212" y="20"/>
                    <a:pt x="212" y="20"/>
                    <a:pt x="212" y="19"/>
                  </a:cubicBezTo>
                  <a:cubicBezTo>
                    <a:pt x="212" y="19"/>
                    <a:pt x="212" y="19"/>
                    <a:pt x="212" y="19"/>
                  </a:cubicBezTo>
                  <a:cubicBezTo>
                    <a:pt x="212" y="19"/>
                    <a:pt x="212" y="19"/>
                    <a:pt x="212" y="19"/>
                  </a:cubicBezTo>
                  <a:cubicBezTo>
                    <a:pt x="212" y="19"/>
                    <a:pt x="212" y="19"/>
                    <a:pt x="213" y="18"/>
                  </a:cubicBezTo>
                  <a:cubicBezTo>
                    <a:pt x="213" y="18"/>
                    <a:pt x="213" y="18"/>
                    <a:pt x="213" y="17"/>
                  </a:cubicBezTo>
                  <a:cubicBezTo>
                    <a:pt x="212" y="17"/>
                    <a:pt x="213" y="16"/>
                    <a:pt x="213" y="16"/>
                  </a:cubicBezTo>
                  <a:cubicBezTo>
                    <a:pt x="213" y="17"/>
                    <a:pt x="213" y="17"/>
                    <a:pt x="213" y="17"/>
                  </a:cubicBezTo>
                  <a:cubicBezTo>
                    <a:pt x="213" y="18"/>
                    <a:pt x="213" y="19"/>
                    <a:pt x="213" y="19"/>
                  </a:cubicBezTo>
                  <a:cubicBezTo>
                    <a:pt x="214" y="20"/>
                    <a:pt x="214" y="19"/>
                    <a:pt x="214" y="18"/>
                  </a:cubicBezTo>
                  <a:cubicBezTo>
                    <a:pt x="214" y="18"/>
                    <a:pt x="214" y="17"/>
                    <a:pt x="214" y="17"/>
                  </a:cubicBezTo>
                  <a:cubicBezTo>
                    <a:pt x="214" y="17"/>
                    <a:pt x="214" y="16"/>
                    <a:pt x="214" y="16"/>
                  </a:cubicBezTo>
                  <a:cubicBezTo>
                    <a:pt x="214" y="15"/>
                    <a:pt x="214" y="15"/>
                    <a:pt x="214" y="14"/>
                  </a:cubicBezTo>
                  <a:cubicBezTo>
                    <a:pt x="214" y="14"/>
                    <a:pt x="214" y="14"/>
                    <a:pt x="214" y="13"/>
                  </a:cubicBezTo>
                  <a:cubicBezTo>
                    <a:pt x="214" y="13"/>
                    <a:pt x="213" y="13"/>
                    <a:pt x="213" y="13"/>
                  </a:cubicBezTo>
                  <a:cubicBezTo>
                    <a:pt x="213" y="13"/>
                    <a:pt x="213" y="13"/>
                    <a:pt x="213" y="13"/>
                  </a:cubicBezTo>
                  <a:cubicBezTo>
                    <a:pt x="212" y="13"/>
                    <a:pt x="213" y="13"/>
                    <a:pt x="212" y="12"/>
                  </a:cubicBezTo>
                  <a:cubicBezTo>
                    <a:pt x="212" y="12"/>
                    <a:pt x="212" y="12"/>
                    <a:pt x="212" y="12"/>
                  </a:cubicBezTo>
                  <a:cubicBezTo>
                    <a:pt x="210" y="12"/>
                    <a:pt x="208" y="12"/>
                    <a:pt x="208" y="12"/>
                  </a:cubicBezTo>
                  <a:cubicBezTo>
                    <a:pt x="208" y="12"/>
                    <a:pt x="205" y="11"/>
                    <a:pt x="204" y="10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ED219636-5FC8-4031-A2FE-21A05903F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1604" y="3022558"/>
              <a:ext cx="102437" cy="242874"/>
            </a:xfrm>
            <a:custGeom>
              <a:avLst/>
              <a:gdLst>
                <a:gd name="T0" fmla="*/ 3 w 26"/>
                <a:gd name="T1" fmla="*/ 61 h 61"/>
                <a:gd name="T2" fmla="*/ 26 w 26"/>
                <a:gd name="T3" fmla="*/ 61 h 61"/>
                <a:gd name="T4" fmla="*/ 26 w 26"/>
                <a:gd name="T5" fmla="*/ 59 h 61"/>
                <a:gd name="T6" fmla="*/ 25 w 26"/>
                <a:gd name="T7" fmla="*/ 57 h 61"/>
                <a:gd name="T8" fmla="*/ 22 w 26"/>
                <a:gd name="T9" fmla="*/ 57 h 61"/>
                <a:gd name="T10" fmla="*/ 22 w 26"/>
                <a:gd name="T11" fmla="*/ 55 h 61"/>
                <a:gd name="T12" fmla="*/ 23 w 26"/>
                <a:gd name="T13" fmla="*/ 52 h 61"/>
                <a:gd name="T14" fmla="*/ 24 w 26"/>
                <a:gd name="T15" fmla="*/ 51 h 61"/>
                <a:gd name="T16" fmla="*/ 23 w 26"/>
                <a:gd name="T17" fmla="*/ 48 h 61"/>
                <a:gd name="T18" fmla="*/ 22 w 26"/>
                <a:gd name="T19" fmla="*/ 47 h 61"/>
                <a:gd name="T20" fmla="*/ 21 w 26"/>
                <a:gd name="T21" fmla="*/ 46 h 61"/>
                <a:gd name="T22" fmla="*/ 19 w 26"/>
                <a:gd name="T23" fmla="*/ 44 h 61"/>
                <a:gd name="T24" fmla="*/ 18 w 26"/>
                <a:gd name="T25" fmla="*/ 43 h 61"/>
                <a:gd name="T26" fmla="*/ 17 w 26"/>
                <a:gd name="T27" fmla="*/ 40 h 61"/>
                <a:gd name="T28" fmla="*/ 15 w 26"/>
                <a:gd name="T29" fmla="*/ 37 h 61"/>
                <a:gd name="T30" fmla="*/ 14 w 26"/>
                <a:gd name="T31" fmla="*/ 35 h 61"/>
                <a:gd name="T32" fmla="*/ 13 w 26"/>
                <a:gd name="T33" fmla="*/ 30 h 61"/>
                <a:gd name="T34" fmla="*/ 13 w 26"/>
                <a:gd name="T35" fmla="*/ 27 h 61"/>
                <a:gd name="T36" fmla="*/ 12 w 26"/>
                <a:gd name="T37" fmla="*/ 27 h 61"/>
                <a:gd name="T38" fmla="*/ 12 w 26"/>
                <a:gd name="T39" fmla="*/ 28 h 61"/>
                <a:gd name="T40" fmla="*/ 10 w 26"/>
                <a:gd name="T41" fmla="*/ 27 h 61"/>
                <a:gd name="T42" fmla="*/ 9 w 26"/>
                <a:gd name="T43" fmla="*/ 26 h 61"/>
                <a:gd name="T44" fmla="*/ 11 w 26"/>
                <a:gd name="T45" fmla="*/ 26 h 61"/>
                <a:gd name="T46" fmla="*/ 11 w 26"/>
                <a:gd name="T47" fmla="*/ 25 h 61"/>
                <a:gd name="T48" fmla="*/ 10 w 26"/>
                <a:gd name="T49" fmla="*/ 23 h 61"/>
                <a:gd name="T50" fmla="*/ 9 w 26"/>
                <a:gd name="T51" fmla="*/ 19 h 61"/>
                <a:gd name="T52" fmla="*/ 7 w 26"/>
                <a:gd name="T53" fmla="*/ 16 h 61"/>
                <a:gd name="T54" fmla="*/ 7 w 26"/>
                <a:gd name="T55" fmla="*/ 12 h 61"/>
                <a:gd name="T56" fmla="*/ 7 w 26"/>
                <a:gd name="T57" fmla="*/ 9 h 61"/>
                <a:gd name="T58" fmla="*/ 10 w 26"/>
                <a:gd name="T59" fmla="*/ 4 h 61"/>
                <a:gd name="T60" fmla="*/ 13 w 26"/>
                <a:gd name="T61" fmla="*/ 1 h 61"/>
                <a:gd name="T62" fmla="*/ 0 w 26"/>
                <a:gd name="T63" fmla="*/ 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61">
                  <a:moveTo>
                    <a:pt x="0" y="5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0"/>
                    <a:pt x="26" y="60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8"/>
                    <a:pt x="25" y="58"/>
                    <a:pt x="25" y="58"/>
                  </a:cubicBezTo>
                  <a:cubicBezTo>
                    <a:pt x="25" y="58"/>
                    <a:pt x="25" y="57"/>
                    <a:pt x="25" y="57"/>
                  </a:cubicBezTo>
                  <a:cubicBezTo>
                    <a:pt x="25" y="57"/>
                    <a:pt x="24" y="57"/>
                    <a:pt x="23" y="57"/>
                  </a:cubicBezTo>
                  <a:cubicBezTo>
                    <a:pt x="23" y="56"/>
                    <a:pt x="23" y="57"/>
                    <a:pt x="22" y="57"/>
                  </a:cubicBezTo>
                  <a:cubicBezTo>
                    <a:pt x="22" y="57"/>
                    <a:pt x="21" y="57"/>
                    <a:pt x="21" y="56"/>
                  </a:cubicBezTo>
                  <a:cubicBezTo>
                    <a:pt x="21" y="56"/>
                    <a:pt x="22" y="55"/>
                    <a:pt x="22" y="55"/>
                  </a:cubicBezTo>
                  <a:cubicBezTo>
                    <a:pt x="23" y="55"/>
                    <a:pt x="23" y="54"/>
                    <a:pt x="23" y="54"/>
                  </a:cubicBezTo>
                  <a:cubicBezTo>
                    <a:pt x="23" y="53"/>
                    <a:pt x="23" y="52"/>
                    <a:pt x="23" y="52"/>
                  </a:cubicBezTo>
                  <a:cubicBezTo>
                    <a:pt x="23" y="52"/>
                    <a:pt x="23" y="51"/>
                    <a:pt x="23" y="51"/>
                  </a:cubicBezTo>
                  <a:cubicBezTo>
                    <a:pt x="23" y="51"/>
                    <a:pt x="24" y="51"/>
                    <a:pt x="24" y="51"/>
                  </a:cubicBezTo>
                  <a:cubicBezTo>
                    <a:pt x="24" y="51"/>
                    <a:pt x="24" y="50"/>
                    <a:pt x="24" y="50"/>
                  </a:cubicBezTo>
                  <a:cubicBezTo>
                    <a:pt x="24" y="49"/>
                    <a:pt x="24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7"/>
                    <a:pt x="23" y="47"/>
                    <a:pt x="22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1" y="47"/>
                    <a:pt x="21" y="47"/>
                    <a:pt x="21" y="46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0" y="45"/>
                    <a:pt x="20" y="45"/>
                    <a:pt x="19" y="44"/>
                  </a:cubicBezTo>
                  <a:cubicBezTo>
                    <a:pt x="19" y="44"/>
                    <a:pt x="19" y="44"/>
                    <a:pt x="18" y="44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1"/>
                    <a:pt x="16" y="41"/>
                    <a:pt x="17" y="40"/>
                  </a:cubicBezTo>
                  <a:cubicBezTo>
                    <a:pt x="17" y="39"/>
                    <a:pt x="17" y="39"/>
                    <a:pt x="16" y="38"/>
                  </a:cubicBezTo>
                  <a:cubicBezTo>
                    <a:pt x="16" y="38"/>
                    <a:pt x="15" y="37"/>
                    <a:pt x="15" y="37"/>
                  </a:cubicBezTo>
                  <a:cubicBezTo>
                    <a:pt x="15" y="37"/>
                    <a:pt x="14" y="36"/>
                    <a:pt x="14" y="36"/>
                  </a:cubicBezTo>
                  <a:cubicBezTo>
                    <a:pt x="14" y="36"/>
                    <a:pt x="14" y="35"/>
                    <a:pt x="14" y="35"/>
                  </a:cubicBezTo>
                  <a:cubicBezTo>
                    <a:pt x="14" y="35"/>
                    <a:pt x="13" y="35"/>
                    <a:pt x="13" y="34"/>
                  </a:cubicBezTo>
                  <a:cubicBezTo>
                    <a:pt x="13" y="33"/>
                    <a:pt x="13" y="31"/>
                    <a:pt x="13" y="30"/>
                  </a:cubicBezTo>
                  <a:cubicBezTo>
                    <a:pt x="13" y="29"/>
                    <a:pt x="13" y="29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6"/>
                    <a:pt x="12" y="26"/>
                    <a:pt x="12" y="27"/>
                  </a:cubicBezTo>
                  <a:cubicBezTo>
                    <a:pt x="12" y="27"/>
                    <a:pt x="13" y="28"/>
                    <a:pt x="13" y="28"/>
                  </a:cubicBezTo>
                  <a:cubicBezTo>
                    <a:pt x="12" y="29"/>
                    <a:pt x="12" y="28"/>
                    <a:pt x="12" y="28"/>
                  </a:cubicBezTo>
                  <a:cubicBezTo>
                    <a:pt x="11" y="28"/>
                    <a:pt x="11" y="28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8" y="26"/>
                    <a:pt x="9" y="26"/>
                  </a:cubicBezTo>
                  <a:cubicBezTo>
                    <a:pt x="9" y="26"/>
                    <a:pt x="10" y="26"/>
                    <a:pt x="10" y="26"/>
                  </a:cubicBezTo>
                  <a:cubicBezTo>
                    <a:pt x="10" y="26"/>
                    <a:pt x="11" y="26"/>
                    <a:pt x="11" y="26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2" y="26"/>
                    <a:pt x="12" y="25"/>
                    <a:pt x="11" y="25"/>
                  </a:cubicBezTo>
                  <a:cubicBezTo>
                    <a:pt x="11" y="25"/>
                    <a:pt x="11" y="24"/>
                    <a:pt x="11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2"/>
                    <a:pt x="10" y="22"/>
                    <a:pt x="9" y="21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8" y="18"/>
                    <a:pt x="7" y="18"/>
                    <a:pt x="7" y="17"/>
                  </a:cubicBezTo>
                  <a:cubicBezTo>
                    <a:pt x="7" y="17"/>
                    <a:pt x="7" y="16"/>
                    <a:pt x="7" y="16"/>
                  </a:cubicBezTo>
                  <a:cubicBezTo>
                    <a:pt x="7" y="15"/>
                    <a:pt x="8" y="14"/>
                    <a:pt x="8" y="13"/>
                  </a:cubicBezTo>
                  <a:cubicBezTo>
                    <a:pt x="8" y="12"/>
                    <a:pt x="7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8" y="8"/>
                    <a:pt x="8" y="7"/>
                    <a:pt x="9" y="7"/>
                  </a:cubicBezTo>
                  <a:cubicBezTo>
                    <a:pt x="9" y="6"/>
                    <a:pt x="9" y="5"/>
                    <a:pt x="10" y="4"/>
                  </a:cubicBezTo>
                  <a:cubicBezTo>
                    <a:pt x="10" y="3"/>
                    <a:pt x="11" y="2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9D0CF75E-E958-4A35-BDA0-FD20D0A9A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2479" y="2622724"/>
              <a:ext cx="261048" cy="193307"/>
            </a:xfrm>
            <a:custGeom>
              <a:avLst/>
              <a:gdLst>
                <a:gd name="T0" fmla="*/ 33 w 66"/>
                <a:gd name="T1" fmla="*/ 0 h 49"/>
                <a:gd name="T2" fmla="*/ 33 w 66"/>
                <a:gd name="T3" fmla="*/ 2 h 49"/>
                <a:gd name="T4" fmla="*/ 31 w 66"/>
                <a:gd name="T5" fmla="*/ 2 h 49"/>
                <a:gd name="T6" fmla="*/ 31 w 66"/>
                <a:gd name="T7" fmla="*/ 0 h 49"/>
                <a:gd name="T8" fmla="*/ 8 w 66"/>
                <a:gd name="T9" fmla="*/ 0 h 49"/>
                <a:gd name="T10" fmla="*/ 7 w 66"/>
                <a:gd name="T11" fmla="*/ 19 h 49"/>
                <a:gd name="T12" fmla="*/ 6 w 66"/>
                <a:gd name="T13" fmla="*/ 34 h 49"/>
                <a:gd name="T14" fmla="*/ 7 w 66"/>
                <a:gd name="T15" fmla="*/ 36 h 49"/>
                <a:gd name="T16" fmla="*/ 8 w 66"/>
                <a:gd name="T17" fmla="*/ 39 h 49"/>
                <a:gd name="T18" fmla="*/ 2 w 66"/>
                <a:gd name="T19" fmla="*/ 42 h 49"/>
                <a:gd name="T20" fmla="*/ 0 w 66"/>
                <a:gd name="T21" fmla="*/ 44 h 49"/>
                <a:gd name="T22" fmla="*/ 0 w 66"/>
                <a:gd name="T23" fmla="*/ 46 h 49"/>
                <a:gd name="T24" fmla="*/ 3 w 66"/>
                <a:gd name="T25" fmla="*/ 49 h 49"/>
                <a:gd name="T26" fmla="*/ 3 w 66"/>
                <a:gd name="T27" fmla="*/ 48 h 49"/>
                <a:gd name="T28" fmla="*/ 5 w 66"/>
                <a:gd name="T29" fmla="*/ 48 h 49"/>
                <a:gd name="T30" fmla="*/ 8 w 66"/>
                <a:gd name="T31" fmla="*/ 47 h 49"/>
                <a:gd name="T32" fmla="*/ 9 w 66"/>
                <a:gd name="T33" fmla="*/ 46 h 49"/>
                <a:gd name="T34" fmla="*/ 10 w 66"/>
                <a:gd name="T35" fmla="*/ 45 h 49"/>
                <a:gd name="T36" fmla="*/ 11 w 66"/>
                <a:gd name="T37" fmla="*/ 44 h 49"/>
                <a:gd name="T38" fmla="*/ 12 w 66"/>
                <a:gd name="T39" fmla="*/ 44 h 49"/>
                <a:gd name="T40" fmla="*/ 14 w 66"/>
                <a:gd name="T41" fmla="*/ 43 h 49"/>
                <a:gd name="T42" fmla="*/ 16 w 66"/>
                <a:gd name="T43" fmla="*/ 42 h 49"/>
                <a:gd name="T44" fmla="*/ 17 w 66"/>
                <a:gd name="T45" fmla="*/ 42 h 49"/>
                <a:gd name="T46" fmla="*/ 19 w 66"/>
                <a:gd name="T47" fmla="*/ 42 h 49"/>
                <a:gd name="T48" fmla="*/ 20 w 66"/>
                <a:gd name="T49" fmla="*/ 41 h 49"/>
                <a:gd name="T50" fmla="*/ 21 w 66"/>
                <a:gd name="T51" fmla="*/ 41 h 49"/>
                <a:gd name="T52" fmla="*/ 22 w 66"/>
                <a:gd name="T53" fmla="*/ 40 h 49"/>
                <a:gd name="T54" fmla="*/ 24 w 66"/>
                <a:gd name="T55" fmla="*/ 39 h 49"/>
                <a:gd name="T56" fmla="*/ 25 w 66"/>
                <a:gd name="T57" fmla="*/ 38 h 49"/>
                <a:gd name="T58" fmla="*/ 26 w 66"/>
                <a:gd name="T59" fmla="*/ 37 h 49"/>
                <a:gd name="T60" fmla="*/ 27 w 66"/>
                <a:gd name="T61" fmla="*/ 37 h 49"/>
                <a:gd name="T62" fmla="*/ 27 w 66"/>
                <a:gd name="T63" fmla="*/ 36 h 49"/>
                <a:gd name="T64" fmla="*/ 28 w 66"/>
                <a:gd name="T65" fmla="*/ 35 h 49"/>
                <a:gd name="T66" fmla="*/ 29 w 66"/>
                <a:gd name="T67" fmla="*/ 36 h 49"/>
                <a:gd name="T68" fmla="*/ 30 w 66"/>
                <a:gd name="T69" fmla="*/ 37 h 49"/>
                <a:gd name="T70" fmla="*/ 30 w 66"/>
                <a:gd name="T71" fmla="*/ 37 h 49"/>
                <a:gd name="T72" fmla="*/ 31 w 66"/>
                <a:gd name="T73" fmla="*/ 37 h 49"/>
                <a:gd name="T74" fmla="*/ 33 w 66"/>
                <a:gd name="T75" fmla="*/ 36 h 49"/>
                <a:gd name="T76" fmla="*/ 37 w 66"/>
                <a:gd name="T77" fmla="*/ 36 h 49"/>
                <a:gd name="T78" fmla="*/ 44 w 66"/>
                <a:gd name="T79" fmla="*/ 36 h 49"/>
                <a:gd name="T80" fmla="*/ 45 w 66"/>
                <a:gd name="T81" fmla="*/ 36 h 49"/>
                <a:gd name="T82" fmla="*/ 46 w 66"/>
                <a:gd name="T83" fmla="*/ 36 h 49"/>
                <a:gd name="T84" fmla="*/ 47 w 66"/>
                <a:gd name="T85" fmla="*/ 35 h 49"/>
                <a:gd name="T86" fmla="*/ 48 w 66"/>
                <a:gd name="T87" fmla="*/ 35 h 49"/>
                <a:gd name="T88" fmla="*/ 49 w 66"/>
                <a:gd name="T89" fmla="*/ 35 h 49"/>
                <a:gd name="T90" fmla="*/ 50 w 66"/>
                <a:gd name="T91" fmla="*/ 35 h 49"/>
                <a:gd name="T92" fmla="*/ 51 w 66"/>
                <a:gd name="T93" fmla="*/ 35 h 49"/>
                <a:gd name="T94" fmla="*/ 53 w 66"/>
                <a:gd name="T95" fmla="*/ 35 h 49"/>
                <a:gd name="T96" fmla="*/ 54 w 66"/>
                <a:gd name="T97" fmla="*/ 35 h 49"/>
                <a:gd name="T98" fmla="*/ 55 w 66"/>
                <a:gd name="T99" fmla="*/ 34 h 49"/>
                <a:gd name="T100" fmla="*/ 57 w 66"/>
                <a:gd name="T101" fmla="*/ 34 h 49"/>
                <a:gd name="T102" fmla="*/ 57 w 66"/>
                <a:gd name="T103" fmla="*/ 33 h 49"/>
                <a:gd name="T104" fmla="*/ 57 w 66"/>
                <a:gd name="T105" fmla="*/ 33 h 49"/>
                <a:gd name="T106" fmla="*/ 58 w 66"/>
                <a:gd name="T107" fmla="*/ 33 h 49"/>
                <a:gd name="T108" fmla="*/ 62 w 66"/>
                <a:gd name="T109" fmla="*/ 33 h 49"/>
                <a:gd name="T110" fmla="*/ 64 w 66"/>
                <a:gd name="T111" fmla="*/ 33 h 49"/>
                <a:gd name="T112" fmla="*/ 65 w 66"/>
                <a:gd name="T113" fmla="*/ 33 h 49"/>
                <a:gd name="T114" fmla="*/ 65 w 66"/>
                <a:gd name="T115" fmla="*/ 33 h 49"/>
                <a:gd name="T116" fmla="*/ 65 w 66"/>
                <a:gd name="T117" fmla="*/ 31 h 49"/>
                <a:gd name="T118" fmla="*/ 66 w 66"/>
                <a:gd name="T119" fmla="*/ 27 h 49"/>
                <a:gd name="T120" fmla="*/ 66 w 66"/>
                <a:gd name="T121" fmla="*/ 1 h 49"/>
                <a:gd name="T122" fmla="*/ 33 w 66"/>
                <a:gd name="T1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" h="49">
                  <a:moveTo>
                    <a:pt x="33" y="0"/>
                  </a:moveTo>
                  <a:cubicBezTo>
                    <a:pt x="33" y="2"/>
                    <a:pt x="33" y="2"/>
                    <a:pt x="33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7" y="36"/>
                    <a:pt x="7" y="36"/>
                  </a:cubicBezTo>
                  <a:cubicBezTo>
                    <a:pt x="7" y="36"/>
                    <a:pt x="8" y="39"/>
                    <a:pt x="8" y="39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0" y="44"/>
                    <a:pt x="0" y="44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8"/>
                    <a:pt x="4" y="48"/>
                    <a:pt x="5" y="48"/>
                  </a:cubicBezTo>
                  <a:cubicBezTo>
                    <a:pt x="6" y="47"/>
                    <a:pt x="7" y="47"/>
                    <a:pt x="8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10" y="45"/>
                    <a:pt x="10" y="45"/>
                  </a:cubicBezTo>
                  <a:cubicBezTo>
                    <a:pt x="11" y="45"/>
                    <a:pt x="11" y="45"/>
                    <a:pt x="11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3" y="43"/>
                    <a:pt x="14" y="44"/>
                    <a:pt x="14" y="43"/>
                  </a:cubicBezTo>
                  <a:cubicBezTo>
                    <a:pt x="15" y="43"/>
                    <a:pt x="16" y="43"/>
                    <a:pt x="16" y="42"/>
                  </a:cubicBezTo>
                  <a:cubicBezTo>
                    <a:pt x="16" y="42"/>
                    <a:pt x="17" y="42"/>
                    <a:pt x="17" y="42"/>
                  </a:cubicBezTo>
                  <a:cubicBezTo>
                    <a:pt x="18" y="41"/>
                    <a:pt x="19" y="42"/>
                    <a:pt x="19" y="42"/>
                  </a:cubicBezTo>
                  <a:cubicBezTo>
                    <a:pt x="20" y="42"/>
                    <a:pt x="20" y="42"/>
                    <a:pt x="20" y="41"/>
                  </a:cubicBezTo>
                  <a:cubicBezTo>
                    <a:pt x="20" y="41"/>
                    <a:pt x="21" y="41"/>
                    <a:pt x="21" y="41"/>
                  </a:cubicBezTo>
                  <a:cubicBezTo>
                    <a:pt x="21" y="41"/>
                    <a:pt x="22" y="41"/>
                    <a:pt x="22" y="40"/>
                  </a:cubicBezTo>
                  <a:cubicBezTo>
                    <a:pt x="23" y="40"/>
                    <a:pt x="23" y="40"/>
                    <a:pt x="24" y="39"/>
                  </a:cubicBezTo>
                  <a:cubicBezTo>
                    <a:pt x="24" y="39"/>
                    <a:pt x="24" y="39"/>
                    <a:pt x="25" y="38"/>
                  </a:cubicBezTo>
                  <a:cubicBezTo>
                    <a:pt x="25" y="38"/>
                    <a:pt x="25" y="38"/>
                    <a:pt x="26" y="37"/>
                  </a:cubicBezTo>
                  <a:cubicBezTo>
                    <a:pt x="26" y="37"/>
                    <a:pt x="27" y="37"/>
                    <a:pt x="27" y="37"/>
                  </a:cubicBezTo>
                  <a:cubicBezTo>
                    <a:pt x="27" y="37"/>
                    <a:pt x="27" y="36"/>
                    <a:pt x="27" y="36"/>
                  </a:cubicBezTo>
                  <a:cubicBezTo>
                    <a:pt x="28" y="36"/>
                    <a:pt x="28" y="35"/>
                    <a:pt x="28" y="35"/>
                  </a:cubicBezTo>
                  <a:cubicBezTo>
                    <a:pt x="29" y="35"/>
                    <a:pt x="29" y="36"/>
                    <a:pt x="29" y="36"/>
                  </a:cubicBezTo>
                  <a:cubicBezTo>
                    <a:pt x="29" y="36"/>
                    <a:pt x="30" y="36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1" y="37"/>
                  </a:cubicBezTo>
                  <a:cubicBezTo>
                    <a:pt x="31" y="36"/>
                    <a:pt x="32" y="36"/>
                    <a:pt x="33" y="36"/>
                  </a:cubicBezTo>
                  <a:cubicBezTo>
                    <a:pt x="34" y="36"/>
                    <a:pt x="35" y="36"/>
                    <a:pt x="37" y="36"/>
                  </a:cubicBezTo>
                  <a:cubicBezTo>
                    <a:pt x="39" y="36"/>
                    <a:pt x="41" y="36"/>
                    <a:pt x="44" y="36"/>
                  </a:cubicBezTo>
                  <a:cubicBezTo>
                    <a:pt x="44" y="36"/>
                    <a:pt x="45" y="36"/>
                    <a:pt x="45" y="36"/>
                  </a:cubicBezTo>
                  <a:cubicBezTo>
                    <a:pt x="45" y="36"/>
                    <a:pt x="45" y="36"/>
                    <a:pt x="46" y="36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1" y="35"/>
                    <a:pt x="51" y="35"/>
                  </a:cubicBezTo>
                  <a:cubicBezTo>
                    <a:pt x="52" y="35"/>
                    <a:pt x="52" y="35"/>
                    <a:pt x="53" y="35"/>
                  </a:cubicBezTo>
                  <a:cubicBezTo>
                    <a:pt x="53" y="35"/>
                    <a:pt x="54" y="35"/>
                    <a:pt x="54" y="35"/>
                  </a:cubicBezTo>
                  <a:cubicBezTo>
                    <a:pt x="55" y="35"/>
                    <a:pt x="55" y="35"/>
                    <a:pt x="55" y="34"/>
                  </a:cubicBezTo>
                  <a:cubicBezTo>
                    <a:pt x="56" y="34"/>
                    <a:pt x="56" y="34"/>
                    <a:pt x="57" y="34"/>
                  </a:cubicBezTo>
                  <a:cubicBezTo>
                    <a:pt x="57" y="34"/>
                    <a:pt x="57" y="34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9" y="33"/>
                    <a:pt x="61" y="33"/>
                    <a:pt x="62" y="33"/>
                  </a:cubicBezTo>
                  <a:cubicBezTo>
                    <a:pt x="62" y="33"/>
                    <a:pt x="63" y="33"/>
                    <a:pt x="64" y="33"/>
                  </a:cubicBezTo>
                  <a:cubicBezTo>
                    <a:pt x="64" y="33"/>
                    <a:pt x="64" y="33"/>
                    <a:pt x="65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1"/>
                    <a:pt x="66" y="1"/>
                    <a:pt x="66" y="1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BE616193-01C7-4996-A7B2-34B7BC171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784" y="2812727"/>
              <a:ext cx="958278" cy="705491"/>
            </a:xfrm>
            <a:custGeom>
              <a:avLst/>
              <a:gdLst>
                <a:gd name="T0" fmla="*/ 580 w 580"/>
                <a:gd name="T1" fmla="*/ 0 h 427"/>
                <a:gd name="T2" fmla="*/ 0 w 580"/>
                <a:gd name="T3" fmla="*/ 0 h 427"/>
                <a:gd name="T4" fmla="*/ 2 w 580"/>
                <a:gd name="T5" fmla="*/ 427 h 427"/>
                <a:gd name="T6" fmla="*/ 580 w 580"/>
                <a:gd name="T7" fmla="*/ 427 h 427"/>
                <a:gd name="T8" fmla="*/ 580 w 580"/>
                <a:gd name="T9" fmla="*/ 108 h 427"/>
                <a:gd name="T10" fmla="*/ 580 w 580"/>
                <a:gd name="T11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0" h="427">
                  <a:moveTo>
                    <a:pt x="580" y="0"/>
                  </a:moveTo>
                  <a:lnTo>
                    <a:pt x="0" y="0"/>
                  </a:lnTo>
                  <a:lnTo>
                    <a:pt x="2" y="427"/>
                  </a:lnTo>
                  <a:lnTo>
                    <a:pt x="580" y="427"/>
                  </a:lnTo>
                  <a:lnTo>
                    <a:pt x="580" y="108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75273034-D5F2-4400-BE5A-6665C3FE6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4789" y="2630985"/>
              <a:ext cx="1397764" cy="1632379"/>
            </a:xfrm>
            <a:custGeom>
              <a:avLst/>
              <a:gdLst>
                <a:gd name="T0" fmla="*/ 207 w 353"/>
                <a:gd name="T1" fmla="*/ 380 h 412"/>
                <a:gd name="T2" fmla="*/ 204 w 353"/>
                <a:gd name="T3" fmla="*/ 377 h 412"/>
                <a:gd name="T4" fmla="*/ 168 w 353"/>
                <a:gd name="T5" fmla="*/ 383 h 412"/>
                <a:gd name="T6" fmla="*/ 145 w 353"/>
                <a:gd name="T7" fmla="*/ 353 h 412"/>
                <a:gd name="T8" fmla="*/ 161 w 353"/>
                <a:gd name="T9" fmla="*/ 353 h 412"/>
                <a:gd name="T10" fmla="*/ 159 w 353"/>
                <a:gd name="T11" fmla="*/ 349 h 412"/>
                <a:gd name="T12" fmla="*/ 161 w 353"/>
                <a:gd name="T13" fmla="*/ 353 h 412"/>
                <a:gd name="T14" fmla="*/ 336 w 353"/>
                <a:gd name="T15" fmla="*/ 383 h 412"/>
                <a:gd name="T16" fmla="*/ 344 w 353"/>
                <a:gd name="T17" fmla="*/ 350 h 412"/>
                <a:gd name="T18" fmla="*/ 337 w 353"/>
                <a:gd name="T19" fmla="*/ 314 h 412"/>
                <a:gd name="T20" fmla="*/ 6 w 353"/>
                <a:gd name="T21" fmla="*/ 5 h 412"/>
                <a:gd name="T22" fmla="*/ 9 w 353"/>
                <a:gd name="T23" fmla="*/ 15 h 412"/>
                <a:gd name="T24" fmla="*/ 11 w 353"/>
                <a:gd name="T25" fmla="*/ 26 h 412"/>
                <a:gd name="T26" fmla="*/ 8 w 353"/>
                <a:gd name="T27" fmla="*/ 39 h 412"/>
                <a:gd name="T28" fmla="*/ 8 w 353"/>
                <a:gd name="T29" fmla="*/ 53 h 412"/>
                <a:gd name="T30" fmla="*/ 7 w 353"/>
                <a:gd name="T31" fmla="*/ 64 h 412"/>
                <a:gd name="T32" fmla="*/ 0 w 353"/>
                <a:gd name="T33" fmla="*/ 73 h 412"/>
                <a:gd name="T34" fmla="*/ 6 w 353"/>
                <a:gd name="T35" fmla="*/ 85 h 412"/>
                <a:gd name="T36" fmla="*/ 19 w 353"/>
                <a:gd name="T37" fmla="*/ 100 h 412"/>
                <a:gd name="T38" fmla="*/ 20 w 353"/>
                <a:gd name="T39" fmla="*/ 120 h 412"/>
                <a:gd name="T40" fmla="*/ 23 w 353"/>
                <a:gd name="T41" fmla="*/ 132 h 412"/>
                <a:gd name="T42" fmla="*/ 34 w 353"/>
                <a:gd name="T43" fmla="*/ 152 h 412"/>
                <a:gd name="T44" fmla="*/ 49 w 353"/>
                <a:gd name="T45" fmla="*/ 169 h 412"/>
                <a:gd name="T46" fmla="*/ 49 w 353"/>
                <a:gd name="T47" fmla="*/ 172 h 412"/>
                <a:gd name="T48" fmla="*/ 53 w 353"/>
                <a:gd name="T49" fmla="*/ 181 h 412"/>
                <a:gd name="T50" fmla="*/ 65 w 353"/>
                <a:gd name="T51" fmla="*/ 188 h 412"/>
                <a:gd name="T52" fmla="*/ 69 w 353"/>
                <a:gd name="T53" fmla="*/ 175 h 412"/>
                <a:gd name="T54" fmla="*/ 83 w 353"/>
                <a:gd name="T55" fmla="*/ 177 h 412"/>
                <a:gd name="T56" fmla="*/ 92 w 353"/>
                <a:gd name="T57" fmla="*/ 178 h 412"/>
                <a:gd name="T58" fmla="*/ 99 w 353"/>
                <a:gd name="T59" fmla="*/ 179 h 412"/>
                <a:gd name="T60" fmla="*/ 87 w 353"/>
                <a:gd name="T61" fmla="*/ 179 h 412"/>
                <a:gd name="T62" fmla="*/ 72 w 353"/>
                <a:gd name="T63" fmla="*/ 180 h 412"/>
                <a:gd name="T64" fmla="*/ 77 w 353"/>
                <a:gd name="T65" fmla="*/ 197 h 412"/>
                <a:gd name="T66" fmla="*/ 70 w 353"/>
                <a:gd name="T67" fmla="*/ 195 h 412"/>
                <a:gd name="T68" fmla="*/ 65 w 353"/>
                <a:gd name="T69" fmla="*/ 200 h 412"/>
                <a:gd name="T70" fmla="*/ 68 w 353"/>
                <a:gd name="T71" fmla="*/ 212 h 412"/>
                <a:gd name="T72" fmla="*/ 72 w 353"/>
                <a:gd name="T73" fmla="*/ 221 h 412"/>
                <a:gd name="T74" fmla="*/ 83 w 353"/>
                <a:gd name="T75" fmla="*/ 226 h 412"/>
                <a:gd name="T76" fmla="*/ 89 w 353"/>
                <a:gd name="T77" fmla="*/ 231 h 412"/>
                <a:gd name="T78" fmla="*/ 84 w 353"/>
                <a:gd name="T79" fmla="*/ 241 h 412"/>
                <a:gd name="T80" fmla="*/ 86 w 353"/>
                <a:gd name="T81" fmla="*/ 253 h 412"/>
                <a:gd name="T82" fmla="*/ 94 w 353"/>
                <a:gd name="T83" fmla="*/ 260 h 412"/>
                <a:gd name="T84" fmla="*/ 99 w 353"/>
                <a:gd name="T85" fmla="*/ 267 h 412"/>
                <a:gd name="T86" fmla="*/ 106 w 353"/>
                <a:gd name="T87" fmla="*/ 278 h 412"/>
                <a:gd name="T88" fmla="*/ 113 w 353"/>
                <a:gd name="T89" fmla="*/ 285 h 412"/>
                <a:gd name="T90" fmla="*/ 121 w 353"/>
                <a:gd name="T91" fmla="*/ 292 h 412"/>
                <a:gd name="T92" fmla="*/ 122 w 353"/>
                <a:gd name="T93" fmla="*/ 300 h 412"/>
                <a:gd name="T94" fmla="*/ 130 w 353"/>
                <a:gd name="T95" fmla="*/ 309 h 412"/>
                <a:gd name="T96" fmla="*/ 130 w 353"/>
                <a:gd name="T97" fmla="*/ 320 h 412"/>
                <a:gd name="T98" fmla="*/ 130 w 353"/>
                <a:gd name="T99" fmla="*/ 326 h 412"/>
                <a:gd name="T100" fmla="*/ 135 w 353"/>
                <a:gd name="T101" fmla="*/ 332 h 412"/>
                <a:gd name="T102" fmla="*/ 142 w 353"/>
                <a:gd name="T103" fmla="*/ 332 h 412"/>
                <a:gd name="T104" fmla="*/ 176 w 353"/>
                <a:gd name="T105" fmla="*/ 341 h 412"/>
                <a:gd name="T106" fmla="*/ 193 w 353"/>
                <a:gd name="T107" fmla="*/ 351 h 412"/>
                <a:gd name="T108" fmla="*/ 204 w 353"/>
                <a:gd name="T109" fmla="*/ 351 h 412"/>
                <a:gd name="T110" fmla="*/ 211 w 353"/>
                <a:gd name="T111" fmla="*/ 363 h 412"/>
                <a:gd name="T112" fmla="*/ 246 w 353"/>
                <a:gd name="T113" fmla="*/ 397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" h="412">
                  <a:moveTo>
                    <a:pt x="205" y="400"/>
                  </a:moveTo>
                  <a:cubicBezTo>
                    <a:pt x="204" y="399"/>
                    <a:pt x="203" y="398"/>
                    <a:pt x="202" y="397"/>
                  </a:cubicBezTo>
                  <a:cubicBezTo>
                    <a:pt x="202" y="396"/>
                    <a:pt x="201" y="395"/>
                    <a:pt x="201" y="394"/>
                  </a:cubicBezTo>
                  <a:cubicBezTo>
                    <a:pt x="201" y="393"/>
                    <a:pt x="201" y="393"/>
                    <a:pt x="202" y="393"/>
                  </a:cubicBezTo>
                  <a:cubicBezTo>
                    <a:pt x="202" y="394"/>
                    <a:pt x="202" y="394"/>
                    <a:pt x="203" y="394"/>
                  </a:cubicBezTo>
                  <a:cubicBezTo>
                    <a:pt x="203" y="395"/>
                    <a:pt x="203" y="395"/>
                    <a:pt x="204" y="395"/>
                  </a:cubicBezTo>
                  <a:cubicBezTo>
                    <a:pt x="205" y="396"/>
                    <a:pt x="206" y="397"/>
                    <a:pt x="207" y="399"/>
                  </a:cubicBezTo>
                  <a:cubicBezTo>
                    <a:pt x="207" y="399"/>
                    <a:pt x="208" y="400"/>
                    <a:pt x="208" y="400"/>
                  </a:cubicBezTo>
                  <a:cubicBezTo>
                    <a:pt x="208" y="401"/>
                    <a:pt x="206" y="400"/>
                    <a:pt x="205" y="400"/>
                  </a:cubicBezTo>
                  <a:close/>
                  <a:moveTo>
                    <a:pt x="207" y="380"/>
                  </a:moveTo>
                  <a:cubicBezTo>
                    <a:pt x="207" y="380"/>
                    <a:pt x="208" y="380"/>
                    <a:pt x="209" y="380"/>
                  </a:cubicBezTo>
                  <a:cubicBezTo>
                    <a:pt x="211" y="380"/>
                    <a:pt x="209" y="378"/>
                    <a:pt x="209" y="378"/>
                  </a:cubicBezTo>
                  <a:cubicBezTo>
                    <a:pt x="208" y="377"/>
                    <a:pt x="208" y="376"/>
                    <a:pt x="208" y="376"/>
                  </a:cubicBezTo>
                  <a:cubicBezTo>
                    <a:pt x="207" y="376"/>
                    <a:pt x="207" y="375"/>
                    <a:pt x="207" y="375"/>
                  </a:cubicBezTo>
                  <a:cubicBezTo>
                    <a:pt x="206" y="375"/>
                    <a:pt x="206" y="375"/>
                    <a:pt x="205" y="375"/>
                  </a:cubicBezTo>
                  <a:cubicBezTo>
                    <a:pt x="205" y="375"/>
                    <a:pt x="204" y="374"/>
                    <a:pt x="204" y="374"/>
                  </a:cubicBezTo>
                  <a:cubicBezTo>
                    <a:pt x="203" y="373"/>
                    <a:pt x="202" y="373"/>
                    <a:pt x="202" y="374"/>
                  </a:cubicBezTo>
                  <a:cubicBezTo>
                    <a:pt x="202" y="374"/>
                    <a:pt x="202" y="375"/>
                    <a:pt x="202" y="375"/>
                  </a:cubicBezTo>
                  <a:cubicBezTo>
                    <a:pt x="202" y="375"/>
                    <a:pt x="202" y="376"/>
                    <a:pt x="202" y="376"/>
                  </a:cubicBezTo>
                  <a:cubicBezTo>
                    <a:pt x="203" y="376"/>
                    <a:pt x="204" y="376"/>
                    <a:pt x="204" y="377"/>
                  </a:cubicBezTo>
                  <a:cubicBezTo>
                    <a:pt x="204" y="377"/>
                    <a:pt x="204" y="377"/>
                    <a:pt x="204" y="377"/>
                  </a:cubicBezTo>
                  <a:cubicBezTo>
                    <a:pt x="204" y="378"/>
                    <a:pt x="204" y="378"/>
                    <a:pt x="204" y="378"/>
                  </a:cubicBezTo>
                  <a:cubicBezTo>
                    <a:pt x="205" y="378"/>
                    <a:pt x="205" y="379"/>
                    <a:pt x="205" y="380"/>
                  </a:cubicBezTo>
                  <a:cubicBezTo>
                    <a:pt x="205" y="380"/>
                    <a:pt x="206" y="380"/>
                    <a:pt x="207" y="380"/>
                  </a:cubicBezTo>
                  <a:close/>
                  <a:moveTo>
                    <a:pt x="170" y="383"/>
                  </a:moveTo>
                  <a:cubicBezTo>
                    <a:pt x="170" y="382"/>
                    <a:pt x="170" y="382"/>
                    <a:pt x="170" y="382"/>
                  </a:cubicBezTo>
                  <a:cubicBezTo>
                    <a:pt x="170" y="382"/>
                    <a:pt x="169" y="382"/>
                    <a:pt x="169" y="382"/>
                  </a:cubicBezTo>
                  <a:cubicBezTo>
                    <a:pt x="169" y="382"/>
                    <a:pt x="169" y="381"/>
                    <a:pt x="168" y="381"/>
                  </a:cubicBezTo>
                  <a:cubicBezTo>
                    <a:pt x="168" y="381"/>
                    <a:pt x="167" y="382"/>
                    <a:pt x="167" y="382"/>
                  </a:cubicBezTo>
                  <a:cubicBezTo>
                    <a:pt x="167" y="383"/>
                    <a:pt x="168" y="383"/>
                    <a:pt x="168" y="383"/>
                  </a:cubicBezTo>
                  <a:cubicBezTo>
                    <a:pt x="169" y="383"/>
                    <a:pt x="171" y="384"/>
                    <a:pt x="170" y="383"/>
                  </a:cubicBezTo>
                  <a:close/>
                  <a:moveTo>
                    <a:pt x="152" y="353"/>
                  </a:moveTo>
                  <a:cubicBezTo>
                    <a:pt x="152" y="352"/>
                    <a:pt x="151" y="352"/>
                    <a:pt x="150" y="352"/>
                  </a:cubicBezTo>
                  <a:cubicBezTo>
                    <a:pt x="150" y="351"/>
                    <a:pt x="149" y="351"/>
                    <a:pt x="149" y="351"/>
                  </a:cubicBezTo>
                  <a:cubicBezTo>
                    <a:pt x="149" y="350"/>
                    <a:pt x="148" y="350"/>
                    <a:pt x="148" y="350"/>
                  </a:cubicBezTo>
                  <a:cubicBezTo>
                    <a:pt x="147" y="350"/>
                    <a:pt x="147" y="350"/>
                    <a:pt x="146" y="351"/>
                  </a:cubicBezTo>
                  <a:cubicBezTo>
                    <a:pt x="146" y="351"/>
                    <a:pt x="146" y="351"/>
                    <a:pt x="146" y="351"/>
                  </a:cubicBezTo>
                  <a:cubicBezTo>
                    <a:pt x="145" y="351"/>
                    <a:pt x="144" y="351"/>
                    <a:pt x="144" y="352"/>
                  </a:cubicBezTo>
                  <a:cubicBezTo>
                    <a:pt x="144" y="352"/>
                    <a:pt x="145" y="353"/>
                    <a:pt x="145" y="353"/>
                  </a:cubicBezTo>
                  <a:cubicBezTo>
                    <a:pt x="145" y="353"/>
                    <a:pt x="145" y="353"/>
                    <a:pt x="145" y="353"/>
                  </a:cubicBezTo>
                  <a:cubicBezTo>
                    <a:pt x="145" y="354"/>
                    <a:pt x="145" y="354"/>
                    <a:pt x="146" y="354"/>
                  </a:cubicBezTo>
                  <a:cubicBezTo>
                    <a:pt x="146" y="354"/>
                    <a:pt x="146" y="355"/>
                    <a:pt x="146" y="355"/>
                  </a:cubicBezTo>
                  <a:cubicBezTo>
                    <a:pt x="146" y="355"/>
                    <a:pt x="147" y="355"/>
                    <a:pt x="147" y="355"/>
                  </a:cubicBezTo>
                  <a:cubicBezTo>
                    <a:pt x="147" y="355"/>
                    <a:pt x="147" y="356"/>
                    <a:pt x="147" y="356"/>
                  </a:cubicBezTo>
                  <a:cubicBezTo>
                    <a:pt x="148" y="356"/>
                    <a:pt x="148" y="356"/>
                    <a:pt x="148" y="356"/>
                  </a:cubicBezTo>
                  <a:cubicBezTo>
                    <a:pt x="149" y="355"/>
                    <a:pt x="149" y="355"/>
                    <a:pt x="149" y="355"/>
                  </a:cubicBezTo>
                  <a:cubicBezTo>
                    <a:pt x="150" y="355"/>
                    <a:pt x="150" y="354"/>
                    <a:pt x="150" y="354"/>
                  </a:cubicBezTo>
                  <a:cubicBezTo>
                    <a:pt x="151" y="354"/>
                    <a:pt x="151" y="354"/>
                    <a:pt x="152" y="354"/>
                  </a:cubicBezTo>
                  <a:cubicBezTo>
                    <a:pt x="152" y="353"/>
                    <a:pt x="152" y="353"/>
                    <a:pt x="152" y="353"/>
                  </a:cubicBezTo>
                  <a:close/>
                  <a:moveTo>
                    <a:pt x="161" y="353"/>
                  </a:moveTo>
                  <a:cubicBezTo>
                    <a:pt x="162" y="353"/>
                    <a:pt x="162" y="353"/>
                    <a:pt x="163" y="353"/>
                  </a:cubicBezTo>
                  <a:cubicBezTo>
                    <a:pt x="164" y="353"/>
                    <a:pt x="165" y="352"/>
                    <a:pt x="166" y="352"/>
                  </a:cubicBezTo>
                  <a:cubicBezTo>
                    <a:pt x="166" y="352"/>
                    <a:pt x="166" y="352"/>
                    <a:pt x="167" y="352"/>
                  </a:cubicBezTo>
                  <a:cubicBezTo>
                    <a:pt x="167" y="352"/>
                    <a:pt x="167" y="351"/>
                    <a:pt x="167" y="351"/>
                  </a:cubicBezTo>
                  <a:cubicBezTo>
                    <a:pt x="167" y="351"/>
                    <a:pt x="168" y="350"/>
                    <a:pt x="167" y="350"/>
                  </a:cubicBezTo>
                  <a:cubicBezTo>
                    <a:pt x="167" y="349"/>
                    <a:pt x="166" y="350"/>
                    <a:pt x="166" y="350"/>
                  </a:cubicBezTo>
                  <a:cubicBezTo>
                    <a:pt x="165" y="350"/>
                    <a:pt x="165" y="350"/>
                    <a:pt x="164" y="350"/>
                  </a:cubicBezTo>
                  <a:cubicBezTo>
                    <a:pt x="163" y="350"/>
                    <a:pt x="162" y="350"/>
                    <a:pt x="162" y="350"/>
                  </a:cubicBezTo>
                  <a:cubicBezTo>
                    <a:pt x="161" y="350"/>
                    <a:pt x="161" y="350"/>
                    <a:pt x="161" y="350"/>
                  </a:cubicBezTo>
                  <a:cubicBezTo>
                    <a:pt x="160" y="349"/>
                    <a:pt x="160" y="349"/>
                    <a:pt x="159" y="349"/>
                  </a:cubicBezTo>
                  <a:cubicBezTo>
                    <a:pt x="159" y="349"/>
                    <a:pt x="158" y="349"/>
                    <a:pt x="158" y="349"/>
                  </a:cubicBezTo>
                  <a:cubicBezTo>
                    <a:pt x="157" y="349"/>
                    <a:pt x="157" y="349"/>
                    <a:pt x="156" y="349"/>
                  </a:cubicBezTo>
                  <a:cubicBezTo>
                    <a:pt x="156" y="349"/>
                    <a:pt x="156" y="348"/>
                    <a:pt x="156" y="348"/>
                  </a:cubicBezTo>
                  <a:cubicBezTo>
                    <a:pt x="155" y="348"/>
                    <a:pt x="155" y="348"/>
                    <a:pt x="154" y="349"/>
                  </a:cubicBezTo>
                  <a:cubicBezTo>
                    <a:pt x="154" y="349"/>
                    <a:pt x="155" y="349"/>
                    <a:pt x="155" y="350"/>
                  </a:cubicBezTo>
                  <a:cubicBezTo>
                    <a:pt x="155" y="350"/>
                    <a:pt x="155" y="350"/>
                    <a:pt x="155" y="351"/>
                  </a:cubicBezTo>
                  <a:cubicBezTo>
                    <a:pt x="156" y="351"/>
                    <a:pt x="155" y="351"/>
                    <a:pt x="156" y="352"/>
                  </a:cubicBezTo>
                  <a:cubicBezTo>
                    <a:pt x="156" y="352"/>
                    <a:pt x="156" y="353"/>
                    <a:pt x="157" y="353"/>
                  </a:cubicBezTo>
                  <a:cubicBezTo>
                    <a:pt x="158" y="353"/>
                    <a:pt x="158" y="353"/>
                    <a:pt x="158" y="353"/>
                  </a:cubicBezTo>
                  <a:cubicBezTo>
                    <a:pt x="159" y="353"/>
                    <a:pt x="160" y="353"/>
                    <a:pt x="161" y="353"/>
                  </a:cubicBezTo>
                  <a:close/>
                  <a:moveTo>
                    <a:pt x="340" y="403"/>
                  </a:moveTo>
                  <a:cubicBezTo>
                    <a:pt x="340" y="400"/>
                    <a:pt x="340" y="400"/>
                    <a:pt x="340" y="400"/>
                  </a:cubicBezTo>
                  <a:cubicBezTo>
                    <a:pt x="340" y="400"/>
                    <a:pt x="342" y="399"/>
                    <a:pt x="342" y="399"/>
                  </a:cubicBezTo>
                  <a:cubicBezTo>
                    <a:pt x="342" y="399"/>
                    <a:pt x="343" y="394"/>
                    <a:pt x="343" y="394"/>
                  </a:cubicBezTo>
                  <a:cubicBezTo>
                    <a:pt x="341" y="393"/>
                    <a:pt x="341" y="393"/>
                    <a:pt x="341" y="393"/>
                  </a:cubicBezTo>
                  <a:cubicBezTo>
                    <a:pt x="341" y="393"/>
                    <a:pt x="341" y="392"/>
                    <a:pt x="341" y="392"/>
                  </a:cubicBezTo>
                  <a:cubicBezTo>
                    <a:pt x="341" y="391"/>
                    <a:pt x="335" y="392"/>
                    <a:pt x="335" y="392"/>
                  </a:cubicBezTo>
                  <a:cubicBezTo>
                    <a:pt x="335" y="392"/>
                    <a:pt x="335" y="390"/>
                    <a:pt x="335" y="390"/>
                  </a:cubicBezTo>
                  <a:cubicBezTo>
                    <a:pt x="334" y="390"/>
                    <a:pt x="334" y="388"/>
                    <a:pt x="334" y="388"/>
                  </a:cubicBezTo>
                  <a:cubicBezTo>
                    <a:pt x="334" y="387"/>
                    <a:pt x="336" y="383"/>
                    <a:pt x="336" y="383"/>
                  </a:cubicBezTo>
                  <a:cubicBezTo>
                    <a:pt x="336" y="383"/>
                    <a:pt x="336" y="382"/>
                    <a:pt x="335" y="382"/>
                  </a:cubicBezTo>
                  <a:cubicBezTo>
                    <a:pt x="335" y="381"/>
                    <a:pt x="333" y="381"/>
                    <a:pt x="333" y="380"/>
                  </a:cubicBezTo>
                  <a:cubicBezTo>
                    <a:pt x="333" y="380"/>
                    <a:pt x="334" y="379"/>
                    <a:pt x="334" y="379"/>
                  </a:cubicBezTo>
                  <a:cubicBezTo>
                    <a:pt x="334" y="376"/>
                    <a:pt x="334" y="376"/>
                    <a:pt x="334" y="376"/>
                  </a:cubicBezTo>
                  <a:cubicBezTo>
                    <a:pt x="337" y="375"/>
                    <a:pt x="337" y="375"/>
                    <a:pt x="337" y="375"/>
                  </a:cubicBezTo>
                  <a:cubicBezTo>
                    <a:pt x="341" y="370"/>
                    <a:pt x="341" y="370"/>
                    <a:pt x="341" y="370"/>
                  </a:cubicBezTo>
                  <a:cubicBezTo>
                    <a:pt x="340" y="366"/>
                    <a:pt x="340" y="366"/>
                    <a:pt x="340" y="366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4" y="350"/>
                    <a:pt x="344" y="350"/>
                    <a:pt x="344" y="350"/>
                  </a:cubicBezTo>
                  <a:cubicBezTo>
                    <a:pt x="344" y="347"/>
                    <a:pt x="344" y="347"/>
                    <a:pt x="344" y="347"/>
                  </a:cubicBezTo>
                  <a:cubicBezTo>
                    <a:pt x="348" y="345"/>
                    <a:pt x="348" y="345"/>
                    <a:pt x="348" y="345"/>
                  </a:cubicBezTo>
                  <a:cubicBezTo>
                    <a:pt x="353" y="341"/>
                    <a:pt x="353" y="341"/>
                    <a:pt x="353" y="341"/>
                  </a:cubicBezTo>
                  <a:cubicBezTo>
                    <a:pt x="353" y="341"/>
                    <a:pt x="353" y="339"/>
                    <a:pt x="353" y="339"/>
                  </a:cubicBezTo>
                  <a:cubicBezTo>
                    <a:pt x="353" y="339"/>
                    <a:pt x="353" y="337"/>
                    <a:pt x="353" y="337"/>
                  </a:cubicBezTo>
                  <a:cubicBezTo>
                    <a:pt x="353" y="336"/>
                    <a:pt x="348" y="332"/>
                    <a:pt x="348" y="332"/>
                  </a:cubicBezTo>
                  <a:cubicBezTo>
                    <a:pt x="347" y="332"/>
                    <a:pt x="346" y="333"/>
                    <a:pt x="345" y="332"/>
                  </a:cubicBezTo>
                  <a:cubicBezTo>
                    <a:pt x="345" y="332"/>
                    <a:pt x="345" y="328"/>
                    <a:pt x="345" y="328"/>
                  </a:cubicBezTo>
                  <a:cubicBezTo>
                    <a:pt x="341" y="320"/>
                    <a:pt x="341" y="320"/>
                    <a:pt x="341" y="320"/>
                  </a:cubicBezTo>
                  <a:cubicBezTo>
                    <a:pt x="341" y="320"/>
                    <a:pt x="337" y="315"/>
                    <a:pt x="337" y="314"/>
                  </a:cubicBezTo>
                  <a:cubicBezTo>
                    <a:pt x="336" y="314"/>
                    <a:pt x="337" y="309"/>
                    <a:pt x="337" y="309"/>
                  </a:cubicBezTo>
                  <a:cubicBezTo>
                    <a:pt x="191" y="171"/>
                    <a:pt x="191" y="171"/>
                    <a:pt x="191" y="171"/>
                  </a:cubicBezTo>
                  <a:cubicBezTo>
                    <a:pt x="151" y="137"/>
                    <a:pt x="151" y="137"/>
                    <a:pt x="151" y="137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6" y="8"/>
                    <a:pt x="6" y="8"/>
                  </a:cubicBezTo>
                  <a:cubicBezTo>
                    <a:pt x="6" y="8"/>
                    <a:pt x="6" y="9"/>
                    <a:pt x="6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5" y="11"/>
                    <a:pt x="6" y="11"/>
                    <a:pt x="7" y="11"/>
                  </a:cubicBezTo>
                  <a:cubicBezTo>
                    <a:pt x="7" y="12"/>
                    <a:pt x="7" y="12"/>
                    <a:pt x="8" y="13"/>
                  </a:cubicBezTo>
                  <a:cubicBezTo>
                    <a:pt x="8" y="13"/>
                    <a:pt x="8" y="13"/>
                    <a:pt x="8" y="14"/>
                  </a:cubicBezTo>
                  <a:cubicBezTo>
                    <a:pt x="8" y="14"/>
                    <a:pt x="9" y="14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9" y="16"/>
                    <a:pt x="9" y="17"/>
                    <a:pt x="9" y="17"/>
                  </a:cubicBezTo>
                  <a:cubicBezTo>
                    <a:pt x="9" y="18"/>
                    <a:pt x="9" y="18"/>
                    <a:pt x="9" y="19"/>
                  </a:cubicBezTo>
                  <a:cubicBezTo>
                    <a:pt x="9" y="19"/>
                    <a:pt x="9" y="20"/>
                    <a:pt x="10" y="20"/>
                  </a:cubicBezTo>
                  <a:cubicBezTo>
                    <a:pt x="10" y="20"/>
                    <a:pt x="10" y="20"/>
                    <a:pt x="10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2"/>
                    <a:pt x="12" y="22"/>
                    <a:pt x="12" y="22"/>
                  </a:cubicBezTo>
                  <a:cubicBezTo>
                    <a:pt x="12" y="23"/>
                    <a:pt x="12" y="24"/>
                    <a:pt x="12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6"/>
                    <a:pt x="11" y="27"/>
                    <a:pt x="11" y="27"/>
                  </a:cubicBezTo>
                  <a:cubicBezTo>
                    <a:pt x="11" y="28"/>
                    <a:pt x="11" y="28"/>
                    <a:pt x="11" y="29"/>
                  </a:cubicBezTo>
                  <a:cubicBezTo>
                    <a:pt x="11" y="29"/>
                    <a:pt x="11" y="29"/>
                    <a:pt x="11" y="30"/>
                  </a:cubicBezTo>
                  <a:cubicBezTo>
                    <a:pt x="10" y="31"/>
                    <a:pt x="11" y="32"/>
                    <a:pt x="11" y="32"/>
                  </a:cubicBezTo>
                  <a:cubicBezTo>
                    <a:pt x="11" y="33"/>
                    <a:pt x="11" y="33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5"/>
                    <a:pt x="10" y="36"/>
                    <a:pt x="10" y="36"/>
                  </a:cubicBezTo>
                  <a:cubicBezTo>
                    <a:pt x="10" y="37"/>
                    <a:pt x="10" y="37"/>
                    <a:pt x="9" y="38"/>
                  </a:cubicBezTo>
                  <a:cubicBezTo>
                    <a:pt x="9" y="39"/>
                    <a:pt x="8" y="39"/>
                    <a:pt x="8" y="39"/>
                  </a:cubicBezTo>
                  <a:cubicBezTo>
                    <a:pt x="8" y="40"/>
                    <a:pt x="8" y="40"/>
                    <a:pt x="8" y="41"/>
                  </a:cubicBezTo>
                  <a:cubicBezTo>
                    <a:pt x="8" y="42"/>
                    <a:pt x="9" y="42"/>
                    <a:pt x="9" y="42"/>
                  </a:cubicBezTo>
                  <a:cubicBezTo>
                    <a:pt x="9" y="43"/>
                    <a:pt x="9" y="43"/>
                    <a:pt x="9" y="44"/>
                  </a:cubicBezTo>
                  <a:cubicBezTo>
                    <a:pt x="9" y="44"/>
                    <a:pt x="9" y="45"/>
                    <a:pt x="9" y="45"/>
                  </a:cubicBezTo>
                  <a:cubicBezTo>
                    <a:pt x="10" y="46"/>
                    <a:pt x="10" y="47"/>
                    <a:pt x="9" y="47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50"/>
                    <a:pt x="8" y="51"/>
                    <a:pt x="8" y="52"/>
                  </a:cubicBezTo>
                  <a:cubicBezTo>
                    <a:pt x="8" y="52"/>
                    <a:pt x="8" y="52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7" y="54"/>
                    <a:pt x="7" y="55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7"/>
                    <a:pt x="7" y="58"/>
                  </a:cubicBezTo>
                  <a:cubicBezTo>
                    <a:pt x="6" y="58"/>
                    <a:pt x="6" y="58"/>
                    <a:pt x="6" y="59"/>
                  </a:cubicBezTo>
                  <a:cubicBezTo>
                    <a:pt x="6" y="59"/>
                    <a:pt x="6" y="60"/>
                    <a:pt x="6" y="60"/>
                  </a:cubicBezTo>
                  <a:cubicBezTo>
                    <a:pt x="6" y="61"/>
                    <a:pt x="4" y="61"/>
                    <a:pt x="3" y="62"/>
                  </a:cubicBezTo>
                  <a:cubicBezTo>
                    <a:pt x="3" y="62"/>
                    <a:pt x="3" y="63"/>
                    <a:pt x="3" y="63"/>
                  </a:cubicBezTo>
                  <a:cubicBezTo>
                    <a:pt x="4" y="63"/>
                    <a:pt x="4" y="63"/>
                    <a:pt x="5" y="63"/>
                  </a:cubicBezTo>
                  <a:cubicBezTo>
                    <a:pt x="5" y="64"/>
                    <a:pt x="6" y="64"/>
                    <a:pt x="6" y="64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4"/>
                    <a:pt x="9" y="64"/>
                    <a:pt x="8" y="65"/>
                  </a:cubicBezTo>
                  <a:cubicBezTo>
                    <a:pt x="8" y="65"/>
                    <a:pt x="7" y="65"/>
                    <a:pt x="7" y="65"/>
                  </a:cubicBezTo>
                  <a:cubicBezTo>
                    <a:pt x="7" y="65"/>
                    <a:pt x="6" y="64"/>
                    <a:pt x="6" y="64"/>
                  </a:cubicBezTo>
                  <a:cubicBezTo>
                    <a:pt x="6" y="64"/>
                    <a:pt x="5" y="64"/>
                    <a:pt x="5" y="64"/>
                  </a:cubicBezTo>
                  <a:cubicBezTo>
                    <a:pt x="4" y="64"/>
                    <a:pt x="3" y="64"/>
                    <a:pt x="3" y="64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7"/>
                    <a:pt x="2" y="67"/>
                    <a:pt x="1" y="68"/>
                  </a:cubicBezTo>
                  <a:cubicBezTo>
                    <a:pt x="1" y="69"/>
                    <a:pt x="0" y="69"/>
                    <a:pt x="0" y="70"/>
                  </a:cubicBezTo>
                  <a:cubicBezTo>
                    <a:pt x="0" y="70"/>
                    <a:pt x="0" y="71"/>
                    <a:pt x="0" y="72"/>
                  </a:cubicBezTo>
                  <a:cubicBezTo>
                    <a:pt x="0" y="72"/>
                    <a:pt x="0" y="73"/>
                    <a:pt x="0" y="73"/>
                  </a:cubicBezTo>
                  <a:cubicBezTo>
                    <a:pt x="0" y="73"/>
                    <a:pt x="0" y="74"/>
                    <a:pt x="0" y="74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1" y="77"/>
                    <a:pt x="1" y="77"/>
                  </a:cubicBezTo>
                  <a:cubicBezTo>
                    <a:pt x="1" y="78"/>
                    <a:pt x="1" y="79"/>
                    <a:pt x="1" y="80"/>
                  </a:cubicBezTo>
                  <a:cubicBezTo>
                    <a:pt x="1" y="80"/>
                    <a:pt x="1" y="80"/>
                    <a:pt x="1" y="81"/>
                  </a:cubicBezTo>
                  <a:cubicBezTo>
                    <a:pt x="1" y="81"/>
                    <a:pt x="2" y="81"/>
                    <a:pt x="2" y="82"/>
                  </a:cubicBezTo>
                  <a:cubicBezTo>
                    <a:pt x="2" y="82"/>
                    <a:pt x="3" y="83"/>
                    <a:pt x="3" y="83"/>
                  </a:cubicBezTo>
                  <a:cubicBezTo>
                    <a:pt x="4" y="83"/>
                    <a:pt x="4" y="83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6" y="84"/>
                    <a:pt x="6" y="85"/>
                  </a:cubicBezTo>
                  <a:cubicBezTo>
                    <a:pt x="6" y="85"/>
                    <a:pt x="6" y="85"/>
                    <a:pt x="7" y="86"/>
                  </a:cubicBezTo>
                  <a:cubicBezTo>
                    <a:pt x="7" y="87"/>
                    <a:pt x="8" y="86"/>
                    <a:pt x="9" y="87"/>
                  </a:cubicBezTo>
                  <a:cubicBezTo>
                    <a:pt x="9" y="87"/>
                    <a:pt x="10" y="88"/>
                    <a:pt x="10" y="88"/>
                  </a:cubicBezTo>
                  <a:cubicBezTo>
                    <a:pt x="10" y="89"/>
                    <a:pt x="10" y="90"/>
                    <a:pt x="11" y="91"/>
                  </a:cubicBezTo>
                  <a:cubicBezTo>
                    <a:pt x="12" y="92"/>
                    <a:pt x="14" y="93"/>
                    <a:pt x="14" y="94"/>
                  </a:cubicBezTo>
                  <a:cubicBezTo>
                    <a:pt x="14" y="94"/>
                    <a:pt x="15" y="95"/>
                    <a:pt x="15" y="95"/>
                  </a:cubicBezTo>
                  <a:cubicBezTo>
                    <a:pt x="15" y="95"/>
                    <a:pt x="15" y="96"/>
                    <a:pt x="16" y="96"/>
                  </a:cubicBezTo>
                  <a:cubicBezTo>
                    <a:pt x="16" y="96"/>
                    <a:pt x="16" y="96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7" y="98"/>
                    <a:pt x="18" y="99"/>
                    <a:pt x="19" y="100"/>
                  </a:cubicBezTo>
                  <a:cubicBezTo>
                    <a:pt x="19" y="100"/>
                    <a:pt x="19" y="101"/>
                    <a:pt x="19" y="101"/>
                  </a:cubicBezTo>
                  <a:cubicBezTo>
                    <a:pt x="19" y="101"/>
                    <a:pt x="19" y="101"/>
                    <a:pt x="19" y="102"/>
                  </a:cubicBezTo>
                  <a:cubicBezTo>
                    <a:pt x="20" y="102"/>
                    <a:pt x="19" y="103"/>
                    <a:pt x="19" y="103"/>
                  </a:cubicBezTo>
                  <a:cubicBezTo>
                    <a:pt x="20" y="104"/>
                    <a:pt x="20" y="105"/>
                    <a:pt x="20" y="106"/>
                  </a:cubicBezTo>
                  <a:cubicBezTo>
                    <a:pt x="20" y="106"/>
                    <a:pt x="20" y="107"/>
                    <a:pt x="20" y="107"/>
                  </a:cubicBezTo>
                  <a:cubicBezTo>
                    <a:pt x="20" y="108"/>
                    <a:pt x="21" y="108"/>
                    <a:pt x="21" y="108"/>
                  </a:cubicBezTo>
                  <a:cubicBezTo>
                    <a:pt x="21" y="109"/>
                    <a:pt x="21" y="110"/>
                    <a:pt x="21" y="110"/>
                  </a:cubicBezTo>
                  <a:cubicBezTo>
                    <a:pt x="21" y="111"/>
                    <a:pt x="21" y="112"/>
                    <a:pt x="21" y="113"/>
                  </a:cubicBezTo>
                  <a:cubicBezTo>
                    <a:pt x="21" y="113"/>
                    <a:pt x="20" y="113"/>
                    <a:pt x="20" y="113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20" y="121"/>
                    <a:pt x="20" y="121"/>
                    <a:pt x="20" y="122"/>
                  </a:cubicBezTo>
                  <a:cubicBezTo>
                    <a:pt x="20" y="122"/>
                    <a:pt x="21" y="122"/>
                    <a:pt x="21" y="123"/>
                  </a:cubicBezTo>
                  <a:cubicBezTo>
                    <a:pt x="21" y="123"/>
                    <a:pt x="21" y="123"/>
                    <a:pt x="21" y="123"/>
                  </a:cubicBezTo>
                  <a:cubicBezTo>
                    <a:pt x="21" y="125"/>
                    <a:pt x="21" y="125"/>
                    <a:pt x="21" y="125"/>
                  </a:cubicBezTo>
                  <a:cubicBezTo>
                    <a:pt x="21" y="125"/>
                    <a:pt x="21" y="125"/>
                    <a:pt x="21" y="125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1" y="127"/>
                    <a:pt x="21" y="128"/>
                    <a:pt x="22" y="129"/>
                  </a:cubicBezTo>
                  <a:cubicBezTo>
                    <a:pt x="22" y="129"/>
                    <a:pt x="22" y="129"/>
                    <a:pt x="22" y="130"/>
                  </a:cubicBezTo>
                  <a:cubicBezTo>
                    <a:pt x="22" y="130"/>
                    <a:pt x="22" y="130"/>
                    <a:pt x="23" y="131"/>
                  </a:cubicBezTo>
                  <a:cubicBezTo>
                    <a:pt x="23" y="131"/>
                    <a:pt x="23" y="132"/>
                    <a:pt x="23" y="132"/>
                  </a:cubicBezTo>
                  <a:cubicBezTo>
                    <a:pt x="23" y="133"/>
                    <a:pt x="23" y="133"/>
                    <a:pt x="23" y="133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4" y="135"/>
                    <a:pt x="24" y="136"/>
                    <a:pt x="24" y="137"/>
                  </a:cubicBezTo>
                  <a:cubicBezTo>
                    <a:pt x="24" y="138"/>
                    <a:pt x="23" y="139"/>
                    <a:pt x="23" y="140"/>
                  </a:cubicBezTo>
                  <a:cubicBezTo>
                    <a:pt x="24" y="141"/>
                    <a:pt x="24" y="141"/>
                    <a:pt x="24" y="142"/>
                  </a:cubicBezTo>
                  <a:cubicBezTo>
                    <a:pt x="25" y="143"/>
                    <a:pt x="26" y="144"/>
                    <a:pt x="27" y="145"/>
                  </a:cubicBezTo>
                  <a:cubicBezTo>
                    <a:pt x="28" y="146"/>
                    <a:pt x="29" y="147"/>
                    <a:pt x="30" y="148"/>
                  </a:cubicBezTo>
                  <a:cubicBezTo>
                    <a:pt x="31" y="148"/>
                    <a:pt x="31" y="149"/>
                    <a:pt x="32" y="149"/>
                  </a:cubicBezTo>
                  <a:cubicBezTo>
                    <a:pt x="32" y="150"/>
                    <a:pt x="33" y="150"/>
                    <a:pt x="33" y="151"/>
                  </a:cubicBezTo>
                  <a:cubicBezTo>
                    <a:pt x="34" y="151"/>
                    <a:pt x="34" y="152"/>
                    <a:pt x="34" y="152"/>
                  </a:cubicBezTo>
                  <a:cubicBezTo>
                    <a:pt x="34" y="153"/>
                    <a:pt x="35" y="153"/>
                    <a:pt x="35" y="154"/>
                  </a:cubicBezTo>
                  <a:cubicBezTo>
                    <a:pt x="36" y="154"/>
                    <a:pt x="36" y="155"/>
                    <a:pt x="36" y="155"/>
                  </a:cubicBezTo>
                  <a:cubicBezTo>
                    <a:pt x="36" y="155"/>
                    <a:pt x="37" y="156"/>
                    <a:pt x="37" y="156"/>
                  </a:cubicBezTo>
                  <a:cubicBezTo>
                    <a:pt x="38" y="157"/>
                    <a:pt x="38" y="158"/>
                    <a:pt x="39" y="158"/>
                  </a:cubicBezTo>
                  <a:cubicBezTo>
                    <a:pt x="41" y="159"/>
                    <a:pt x="42" y="160"/>
                    <a:pt x="43" y="161"/>
                  </a:cubicBezTo>
                  <a:cubicBezTo>
                    <a:pt x="44" y="162"/>
                    <a:pt x="44" y="163"/>
                    <a:pt x="44" y="164"/>
                  </a:cubicBezTo>
                  <a:cubicBezTo>
                    <a:pt x="45" y="164"/>
                    <a:pt x="45" y="165"/>
                    <a:pt x="45" y="166"/>
                  </a:cubicBezTo>
                  <a:cubicBezTo>
                    <a:pt x="45" y="166"/>
                    <a:pt x="45" y="167"/>
                    <a:pt x="45" y="167"/>
                  </a:cubicBezTo>
                  <a:cubicBezTo>
                    <a:pt x="46" y="167"/>
                    <a:pt x="47" y="167"/>
                    <a:pt x="47" y="168"/>
                  </a:cubicBezTo>
                  <a:cubicBezTo>
                    <a:pt x="48" y="168"/>
                    <a:pt x="48" y="168"/>
                    <a:pt x="49" y="169"/>
                  </a:cubicBezTo>
                  <a:cubicBezTo>
                    <a:pt x="49" y="169"/>
                    <a:pt x="49" y="170"/>
                    <a:pt x="50" y="170"/>
                  </a:cubicBezTo>
                  <a:cubicBezTo>
                    <a:pt x="50" y="171"/>
                    <a:pt x="51" y="172"/>
                    <a:pt x="52" y="173"/>
                  </a:cubicBezTo>
                  <a:cubicBezTo>
                    <a:pt x="52" y="174"/>
                    <a:pt x="53" y="174"/>
                    <a:pt x="53" y="174"/>
                  </a:cubicBezTo>
                  <a:cubicBezTo>
                    <a:pt x="53" y="175"/>
                    <a:pt x="53" y="175"/>
                    <a:pt x="53" y="175"/>
                  </a:cubicBezTo>
                  <a:cubicBezTo>
                    <a:pt x="53" y="176"/>
                    <a:pt x="53" y="176"/>
                    <a:pt x="53" y="176"/>
                  </a:cubicBezTo>
                  <a:cubicBezTo>
                    <a:pt x="52" y="175"/>
                    <a:pt x="52" y="175"/>
                    <a:pt x="51" y="174"/>
                  </a:cubicBezTo>
                  <a:cubicBezTo>
                    <a:pt x="51" y="174"/>
                    <a:pt x="50" y="173"/>
                    <a:pt x="50" y="172"/>
                  </a:cubicBezTo>
                  <a:cubicBezTo>
                    <a:pt x="50" y="172"/>
                    <a:pt x="49" y="172"/>
                    <a:pt x="49" y="171"/>
                  </a:cubicBezTo>
                  <a:cubicBezTo>
                    <a:pt x="49" y="171"/>
                    <a:pt x="49" y="171"/>
                    <a:pt x="49" y="171"/>
                  </a:cubicBezTo>
                  <a:cubicBezTo>
                    <a:pt x="48" y="171"/>
                    <a:pt x="49" y="172"/>
                    <a:pt x="49" y="172"/>
                  </a:cubicBezTo>
                  <a:cubicBezTo>
                    <a:pt x="49" y="173"/>
                    <a:pt x="50" y="173"/>
                    <a:pt x="50" y="174"/>
                  </a:cubicBezTo>
                  <a:cubicBezTo>
                    <a:pt x="50" y="174"/>
                    <a:pt x="50" y="175"/>
                    <a:pt x="50" y="175"/>
                  </a:cubicBezTo>
                  <a:cubicBezTo>
                    <a:pt x="50" y="175"/>
                    <a:pt x="49" y="175"/>
                    <a:pt x="49" y="175"/>
                  </a:cubicBezTo>
                  <a:cubicBezTo>
                    <a:pt x="49" y="176"/>
                    <a:pt x="49" y="177"/>
                    <a:pt x="49" y="178"/>
                  </a:cubicBezTo>
                  <a:cubicBezTo>
                    <a:pt x="49" y="178"/>
                    <a:pt x="49" y="179"/>
                    <a:pt x="48" y="179"/>
                  </a:cubicBezTo>
                  <a:cubicBezTo>
                    <a:pt x="48" y="179"/>
                    <a:pt x="48" y="180"/>
                    <a:pt x="48" y="180"/>
                  </a:cubicBezTo>
                  <a:cubicBezTo>
                    <a:pt x="48" y="181"/>
                    <a:pt x="49" y="181"/>
                    <a:pt x="50" y="181"/>
                  </a:cubicBezTo>
                  <a:cubicBezTo>
                    <a:pt x="50" y="180"/>
                    <a:pt x="50" y="180"/>
                    <a:pt x="51" y="180"/>
                  </a:cubicBezTo>
                  <a:cubicBezTo>
                    <a:pt x="51" y="180"/>
                    <a:pt x="51" y="180"/>
                    <a:pt x="52" y="180"/>
                  </a:cubicBezTo>
                  <a:cubicBezTo>
                    <a:pt x="52" y="180"/>
                    <a:pt x="53" y="180"/>
                    <a:pt x="53" y="181"/>
                  </a:cubicBezTo>
                  <a:cubicBezTo>
                    <a:pt x="53" y="181"/>
                    <a:pt x="54" y="181"/>
                    <a:pt x="54" y="182"/>
                  </a:cubicBezTo>
                  <a:cubicBezTo>
                    <a:pt x="55" y="182"/>
                    <a:pt x="55" y="183"/>
                    <a:pt x="55" y="183"/>
                  </a:cubicBezTo>
                  <a:cubicBezTo>
                    <a:pt x="56" y="184"/>
                    <a:pt x="57" y="184"/>
                    <a:pt x="57" y="185"/>
                  </a:cubicBezTo>
                  <a:cubicBezTo>
                    <a:pt x="58" y="185"/>
                    <a:pt x="58" y="185"/>
                    <a:pt x="58" y="185"/>
                  </a:cubicBezTo>
                  <a:cubicBezTo>
                    <a:pt x="58" y="185"/>
                    <a:pt x="59" y="185"/>
                    <a:pt x="59" y="185"/>
                  </a:cubicBezTo>
                  <a:cubicBezTo>
                    <a:pt x="60" y="185"/>
                    <a:pt x="60" y="185"/>
                    <a:pt x="61" y="185"/>
                  </a:cubicBezTo>
                  <a:cubicBezTo>
                    <a:pt x="61" y="185"/>
                    <a:pt x="61" y="186"/>
                    <a:pt x="62" y="186"/>
                  </a:cubicBezTo>
                  <a:cubicBezTo>
                    <a:pt x="62" y="186"/>
                    <a:pt x="63" y="187"/>
                    <a:pt x="63" y="187"/>
                  </a:cubicBezTo>
                  <a:cubicBezTo>
                    <a:pt x="64" y="188"/>
                    <a:pt x="64" y="188"/>
                    <a:pt x="64" y="188"/>
                  </a:cubicBezTo>
                  <a:cubicBezTo>
                    <a:pt x="65" y="188"/>
                    <a:pt x="65" y="188"/>
                    <a:pt x="65" y="188"/>
                  </a:cubicBezTo>
                  <a:cubicBezTo>
                    <a:pt x="66" y="187"/>
                    <a:pt x="67" y="187"/>
                    <a:pt x="67" y="186"/>
                  </a:cubicBezTo>
                  <a:cubicBezTo>
                    <a:pt x="67" y="185"/>
                    <a:pt x="66" y="184"/>
                    <a:pt x="66" y="184"/>
                  </a:cubicBezTo>
                  <a:cubicBezTo>
                    <a:pt x="65" y="183"/>
                    <a:pt x="65" y="182"/>
                    <a:pt x="65" y="181"/>
                  </a:cubicBezTo>
                  <a:cubicBezTo>
                    <a:pt x="65" y="181"/>
                    <a:pt x="65" y="180"/>
                    <a:pt x="65" y="180"/>
                  </a:cubicBezTo>
                  <a:cubicBezTo>
                    <a:pt x="66" y="179"/>
                    <a:pt x="66" y="179"/>
                    <a:pt x="66" y="178"/>
                  </a:cubicBezTo>
                  <a:cubicBezTo>
                    <a:pt x="65" y="178"/>
                    <a:pt x="65" y="177"/>
                    <a:pt x="65" y="177"/>
                  </a:cubicBezTo>
                  <a:cubicBezTo>
                    <a:pt x="65" y="177"/>
                    <a:pt x="65" y="177"/>
                    <a:pt x="65" y="177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6" y="175"/>
                    <a:pt x="67" y="175"/>
                    <a:pt x="67" y="176"/>
                  </a:cubicBezTo>
                  <a:cubicBezTo>
                    <a:pt x="68" y="176"/>
                    <a:pt x="68" y="176"/>
                    <a:pt x="69" y="175"/>
                  </a:cubicBezTo>
                  <a:cubicBezTo>
                    <a:pt x="69" y="175"/>
                    <a:pt x="70" y="176"/>
                    <a:pt x="70" y="176"/>
                  </a:cubicBezTo>
                  <a:cubicBezTo>
                    <a:pt x="71" y="176"/>
                    <a:pt x="71" y="177"/>
                    <a:pt x="72" y="177"/>
                  </a:cubicBezTo>
                  <a:cubicBezTo>
                    <a:pt x="72" y="177"/>
                    <a:pt x="73" y="177"/>
                    <a:pt x="73" y="177"/>
                  </a:cubicBezTo>
                  <a:cubicBezTo>
                    <a:pt x="73" y="177"/>
                    <a:pt x="74" y="177"/>
                    <a:pt x="74" y="177"/>
                  </a:cubicBezTo>
                  <a:cubicBezTo>
                    <a:pt x="75" y="177"/>
                    <a:pt x="75" y="177"/>
                    <a:pt x="76" y="177"/>
                  </a:cubicBezTo>
                  <a:cubicBezTo>
                    <a:pt x="77" y="177"/>
                    <a:pt x="78" y="177"/>
                    <a:pt x="79" y="176"/>
                  </a:cubicBezTo>
                  <a:cubicBezTo>
                    <a:pt x="79" y="176"/>
                    <a:pt x="81" y="174"/>
                    <a:pt x="81" y="175"/>
                  </a:cubicBezTo>
                  <a:cubicBezTo>
                    <a:pt x="81" y="176"/>
                    <a:pt x="81" y="176"/>
                    <a:pt x="82" y="176"/>
                  </a:cubicBezTo>
                  <a:cubicBezTo>
                    <a:pt x="82" y="177"/>
                    <a:pt x="82" y="177"/>
                    <a:pt x="83" y="177"/>
                  </a:cubicBezTo>
                  <a:cubicBezTo>
                    <a:pt x="83" y="177"/>
                    <a:pt x="83" y="177"/>
                    <a:pt x="83" y="177"/>
                  </a:cubicBezTo>
                  <a:cubicBezTo>
                    <a:pt x="83" y="177"/>
                    <a:pt x="83" y="177"/>
                    <a:pt x="84" y="177"/>
                  </a:cubicBezTo>
                  <a:cubicBezTo>
                    <a:pt x="84" y="178"/>
                    <a:pt x="84" y="178"/>
                    <a:pt x="85" y="178"/>
                  </a:cubicBezTo>
                  <a:cubicBezTo>
                    <a:pt x="85" y="178"/>
                    <a:pt x="86" y="178"/>
                    <a:pt x="87" y="178"/>
                  </a:cubicBezTo>
                  <a:cubicBezTo>
                    <a:pt x="88" y="178"/>
                    <a:pt x="88" y="178"/>
                    <a:pt x="89" y="177"/>
                  </a:cubicBezTo>
                  <a:cubicBezTo>
                    <a:pt x="89" y="177"/>
                    <a:pt x="90" y="177"/>
                    <a:pt x="91" y="177"/>
                  </a:cubicBezTo>
                  <a:cubicBezTo>
                    <a:pt x="91" y="176"/>
                    <a:pt x="92" y="176"/>
                    <a:pt x="92" y="176"/>
                  </a:cubicBezTo>
                  <a:cubicBezTo>
                    <a:pt x="92" y="177"/>
                    <a:pt x="92" y="177"/>
                    <a:pt x="92" y="177"/>
                  </a:cubicBezTo>
                  <a:cubicBezTo>
                    <a:pt x="92" y="177"/>
                    <a:pt x="92" y="177"/>
                    <a:pt x="92" y="178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1" y="179"/>
                    <a:pt x="92" y="179"/>
                    <a:pt x="92" y="178"/>
                  </a:cubicBezTo>
                  <a:cubicBezTo>
                    <a:pt x="93" y="178"/>
                    <a:pt x="93" y="177"/>
                    <a:pt x="94" y="176"/>
                  </a:cubicBezTo>
                  <a:cubicBezTo>
                    <a:pt x="94" y="176"/>
                    <a:pt x="95" y="176"/>
                    <a:pt x="95" y="176"/>
                  </a:cubicBezTo>
                  <a:cubicBezTo>
                    <a:pt x="96" y="176"/>
                    <a:pt x="97" y="176"/>
                    <a:pt x="97" y="176"/>
                  </a:cubicBezTo>
                  <a:cubicBezTo>
                    <a:pt x="98" y="176"/>
                    <a:pt x="98" y="176"/>
                    <a:pt x="99" y="177"/>
                  </a:cubicBezTo>
                  <a:cubicBezTo>
                    <a:pt x="100" y="178"/>
                    <a:pt x="101" y="178"/>
                    <a:pt x="103" y="179"/>
                  </a:cubicBezTo>
                  <a:cubicBezTo>
                    <a:pt x="103" y="179"/>
                    <a:pt x="105" y="181"/>
                    <a:pt x="103" y="181"/>
                  </a:cubicBezTo>
                  <a:cubicBezTo>
                    <a:pt x="103" y="181"/>
                    <a:pt x="103" y="181"/>
                    <a:pt x="102" y="181"/>
                  </a:cubicBezTo>
                  <a:cubicBezTo>
                    <a:pt x="102" y="181"/>
                    <a:pt x="102" y="181"/>
                    <a:pt x="101" y="181"/>
                  </a:cubicBezTo>
                  <a:cubicBezTo>
                    <a:pt x="101" y="180"/>
                    <a:pt x="101" y="180"/>
                    <a:pt x="100" y="180"/>
                  </a:cubicBezTo>
                  <a:cubicBezTo>
                    <a:pt x="100" y="180"/>
                    <a:pt x="99" y="179"/>
                    <a:pt x="99" y="179"/>
                  </a:cubicBezTo>
                  <a:cubicBezTo>
                    <a:pt x="98" y="179"/>
                    <a:pt x="98" y="178"/>
                    <a:pt x="97" y="178"/>
                  </a:cubicBezTo>
                  <a:cubicBezTo>
                    <a:pt x="97" y="178"/>
                    <a:pt x="96" y="178"/>
                    <a:pt x="96" y="177"/>
                  </a:cubicBezTo>
                  <a:cubicBezTo>
                    <a:pt x="95" y="177"/>
                    <a:pt x="95" y="177"/>
                    <a:pt x="95" y="177"/>
                  </a:cubicBezTo>
                  <a:cubicBezTo>
                    <a:pt x="94" y="176"/>
                    <a:pt x="94" y="178"/>
                    <a:pt x="94" y="178"/>
                  </a:cubicBezTo>
                  <a:cubicBezTo>
                    <a:pt x="94" y="179"/>
                    <a:pt x="94" y="179"/>
                    <a:pt x="94" y="180"/>
                  </a:cubicBezTo>
                  <a:cubicBezTo>
                    <a:pt x="94" y="180"/>
                    <a:pt x="93" y="180"/>
                    <a:pt x="93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91" y="180"/>
                    <a:pt x="91" y="180"/>
                    <a:pt x="91" y="180"/>
                  </a:cubicBezTo>
                  <a:cubicBezTo>
                    <a:pt x="90" y="180"/>
                    <a:pt x="89" y="180"/>
                    <a:pt x="89" y="180"/>
                  </a:cubicBezTo>
                  <a:cubicBezTo>
                    <a:pt x="88" y="180"/>
                    <a:pt x="87" y="179"/>
                    <a:pt x="87" y="179"/>
                  </a:cubicBezTo>
                  <a:cubicBezTo>
                    <a:pt x="86" y="179"/>
                    <a:pt x="86" y="179"/>
                    <a:pt x="85" y="179"/>
                  </a:cubicBezTo>
                  <a:cubicBezTo>
                    <a:pt x="84" y="179"/>
                    <a:pt x="84" y="179"/>
                    <a:pt x="83" y="179"/>
                  </a:cubicBezTo>
                  <a:cubicBezTo>
                    <a:pt x="83" y="178"/>
                    <a:pt x="83" y="178"/>
                    <a:pt x="82" y="178"/>
                  </a:cubicBezTo>
                  <a:cubicBezTo>
                    <a:pt x="82" y="178"/>
                    <a:pt x="82" y="178"/>
                    <a:pt x="81" y="178"/>
                  </a:cubicBezTo>
                  <a:cubicBezTo>
                    <a:pt x="81" y="178"/>
                    <a:pt x="80" y="179"/>
                    <a:pt x="80" y="179"/>
                  </a:cubicBezTo>
                  <a:cubicBezTo>
                    <a:pt x="79" y="179"/>
                    <a:pt x="79" y="179"/>
                    <a:pt x="78" y="179"/>
                  </a:cubicBezTo>
                  <a:cubicBezTo>
                    <a:pt x="78" y="180"/>
                    <a:pt x="77" y="180"/>
                    <a:pt x="77" y="179"/>
                  </a:cubicBezTo>
                  <a:cubicBezTo>
                    <a:pt x="76" y="179"/>
                    <a:pt x="76" y="179"/>
                    <a:pt x="75" y="179"/>
                  </a:cubicBezTo>
                  <a:cubicBezTo>
                    <a:pt x="75" y="179"/>
                    <a:pt x="74" y="179"/>
                    <a:pt x="74" y="179"/>
                  </a:cubicBezTo>
                  <a:cubicBezTo>
                    <a:pt x="73" y="180"/>
                    <a:pt x="73" y="180"/>
                    <a:pt x="72" y="180"/>
                  </a:cubicBezTo>
                  <a:cubicBezTo>
                    <a:pt x="72" y="180"/>
                    <a:pt x="71" y="181"/>
                    <a:pt x="71" y="181"/>
                  </a:cubicBezTo>
                  <a:cubicBezTo>
                    <a:pt x="70" y="181"/>
                    <a:pt x="69" y="181"/>
                    <a:pt x="69" y="182"/>
                  </a:cubicBezTo>
                  <a:cubicBezTo>
                    <a:pt x="68" y="183"/>
                    <a:pt x="69" y="183"/>
                    <a:pt x="70" y="184"/>
                  </a:cubicBezTo>
                  <a:cubicBezTo>
                    <a:pt x="70" y="184"/>
                    <a:pt x="70" y="184"/>
                    <a:pt x="70" y="185"/>
                  </a:cubicBezTo>
                  <a:cubicBezTo>
                    <a:pt x="71" y="186"/>
                    <a:pt x="71" y="187"/>
                    <a:pt x="71" y="188"/>
                  </a:cubicBezTo>
                  <a:cubicBezTo>
                    <a:pt x="71" y="189"/>
                    <a:pt x="72" y="190"/>
                    <a:pt x="73" y="191"/>
                  </a:cubicBezTo>
                  <a:cubicBezTo>
                    <a:pt x="73" y="192"/>
                    <a:pt x="74" y="192"/>
                    <a:pt x="75" y="193"/>
                  </a:cubicBezTo>
                  <a:cubicBezTo>
                    <a:pt x="75" y="193"/>
                    <a:pt x="76" y="194"/>
                    <a:pt x="76" y="194"/>
                  </a:cubicBezTo>
                  <a:cubicBezTo>
                    <a:pt x="77" y="195"/>
                    <a:pt x="76" y="196"/>
                    <a:pt x="77" y="196"/>
                  </a:cubicBezTo>
                  <a:cubicBezTo>
                    <a:pt x="77" y="196"/>
                    <a:pt x="77" y="197"/>
                    <a:pt x="77" y="197"/>
                  </a:cubicBezTo>
                  <a:cubicBezTo>
                    <a:pt x="77" y="197"/>
                    <a:pt x="77" y="198"/>
                    <a:pt x="77" y="198"/>
                  </a:cubicBezTo>
                  <a:cubicBezTo>
                    <a:pt x="77" y="198"/>
                    <a:pt x="78" y="199"/>
                    <a:pt x="78" y="199"/>
                  </a:cubicBezTo>
                  <a:cubicBezTo>
                    <a:pt x="78" y="200"/>
                    <a:pt x="78" y="200"/>
                    <a:pt x="78" y="201"/>
                  </a:cubicBezTo>
                  <a:cubicBezTo>
                    <a:pt x="79" y="201"/>
                    <a:pt x="79" y="202"/>
                    <a:pt x="79" y="202"/>
                  </a:cubicBezTo>
                  <a:cubicBezTo>
                    <a:pt x="79" y="203"/>
                    <a:pt x="79" y="203"/>
                    <a:pt x="78" y="203"/>
                  </a:cubicBezTo>
                  <a:cubicBezTo>
                    <a:pt x="78" y="203"/>
                    <a:pt x="77" y="203"/>
                    <a:pt x="77" y="203"/>
                  </a:cubicBezTo>
                  <a:cubicBezTo>
                    <a:pt x="77" y="203"/>
                    <a:pt x="76" y="202"/>
                    <a:pt x="76" y="202"/>
                  </a:cubicBezTo>
                  <a:cubicBezTo>
                    <a:pt x="76" y="202"/>
                    <a:pt x="75" y="201"/>
                    <a:pt x="75" y="201"/>
                  </a:cubicBezTo>
                  <a:cubicBezTo>
                    <a:pt x="74" y="200"/>
                    <a:pt x="73" y="200"/>
                    <a:pt x="72" y="199"/>
                  </a:cubicBezTo>
                  <a:cubicBezTo>
                    <a:pt x="70" y="199"/>
                    <a:pt x="70" y="196"/>
                    <a:pt x="70" y="195"/>
                  </a:cubicBezTo>
                  <a:cubicBezTo>
                    <a:pt x="70" y="194"/>
                    <a:pt x="70" y="193"/>
                    <a:pt x="70" y="193"/>
                  </a:cubicBezTo>
                  <a:cubicBezTo>
                    <a:pt x="70" y="192"/>
                    <a:pt x="70" y="191"/>
                    <a:pt x="70" y="191"/>
                  </a:cubicBezTo>
                  <a:cubicBezTo>
                    <a:pt x="70" y="190"/>
                    <a:pt x="70" y="190"/>
                    <a:pt x="69" y="190"/>
                  </a:cubicBezTo>
                  <a:cubicBezTo>
                    <a:pt x="69" y="190"/>
                    <a:pt x="69" y="190"/>
                    <a:pt x="68" y="190"/>
                  </a:cubicBezTo>
                  <a:cubicBezTo>
                    <a:pt x="68" y="190"/>
                    <a:pt x="67" y="189"/>
                    <a:pt x="67" y="189"/>
                  </a:cubicBezTo>
                  <a:cubicBezTo>
                    <a:pt x="66" y="189"/>
                    <a:pt x="66" y="190"/>
                    <a:pt x="66" y="191"/>
                  </a:cubicBezTo>
                  <a:cubicBezTo>
                    <a:pt x="66" y="191"/>
                    <a:pt x="66" y="191"/>
                    <a:pt x="66" y="192"/>
                  </a:cubicBezTo>
                  <a:cubicBezTo>
                    <a:pt x="66" y="192"/>
                    <a:pt x="65" y="192"/>
                    <a:pt x="65" y="193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5" y="200"/>
                    <a:pt x="65" y="200"/>
                    <a:pt x="65" y="200"/>
                  </a:cubicBezTo>
                  <a:cubicBezTo>
                    <a:pt x="65" y="201"/>
                    <a:pt x="65" y="201"/>
                    <a:pt x="65" y="201"/>
                  </a:cubicBezTo>
                  <a:cubicBezTo>
                    <a:pt x="65" y="202"/>
                    <a:pt x="66" y="202"/>
                    <a:pt x="66" y="203"/>
                  </a:cubicBezTo>
                  <a:cubicBezTo>
                    <a:pt x="66" y="203"/>
                    <a:pt x="66" y="204"/>
                    <a:pt x="67" y="204"/>
                  </a:cubicBezTo>
                  <a:cubicBezTo>
                    <a:pt x="67" y="204"/>
                    <a:pt x="67" y="205"/>
                    <a:pt x="67" y="205"/>
                  </a:cubicBezTo>
                  <a:cubicBezTo>
                    <a:pt x="67" y="205"/>
                    <a:pt x="67" y="206"/>
                    <a:pt x="68" y="206"/>
                  </a:cubicBezTo>
                  <a:cubicBezTo>
                    <a:pt x="68" y="206"/>
                    <a:pt x="68" y="206"/>
                    <a:pt x="68" y="206"/>
                  </a:cubicBezTo>
                  <a:cubicBezTo>
                    <a:pt x="68" y="207"/>
                    <a:pt x="68" y="207"/>
                    <a:pt x="68" y="208"/>
                  </a:cubicBezTo>
                  <a:cubicBezTo>
                    <a:pt x="68" y="208"/>
                    <a:pt x="68" y="209"/>
                    <a:pt x="69" y="209"/>
                  </a:cubicBezTo>
                  <a:cubicBezTo>
                    <a:pt x="69" y="210"/>
                    <a:pt x="69" y="210"/>
                    <a:pt x="69" y="210"/>
                  </a:cubicBezTo>
                  <a:cubicBezTo>
                    <a:pt x="69" y="211"/>
                    <a:pt x="69" y="211"/>
                    <a:pt x="68" y="212"/>
                  </a:cubicBezTo>
                  <a:cubicBezTo>
                    <a:pt x="68" y="212"/>
                    <a:pt x="68" y="212"/>
                    <a:pt x="68" y="213"/>
                  </a:cubicBezTo>
                  <a:cubicBezTo>
                    <a:pt x="68" y="213"/>
                    <a:pt x="68" y="213"/>
                    <a:pt x="68" y="214"/>
                  </a:cubicBezTo>
                  <a:cubicBezTo>
                    <a:pt x="68" y="214"/>
                    <a:pt x="68" y="214"/>
                    <a:pt x="68" y="215"/>
                  </a:cubicBezTo>
                  <a:cubicBezTo>
                    <a:pt x="69" y="215"/>
                    <a:pt x="69" y="215"/>
                    <a:pt x="69" y="215"/>
                  </a:cubicBezTo>
                  <a:cubicBezTo>
                    <a:pt x="69" y="215"/>
                    <a:pt x="69" y="215"/>
                    <a:pt x="69" y="216"/>
                  </a:cubicBezTo>
                  <a:cubicBezTo>
                    <a:pt x="69" y="216"/>
                    <a:pt x="69" y="216"/>
                    <a:pt x="69" y="217"/>
                  </a:cubicBezTo>
                  <a:cubicBezTo>
                    <a:pt x="70" y="217"/>
                    <a:pt x="69" y="217"/>
                    <a:pt x="70" y="217"/>
                  </a:cubicBezTo>
                  <a:cubicBezTo>
                    <a:pt x="70" y="218"/>
                    <a:pt x="70" y="218"/>
                    <a:pt x="70" y="218"/>
                  </a:cubicBezTo>
                  <a:cubicBezTo>
                    <a:pt x="70" y="219"/>
                    <a:pt x="70" y="219"/>
                    <a:pt x="71" y="219"/>
                  </a:cubicBezTo>
                  <a:cubicBezTo>
                    <a:pt x="71" y="220"/>
                    <a:pt x="72" y="220"/>
                    <a:pt x="72" y="221"/>
                  </a:cubicBezTo>
                  <a:cubicBezTo>
                    <a:pt x="72" y="221"/>
                    <a:pt x="73" y="221"/>
                    <a:pt x="73" y="222"/>
                  </a:cubicBezTo>
                  <a:cubicBezTo>
                    <a:pt x="74" y="222"/>
                    <a:pt x="74" y="222"/>
                    <a:pt x="74" y="223"/>
                  </a:cubicBezTo>
                  <a:cubicBezTo>
                    <a:pt x="74" y="223"/>
                    <a:pt x="75" y="223"/>
                    <a:pt x="75" y="223"/>
                  </a:cubicBezTo>
                  <a:cubicBezTo>
                    <a:pt x="75" y="223"/>
                    <a:pt x="76" y="223"/>
                    <a:pt x="76" y="224"/>
                  </a:cubicBezTo>
                  <a:cubicBezTo>
                    <a:pt x="76" y="224"/>
                    <a:pt x="76" y="224"/>
                    <a:pt x="77" y="225"/>
                  </a:cubicBezTo>
                  <a:cubicBezTo>
                    <a:pt x="77" y="225"/>
                    <a:pt x="78" y="225"/>
                    <a:pt x="78" y="225"/>
                  </a:cubicBezTo>
                  <a:cubicBezTo>
                    <a:pt x="78" y="225"/>
                    <a:pt x="78" y="226"/>
                    <a:pt x="78" y="226"/>
                  </a:cubicBezTo>
                  <a:cubicBezTo>
                    <a:pt x="79" y="226"/>
                    <a:pt x="79" y="226"/>
                    <a:pt x="79" y="226"/>
                  </a:cubicBezTo>
                  <a:cubicBezTo>
                    <a:pt x="80" y="226"/>
                    <a:pt x="81" y="226"/>
                    <a:pt x="82" y="226"/>
                  </a:cubicBezTo>
                  <a:cubicBezTo>
                    <a:pt x="82" y="226"/>
                    <a:pt x="83" y="226"/>
                    <a:pt x="83" y="226"/>
                  </a:cubicBezTo>
                  <a:cubicBezTo>
                    <a:pt x="84" y="226"/>
                    <a:pt x="84" y="226"/>
                    <a:pt x="84" y="226"/>
                  </a:cubicBezTo>
                  <a:cubicBezTo>
                    <a:pt x="85" y="225"/>
                    <a:pt x="85" y="226"/>
                    <a:pt x="86" y="226"/>
                  </a:cubicBezTo>
                  <a:cubicBezTo>
                    <a:pt x="86" y="226"/>
                    <a:pt x="86" y="226"/>
                    <a:pt x="86" y="226"/>
                  </a:cubicBezTo>
                  <a:cubicBezTo>
                    <a:pt x="86" y="227"/>
                    <a:pt x="87" y="227"/>
                    <a:pt x="87" y="227"/>
                  </a:cubicBezTo>
                  <a:cubicBezTo>
                    <a:pt x="87" y="227"/>
                    <a:pt x="88" y="227"/>
                    <a:pt x="88" y="227"/>
                  </a:cubicBezTo>
                  <a:cubicBezTo>
                    <a:pt x="88" y="228"/>
                    <a:pt x="88" y="228"/>
                    <a:pt x="88" y="228"/>
                  </a:cubicBezTo>
                  <a:cubicBezTo>
                    <a:pt x="88" y="228"/>
                    <a:pt x="89" y="229"/>
                    <a:pt x="89" y="229"/>
                  </a:cubicBezTo>
                  <a:cubicBezTo>
                    <a:pt x="89" y="229"/>
                    <a:pt x="89" y="229"/>
                    <a:pt x="89" y="2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31"/>
                    <a:pt x="89" y="231"/>
                    <a:pt x="89" y="231"/>
                  </a:cubicBezTo>
                  <a:cubicBezTo>
                    <a:pt x="89" y="231"/>
                    <a:pt x="90" y="231"/>
                    <a:pt x="90" y="232"/>
                  </a:cubicBezTo>
                  <a:cubicBezTo>
                    <a:pt x="90" y="232"/>
                    <a:pt x="90" y="232"/>
                    <a:pt x="90" y="233"/>
                  </a:cubicBezTo>
                  <a:cubicBezTo>
                    <a:pt x="90" y="233"/>
                    <a:pt x="90" y="233"/>
                    <a:pt x="90" y="234"/>
                  </a:cubicBezTo>
                  <a:cubicBezTo>
                    <a:pt x="90" y="234"/>
                    <a:pt x="90" y="234"/>
                    <a:pt x="89" y="234"/>
                  </a:cubicBezTo>
                  <a:cubicBezTo>
                    <a:pt x="89" y="237"/>
                    <a:pt x="89" y="237"/>
                    <a:pt x="89" y="237"/>
                  </a:cubicBezTo>
                  <a:cubicBezTo>
                    <a:pt x="89" y="237"/>
                    <a:pt x="89" y="237"/>
                    <a:pt x="89" y="238"/>
                  </a:cubicBezTo>
                  <a:cubicBezTo>
                    <a:pt x="89" y="238"/>
                    <a:pt x="89" y="238"/>
                    <a:pt x="89" y="239"/>
                  </a:cubicBezTo>
                  <a:cubicBezTo>
                    <a:pt x="88" y="239"/>
                    <a:pt x="88" y="240"/>
                    <a:pt x="88" y="241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84" y="241"/>
                    <a:pt x="84" y="241"/>
                    <a:pt x="84" y="241"/>
                  </a:cubicBezTo>
                  <a:cubicBezTo>
                    <a:pt x="84" y="242"/>
                    <a:pt x="84" y="242"/>
                    <a:pt x="84" y="242"/>
                  </a:cubicBezTo>
                  <a:cubicBezTo>
                    <a:pt x="84" y="243"/>
                    <a:pt x="84" y="243"/>
                    <a:pt x="84" y="244"/>
                  </a:cubicBezTo>
                  <a:cubicBezTo>
                    <a:pt x="84" y="244"/>
                    <a:pt x="84" y="244"/>
                    <a:pt x="84" y="245"/>
                  </a:cubicBezTo>
                  <a:cubicBezTo>
                    <a:pt x="84" y="245"/>
                    <a:pt x="85" y="245"/>
                    <a:pt x="85" y="245"/>
                  </a:cubicBezTo>
                  <a:cubicBezTo>
                    <a:pt x="85" y="246"/>
                    <a:pt x="85" y="247"/>
                    <a:pt x="85" y="247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9"/>
                    <a:pt x="85" y="249"/>
                    <a:pt x="85" y="249"/>
                  </a:cubicBezTo>
                  <a:cubicBezTo>
                    <a:pt x="85" y="249"/>
                    <a:pt x="85" y="250"/>
                    <a:pt x="86" y="251"/>
                  </a:cubicBezTo>
                  <a:cubicBezTo>
                    <a:pt x="86" y="253"/>
                    <a:pt x="86" y="253"/>
                    <a:pt x="86" y="253"/>
                  </a:cubicBezTo>
                  <a:cubicBezTo>
                    <a:pt x="86" y="253"/>
                    <a:pt x="86" y="253"/>
                    <a:pt x="86" y="253"/>
                  </a:cubicBezTo>
                  <a:cubicBezTo>
                    <a:pt x="86" y="253"/>
                    <a:pt x="86" y="253"/>
                    <a:pt x="86" y="254"/>
                  </a:cubicBezTo>
                  <a:cubicBezTo>
                    <a:pt x="86" y="254"/>
                    <a:pt x="86" y="255"/>
                    <a:pt x="87" y="255"/>
                  </a:cubicBezTo>
                  <a:cubicBezTo>
                    <a:pt x="87" y="255"/>
                    <a:pt x="87" y="255"/>
                    <a:pt x="87" y="255"/>
                  </a:cubicBezTo>
                  <a:cubicBezTo>
                    <a:pt x="88" y="255"/>
                    <a:pt x="88" y="255"/>
                    <a:pt x="88" y="256"/>
                  </a:cubicBezTo>
                  <a:cubicBezTo>
                    <a:pt x="88" y="256"/>
                    <a:pt x="89" y="256"/>
                    <a:pt x="89" y="257"/>
                  </a:cubicBezTo>
                  <a:cubicBezTo>
                    <a:pt x="90" y="257"/>
                    <a:pt x="90" y="258"/>
                    <a:pt x="90" y="258"/>
                  </a:cubicBezTo>
                  <a:cubicBezTo>
                    <a:pt x="91" y="258"/>
                    <a:pt x="91" y="259"/>
                    <a:pt x="91" y="259"/>
                  </a:cubicBezTo>
                  <a:cubicBezTo>
                    <a:pt x="91" y="259"/>
                    <a:pt x="92" y="259"/>
                    <a:pt x="92" y="259"/>
                  </a:cubicBezTo>
                  <a:cubicBezTo>
                    <a:pt x="92" y="260"/>
                    <a:pt x="93" y="260"/>
                    <a:pt x="93" y="260"/>
                  </a:cubicBezTo>
                  <a:cubicBezTo>
                    <a:pt x="93" y="260"/>
                    <a:pt x="93" y="260"/>
                    <a:pt x="94" y="260"/>
                  </a:cubicBezTo>
                  <a:cubicBezTo>
                    <a:pt x="94" y="261"/>
                    <a:pt x="95" y="262"/>
                    <a:pt x="95" y="262"/>
                  </a:cubicBezTo>
                  <a:cubicBezTo>
                    <a:pt x="95" y="263"/>
                    <a:pt x="96" y="263"/>
                    <a:pt x="96" y="263"/>
                  </a:cubicBezTo>
                  <a:cubicBezTo>
                    <a:pt x="96" y="264"/>
                    <a:pt x="96" y="264"/>
                    <a:pt x="96" y="264"/>
                  </a:cubicBezTo>
                  <a:cubicBezTo>
                    <a:pt x="96" y="264"/>
                    <a:pt x="96" y="265"/>
                    <a:pt x="97" y="265"/>
                  </a:cubicBezTo>
                  <a:cubicBezTo>
                    <a:pt x="97" y="265"/>
                    <a:pt x="97" y="265"/>
                    <a:pt x="97" y="266"/>
                  </a:cubicBezTo>
                  <a:cubicBezTo>
                    <a:pt x="97" y="266"/>
                    <a:pt x="97" y="266"/>
                    <a:pt x="97" y="266"/>
                  </a:cubicBezTo>
                  <a:cubicBezTo>
                    <a:pt x="97" y="266"/>
                    <a:pt x="97" y="266"/>
                    <a:pt x="97" y="266"/>
                  </a:cubicBezTo>
                  <a:cubicBezTo>
                    <a:pt x="97" y="266"/>
                    <a:pt x="98" y="266"/>
                    <a:pt x="98" y="267"/>
                  </a:cubicBezTo>
                  <a:cubicBezTo>
                    <a:pt x="98" y="267"/>
                    <a:pt x="98" y="267"/>
                    <a:pt x="99" y="267"/>
                  </a:cubicBezTo>
                  <a:cubicBezTo>
                    <a:pt x="99" y="267"/>
                    <a:pt x="99" y="267"/>
                    <a:pt x="99" y="267"/>
                  </a:cubicBezTo>
                  <a:cubicBezTo>
                    <a:pt x="99" y="267"/>
                    <a:pt x="99" y="267"/>
                    <a:pt x="100" y="267"/>
                  </a:cubicBezTo>
                  <a:cubicBezTo>
                    <a:pt x="100" y="268"/>
                    <a:pt x="100" y="268"/>
                    <a:pt x="100" y="268"/>
                  </a:cubicBezTo>
                  <a:cubicBezTo>
                    <a:pt x="100" y="268"/>
                    <a:pt x="100" y="268"/>
                    <a:pt x="100" y="269"/>
                  </a:cubicBezTo>
                  <a:cubicBezTo>
                    <a:pt x="101" y="269"/>
                    <a:pt x="101" y="270"/>
                    <a:pt x="101" y="270"/>
                  </a:cubicBezTo>
                  <a:cubicBezTo>
                    <a:pt x="101" y="271"/>
                    <a:pt x="101" y="271"/>
                    <a:pt x="101" y="271"/>
                  </a:cubicBezTo>
                  <a:cubicBezTo>
                    <a:pt x="101" y="272"/>
                    <a:pt x="101" y="272"/>
                    <a:pt x="101" y="273"/>
                  </a:cubicBezTo>
                  <a:cubicBezTo>
                    <a:pt x="102" y="273"/>
                    <a:pt x="102" y="273"/>
                    <a:pt x="102" y="274"/>
                  </a:cubicBezTo>
                  <a:cubicBezTo>
                    <a:pt x="103" y="274"/>
                    <a:pt x="103" y="275"/>
                    <a:pt x="103" y="275"/>
                  </a:cubicBezTo>
                  <a:cubicBezTo>
                    <a:pt x="104" y="275"/>
                    <a:pt x="104" y="276"/>
                    <a:pt x="105" y="276"/>
                  </a:cubicBezTo>
                  <a:cubicBezTo>
                    <a:pt x="105" y="276"/>
                    <a:pt x="106" y="277"/>
                    <a:pt x="106" y="278"/>
                  </a:cubicBezTo>
                  <a:cubicBezTo>
                    <a:pt x="106" y="278"/>
                    <a:pt x="106" y="278"/>
                    <a:pt x="106" y="278"/>
                  </a:cubicBezTo>
                  <a:cubicBezTo>
                    <a:pt x="106" y="279"/>
                    <a:pt x="106" y="279"/>
                    <a:pt x="106" y="279"/>
                  </a:cubicBezTo>
                  <a:cubicBezTo>
                    <a:pt x="107" y="279"/>
                    <a:pt x="107" y="280"/>
                    <a:pt x="107" y="280"/>
                  </a:cubicBezTo>
                  <a:cubicBezTo>
                    <a:pt x="107" y="281"/>
                    <a:pt x="107" y="281"/>
                    <a:pt x="107" y="281"/>
                  </a:cubicBezTo>
                  <a:cubicBezTo>
                    <a:pt x="108" y="282"/>
                    <a:pt x="108" y="282"/>
                    <a:pt x="109" y="282"/>
                  </a:cubicBezTo>
                  <a:cubicBezTo>
                    <a:pt x="109" y="283"/>
                    <a:pt x="110" y="282"/>
                    <a:pt x="110" y="283"/>
                  </a:cubicBezTo>
                  <a:cubicBezTo>
                    <a:pt x="111" y="283"/>
                    <a:pt x="111" y="283"/>
                    <a:pt x="111" y="283"/>
                  </a:cubicBezTo>
                  <a:cubicBezTo>
                    <a:pt x="111" y="283"/>
                    <a:pt x="111" y="283"/>
                    <a:pt x="112" y="283"/>
                  </a:cubicBezTo>
                  <a:cubicBezTo>
                    <a:pt x="112" y="284"/>
                    <a:pt x="112" y="284"/>
                    <a:pt x="113" y="284"/>
                  </a:cubicBezTo>
                  <a:cubicBezTo>
                    <a:pt x="113" y="285"/>
                    <a:pt x="113" y="285"/>
                    <a:pt x="113" y="285"/>
                  </a:cubicBezTo>
                  <a:cubicBezTo>
                    <a:pt x="113" y="286"/>
                    <a:pt x="114" y="286"/>
                    <a:pt x="114" y="286"/>
                  </a:cubicBezTo>
                  <a:cubicBezTo>
                    <a:pt x="114" y="287"/>
                    <a:pt x="114" y="287"/>
                    <a:pt x="114" y="287"/>
                  </a:cubicBezTo>
                  <a:cubicBezTo>
                    <a:pt x="115" y="288"/>
                    <a:pt x="115" y="288"/>
                    <a:pt x="115" y="288"/>
                  </a:cubicBezTo>
                  <a:cubicBezTo>
                    <a:pt x="116" y="288"/>
                    <a:pt x="116" y="288"/>
                    <a:pt x="116" y="289"/>
                  </a:cubicBezTo>
                  <a:cubicBezTo>
                    <a:pt x="117" y="289"/>
                    <a:pt x="117" y="289"/>
                    <a:pt x="117" y="289"/>
                  </a:cubicBezTo>
                  <a:cubicBezTo>
                    <a:pt x="117" y="289"/>
                    <a:pt x="117" y="289"/>
                    <a:pt x="117" y="290"/>
                  </a:cubicBezTo>
                  <a:cubicBezTo>
                    <a:pt x="118" y="290"/>
                    <a:pt x="118" y="290"/>
                    <a:pt x="118" y="290"/>
                  </a:cubicBezTo>
                  <a:cubicBezTo>
                    <a:pt x="119" y="290"/>
                    <a:pt x="119" y="290"/>
                    <a:pt x="119" y="290"/>
                  </a:cubicBezTo>
                  <a:cubicBezTo>
                    <a:pt x="119" y="291"/>
                    <a:pt x="120" y="291"/>
                    <a:pt x="120" y="291"/>
                  </a:cubicBezTo>
                  <a:cubicBezTo>
                    <a:pt x="121" y="291"/>
                    <a:pt x="121" y="291"/>
                    <a:pt x="121" y="292"/>
                  </a:cubicBezTo>
                  <a:cubicBezTo>
                    <a:pt x="121" y="292"/>
                    <a:pt x="121" y="292"/>
                    <a:pt x="121" y="292"/>
                  </a:cubicBezTo>
                  <a:cubicBezTo>
                    <a:pt x="121" y="292"/>
                    <a:pt x="121" y="293"/>
                    <a:pt x="121" y="293"/>
                  </a:cubicBezTo>
                  <a:cubicBezTo>
                    <a:pt x="122" y="293"/>
                    <a:pt x="122" y="293"/>
                    <a:pt x="122" y="293"/>
                  </a:cubicBezTo>
                  <a:cubicBezTo>
                    <a:pt x="122" y="295"/>
                    <a:pt x="122" y="295"/>
                    <a:pt x="122" y="295"/>
                  </a:cubicBezTo>
                  <a:cubicBezTo>
                    <a:pt x="122" y="296"/>
                    <a:pt x="121" y="296"/>
                    <a:pt x="121" y="296"/>
                  </a:cubicBezTo>
                  <a:cubicBezTo>
                    <a:pt x="121" y="296"/>
                    <a:pt x="121" y="297"/>
                    <a:pt x="121" y="297"/>
                  </a:cubicBezTo>
                  <a:cubicBezTo>
                    <a:pt x="121" y="298"/>
                    <a:pt x="121" y="298"/>
                    <a:pt x="121" y="299"/>
                  </a:cubicBezTo>
                  <a:cubicBezTo>
                    <a:pt x="121" y="299"/>
                    <a:pt x="121" y="299"/>
                    <a:pt x="121" y="299"/>
                  </a:cubicBezTo>
                  <a:cubicBezTo>
                    <a:pt x="121" y="299"/>
                    <a:pt x="121" y="300"/>
                    <a:pt x="121" y="300"/>
                  </a:cubicBezTo>
                  <a:cubicBezTo>
                    <a:pt x="121" y="300"/>
                    <a:pt x="122" y="300"/>
                    <a:pt x="122" y="300"/>
                  </a:cubicBezTo>
                  <a:cubicBezTo>
                    <a:pt x="122" y="300"/>
                    <a:pt x="122" y="300"/>
                    <a:pt x="122" y="300"/>
                  </a:cubicBezTo>
                  <a:cubicBezTo>
                    <a:pt x="123" y="300"/>
                    <a:pt x="123" y="301"/>
                    <a:pt x="123" y="301"/>
                  </a:cubicBezTo>
                  <a:cubicBezTo>
                    <a:pt x="123" y="301"/>
                    <a:pt x="123" y="301"/>
                    <a:pt x="124" y="301"/>
                  </a:cubicBezTo>
                  <a:cubicBezTo>
                    <a:pt x="124" y="301"/>
                    <a:pt x="124" y="302"/>
                    <a:pt x="124" y="302"/>
                  </a:cubicBezTo>
                  <a:cubicBezTo>
                    <a:pt x="124" y="302"/>
                    <a:pt x="125" y="302"/>
                    <a:pt x="125" y="302"/>
                  </a:cubicBezTo>
                  <a:cubicBezTo>
                    <a:pt x="125" y="302"/>
                    <a:pt x="126" y="303"/>
                    <a:pt x="126" y="303"/>
                  </a:cubicBezTo>
                  <a:cubicBezTo>
                    <a:pt x="127" y="303"/>
                    <a:pt x="127" y="303"/>
                    <a:pt x="128" y="304"/>
                  </a:cubicBezTo>
                  <a:cubicBezTo>
                    <a:pt x="128" y="304"/>
                    <a:pt x="129" y="304"/>
                    <a:pt x="129" y="304"/>
                  </a:cubicBezTo>
                  <a:cubicBezTo>
                    <a:pt x="129" y="309"/>
                    <a:pt x="129" y="309"/>
                    <a:pt x="129" y="309"/>
                  </a:cubicBezTo>
                  <a:cubicBezTo>
                    <a:pt x="129" y="309"/>
                    <a:pt x="129" y="309"/>
                    <a:pt x="130" y="309"/>
                  </a:cubicBezTo>
                  <a:cubicBezTo>
                    <a:pt x="129" y="310"/>
                    <a:pt x="129" y="310"/>
                    <a:pt x="129" y="310"/>
                  </a:cubicBezTo>
                  <a:cubicBezTo>
                    <a:pt x="129" y="312"/>
                    <a:pt x="129" y="312"/>
                    <a:pt x="129" y="312"/>
                  </a:cubicBezTo>
                  <a:cubicBezTo>
                    <a:pt x="129" y="313"/>
                    <a:pt x="129" y="313"/>
                    <a:pt x="129" y="313"/>
                  </a:cubicBezTo>
                  <a:cubicBezTo>
                    <a:pt x="129" y="313"/>
                    <a:pt x="129" y="314"/>
                    <a:pt x="129" y="314"/>
                  </a:cubicBezTo>
                  <a:cubicBezTo>
                    <a:pt x="129" y="314"/>
                    <a:pt x="130" y="314"/>
                    <a:pt x="130" y="315"/>
                  </a:cubicBezTo>
                  <a:cubicBezTo>
                    <a:pt x="130" y="315"/>
                    <a:pt x="130" y="316"/>
                    <a:pt x="130" y="317"/>
                  </a:cubicBezTo>
                  <a:cubicBezTo>
                    <a:pt x="131" y="317"/>
                    <a:pt x="131" y="318"/>
                    <a:pt x="130" y="318"/>
                  </a:cubicBezTo>
                  <a:cubicBezTo>
                    <a:pt x="130" y="319"/>
                    <a:pt x="129" y="319"/>
                    <a:pt x="130" y="319"/>
                  </a:cubicBezTo>
                  <a:cubicBezTo>
                    <a:pt x="130" y="319"/>
                    <a:pt x="130" y="319"/>
                    <a:pt x="130" y="319"/>
                  </a:cubicBezTo>
                  <a:cubicBezTo>
                    <a:pt x="130" y="320"/>
                    <a:pt x="130" y="320"/>
                    <a:pt x="130" y="320"/>
                  </a:cubicBezTo>
                  <a:cubicBezTo>
                    <a:pt x="130" y="320"/>
                    <a:pt x="130" y="321"/>
                    <a:pt x="130" y="321"/>
                  </a:cubicBezTo>
                  <a:cubicBezTo>
                    <a:pt x="131" y="321"/>
                    <a:pt x="131" y="321"/>
                    <a:pt x="131" y="322"/>
                  </a:cubicBezTo>
                  <a:cubicBezTo>
                    <a:pt x="131" y="322"/>
                    <a:pt x="131" y="322"/>
                    <a:pt x="131" y="322"/>
                  </a:cubicBezTo>
                  <a:cubicBezTo>
                    <a:pt x="131" y="323"/>
                    <a:pt x="130" y="322"/>
                    <a:pt x="130" y="323"/>
                  </a:cubicBezTo>
                  <a:cubicBezTo>
                    <a:pt x="130" y="323"/>
                    <a:pt x="130" y="324"/>
                    <a:pt x="130" y="324"/>
                  </a:cubicBezTo>
                  <a:cubicBezTo>
                    <a:pt x="130" y="324"/>
                    <a:pt x="131" y="325"/>
                    <a:pt x="130" y="325"/>
                  </a:cubicBezTo>
                  <a:cubicBezTo>
                    <a:pt x="130" y="325"/>
                    <a:pt x="130" y="326"/>
                    <a:pt x="130" y="326"/>
                  </a:cubicBezTo>
                  <a:cubicBezTo>
                    <a:pt x="130" y="326"/>
                    <a:pt x="130" y="326"/>
                    <a:pt x="130" y="326"/>
                  </a:cubicBezTo>
                  <a:cubicBezTo>
                    <a:pt x="130" y="326"/>
                    <a:pt x="130" y="326"/>
                    <a:pt x="130" y="326"/>
                  </a:cubicBezTo>
                  <a:cubicBezTo>
                    <a:pt x="130" y="326"/>
                    <a:pt x="130" y="326"/>
                    <a:pt x="130" y="326"/>
                  </a:cubicBezTo>
                  <a:cubicBezTo>
                    <a:pt x="129" y="327"/>
                    <a:pt x="129" y="327"/>
                    <a:pt x="129" y="327"/>
                  </a:cubicBezTo>
                  <a:cubicBezTo>
                    <a:pt x="129" y="328"/>
                    <a:pt x="129" y="328"/>
                    <a:pt x="130" y="328"/>
                  </a:cubicBezTo>
                  <a:cubicBezTo>
                    <a:pt x="130" y="328"/>
                    <a:pt x="131" y="328"/>
                    <a:pt x="131" y="328"/>
                  </a:cubicBezTo>
                  <a:cubicBezTo>
                    <a:pt x="131" y="329"/>
                    <a:pt x="131" y="329"/>
                    <a:pt x="131" y="329"/>
                  </a:cubicBezTo>
                  <a:cubicBezTo>
                    <a:pt x="131" y="329"/>
                    <a:pt x="132" y="329"/>
                    <a:pt x="132" y="329"/>
                  </a:cubicBezTo>
                  <a:cubicBezTo>
                    <a:pt x="132" y="329"/>
                    <a:pt x="132" y="329"/>
                    <a:pt x="132" y="329"/>
                  </a:cubicBezTo>
                  <a:cubicBezTo>
                    <a:pt x="132" y="329"/>
                    <a:pt x="132" y="329"/>
                    <a:pt x="132" y="329"/>
                  </a:cubicBezTo>
                  <a:cubicBezTo>
                    <a:pt x="133" y="329"/>
                    <a:pt x="133" y="329"/>
                    <a:pt x="133" y="329"/>
                  </a:cubicBezTo>
                  <a:cubicBezTo>
                    <a:pt x="134" y="330"/>
                    <a:pt x="134" y="330"/>
                    <a:pt x="134" y="331"/>
                  </a:cubicBezTo>
                  <a:cubicBezTo>
                    <a:pt x="134" y="331"/>
                    <a:pt x="135" y="331"/>
                    <a:pt x="135" y="332"/>
                  </a:cubicBezTo>
                  <a:cubicBezTo>
                    <a:pt x="134" y="332"/>
                    <a:pt x="134" y="332"/>
                    <a:pt x="134" y="332"/>
                  </a:cubicBezTo>
                  <a:cubicBezTo>
                    <a:pt x="135" y="332"/>
                    <a:pt x="135" y="332"/>
                    <a:pt x="135" y="332"/>
                  </a:cubicBezTo>
                  <a:cubicBezTo>
                    <a:pt x="135" y="332"/>
                    <a:pt x="135" y="332"/>
                    <a:pt x="135" y="333"/>
                  </a:cubicBezTo>
                  <a:cubicBezTo>
                    <a:pt x="135" y="333"/>
                    <a:pt x="136" y="333"/>
                    <a:pt x="136" y="333"/>
                  </a:cubicBezTo>
                  <a:cubicBezTo>
                    <a:pt x="136" y="333"/>
                    <a:pt x="136" y="333"/>
                    <a:pt x="136" y="332"/>
                  </a:cubicBezTo>
                  <a:cubicBezTo>
                    <a:pt x="137" y="332"/>
                    <a:pt x="137" y="332"/>
                    <a:pt x="138" y="332"/>
                  </a:cubicBezTo>
                  <a:cubicBezTo>
                    <a:pt x="138" y="332"/>
                    <a:pt x="139" y="332"/>
                    <a:pt x="139" y="332"/>
                  </a:cubicBezTo>
                  <a:cubicBezTo>
                    <a:pt x="140" y="332"/>
                    <a:pt x="140" y="332"/>
                    <a:pt x="140" y="332"/>
                  </a:cubicBezTo>
                  <a:cubicBezTo>
                    <a:pt x="141" y="332"/>
                    <a:pt x="141" y="332"/>
                    <a:pt x="141" y="332"/>
                  </a:cubicBezTo>
                  <a:cubicBezTo>
                    <a:pt x="141" y="332"/>
                    <a:pt x="142" y="332"/>
                    <a:pt x="142" y="332"/>
                  </a:cubicBezTo>
                  <a:cubicBezTo>
                    <a:pt x="151" y="332"/>
                    <a:pt x="151" y="332"/>
                    <a:pt x="151" y="332"/>
                  </a:cubicBezTo>
                  <a:cubicBezTo>
                    <a:pt x="151" y="332"/>
                    <a:pt x="152" y="332"/>
                    <a:pt x="152" y="332"/>
                  </a:cubicBezTo>
                  <a:cubicBezTo>
                    <a:pt x="152" y="333"/>
                    <a:pt x="152" y="333"/>
                    <a:pt x="152" y="333"/>
                  </a:cubicBezTo>
                  <a:cubicBezTo>
                    <a:pt x="153" y="334"/>
                    <a:pt x="154" y="334"/>
                    <a:pt x="155" y="334"/>
                  </a:cubicBezTo>
                  <a:cubicBezTo>
                    <a:pt x="155" y="334"/>
                    <a:pt x="156" y="335"/>
                    <a:pt x="157" y="334"/>
                  </a:cubicBezTo>
                  <a:cubicBezTo>
                    <a:pt x="159" y="334"/>
                    <a:pt x="162" y="334"/>
                    <a:pt x="164" y="334"/>
                  </a:cubicBezTo>
                  <a:cubicBezTo>
                    <a:pt x="165" y="334"/>
                    <a:pt x="167" y="334"/>
                    <a:pt x="169" y="335"/>
                  </a:cubicBezTo>
                  <a:cubicBezTo>
                    <a:pt x="169" y="336"/>
                    <a:pt x="170" y="336"/>
                    <a:pt x="171" y="337"/>
                  </a:cubicBezTo>
                  <a:cubicBezTo>
                    <a:pt x="171" y="337"/>
                    <a:pt x="172" y="337"/>
                    <a:pt x="173" y="338"/>
                  </a:cubicBezTo>
                  <a:cubicBezTo>
                    <a:pt x="174" y="338"/>
                    <a:pt x="175" y="339"/>
                    <a:pt x="176" y="341"/>
                  </a:cubicBezTo>
                  <a:cubicBezTo>
                    <a:pt x="177" y="342"/>
                    <a:pt x="177" y="343"/>
                    <a:pt x="177" y="343"/>
                  </a:cubicBezTo>
                  <a:cubicBezTo>
                    <a:pt x="178" y="344"/>
                    <a:pt x="178" y="345"/>
                    <a:pt x="179" y="345"/>
                  </a:cubicBezTo>
                  <a:cubicBezTo>
                    <a:pt x="180" y="346"/>
                    <a:pt x="181" y="347"/>
                    <a:pt x="182" y="347"/>
                  </a:cubicBezTo>
                  <a:cubicBezTo>
                    <a:pt x="183" y="348"/>
                    <a:pt x="184" y="348"/>
                    <a:pt x="185" y="348"/>
                  </a:cubicBezTo>
                  <a:cubicBezTo>
                    <a:pt x="186" y="349"/>
                    <a:pt x="187" y="349"/>
                    <a:pt x="188" y="350"/>
                  </a:cubicBezTo>
                  <a:cubicBezTo>
                    <a:pt x="188" y="350"/>
                    <a:pt x="188" y="350"/>
                    <a:pt x="188" y="350"/>
                  </a:cubicBezTo>
                  <a:cubicBezTo>
                    <a:pt x="189" y="350"/>
                    <a:pt x="189" y="350"/>
                    <a:pt x="189" y="350"/>
                  </a:cubicBezTo>
                  <a:cubicBezTo>
                    <a:pt x="190" y="351"/>
                    <a:pt x="190" y="351"/>
                    <a:pt x="191" y="351"/>
                  </a:cubicBezTo>
                  <a:cubicBezTo>
                    <a:pt x="191" y="351"/>
                    <a:pt x="192" y="351"/>
                    <a:pt x="192" y="351"/>
                  </a:cubicBezTo>
                  <a:cubicBezTo>
                    <a:pt x="193" y="351"/>
                    <a:pt x="193" y="351"/>
                    <a:pt x="193" y="351"/>
                  </a:cubicBezTo>
                  <a:cubicBezTo>
                    <a:pt x="193" y="351"/>
                    <a:pt x="193" y="351"/>
                    <a:pt x="194" y="351"/>
                  </a:cubicBezTo>
                  <a:cubicBezTo>
                    <a:pt x="194" y="350"/>
                    <a:pt x="195" y="351"/>
                    <a:pt x="195" y="351"/>
                  </a:cubicBezTo>
                  <a:cubicBezTo>
                    <a:pt x="195" y="351"/>
                    <a:pt x="196" y="351"/>
                    <a:pt x="196" y="351"/>
                  </a:cubicBezTo>
                  <a:cubicBezTo>
                    <a:pt x="196" y="351"/>
                    <a:pt x="197" y="351"/>
                    <a:pt x="197" y="351"/>
                  </a:cubicBezTo>
                  <a:cubicBezTo>
                    <a:pt x="197" y="350"/>
                    <a:pt x="198" y="350"/>
                    <a:pt x="198" y="350"/>
                  </a:cubicBezTo>
                  <a:cubicBezTo>
                    <a:pt x="199" y="350"/>
                    <a:pt x="199" y="350"/>
                    <a:pt x="199" y="350"/>
                  </a:cubicBezTo>
                  <a:cubicBezTo>
                    <a:pt x="199" y="349"/>
                    <a:pt x="200" y="350"/>
                    <a:pt x="200" y="350"/>
                  </a:cubicBezTo>
                  <a:cubicBezTo>
                    <a:pt x="201" y="350"/>
                    <a:pt x="201" y="350"/>
                    <a:pt x="202" y="350"/>
                  </a:cubicBezTo>
                  <a:cubicBezTo>
                    <a:pt x="202" y="350"/>
                    <a:pt x="202" y="350"/>
                    <a:pt x="203" y="350"/>
                  </a:cubicBezTo>
                  <a:cubicBezTo>
                    <a:pt x="203" y="351"/>
                    <a:pt x="203" y="351"/>
                    <a:pt x="204" y="351"/>
                  </a:cubicBezTo>
                  <a:cubicBezTo>
                    <a:pt x="204" y="352"/>
                    <a:pt x="204" y="352"/>
                    <a:pt x="205" y="352"/>
                  </a:cubicBezTo>
                  <a:cubicBezTo>
                    <a:pt x="205" y="353"/>
                    <a:pt x="205" y="354"/>
                    <a:pt x="205" y="354"/>
                  </a:cubicBezTo>
                  <a:cubicBezTo>
                    <a:pt x="206" y="355"/>
                    <a:pt x="206" y="355"/>
                    <a:pt x="206" y="355"/>
                  </a:cubicBezTo>
                  <a:cubicBezTo>
                    <a:pt x="206" y="355"/>
                    <a:pt x="206" y="356"/>
                    <a:pt x="206" y="356"/>
                  </a:cubicBezTo>
                  <a:cubicBezTo>
                    <a:pt x="206" y="357"/>
                    <a:pt x="207" y="357"/>
                    <a:pt x="207" y="357"/>
                  </a:cubicBezTo>
                  <a:cubicBezTo>
                    <a:pt x="207" y="359"/>
                    <a:pt x="206" y="360"/>
                    <a:pt x="207" y="361"/>
                  </a:cubicBezTo>
                  <a:cubicBezTo>
                    <a:pt x="207" y="362"/>
                    <a:pt x="207" y="362"/>
                    <a:pt x="207" y="362"/>
                  </a:cubicBezTo>
                  <a:cubicBezTo>
                    <a:pt x="208" y="363"/>
                    <a:pt x="208" y="362"/>
                    <a:pt x="209" y="363"/>
                  </a:cubicBezTo>
                  <a:cubicBezTo>
                    <a:pt x="209" y="363"/>
                    <a:pt x="209" y="363"/>
                    <a:pt x="210" y="363"/>
                  </a:cubicBezTo>
                  <a:cubicBezTo>
                    <a:pt x="210" y="363"/>
                    <a:pt x="211" y="363"/>
                    <a:pt x="211" y="363"/>
                  </a:cubicBezTo>
                  <a:cubicBezTo>
                    <a:pt x="212" y="363"/>
                    <a:pt x="212" y="362"/>
                    <a:pt x="213" y="362"/>
                  </a:cubicBezTo>
                  <a:cubicBezTo>
                    <a:pt x="214" y="362"/>
                    <a:pt x="215" y="362"/>
                    <a:pt x="216" y="362"/>
                  </a:cubicBezTo>
                  <a:cubicBezTo>
                    <a:pt x="216" y="363"/>
                    <a:pt x="217" y="363"/>
                    <a:pt x="217" y="363"/>
                  </a:cubicBezTo>
                  <a:cubicBezTo>
                    <a:pt x="218" y="363"/>
                    <a:pt x="218" y="363"/>
                    <a:pt x="219" y="363"/>
                  </a:cubicBezTo>
                  <a:cubicBezTo>
                    <a:pt x="219" y="363"/>
                    <a:pt x="220" y="365"/>
                    <a:pt x="220" y="366"/>
                  </a:cubicBezTo>
                  <a:cubicBezTo>
                    <a:pt x="221" y="366"/>
                    <a:pt x="225" y="369"/>
                    <a:pt x="226" y="370"/>
                  </a:cubicBezTo>
                  <a:cubicBezTo>
                    <a:pt x="228" y="371"/>
                    <a:pt x="239" y="381"/>
                    <a:pt x="239" y="381"/>
                  </a:cubicBezTo>
                  <a:cubicBezTo>
                    <a:pt x="241" y="383"/>
                    <a:pt x="243" y="387"/>
                    <a:pt x="244" y="388"/>
                  </a:cubicBezTo>
                  <a:cubicBezTo>
                    <a:pt x="244" y="390"/>
                    <a:pt x="245" y="392"/>
                    <a:pt x="245" y="393"/>
                  </a:cubicBezTo>
                  <a:cubicBezTo>
                    <a:pt x="246" y="395"/>
                    <a:pt x="246" y="397"/>
                    <a:pt x="246" y="397"/>
                  </a:cubicBezTo>
                  <a:cubicBezTo>
                    <a:pt x="246" y="398"/>
                    <a:pt x="246" y="401"/>
                    <a:pt x="246" y="402"/>
                  </a:cubicBezTo>
                  <a:cubicBezTo>
                    <a:pt x="246" y="402"/>
                    <a:pt x="246" y="404"/>
                    <a:pt x="246" y="404"/>
                  </a:cubicBezTo>
                  <a:cubicBezTo>
                    <a:pt x="247" y="405"/>
                    <a:pt x="248" y="404"/>
                    <a:pt x="249" y="405"/>
                  </a:cubicBezTo>
                  <a:cubicBezTo>
                    <a:pt x="250" y="405"/>
                    <a:pt x="250" y="406"/>
                    <a:pt x="250" y="406"/>
                  </a:cubicBezTo>
                  <a:cubicBezTo>
                    <a:pt x="251" y="406"/>
                    <a:pt x="251" y="408"/>
                    <a:pt x="251" y="409"/>
                  </a:cubicBezTo>
                  <a:cubicBezTo>
                    <a:pt x="251" y="410"/>
                    <a:pt x="251" y="412"/>
                    <a:pt x="251" y="412"/>
                  </a:cubicBezTo>
                  <a:cubicBezTo>
                    <a:pt x="334" y="404"/>
                    <a:pt x="334" y="404"/>
                    <a:pt x="334" y="404"/>
                  </a:cubicBezTo>
                  <a:cubicBezTo>
                    <a:pt x="339" y="404"/>
                    <a:pt x="339" y="404"/>
                    <a:pt x="339" y="404"/>
                  </a:cubicBezTo>
                  <a:lnTo>
                    <a:pt x="340" y="403"/>
                  </a:lnTo>
                  <a:close/>
                </a:path>
              </a:pathLst>
            </a:custGeom>
            <a:solidFill>
              <a:schemeClr val="accent4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53B75DFC-370F-477C-B7EE-35808BA0F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5819" y="3605786"/>
              <a:ext cx="682361" cy="578272"/>
            </a:xfrm>
            <a:custGeom>
              <a:avLst/>
              <a:gdLst>
                <a:gd name="T0" fmla="*/ 118 w 172"/>
                <a:gd name="T1" fmla="*/ 142 h 146"/>
                <a:gd name="T2" fmla="*/ 121 w 172"/>
                <a:gd name="T3" fmla="*/ 139 h 146"/>
                <a:gd name="T4" fmla="*/ 121 w 172"/>
                <a:gd name="T5" fmla="*/ 135 h 146"/>
                <a:gd name="T6" fmla="*/ 120 w 172"/>
                <a:gd name="T7" fmla="*/ 132 h 146"/>
                <a:gd name="T8" fmla="*/ 121 w 172"/>
                <a:gd name="T9" fmla="*/ 130 h 146"/>
                <a:gd name="T10" fmla="*/ 119 w 172"/>
                <a:gd name="T11" fmla="*/ 129 h 146"/>
                <a:gd name="T12" fmla="*/ 118 w 172"/>
                <a:gd name="T13" fmla="*/ 127 h 146"/>
                <a:gd name="T14" fmla="*/ 117 w 172"/>
                <a:gd name="T15" fmla="*/ 123 h 146"/>
                <a:gd name="T16" fmla="*/ 118 w 172"/>
                <a:gd name="T17" fmla="*/ 119 h 146"/>
                <a:gd name="T18" fmla="*/ 122 w 172"/>
                <a:gd name="T19" fmla="*/ 119 h 146"/>
                <a:gd name="T20" fmla="*/ 120 w 172"/>
                <a:gd name="T21" fmla="*/ 117 h 146"/>
                <a:gd name="T22" fmla="*/ 124 w 172"/>
                <a:gd name="T23" fmla="*/ 115 h 146"/>
                <a:gd name="T24" fmla="*/ 123 w 172"/>
                <a:gd name="T25" fmla="*/ 113 h 146"/>
                <a:gd name="T26" fmla="*/ 124 w 172"/>
                <a:gd name="T27" fmla="*/ 109 h 146"/>
                <a:gd name="T28" fmla="*/ 122 w 172"/>
                <a:gd name="T29" fmla="*/ 107 h 146"/>
                <a:gd name="T30" fmla="*/ 125 w 172"/>
                <a:gd name="T31" fmla="*/ 106 h 146"/>
                <a:gd name="T32" fmla="*/ 126 w 172"/>
                <a:gd name="T33" fmla="*/ 105 h 146"/>
                <a:gd name="T34" fmla="*/ 127 w 172"/>
                <a:gd name="T35" fmla="*/ 99 h 146"/>
                <a:gd name="T36" fmla="*/ 129 w 172"/>
                <a:gd name="T37" fmla="*/ 98 h 146"/>
                <a:gd name="T38" fmla="*/ 131 w 172"/>
                <a:gd name="T39" fmla="*/ 95 h 146"/>
                <a:gd name="T40" fmla="*/ 133 w 172"/>
                <a:gd name="T41" fmla="*/ 91 h 146"/>
                <a:gd name="T42" fmla="*/ 137 w 172"/>
                <a:gd name="T43" fmla="*/ 91 h 146"/>
                <a:gd name="T44" fmla="*/ 139 w 172"/>
                <a:gd name="T45" fmla="*/ 84 h 146"/>
                <a:gd name="T46" fmla="*/ 139 w 172"/>
                <a:gd name="T47" fmla="*/ 78 h 146"/>
                <a:gd name="T48" fmla="*/ 142 w 172"/>
                <a:gd name="T49" fmla="*/ 79 h 146"/>
                <a:gd name="T50" fmla="*/ 140 w 172"/>
                <a:gd name="T51" fmla="*/ 73 h 146"/>
                <a:gd name="T52" fmla="*/ 144 w 172"/>
                <a:gd name="T53" fmla="*/ 74 h 146"/>
                <a:gd name="T54" fmla="*/ 144 w 172"/>
                <a:gd name="T55" fmla="*/ 70 h 146"/>
                <a:gd name="T56" fmla="*/ 150 w 172"/>
                <a:gd name="T57" fmla="*/ 67 h 146"/>
                <a:gd name="T58" fmla="*/ 154 w 172"/>
                <a:gd name="T59" fmla="*/ 58 h 146"/>
                <a:gd name="T60" fmla="*/ 156 w 172"/>
                <a:gd name="T61" fmla="*/ 55 h 146"/>
                <a:gd name="T62" fmla="*/ 154 w 172"/>
                <a:gd name="T63" fmla="*/ 51 h 146"/>
                <a:gd name="T64" fmla="*/ 157 w 172"/>
                <a:gd name="T65" fmla="*/ 48 h 146"/>
                <a:gd name="T66" fmla="*/ 153 w 172"/>
                <a:gd name="T67" fmla="*/ 47 h 146"/>
                <a:gd name="T68" fmla="*/ 157 w 172"/>
                <a:gd name="T69" fmla="*/ 45 h 146"/>
                <a:gd name="T70" fmla="*/ 158 w 172"/>
                <a:gd name="T71" fmla="*/ 41 h 146"/>
                <a:gd name="T72" fmla="*/ 162 w 172"/>
                <a:gd name="T73" fmla="*/ 40 h 146"/>
                <a:gd name="T74" fmla="*/ 164 w 172"/>
                <a:gd name="T75" fmla="*/ 35 h 146"/>
                <a:gd name="T76" fmla="*/ 163 w 172"/>
                <a:gd name="T77" fmla="*/ 32 h 146"/>
                <a:gd name="T78" fmla="*/ 168 w 172"/>
                <a:gd name="T79" fmla="*/ 29 h 146"/>
                <a:gd name="T80" fmla="*/ 169 w 172"/>
                <a:gd name="T81" fmla="*/ 25 h 146"/>
                <a:gd name="T82" fmla="*/ 169 w 172"/>
                <a:gd name="T83" fmla="*/ 21 h 146"/>
                <a:gd name="T84" fmla="*/ 153 w 172"/>
                <a:gd name="T85" fmla="*/ 12 h 146"/>
                <a:gd name="T86" fmla="*/ 154 w 172"/>
                <a:gd name="T87" fmla="*/ 0 h 146"/>
                <a:gd name="T88" fmla="*/ 5 w 172"/>
                <a:gd name="T89" fmla="*/ 120 h 146"/>
                <a:gd name="T90" fmla="*/ 8 w 172"/>
                <a:gd name="T91" fmla="*/ 123 h 146"/>
                <a:gd name="T92" fmla="*/ 9 w 172"/>
                <a:gd name="T93" fmla="*/ 124 h 146"/>
                <a:gd name="T94" fmla="*/ 12 w 172"/>
                <a:gd name="T95" fmla="*/ 123 h 146"/>
                <a:gd name="T96" fmla="*/ 16 w 172"/>
                <a:gd name="T97" fmla="*/ 123 h 146"/>
                <a:gd name="T98" fmla="*/ 19 w 172"/>
                <a:gd name="T99" fmla="*/ 124 h 146"/>
                <a:gd name="T100" fmla="*/ 120 w 172"/>
                <a:gd name="T101" fmla="*/ 14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2" h="146">
                  <a:moveTo>
                    <a:pt x="120" y="144"/>
                  </a:moveTo>
                  <a:cubicBezTo>
                    <a:pt x="120" y="144"/>
                    <a:pt x="119" y="144"/>
                    <a:pt x="119" y="144"/>
                  </a:cubicBezTo>
                  <a:cubicBezTo>
                    <a:pt x="119" y="143"/>
                    <a:pt x="119" y="143"/>
                    <a:pt x="118" y="143"/>
                  </a:cubicBezTo>
                  <a:cubicBezTo>
                    <a:pt x="118" y="143"/>
                    <a:pt x="118" y="142"/>
                    <a:pt x="118" y="142"/>
                  </a:cubicBezTo>
                  <a:cubicBezTo>
                    <a:pt x="118" y="142"/>
                    <a:pt x="119" y="141"/>
                    <a:pt x="120" y="141"/>
                  </a:cubicBezTo>
                  <a:cubicBezTo>
                    <a:pt x="120" y="141"/>
                    <a:pt x="121" y="141"/>
                    <a:pt x="122" y="141"/>
                  </a:cubicBezTo>
                  <a:cubicBezTo>
                    <a:pt x="122" y="141"/>
                    <a:pt x="122" y="140"/>
                    <a:pt x="122" y="140"/>
                  </a:cubicBezTo>
                  <a:cubicBezTo>
                    <a:pt x="122" y="140"/>
                    <a:pt x="122" y="139"/>
                    <a:pt x="121" y="139"/>
                  </a:cubicBezTo>
                  <a:cubicBezTo>
                    <a:pt x="121" y="138"/>
                    <a:pt x="121" y="138"/>
                    <a:pt x="122" y="137"/>
                  </a:cubicBezTo>
                  <a:cubicBezTo>
                    <a:pt x="122" y="137"/>
                    <a:pt x="123" y="137"/>
                    <a:pt x="123" y="136"/>
                  </a:cubicBezTo>
                  <a:cubicBezTo>
                    <a:pt x="123" y="136"/>
                    <a:pt x="123" y="136"/>
                    <a:pt x="122" y="135"/>
                  </a:cubicBezTo>
                  <a:cubicBezTo>
                    <a:pt x="122" y="135"/>
                    <a:pt x="122" y="135"/>
                    <a:pt x="121" y="135"/>
                  </a:cubicBezTo>
                  <a:cubicBezTo>
                    <a:pt x="121" y="135"/>
                    <a:pt x="121" y="136"/>
                    <a:pt x="121" y="136"/>
                  </a:cubicBezTo>
                  <a:cubicBezTo>
                    <a:pt x="121" y="136"/>
                    <a:pt x="120" y="136"/>
                    <a:pt x="120" y="136"/>
                  </a:cubicBezTo>
                  <a:cubicBezTo>
                    <a:pt x="120" y="135"/>
                    <a:pt x="120" y="134"/>
                    <a:pt x="120" y="133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1" y="131"/>
                    <a:pt x="122" y="130"/>
                    <a:pt x="122" y="129"/>
                  </a:cubicBezTo>
                  <a:cubicBezTo>
                    <a:pt x="122" y="129"/>
                    <a:pt x="122" y="128"/>
                    <a:pt x="122" y="128"/>
                  </a:cubicBezTo>
                  <a:cubicBezTo>
                    <a:pt x="122" y="128"/>
                    <a:pt x="121" y="128"/>
                    <a:pt x="121" y="129"/>
                  </a:cubicBezTo>
                  <a:cubicBezTo>
                    <a:pt x="121" y="129"/>
                    <a:pt x="121" y="129"/>
                    <a:pt x="121" y="130"/>
                  </a:cubicBezTo>
                  <a:cubicBezTo>
                    <a:pt x="121" y="130"/>
                    <a:pt x="120" y="130"/>
                    <a:pt x="120" y="131"/>
                  </a:cubicBezTo>
                  <a:cubicBezTo>
                    <a:pt x="120" y="131"/>
                    <a:pt x="120" y="131"/>
                    <a:pt x="119" y="131"/>
                  </a:cubicBezTo>
                  <a:cubicBezTo>
                    <a:pt x="119" y="131"/>
                    <a:pt x="118" y="131"/>
                    <a:pt x="118" y="130"/>
                  </a:cubicBezTo>
                  <a:cubicBezTo>
                    <a:pt x="118" y="130"/>
                    <a:pt x="119" y="130"/>
                    <a:pt x="119" y="129"/>
                  </a:cubicBezTo>
                  <a:cubicBezTo>
                    <a:pt x="119" y="129"/>
                    <a:pt x="120" y="129"/>
                    <a:pt x="120" y="128"/>
                  </a:cubicBezTo>
                  <a:cubicBezTo>
                    <a:pt x="120" y="128"/>
                    <a:pt x="119" y="128"/>
                    <a:pt x="119" y="128"/>
                  </a:cubicBezTo>
                  <a:cubicBezTo>
                    <a:pt x="118" y="128"/>
                    <a:pt x="117" y="129"/>
                    <a:pt x="117" y="128"/>
                  </a:cubicBezTo>
                  <a:cubicBezTo>
                    <a:pt x="116" y="128"/>
                    <a:pt x="117" y="127"/>
                    <a:pt x="118" y="127"/>
                  </a:cubicBezTo>
                  <a:cubicBezTo>
                    <a:pt x="118" y="127"/>
                    <a:pt x="119" y="127"/>
                    <a:pt x="118" y="126"/>
                  </a:cubicBezTo>
                  <a:cubicBezTo>
                    <a:pt x="118" y="126"/>
                    <a:pt x="118" y="126"/>
                    <a:pt x="118" y="125"/>
                  </a:cubicBezTo>
                  <a:cubicBezTo>
                    <a:pt x="118" y="125"/>
                    <a:pt x="117" y="125"/>
                    <a:pt x="117" y="125"/>
                  </a:cubicBezTo>
                  <a:cubicBezTo>
                    <a:pt x="117" y="124"/>
                    <a:pt x="117" y="124"/>
                    <a:pt x="117" y="123"/>
                  </a:cubicBezTo>
                  <a:cubicBezTo>
                    <a:pt x="118" y="123"/>
                    <a:pt x="118" y="123"/>
                    <a:pt x="119" y="123"/>
                  </a:cubicBezTo>
                  <a:cubicBezTo>
                    <a:pt x="119" y="122"/>
                    <a:pt x="120" y="122"/>
                    <a:pt x="120" y="122"/>
                  </a:cubicBezTo>
                  <a:cubicBezTo>
                    <a:pt x="120" y="121"/>
                    <a:pt x="119" y="121"/>
                    <a:pt x="119" y="121"/>
                  </a:cubicBezTo>
                  <a:cubicBezTo>
                    <a:pt x="119" y="120"/>
                    <a:pt x="118" y="120"/>
                    <a:pt x="118" y="119"/>
                  </a:cubicBezTo>
                  <a:cubicBezTo>
                    <a:pt x="117" y="119"/>
                    <a:pt x="118" y="117"/>
                    <a:pt x="119" y="117"/>
                  </a:cubicBezTo>
                  <a:cubicBezTo>
                    <a:pt x="120" y="117"/>
                    <a:pt x="120" y="118"/>
                    <a:pt x="120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2" y="119"/>
                    <a:pt x="122" y="119"/>
                    <a:pt x="122" y="119"/>
                  </a:cubicBezTo>
                  <a:cubicBezTo>
                    <a:pt x="123" y="120"/>
                    <a:pt x="124" y="119"/>
                    <a:pt x="124" y="119"/>
                  </a:cubicBezTo>
                  <a:cubicBezTo>
                    <a:pt x="124" y="118"/>
                    <a:pt x="123" y="118"/>
                    <a:pt x="123" y="118"/>
                  </a:cubicBezTo>
                  <a:cubicBezTo>
                    <a:pt x="122" y="117"/>
                    <a:pt x="122" y="117"/>
                    <a:pt x="121" y="117"/>
                  </a:cubicBezTo>
                  <a:cubicBezTo>
                    <a:pt x="121" y="117"/>
                    <a:pt x="121" y="117"/>
                    <a:pt x="120" y="117"/>
                  </a:cubicBezTo>
                  <a:cubicBezTo>
                    <a:pt x="120" y="117"/>
                    <a:pt x="120" y="116"/>
                    <a:pt x="120" y="116"/>
                  </a:cubicBezTo>
                  <a:cubicBezTo>
                    <a:pt x="120" y="116"/>
                    <a:pt x="120" y="115"/>
                    <a:pt x="120" y="115"/>
                  </a:cubicBezTo>
                  <a:cubicBezTo>
                    <a:pt x="121" y="115"/>
                    <a:pt x="122" y="114"/>
                    <a:pt x="123" y="115"/>
                  </a:cubicBezTo>
                  <a:cubicBezTo>
                    <a:pt x="123" y="115"/>
                    <a:pt x="123" y="115"/>
                    <a:pt x="124" y="115"/>
                  </a:cubicBezTo>
                  <a:cubicBezTo>
                    <a:pt x="124" y="115"/>
                    <a:pt x="124" y="115"/>
                    <a:pt x="125" y="115"/>
                  </a:cubicBezTo>
                  <a:cubicBezTo>
                    <a:pt x="125" y="115"/>
                    <a:pt x="125" y="115"/>
                    <a:pt x="125" y="114"/>
                  </a:cubicBezTo>
                  <a:cubicBezTo>
                    <a:pt x="124" y="114"/>
                    <a:pt x="124" y="114"/>
                    <a:pt x="124" y="113"/>
                  </a:cubicBezTo>
                  <a:cubicBezTo>
                    <a:pt x="124" y="113"/>
                    <a:pt x="123" y="113"/>
                    <a:pt x="123" y="113"/>
                  </a:cubicBezTo>
                  <a:cubicBezTo>
                    <a:pt x="123" y="112"/>
                    <a:pt x="123" y="112"/>
                    <a:pt x="123" y="112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0"/>
                    <a:pt x="124" y="110"/>
                    <a:pt x="124" y="110"/>
                  </a:cubicBezTo>
                  <a:cubicBezTo>
                    <a:pt x="124" y="109"/>
                    <a:pt x="124" y="109"/>
                    <a:pt x="124" y="109"/>
                  </a:cubicBezTo>
                  <a:cubicBezTo>
                    <a:pt x="124" y="108"/>
                    <a:pt x="124" y="108"/>
                    <a:pt x="124" y="108"/>
                  </a:cubicBezTo>
                  <a:cubicBezTo>
                    <a:pt x="124" y="108"/>
                    <a:pt x="124" y="108"/>
                    <a:pt x="123" y="108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2" y="107"/>
                    <a:pt x="122" y="107"/>
                    <a:pt x="122" y="107"/>
                  </a:cubicBezTo>
                  <a:cubicBezTo>
                    <a:pt x="122" y="107"/>
                    <a:pt x="122" y="107"/>
                    <a:pt x="122" y="106"/>
                  </a:cubicBezTo>
                  <a:cubicBezTo>
                    <a:pt x="122" y="106"/>
                    <a:pt x="122" y="106"/>
                    <a:pt x="122" y="105"/>
                  </a:cubicBezTo>
                  <a:cubicBezTo>
                    <a:pt x="123" y="105"/>
                    <a:pt x="124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6" y="107"/>
                    <a:pt x="126" y="107"/>
                    <a:pt x="126" y="106"/>
                  </a:cubicBezTo>
                  <a:cubicBezTo>
                    <a:pt x="126" y="106"/>
                    <a:pt x="126" y="106"/>
                    <a:pt x="126" y="105"/>
                  </a:cubicBezTo>
                  <a:cubicBezTo>
                    <a:pt x="125" y="105"/>
                    <a:pt x="126" y="105"/>
                    <a:pt x="126" y="105"/>
                  </a:cubicBezTo>
                  <a:cubicBezTo>
                    <a:pt x="127" y="104"/>
                    <a:pt x="128" y="105"/>
                    <a:pt x="129" y="104"/>
                  </a:cubicBezTo>
                  <a:cubicBezTo>
                    <a:pt x="129" y="104"/>
                    <a:pt x="129" y="102"/>
                    <a:pt x="129" y="102"/>
                  </a:cubicBezTo>
                  <a:cubicBezTo>
                    <a:pt x="128" y="101"/>
                    <a:pt x="127" y="101"/>
                    <a:pt x="127" y="100"/>
                  </a:cubicBezTo>
                  <a:cubicBezTo>
                    <a:pt x="126" y="100"/>
                    <a:pt x="127" y="99"/>
                    <a:pt x="127" y="99"/>
                  </a:cubicBezTo>
                  <a:cubicBezTo>
                    <a:pt x="128" y="99"/>
                    <a:pt x="128" y="99"/>
                    <a:pt x="129" y="99"/>
                  </a:cubicBezTo>
                  <a:cubicBezTo>
                    <a:pt x="129" y="99"/>
                    <a:pt x="130" y="99"/>
                    <a:pt x="130" y="99"/>
                  </a:cubicBezTo>
                  <a:cubicBezTo>
                    <a:pt x="131" y="99"/>
                    <a:pt x="131" y="99"/>
                    <a:pt x="131" y="98"/>
                  </a:cubicBezTo>
                  <a:cubicBezTo>
                    <a:pt x="131" y="98"/>
                    <a:pt x="130" y="98"/>
                    <a:pt x="129" y="98"/>
                  </a:cubicBezTo>
                  <a:cubicBezTo>
                    <a:pt x="129" y="98"/>
                    <a:pt x="127" y="97"/>
                    <a:pt x="127" y="96"/>
                  </a:cubicBezTo>
                  <a:cubicBezTo>
                    <a:pt x="127" y="96"/>
                    <a:pt x="127" y="96"/>
                    <a:pt x="127" y="95"/>
                  </a:cubicBezTo>
                  <a:cubicBezTo>
                    <a:pt x="128" y="95"/>
                    <a:pt x="128" y="96"/>
                    <a:pt x="129" y="96"/>
                  </a:cubicBezTo>
                  <a:cubicBezTo>
                    <a:pt x="130" y="96"/>
                    <a:pt x="131" y="97"/>
                    <a:pt x="131" y="95"/>
                  </a:cubicBezTo>
                  <a:cubicBezTo>
                    <a:pt x="131" y="95"/>
                    <a:pt x="131" y="95"/>
                    <a:pt x="131" y="94"/>
                  </a:cubicBezTo>
                  <a:cubicBezTo>
                    <a:pt x="131" y="94"/>
                    <a:pt x="132" y="93"/>
                    <a:pt x="132" y="93"/>
                  </a:cubicBezTo>
                  <a:cubicBezTo>
                    <a:pt x="132" y="93"/>
                    <a:pt x="133" y="93"/>
                    <a:pt x="133" y="93"/>
                  </a:cubicBezTo>
                  <a:cubicBezTo>
                    <a:pt x="134" y="92"/>
                    <a:pt x="133" y="92"/>
                    <a:pt x="133" y="91"/>
                  </a:cubicBezTo>
                  <a:cubicBezTo>
                    <a:pt x="133" y="90"/>
                    <a:pt x="135" y="90"/>
                    <a:pt x="135" y="90"/>
                  </a:cubicBezTo>
                  <a:cubicBezTo>
                    <a:pt x="136" y="90"/>
                    <a:pt x="135" y="91"/>
                    <a:pt x="136" y="92"/>
                  </a:cubicBezTo>
                  <a:cubicBezTo>
                    <a:pt x="136" y="92"/>
                    <a:pt x="136" y="93"/>
                    <a:pt x="137" y="92"/>
                  </a:cubicBezTo>
                  <a:cubicBezTo>
                    <a:pt x="137" y="92"/>
                    <a:pt x="137" y="91"/>
                    <a:pt x="137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90"/>
                    <a:pt x="138" y="89"/>
                    <a:pt x="138" y="89"/>
                  </a:cubicBezTo>
                  <a:cubicBezTo>
                    <a:pt x="139" y="88"/>
                    <a:pt x="140" y="88"/>
                    <a:pt x="139" y="87"/>
                  </a:cubicBezTo>
                  <a:cubicBezTo>
                    <a:pt x="139" y="86"/>
                    <a:pt x="139" y="85"/>
                    <a:pt x="139" y="84"/>
                  </a:cubicBezTo>
                  <a:cubicBezTo>
                    <a:pt x="140" y="84"/>
                    <a:pt x="140" y="83"/>
                    <a:pt x="140" y="83"/>
                  </a:cubicBezTo>
                  <a:cubicBezTo>
                    <a:pt x="140" y="83"/>
                    <a:pt x="140" y="82"/>
                    <a:pt x="140" y="82"/>
                  </a:cubicBezTo>
                  <a:cubicBezTo>
                    <a:pt x="140" y="81"/>
                    <a:pt x="140" y="81"/>
                    <a:pt x="140" y="80"/>
                  </a:cubicBezTo>
                  <a:cubicBezTo>
                    <a:pt x="139" y="79"/>
                    <a:pt x="139" y="79"/>
                    <a:pt x="139" y="78"/>
                  </a:cubicBezTo>
                  <a:cubicBezTo>
                    <a:pt x="139" y="78"/>
                    <a:pt x="139" y="77"/>
                    <a:pt x="140" y="77"/>
                  </a:cubicBezTo>
                  <a:cubicBezTo>
                    <a:pt x="140" y="77"/>
                    <a:pt x="140" y="78"/>
                    <a:pt x="140" y="78"/>
                  </a:cubicBezTo>
                  <a:cubicBezTo>
                    <a:pt x="140" y="79"/>
                    <a:pt x="141" y="79"/>
                    <a:pt x="141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7"/>
                    <a:pt x="143" y="77"/>
                  </a:cubicBezTo>
                  <a:cubicBezTo>
                    <a:pt x="142" y="76"/>
                    <a:pt x="141" y="76"/>
                    <a:pt x="140" y="75"/>
                  </a:cubicBezTo>
                  <a:cubicBezTo>
                    <a:pt x="140" y="74"/>
                    <a:pt x="140" y="73"/>
                    <a:pt x="140" y="73"/>
                  </a:cubicBezTo>
                  <a:cubicBezTo>
                    <a:pt x="140" y="72"/>
                    <a:pt x="140" y="72"/>
                    <a:pt x="141" y="71"/>
                  </a:cubicBezTo>
                  <a:cubicBezTo>
                    <a:pt x="141" y="72"/>
                    <a:pt x="141" y="73"/>
                    <a:pt x="141" y="73"/>
                  </a:cubicBezTo>
                  <a:cubicBezTo>
                    <a:pt x="141" y="73"/>
                    <a:pt x="141" y="74"/>
                    <a:pt x="142" y="74"/>
                  </a:cubicBezTo>
                  <a:cubicBezTo>
                    <a:pt x="142" y="75"/>
                    <a:pt x="143" y="75"/>
                    <a:pt x="144" y="74"/>
                  </a:cubicBezTo>
                  <a:cubicBezTo>
                    <a:pt x="144" y="72"/>
                    <a:pt x="143" y="71"/>
                    <a:pt x="143" y="70"/>
                  </a:cubicBezTo>
                  <a:cubicBezTo>
                    <a:pt x="143" y="70"/>
                    <a:pt x="143" y="69"/>
                    <a:pt x="143" y="69"/>
                  </a:cubicBezTo>
                  <a:cubicBezTo>
                    <a:pt x="143" y="69"/>
                    <a:pt x="143" y="68"/>
                    <a:pt x="144" y="68"/>
                  </a:cubicBezTo>
                  <a:cubicBezTo>
                    <a:pt x="144" y="69"/>
                    <a:pt x="144" y="69"/>
                    <a:pt x="144" y="70"/>
                  </a:cubicBezTo>
                  <a:cubicBezTo>
                    <a:pt x="145" y="70"/>
                    <a:pt x="145" y="70"/>
                    <a:pt x="146" y="70"/>
                  </a:cubicBezTo>
                  <a:cubicBezTo>
                    <a:pt x="147" y="70"/>
                    <a:pt x="148" y="70"/>
                    <a:pt x="149" y="69"/>
                  </a:cubicBezTo>
                  <a:cubicBezTo>
                    <a:pt x="149" y="69"/>
                    <a:pt x="149" y="69"/>
                    <a:pt x="150" y="69"/>
                  </a:cubicBezTo>
                  <a:cubicBezTo>
                    <a:pt x="150" y="68"/>
                    <a:pt x="150" y="68"/>
                    <a:pt x="150" y="67"/>
                  </a:cubicBezTo>
                  <a:cubicBezTo>
                    <a:pt x="151" y="66"/>
                    <a:pt x="151" y="66"/>
                    <a:pt x="150" y="65"/>
                  </a:cubicBezTo>
                  <a:cubicBezTo>
                    <a:pt x="150" y="64"/>
                    <a:pt x="149" y="63"/>
                    <a:pt x="149" y="62"/>
                  </a:cubicBezTo>
                  <a:cubicBezTo>
                    <a:pt x="150" y="61"/>
                    <a:pt x="152" y="62"/>
                    <a:pt x="153" y="61"/>
                  </a:cubicBezTo>
                  <a:cubicBezTo>
                    <a:pt x="153" y="61"/>
                    <a:pt x="153" y="59"/>
                    <a:pt x="154" y="58"/>
                  </a:cubicBezTo>
                  <a:cubicBezTo>
                    <a:pt x="154" y="58"/>
                    <a:pt x="155" y="58"/>
                    <a:pt x="156" y="58"/>
                  </a:cubicBezTo>
                  <a:cubicBezTo>
                    <a:pt x="156" y="58"/>
                    <a:pt x="156" y="57"/>
                    <a:pt x="156" y="57"/>
                  </a:cubicBezTo>
                  <a:cubicBezTo>
                    <a:pt x="156" y="57"/>
                    <a:pt x="156" y="56"/>
                    <a:pt x="156" y="56"/>
                  </a:cubicBezTo>
                  <a:cubicBezTo>
                    <a:pt x="156" y="56"/>
                    <a:pt x="156" y="56"/>
                    <a:pt x="156" y="55"/>
                  </a:cubicBezTo>
                  <a:cubicBezTo>
                    <a:pt x="156" y="55"/>
                    <a:pt x="156" y="55"/>
                    <a:pt x="156" y="54"/>
                  </a:cubicBezTo>
                  <a:cubicBezTo>
                    <a:pt x="156" y="54"/>
                    <a:pt x="156" y="54"/>
                    <a:pt x="155" y="54"/>
                  </a:cubicBezTo>
                  <a:cubicBezTo>
                    <a:pt x="155" y="53"/>
                    <a:pt x="154" y="53"/>
                    <a:pt x="154" y="52"/>
                  </a:cubicBezTo>
                  <a:cubicBezTo>
                    <a:pt x="154" y="52"/>
                    <a:pt x="154" y="52"/>
                    <a:pt x="154" y="51"/>
                  </a:cubicBezTo>
                  <a:cubicBezTo>
                    <a:pt x="154" y="51"/>
                    <a:pt x="155" y="51"/>
                    <a:pt x="155" y="51"/>
                  </a:cubicBezTo>
                  <a:cubicBezTo>
                    <a:pt x="155" y="51"/>
                    <a:pt x="156" y="50"/>
                    <a:pt x="156" y="50"/>
                  </a:cubicBezTo>
                  <a:cubicBezTo>
                    <a:pt x="156" y="50"/>
                    <a:pt x="156" y="49"/>
                    <a:pt x="156" y="49"/>
                  </a:cubicBezTo>
                  <a:cubicBezTo>
                    <a:pt x="156" y="49"/>
                    <a:pt x="157" y="48"/>
                    <a:pt x="157" y="48"/>
                  </a:cubicBezTo>
                  <a:cubicBezTo>
                    <a:pt x="156" y="47"/>
                    <a:pt x="156" y="47"/>
                    <a:pt x="156" y="47"/>
                  </a:cubicBezTo>
                  <a:cubicBezTo>
                    <a:pt x="156" y="47"/>
                    <a:pt x="156" y="47"/>
                    <a:pt x="156" y="46"/>
                  </a:cubicBezTo>
                  <a:cubicBezTo>
                    <a:pt x="155" y="46"/>
                    <a:pt x="155" y="47"/>
                    <a:pt x="155" y="47"/>
                  </a:cubicBezTo>
                  <a:cubicBezTo>
                    <a:pt x="154" y="47"/>
                    <a:pt x="154" y="47"/>
                    <a:pt x="153" y="47"/>
                  </a:cubicBezTo>
                  <a:cubicBezTo>
                    <a:pt x="153" y="46"/>
                    <a:pt x="154" y="46"/>
                    <a:pt x="155" y="45"/>
                  </a:cubicBezTo>
                  <a:cubicBezTo>
                    <a:pt x="155" y="44"/>
                    <a:pt x="155" y="43"/>
                    <a:pt x="157" y="43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7" y="46"/>
                    <a:pt x="157" y="46"/>
                    <a:pt x="157" y="46"/>
                  </a:cubicBezTo>
                  <a:cubicBezTo>
                    <a:pt x="157" y="46"/>
                    <a:pt x="158" y="45"/>
                    <a:pt x="158" y="45"/>
                  </a:cubicBezTo>
                  <a:cubicBezTo>
                    <a:pt x="159" y="44"/>
                    <a:pt x="159" y="44"/>
                    <a:pt x="158" y="43"/>
                  </a:cubicBezTo>
                  <a:cubicBezTo>
                    <a:pt x="158" y="42"/>
                    <a:pt x="158" y="41"/>
                    <a:pt x="158" y="41"/>
                  </a:cubicBezTo>
                  <a:cubicBezTo>
                    <a:pt x="159" y="40"/>
                    <a:pt x="159" y="40"/>
                    <a:pt x="160" y="40"/>
                  </a:cubicBezTo>
                  <a:cubicBezTo>
                    <a:pt x="160" y="40"/>
                    <a:pt x="161" y="41"/>
                    <a:pt x="161" y="41"/>
                  </a:cubicBezTo>
                  <a:cubicBezTo>
                    <a:pt x="161" y="41"/>
                    <a:pt x="162" y="41"/>
                    <a:pt x="162" y="41"/>
                  </a:cubicBezTo>
                  <a:cubicBezTo>
                    <a:pt x="162" y="41"/>
                    <a:pt x="162" y="40"/>
                    <a:pt x="162" y="40"/>
                  </a:cubicBezTo>
                  <a:cubicBezTo>
                    <a:pt x="162" y="40"/>
                    <a:pt x="161" y="40"/>
                    <a:pt x="161" y="39"/>
                  </a:cubicBezTo>
                  <a:cubicBezTo>
                    <a:pt x="161" y="38"/>
                    <a:pt x="162" y="38"/>
                    <a:pt x="163" y="38"/>
                  </a:cubicBezTo>
                  <a:cubicBezTo>
                    <a:pt x="163" y="37"/>
                    <a:pt x="164" y="37"/>
                    <a:pt x="164" y="37"/>
                  </a:cubicBezTo>
                  <a:cubicBezTo>
                    <a:pt x="164" y="36"/>
                    <a:pt x="164" y="36"/>
                    <a:pt x="164" y="35"/>
                  </a:cubicBezTo>
                  <a:cubicBezTo>
                    <a:pt x="163" y="35"/>
                    <a:pt x="163" y="35"/>
                    <a:pt x="162" y="35"/>
                  </a:cubicBezTo>
                  <a:cubicBezTo>
                    <a:pt x="162" y="35"/>
                    <a:pt x="162" y="35"/>
                    <a:pt x="161" y="34"/>
                  </a:cubicBezTo>
                  <a:cubicBezTo>
                    <a:pt x="161" y="34"/>
                    <a:pt x="161" y="33"/>
                    <a:pt x="161" y="32"/>
                  </a:cubicBezTo>
                  <a:cubicBezTo>
                    <a:pt x="162" y="31"/>
                    <a:pt x="162" y="32"/>
                    <a:pt x="163" y="32"/>
                  </a:cubicBezTo>
                  <a:cubicBezTo>
                    <a:pt x="163" y="32"/>
                    <a:pt x="164" y="32"/>
                    <a:pt x="164" y="32"/>
                  </a:cubicBezTo>
                  <a:cubicBezTo>
                    <a:pt x="165" y="32"/>
                    <a:pt x="165" y="31"/>
                    <a:pt x="165" y="31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7" y="29"/>
                    <a:pt x="167" y="29"/>
                    <a:pt x="168" y="29"/>
                  </a:cubicBezTo>
                  <a:cubicBezTo>
                    <a:pt x="168" y="29"/>
                    <a:pt x="169" y="29"/>
                    <a:pt x="169" y="28"/>
                  </a:cubicBezTo>
                  <a:cubicBezTo>
                    <a:pt x="169" y="28"/>
                    <a:pt x="168" y="28"/>
                    <a:pt x="168" y="28"/>
                  </a:cubicBezTo>
                  <a:cubicBezTo>
                    <a:pt x="167" y="27"/>
                    <a:pt x="167" y="26"/>
                    <a:pt x="167" y="26"/>
                  </a:cubicBezTo>
                  <a:cubicBezTo>
                    <a:pt x="168" y="25"/>
                    <a:pt x="169" y="25"/>
                    <a:pt x="169" y="25"/>
                  </a:cubicBezTo>
                  <a:cubicBezTo>
                    <a:pt x="170" y="25"/>
                    <a:pt x="170" y="25"/>
                    <a:pt x="170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2" y="25"/>
                    <a:pt x="171" y="25"/>
                    <a:pt x="171" y="25"/>
                  </a:cubicBezTo>
                  <a:cubicBezTo>
                    <a:pt x="171" y="24"/>
                    <a:pt x="169" y="21"/>
                    <a:pt x="169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47" y="20"/>
                    <a:pt x="150" y="16"/>
                    <a:pt x="150" y="15"/>
                  </a:cubicBezTo>
                  <a:cubicBezTo>
                    <a:pt x="150" y="15"/>
                    <a:pt x="153" y="12"/>
                    <a:pt x="153" y="12"/>
                  </a:cubicBezTo>
                  <a:cubicBezTo>
                    <a:pt x="153" y="12"/>
                    <a:pt x="157" y="9"/>
                    <a:pt x="157" y="9"/>
                  </a:cubicBezTo>
                  <a:cubicBezTo>
                    <a:pt x="157" y="4"/>
                    <a:pt x="157" y="4"/>
                    <a:pt x="157" y="4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6" y="121"/>
                    <a:pt x="6" y="121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5" y="122"/>
                    <a:pt x="6" y="123"/>
                    <a:pt x="6" y="123"/>
                  </a:cubicBezTo>
                  <a:cubicBezTo>
                    <a:pt x="7" y="123"/>
                    <a:pt x="8" y="122"/>
                    <a:pt x="8" y="123"/>
                  </a:cubicBezTo>
                  <a:cubicBezTo>
                    <a:pt x="8" y="124"/>
                    <a:pt x="7" y="124"/>
                    <a:pt x="8" y="124"/>
                  </a:cubicBezTo>
                  <a:cubicBezTo>
                    <a:pt x="8" y="124"/>
                    <a:pt x="8" y="125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0" y="124"/>
                    <a:pt x="10" y="123"/>
                    <a:pt x="10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4"/>
                    <a:pt x="12" y="124"/>
                    <a:pt x="12" y="124"/>
                  </a:cubicBezTo>
                  <a:cubicBezTo>
                    <a:pt x="12" y="124"/>
                    <a:pt x="12" y="123"/>
                    <a:pt x="12" y="123"/>
                  </a:cubicBezTo>
                  <a:cubicBezTo>
                    <a:pt x="13" y="123"/>
                    <a:pt x="13" y="123"/>
                    <a:pt x="13" y="124"/>
                  </a:cubicBezTo>
                  <a:cubicBezTo>
                    <a:pt x="13" y="124"/>
                    <a:pt x="14" y="124"/>
                    <a:pt x="14" y="124"/>
                  </a:cubicBezTo>
                  <a:cubicBezTo>
                    <a:pt x="14" y="123"/>
                    <a:pt x="14" y="122"/>
                    <a:pt x="15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4"/>
                  </a:cubicBezTo>
                  <a:cubicBezTo>
                    <a:pt x="17" y="124"/>
                    <a:pt x="17" y="124"/>
                    <a:pt x="18" y="123"/>
                  </a:cubicBezTo>
                  <a:cubicBezTo>
                    <a:pt x="18" y="123"/>
                    <a:pt x="19" y="122"/>
                    <a:pt x="19" y="123"/>
                  </a:cubicBezTo>
                  <a:cubicBezTo>
                    <a:pt x="19" y="123"/>
                    <a:pt x="19" y="124"/>
                    <a:pt x="19" y="124"/>
                  </a:cubicBezTo>
                  <a:cubicBezTo>
                    <a:pt x="19" y="125"/>
                    <a:pt x="20" y="125"/>
                    <a:pt x="20" y="126"/>
                  </a:cubicBezTo>
                  <a:cubicBezTo>
                    <a:pt x="20" y="146"/>
                    <a:pt x="20" y="146"/>
                    <a:pt x="20" y="146"/>
                  </a:cubicBezTo>
                  <a:cubicBezTo>
                    <a:pt x="119" y="146"/>
                    <a:pt x="119" y="146"/>
                    <a:pt x="119" y="146"/>
                  </a:cubicBezTo>
                  <a:cubicBezTo>
                    <a:pt x="120" y="146"/>
                    <a:pt x="121" y="145"/>
                    <a:pt x="120" y="144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53A8AAC5-7AB2-4D6A-BB59-1305DCE3A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1682" y="3518220"/>
              <a:ext cx="791406" cy="935148"/>
            </a:xfrm>
            <a:custGeom>
              <a:avLst/>
              <a:gdLst>
                <a:gd name="T0" fmla="*/ 27 w 200"/>
                <a:gd name="T1" fmla="*/ 35 h 236"/>
                <a:gd name="T2" fmla="*/ 24 w 200"/>
                <a:gd name="T3" fmla="*/ 38 h 236"/>
                <a:gd name="T4" fmla="*/ 22 w 200"/>
                <a:gd name="T5" fmla="*/ 42 h 236"/>
                <a:gd name="T6" fmla="*/ 16 w 200"/>
                <a:gd name="T7" fmla="*/ 39 h 236"/>
                <a:gd name="T8" fmla="*/ 12 w 200"/>
                <a:gd name="T9" fmla="*/ 38 h 236"/>
                <a:gd name="T10" fmla="*/ 9 w 200"/>
                <a:gd name="T11" fmla="*/ 37 h 236"/>
                <a:gd name="T12" fmla="*/ 4 w 200"/>
                <a:gd name="T13" fmla="*/ 38 h 236"/>
                <a:gd name="T14" fmla="*/ 4 w 200"/>
                <a:gd name="T15" fmla="*/ 41 h 236"/>
                <a:gd name="T16" fmla="*/ 4 w 200"/>
                <a:gd name="T17" fmla="*/ 47 h 236"/>
                <a:gd name="T18" fmla="*/ 4 w 200"/>
                <a:gd name="T19" fmla="*/ 50 h 236"/>
                <a:gd name="T20" fmla="*/ 4 w 200"/>
                <a:gd name="T21" fmla="*/ 55 h 236"/>
                <a:gd name="T22" fmla="*/ 5 w 200"/>
                <a:gd name="T23" fmla="*/ 62 h 236"/>
                <a:gd name="T24" fmla="*/ 7 w 200"/>
                <a:gd name="T25" fmla="*/ 68 h 236"/>
                <a:gd name="T26" fmla="*/ 8 w 200"/>
                <a:gd name="T27" fmla="*/ 74 h 236"/>
                <a:gd name="T28" fmla="*/ 8 w 200"/>
                <a:gd name="T29" fmla="*/ 80 h 236"/>
                <a:gd name="T30" fmla="*/ 7 w 200"/>
                <a:gd name="T31" fmla="*/ 81 h 236"/>
                <a:gd name="T32" fmla="*/ 7 w 200"/>
                <a:gd name="T33" fmla="*/ 85 h 236"/>
                <a:gd name="T34" fmla="*/ 11 w 200"/>
                <a:gd name="T35" fmla="*/ 96 h 236"/>
                <a:gd name="T36" fmla="*/ 15 w 200"/>
                <a:gd name="T37" fmla="*/ 108 h 236"/>
                <a:gd name="T38" fmla="*/ 23 w 200"/>
                <a:gd name="T39" fmla="*/ 113 h 236"/>
                <a:gd name="T40" fmla="*/ 23 w 200"/>
                <a:gd name="T41" fmla="*/ 117 h 236"/>
                <a:gd name="T42" fmla="*/ 14 w 200"/>
                <a:gd name="T43" fmla="*/ 123 h 236"/>
                <a:gd name="T44" fmla="*/ 10 w 200"/>
                <a:gd name="T45" fmla="*/ 129 h 236"/>
                <a:gd name="T46" fmla="*/ 10 w 200"/>
                <a:gd name="T47" fmla="*/ 142 h 236"/>
                <a:gd name="T48" fmla="*/ 7 w 200"/>
                <a:gd name="T49" fmla="*/ 151 h 236"/>
                <a:gd name="T50" fmla="*/ 4 w 200"/>
                <a:gd name="T51" fmla="*/ 155 h 236"/>
                <a:gd name="T52" fmla="*/ 5 w 200"/>
                <a:gd name="T53" fmla="*/ 158 h 236"/>
                <a:gd name="T54" fmla="*/ 4 w 200"/>
                <a:gd name="T55" fmla="*/ 164 h 236"/>
                <a:gd name="T56" fmla="*/ 5 w 200"/>
                <a:gd name="T57" fmla="*/ 168 h 236"/>
                <a:gd name="T58" fmla="*/ 11 w 200"/>
                <a:gd name="T59" fmla="*/ 169 h 236"/>
                <a:gd name="T60" fmla="*/ 12 w 200"/>
                <a:gd name="T61" fmla="*/ 175 h 236"/>
                <a:gd name="T62" fmla="*/ 10 w 200"/>
                <a:gd name="T63" fmla="*/ 179 h 236"/>
                <a:gd name="T64" fmla="*/ 4 w 200"/>
                <a:gd name="T65" fmla="*/ 180 h 236"/>
                <a:gd name="T66" fmla="*/ 0 w 200"/>
                <a:gd name="T67" fmla="*/ 189 h 236"/>
                <a:gd name="T68" fmla="*/ 199 w 200"/>
                <a:gd name="T69" fmla="*/ 236 h 236"/>
                <a:gd name="T70" fmla="*/ 27 w 200"/>
                <a:gd name="T71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0" h="236">
                  <a:moveTo>
                    <a:pt x="27" y="0"/>
                  </a:moveTo>
                  <a:cubicBezTo>
                    <a:pt x="27" y="35"/>
                    <a:pt x="27" y="35"/>
                    <a:pt x="27" y="35"/>
                  </a:cubicBezTo>
                  <a:cubicBezTo>
                    <a:pt x="27" y="35"/>
                    <a:pt x="26" y="35"/>
                    <a:pt x="25" y="36"/>
                  </a:cubicBezTo>
                  <a:cubicBezTo>
                    <a:pt x="25" y="37"/>
                    <a:pt x="25" y="38"/>
                    <a:pt x="24" y="38"/>
                  </a:cubicBezTo>
                  <a:cubicBezTo>
                    <a:pt x="24" y="39"/>
                    <a:pt x="24" y="40"/>
                    <a:pt x="24" y="41"/>
                  </a:cubicBezTo>
                  <a:cubicBezTo>
                    <a:pt x="23" y="42"/>
                    <a:pt x="23" y="42"/>
                    <a:pt x="22" y="42"/>
                  </a:cubicBezTo>
                  <a:cubicBezTo>
                    <a:pt x="21" y="43"/>
                    <a:pt x="20" y="42"/>
                    <a:pt x="19" y="41"/>
                  </a:cubicBezTo>
                  <a:cubicBezTo>
                    <a:pt x="18" y="41"/>
                    <a:pt x="17" y="39"/>
                    <a:pt x="16" y="39"/>
                  </a:cubicBezTo>
                  <a:cubicBezTo>
                    <a:pt x="16" y="38"/>
                    <a:pt x="14" y="37"/>
                    <a:pt x="14" y="37"/>
                  </a:cubicBezTo>
                  <a:cubicBezTo>
                    <a:pt x="14" y="37"/>
                    <a:pt x="13" y="38"/>
                    <a:pt x="12" y="38"/>
                  </a:cubicBezTo>
                  <a:cubicBezTo>
                    <a:pt x="11" y="38"/>
                    <a:pt x="11" y="37"/>
                    <a:pt x="11" y="37"/>
                  </a:cubicBezTo>
                  <a:cubicBezTo>
                    <a:pt x="10" y="36"/>
                    <a:pt x="9" y="37"/>
                    <a:pt x="9" y="37"/>
                  </a:cubicBezTo>
                  <a:cubicBezTo>
                    <a:pt x="8" y="37"/>
                    <a:pt x="7" y="37"/>
                    <a:pt x="6" y="38"/>
                  </a:cubicBezTo>
                  <a:cubicBezTo>
                    <a:pt x="6" y="38"/>
                    <a:pt x="5" y="38"/>
                    <a:pt x="4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40"/>
                    <a:pt x="4" y="41"/>
                  </a:cubicBezTo>
                  <a:cubicBezTo>
                    <a:pt x="4" y="42"/>
                    <a:pt x="4" y="44"/>
                    <a:pt x="4" y="45"/>
                  </a:cubicBezTo>
                  <a:cubicBezTo>
                    <a:pt x="4" y="46"/>
                    <a:pt x="4" y="46"/>
                    <a:pt x="4" y="47"/>
                  </a:cubicBezTo>
                  <a:cubicBezTo>
                    <a:pt x="4" y="47"/>
                    <a:pt x="6" y="48"/>
                    <a:pt x="6" y="48"/>
                  </a:cubicBezTo>
                  <a:cubicBezTo>
                    <a:pt x="6" y="48"/>
                    <a:pt x="4" y="50"/>
                    <a:pt x="4" y="50"/>
                  </a:cubicBezTo>
                  <a:cubicBezTo>
                    <a:pt x="3" y="51"/>
                    <a:pt x="4" y="52"/>
                    <a:pt x="4" y="53"/>
                  </a:cubicBezTo>
                  <a:cubicBezTo>
                    <a:pt x="4" y="54"/>
                    <a:pt x="4" y="54"/>
                    <a:pt x="4" y="55"/>
                  </a:cubicBezTo>
                  <a:cubicBezTo>
                    <a:pt x="4" y="56"/>
                    <a:pt x="5" y="59"/>
                    <a:pt x="6" y="59"/>
                  </a:cubicBezTo>
                  <a:cubicBezTo>
                    <a:pt x="6" y="60"/>
                    <a:pt x="6" y="61"/>
                    <a:pt x="5" y="62"/>
                  </a:cubicBezTo>
                  <a:cubicBezTo>
                    <a:pt x="5" y="63"/>
                    <a:pt x="5" y="64"/>
                    <a:pt x="5" y="65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7" y="69"/>
                    <a:pt x="8" y="71"/>
                    <a:pt x="8" y="71"/>
                  </a:cubicBezTo>
                  <a:cubicBezTo>
                    <a:pt x="8" y="72"/>
                    <a:pt x="9" y="74"/>
                    <a:pt x="8" y="74"/>
                  </a:cubicBezTo>
                  <a:cubicBezTo>
                    <a:pt x="8" y="75"/>
                    <a:pt x="9" y="77"/>
                    <a:pt x="9" y="78"/>
                  </a:cubicBezTo>
                  <a:cubicBezTo>
                    <a:pt x="10" y="78"/>
                    <a:pt x="8" y="80"/>
                    <a:pt x="8" y="80"/>
                  </a:cubicBezTo>
                  <a:cubicBezTo>
                    <a:pt x="8" y="80"/>
                    <a:pt x="7" y="81"/>
                    <a:pt x="6" y="81"/>
                  </a:cubicBezTo>
                  <a:cubicBezTo>
                    <a:pt x="6" y="81"/>
                    <a:pt x="7" y="81"/>
                    <a:pt x="7" y="81"/>
                  </a:cubicBezTo>
                  <a:cubicBezTo>
                    <a:pt x="8" y="82"/>
                    <a:pt x="7" y="83"/>
                    <a:pt x="7" y="83"/>
                  </a:cubicBezTo>
                  <a:cubicBezTo>
                    <a:pt x="7" y="83"/>
                    <a:pt x="7" y="85"/>
                    <a:pt x="7" y="85"/>
                  </a:cubicBezTo>
                  <a:cubicBezTo>
                    <a:pt x="7" y="85"/>
                    <a:pt x="6" y="90"/>
                    <a:pt x="7" y="90"/>
                  </a:cubicBezTo>
                  <a:cubicBezTo>
                    <a:pt x="7" y="91"/>
                    <a:pt x="11" y="96"/>
                    <a:pt x="11" y="96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8"/>
                    <a:pt x="15" y="108"/>
                  </a:cubicBezTo>
                  <a:cubicBezTo>
                    <a:pt x="16" y="109"/>
                    <a:pt x="17" y="108"/>
                    <a:pt x="18" y="108"/>
                  </a:cubicBezTo>
                  <a:cubicBezTo>
                    <a:pt x="18" y="108"/>
                    <a:pt x="23" y="112"/>
                    <a:pt x="23" y="113"/>
                  </a:cubicBezTo>
                  <a:cubicBezTo>
                    <a:pt x="23" y="113"/>
                    <a:pt x="23" y="115"/>
                    <a:pt x="23" y="115"/>
                  </a:cubicBezTo>
                  <a:cubicBezTo>
                    <a:pt x="23" y="115"/>
                    <a:pt x="23" y="117"/>
                    <a:pt x="23" y="117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7" y="151"/>
                    <a:pt x="7" y="151"/>
                    <a:pt x="7" y="151"/>
                  </a:cubicBezTo>
                  <a:cubicBezTo>
                    <a:pt x="4" y="152"/>
                    <a:pt x="4" y="152"/>
                    <a:pt x="4" y="152"/>
                  </a:cubicBezTo>
                  <a:cubicBezTo>
                    <a:pt x="4" y="155"/>
                    <a:pt x="4" y="155"/>
                    <a:pt x="4" y="155"/>
                  </a:cubicBezTo>
                  <a:cubicBezTo>
                    <a:pt x="4" y="155"/>
                    <a:pt x="3" y="156"/>
                    <a:pt x="3" y="156"/>
                  </a:cubicBezTo>
                  <a:cubicBezTo>
                    <a:pt x="3" y="157"/>
                    <a:pt x="5" y="157"/>
                    <a:pt x="5" y="158"/>
                  </a:cubicBezTo>
                  <a:cubicBezTo>
                    <a:pt x="6" y="158"/>
                    <a:pt x="6" y="159"/>
                    <a:pt x="6" y="159"/>
                  </a:cubicBezTo>
                  <a:cubicBezTo>
                    <a:pt x="6" y="159"/>
                    <a:pt x="4" y="163"/>
                    <a:pt x="4" y="164"/>
                  </a:cubicBezTo>
                  <a:cubicBezTo>
                    <a:pt x="4" y="164"/>
                    <a:pt x="4" y="166"/>
                    <a:pt x="5" y="166"/>
                  </a:cubicBezTo>
                  <a:cubicBezTo>
                    <a:pt x="5" y="166"/>
                    <a:pt x="5" y="168"/>
                    <a:pt x="5" y="168"/>
                  </a:cubicBezTo>
                  <a:cubicBezTo>
                    <a:pt x="5" y="168"/>
                    <a:pt x="11" y="167"/>
                    <a:pt x="11" y="168"/>
                  </a:cubicBezTo>
                  <a:cubicBezTo>
                    <a:pt x="11" y="168"/>
                    <a:pt x="11" y="169"/>
                    <a:pt x="11" y="169"/>
                  </a:cubicBezTo>
                  <a:cubicBezTo>
                    <a:pt x="13" y="170"/>
                    <a:pt x="13" y="170"/>
                    <a:pt x="13" y="170"/>
                  </a:cubicBezTo>
                  <a:cubicBezTo>
                    <a:pt x="13" y="170"/>
                    <a:pt x="12" y="175"/>
                    <a:pt x="12" y="175"/>
                  </a:cubicBezTo>
                  <a:cubicBezTo>
                    <a:pt x="12" y="175"/>
                    <a:pt x="10" y="176"/>
                    <a:pt x="10" y="176"/>
                  </a:cubicBezTo>
                  <a:cubicBezTo>
                    <a:pt x="10" y="179"/>
                    <a:pt x="10" y="179"/>
                    <a:pt x="10" y="179"/>
                  </a:cubicBezTo>
                  <a:cubicBezTo>
                    <a:pt x="9" y="180"/>
                    <a:pt x="9" y="180"/>
                    <a:pt x="9" y="180"/>
                  </a:cubicBezTo>
                  <a:cubicBezTo>
                    <a:pt x="4" y="180"/>
                    <a:pt x="4" y="180"/>
                    <a:pt x="4" y="180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99" y="236"/>
                    <a:pt x="199" y="236"/>
                    <a:pt x="199" y="236"/>
                  </a:cubicBezTo>
                  <a:cubicBezTo>
                    <a:pt x="200" y="0"/>
                    <a:pt x="200" y="0"/>
                    <a:pt x="200" y="0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D4E0C57B-BE74-455A-ABA7-19294A456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6790" y="3858574"/>
              <a:ext cx="485748" cy="773232"/>
            </a:xfrm>
            <a:custGeom>
              <a:avLst/>
              <a:gdLst>
                <a:gd name="T0" fmla="*/ 37 w 123"/>
                <a:gd name="T1" fmla="*/ 179 h 195"/>
                <a:gd name="T2" fmla="*/ 34 w 123"/>
                <a:gd name="T3" fmla="*/ 176 h 195"/>
                <a:gd name="T4" fmla="*/ 31 w 123"/>
                <a:gd name="T5" fmla="*/ 172 h 195"/>
                <a:gd name="T6" fmla="*/ 30 w 123"/>
                <a:gd name="T7" fmla="*/ 167 h 195"/>
                <a:gd name="T8" fmla="*/ 120 w 123"/>
                <a:gd name="T9" fmla="*/ 164 h 195"/>
                <a:gd name="T10" fmla="*/ 117 w 123"/>
                <a:gd name="T11" fmla="*/ 158 h 195"/>
                <a:gd name="T12" fmla="*/ 116 w 123"/>
                <a:gd name="T13" fmla="*/ 152 h 195"/>
                <a:gd name="T14" fmla="*/ 118 w 123"/>
                <a:gd name="T15" fmla="*/ 144 h 195"/>
                <a:gd name="T16" fmla="*/ 115 w 123"/>
                <a:gd name="T17" fmla="*/ 133 h 195"/>
                <a:gd name="T18" fmla="*/ 117 w 123"/>
                <a:gd name="T19" fmla="*/ 125 h 195"/>
                <a:gd name="T20" fmla="*/ 118 w 123"/>
                <a:gd name="T21" fmla="*/ 119 h 195"/>
                <a:gd name="T22" fmla="*/ 123 w 123"/>
                <a:gd name="T23" fmla="*/ 113 h 195"/>
                <a:gd name="T24" fmla="*/ 120 w 123"/>
                <a:gd name="T25" fmla="*/ 110 h 195"/>
                <a:gd name="T26" fmla="*/ 120 w 123"/>
                <a:gd name="T27" fmla="*/ 105 h 195"/>
                <a:gd name="T28" fmla="*/ 116 w 123"/>
                <a:gd name="T29" fmla="*/ 96 h 195"/>
                <a:gd name="T30" fmla="*/ 115 w 123"/>
                <a:gd name="T31" fmla="*/ 92 h 195"/>
                <a:gd name="T32" fmla="*/ 99 w 123"/>
                <a:gd name="T33" fmla="*/ 0 h 195"/>
                <a:gd name="T34" fmla="*/ 11 w 123"/>
                <a:gd name="T35" fmla="*/ 3 h 195"/>
                <a:gd name="T36" fmla="*/ 0 w 123"/>
                <a:gd name="T37" fmla="*/ 126 h 195"/>
                <a:gd name="T38" fmla="*/ 4 w 123"/>
                <a:gd name="T39" fmla="*/ 189 h 195"/>
                <a:gd name="T40" fmla="*/ 11 w 123"/>
                <a:gd name="T41" fmla="*/ 189 h 195"/>
                <a:gd name="T42" fmla="*/ 13 w 123"/>
                <a:gd name="T43" fmla="*/ 187 h 195"/>
                <a:gd name="T44" fmla="*/ 14 w 123"/>
                <a:gd name="T45" fmla="*/ 181 h 195"/>
                <a:gd name="T46" fmla="*/ 15 w 123"/>
                <a:gd name="T47" fmla="*/ 179 h 195"/>
                <a:gd name="T48" fmla="*/ 17 w 123"/>
                <a:gd name="T49" fmla="*/ 177 h 195"/>
                <a:gd name="T50" fmla="*/ 19 w 123"/>
                <a:gd name="T51" fmla="*/ 180 h 195"/>
                <a:gd name="T52" fmla="*/ 20 w 123"/>
                <a:gd name="T53" fmla="*/ 188 h 195"/>
                <a:gd name="T54" fmla="*/ 22 w 123"/>
                <a:gd name="T55" fmla="*/ 190 h 195"/>
                <a:gd name="T56" fmla="*/ 25 w 123"/>
                <a:gd name="T57" fmla="*/ 194 h 195"/>
                <a:gd name="T58" fmla="*/ 20 w 123"/>
                <a:gd name="T59" fmla="*/ 195 h 195"/>
                <a:gd name="T60" fmla="*/ 25 w 123"/>
                <a:gd name="T61" fmla="*/ 195 h 195"/>
                <a:gd name="T62" fmla="*/ 28 w 123"/>
                <a:gd name="T63" fmla="*/ 195 h 195"/>
                <a:gd name="T64" fmla="*/ 31 w 123"/>
                <a:gd name="T65" fmla="*/ 193 h 195"/>
                <a:gd name="T66" fmla="*/ 36 w 123"/>
                <a:gd name="T67" fmla="*/ 189 h 195"/>
                <a:gd name="T68" fmla="*/ 36 w 123"/>
                <a:gd name="T69" fmla="*/ 185 h 195"/>
                <a:gd name="T70" fmla="*/ 36 w 123"/>
                <a:gd name="T71" fmla="*/ 18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3" h="195">
                  <a:moveTo>
                    <a:pt x="36" y="181"/>
                  </a:moveTo>
                  <a:cubicBezTo>
                    <a:pt x="36" y="181"/>
                    <a:pt x="37" y="179"/>
                    <a:pt x="37" y="179"/>
                  </a:cubicBezTo>
                  <a:cubicBezTo>
                    <a:pt x="37" y="179"/>
                    <a:pt x="37" y="177"/>
                    <a:pt x="37" y="177"/>
                  </a:cubicBezTo>
                  <a:cubicBezTo>
                    <a:pt x="37" y="177"/>
                    <a:pt x="34" y="176"/>
                    <a:pt x="34" y="176"/>
                  </a:cubicBezTo>
                  <a:cubicBezTo>
                    <a:pt x="33" y="176"/>
                    <a:pt x="33" y="175"/>
                    <a:pt x="33" y="174"/>
                  </a:cubicBezTo>
                  <a:cubicBezTo>
                    <a:pt x="33" y="174"/>
                    <a:pt x="31" y="173"/>
                    <a:pt x="31" y="172"/>
                  </a:cubicBezTo>
                  <a:cubicBezTo>
                    <a:pt x="31" y="172"/>
                    <a:pt x="29" y="170"/>
                    <a:pt x="29" y="170"/>
                  </a:cubicBezTo>
                  <a:cubicBezTo>
                    <a:pt x="30" y="167"/>
                    <a:pt x="30" y="167"/>
                    <a:pt x="30" y="167"/>
                  </a:cubicBezTo>
                  <a:cubicBezTo>
                    <a:pt x="31" y="164"/>
                    <a:pt x="31" y="164"/>
                    <a:pt x="31" y="164"/>
                  </a:cubicBezTo>
                  <a:cubicBezTo>
                    <a:pt x="120" y="164"/>
                    <a:pt x="120" y="164"/>
                    <a:pt x="120" y="164"/>
                  </a:cubicBezTo>
                  <a:cubicBezTo>
                    <a:pt x="120" y="164"/>
                    <a:pt x="119" y="161"/>
                    <a:pt x="119" y="160"/>
                  </a:cubicBezTo>
                  <a:cubicBezTo>
                    <a:pt x="119" y="160"/>
                    <a:pt x="118" y="159"/>
                    <a:pt x="117" y="158"/>
                  </a:cubicBezTo>
                  <a:cubicBezTo>
                    <a:pt x="117" y="157"/>
                    <a:pt x="116" y="156"/>
                    <a:pt x="116" y="156"/>
                  </a:cubicBezTo>
                  <a:cubicBezTo>
                    <a:pt x="116" y="155"/>
                    <a:pt x="116" y="152"/>
                    <a:pt x="116" y="152"/>
                  </a:cubicBezTo>
                  <a:cubicBezTo>
                    <a:pt x="116" y="152"/>
                    <a:pt x="117" y="149"/>
                    <a:pt x="117" y="149"/>
                  </a:cubicBezTo>
                  <a:cubicBezTo>
                    <a:pt x="118" y="148"/>
                    <a:pt x="118" y="144"/>
                    <a:pt x="118" y="144"/>
                  </a:cubicBezTo>
                  <a:cubicBezTo>
                    <a:pt x="118" y="143"/>
                    <a:pt x="117" y="138"/>
                    <a:pt x="117" y="137"/>
                  </a:cubicBezTo>
                  <a:cubicBezTo>
                    <a:pt x="116" y="137"/>
                    <a:pt x="115" y="134"/>
                    <a:pt x="115" y="133"/>
                  </a:cubicBezTo>
                  <a:cubicBezTo>
                    <a:pt x="115" y="132"/>
                    <a:pt x="115" y="129"/>
                    <a:pt x="115" y="129"/>
                  </a:cubicBezTo>
                  <a:cubicBezTo>
                    <a:pt x="115" y="128"/>
                    <a:pt x="116" y="126"/>
                    <a:pt x="117" y="125"/>
                  </a:cubicBezTo>
                  <a:cubicBezTo>
                    <a:pt x="117" y="124"/>
                    <a:pt x="118" y="123"/>
                    <a:pt x="118" y="122"/>
                  </a:cubicBezTo>
                  <a:cubicBezTo>
                    <a:pt x="118" y="121"/>
                    <a:pt x="118" y="120"/>
                    <a:pt x="118" y="119"/>
                  </a:cubicBezTo>
                  <a:cubicBezTo>
                    <a:pt x="118" y="118"/>
                    <a:pt x="121" y="116"/>
                    <a:pt x="121" y="115"/>
                  </a:cubicBezTo>
                  <a:cubicBezTo>
                    <a:pt x="121" y="115"/>
                    <a:pt x="123" y="113"/>
                    <a:pt x="123" y="113"/>
                  </a:cubicBezTo>
                  <a:cubicBezTo>
                    <a:pt x="123" y="113"/>
                    <a:pt x="122" y="112"/>
                    <a:pt x="122" y="112"/>
                  </a:cubicBezTo>
                  <a:cubicBezTo>
                    <a:pt x="121" y="111"/>
                    <a:pt x="120" y="111"/>
                    <a:pt x="120" y="110"/>
                  </a:cubicBezTo>
                  <a:cubicBezTo>
                    <a:pt x="120" y="109"/>
                    <a:pt x="120" y="108"/>
                    <a:pt x="120" y="108"/>
                  </a:cubicBezTo>
                  <a:cubicBezTo>
                    <a:pt x="121" y="107"/>
                    <a:pt x="121" y="105"/>
                    <a:pt x="120" y="105"/>
                  </a:cubicBezTo>
                  <a:cubicBezTo>
                    <a:pt x="120" y="105"/>
                    <a:pt x="117" y="100"/>
                    <a:pt x="117" y="99"/>
                  </a:cubicBezTo>
                  <a:cubicBezTo>
                    <a:pt x="117" y="98"/>
                    <a:pt x="116" y="97"/>
                    <a:pt x="116" y="96"/>
                  </a:cubicBezTo>
                  <a:cubicBezTo>
                    <a:pt x="116" y="95"/>
                    <a:pt x="116" y="94"/>
                    <a:pt x="115" y="93"/>
                  </a:cubicBezTo>
                  <a:cubicBezTo>
                    <a:pt x="115" y="93"/>
                    <a:pt x="115" y="92"/>
                    <a:pt x="115" y="92"/>
                  </a:cubicBezTo>
                  <a:cubicBezTo>
                    <a:pt x="115" y="91"/>
                    <a:pt x="114" y="89"/>
                    <a:pt x="114" y="89"/>
                  </a:cubicBezTo>
                  <a:cubicBezTo>
                    <a:pt x="114" y="88"/>
                    <a:pt x="99" y="0"/>
                    <a:pt x="9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3" y="189"/>
                    <a:pt x="3" y="189"/>
                    <a:pt x="3" y="189"/>
                  </a:cubicBezTo>
                  <a:cubicBezTo>
                    <a:pt x="3" y="189"/>
                    <a:pt x="3" y="189"/>
                    <a:pt x="4" y="189"/>
                  </a:cubicBezTo>
                  <a:cubicBezTo>
                    <a:pt x="5" y="189"/>
                    <a:pt x="6" y="189"/>
                    <a:pt x="6" y="189"/>
                  </a:cubicBezTo>
                  <a:cubicBezTo>
                    <a:pt x="8" y="189"/>
                    <a:pt x="10" y="189"/>
                    <a:pt x="11" y="189"/>
                  </a:cubicBezTo>
                  <a:cubicBezTo>
                    <a:pt x="12" y="189"/>
                    <a:pt x="13" y="189"/>
                    <a:pt x="13" y="189"/>
                  </a:cubicBezTo>
                  <a:cubicBezTo>
                    <a:pt x="13" y="189"/>
                    <a:pt x="13" y="188"/>
                    <a:pt x="13" y="187"/>
                  </a:cubicBezTo>
                  <a:cubicBezTo>
                    <a:pt x="13" y="186"/>
                    <a:pt x="13" y="185"/>
                    <a:pt x="13" y="184"/>
                  </a:cubicBezTo>
                  <a:cubicBezTo>
                    <a:pt x="14" y="183"/>
                    <a:pt x="14" y="182"/>
                    <a:pt x="14" y="181"/>
                  </a:cubicBezTo>
                  <a:cubicBezTo>
                    <a:pt x="14" y="181"/>
                    <a:pt x="14" y="181"/>
                    <a:pt x="14" y="180"/>
                  </a:cubicBezTo>
                  <a:cubicBezTo>
                    <a:pt x="14" y="180"/>
                    <a:pt x="15" y="179"/>
                    <a:pt x="15" y="179"/>
                  </a:cubicBezTo>
                  <a:cubicBezTo>
                    <a:pt x="15" y="178"/>
                    <a:pt x="15" y="177"/>
                    <a:pt x="16" y="177"/>
                  </a:cubicBezTo>
                  <a:cubicBezTo>
                    <a:pt x="17" y="177"/>
                    <a:pt x="17" y="177"/>
                    <a:pt x="17" y="177"/>
                  </a:cubicBezTo>
                  <a:cubicBezTo>
                    <a:pt x="18" y="177"/>
                    <a:pt x="18" y="177"/>
                    <a:pt x="19" y="178"/>
                  </a:cubicBezTo>
                  <a:cubicBezTo>
                    <a:pt x="19" y="178"/>
                    <a:pt x="19" y="179"/>
                    <a:pt x="19" y="180"/>
                  </a:cubicBezTo>
                  <a:cubicBezTo>
                    <a:pt x="19" y="180"/>
                    <a:pt x="19" y="181"/>
                    <a:pt x="19" y="182"/>
                  </a:cubicBezTo>
                  <a:cubicBezTo>
                    <a:pt x="19" y="184"/>
                    <a:pt x="19" y="186"/>
                    <a:pt x="20" y="188"/>
                  </a:cubicBezTo>
                  <a:cubicBezTo>
                    <a:pt x="20" y="189"/>
                    <a:pt x="20" y="189"/>
                    <a:pt x="21" y="189"/>
                  </a:cubicBezTo>
                  <a:cubicBezTo>
                    <a:pt x="21" y="190"/>
                    <a:pt x="21" y="190"/>
                    <a:pt x="22" y="190"/>
                  </a:cubicBezTo>
                  <a:cubicBezTo>
                    <a:pt x="22" y="191"/>
                    <a:pt x="23" y="191"/>
                    <a:pt x="24" y="192"/>
                  </a:cubicBezTo>
                  <a:cubicBezTo>
                    <a:pt x="24" y="192"/>
                    <a:pt x="25" y="193"/>
                    <a:pt x="25" y="194"/>
                  </a:cubicBezTo>
                  <a:cubicBezTo>
                    <a:pt x="25" y="195"/>
                    <a:pt x="23" y="194"/>
                    <a:pt x="22" y="194"/>
                  </a:cubicBezTo>
                  <a:cubicBezTo>
                    <a:pt x="22" y="194"/>
                    <a:pt x="20" y="194"/>
                    <a:pt x="20" y="195"/>
                  </a:cubicBezTo>
                  <a:cubicBezTo>
                    <a:pt x="21" y="195"/>
                    <a:pt x="22" y="195"/>
                    <a:pt x="23" y="195"/>
                  </a:cubicBezTo>
                  <a:cubicBezTo>
                    <a:pt x="23" y="195"/>
                    <a:pt x="24" y="195"/>
                    <a:pt x="25" y="195"/>
                  </a:cubicBezTo>
                  <a:cubicBezTo>
                    <a:pt x="25" y="195"/>
                    <a:pt x="26" y="195"/>
                    <a:pt x="27" y="195"/>
                  </a:cubicBezTo>
                  <a:cubicBezTo>
                    <a:pt x="27" y="195"/>
                    <a:pt x="28" y="195"/>
                    <a:pt x="28" y="195"/>
                  </a:cubicBezTo>
                  <a:cubicBezTo>
                    <a:pt x="29" y="195"/>
                    <a:pt x="29" y="194"/>
                    <a:pt x="30" y="194"/>
                  </a:cubicBezTo>
                  <a:cubicBezTo>
                    <a:pt x="30" y="194"/>
                    <a:pt x="31" y="194"/>
                    <a:pt x="31" y="193"/>
                  </a:cubicBezTo>
                  <a:cubicBezTo>
                    <a:pt x="32" y="193"/>
                    <a:pt x="32" y="192"/>
                    <a:pt x="32" y="192"/>
                  </a:cubicBezTo>
                  <a:cubicBezTo>
                    <a:pt x="33" y="191"/>
                    <a:pt x="34" y="190"/>
                    <a:pt x="36" y="189"/>
                  </a:cubicBezTo>
                  <a:cubicBezTo>
                    <a:pt x="36" y="189"/>
                    <a:pt x="37" y="188"/>
                    <a:pt x="37" y="187"/>
                  </a:cubicBezTo>
                  <a:cubicBezTo>
                    <a:pt x="37" y="187"/>
                    <a:pt x="35" y="185"/>
                    <a:pt x="36" y="185"/>
                  </a:cubicBezTo>
                  <a:cubicBezTo>
                    <a:pt x="36" y="184"/>
                    <a:pt x="36" y="183"/>
                    <a:pt x="36" y="183"/>
                  </a:cubicBezTo>
                  <a:cubicBezTo>
                    <a:pt x="36" y="183"/>
                    <a:pt x="36" y="182"/>
                    <a:pt x="36" y="181"/>
                  </a:cubicBezTo>
                  <a:close/>
                </a:path>
              </a:pathLst>
            </a:custGeom>
            <a:solidFill>
              <a:schemeClr val="accent3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B7819ACD-0690-32BE-6BB7-9441D643EBB3}"/>
              </a:ext>
            </a:extLst>
          </p:cNvPr>
          <p:cNvSpPr txBox="1"/>
          <p:nvPr/>
        </p:nvSpPr>
        <p:spPr>
          <a:xfrm>
            <a:off x="3048000" y="324679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3015B3-7176-D9B0-A133-4B42C55F9F4D}"/>
              </a:ext>
            </a:extLst>
          </p:cNvPr>
          <p:cNvSpPr txBox="1"/>
          <p:nvPr/>
        </p:nvSpPr>
        <p:spPr>
          <a:xfrm flipH="1">
            <a:off x="2306420" y="243708"/>
            <a:ext cx="40398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/>
              <a:t>Original Cop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53805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98AE82-3F92-4767-A59E-F4831887E9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98AE82-3F92-4767-A59E-F4831887E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Hawaii">
            <a:extLst>
              <a:ext uri="{FF2B5EF4-FFF2-40B4-BE49-F238E27FC236}">
                <a16:creationId xmlns:a16="http://schemas.microsoft.com/office/drawing/2014/main" id="{39B0AFE4-1228-4405-A201-19EFAC1EB04E}"/>
              </a:ext>
            </a:extLst>
          </p:cNvPr>
          <p:cNvSpPr>
            <a:spLocks noEditPoints="1"/>
          </p:cNvSpPr>
          <p:nvPr/>
        </p:nvSpPr>
        <p:spPr bwMode="auto">
          <a:xfrm>
            <a:off x="2409108" y="4849897"/>
            <a:ext cx="1650552" cy="829407"/>
          </a:xfrm>
          <a:custGeom>
            <a:avLst/>
            <a:gdLst>
              <a:gd name="T0" fmla="*/ 371 w 417"/>
              <a:gd name="T1" fmla="*/ 181 h 209"/>
              <a:gd name="T2" fmla="*/ 360 w 417"/>
              <a:gd name="T3" fmla="*/ 165 h 209"/>
              <a:gd name="T4" fmla="*/ 367 w 417"/>
              <a:gd name="T5" fmla="*/ 158 h 209"/>
              <a:gd name="T6" fmla="*/ 107 w 417"/>
              <a:gd name="T7" fmla="*/ 12 h 209"/>
              <a:gd name="T8" fmla="*/ 101 w 417"/>
              <a:gd name="T9" fmla="*/ 34 h 209"/>
              <a:gd name="T10" fmla="*/ 97 w 417"/>
              <a:gd name="T11" fmla="*/ 38 h 209"/>
              <a:gd name="T12" fmla="*/ 85 w 417"/>
              <a:gd name="T13" fmla="*/ 42 h 209"/>
              <a:gd name="T14" fmla="*/ 61 w 417"/>
              <a:gd name="T15" fmla="*/ 33 h 209"/>
              <a:gd name="T16" fmla="*/ 57 w 417"/>
              <a:gd name="T17" fmla="*/ 16 h 209"/>
              <a:gd name="T18" fmla="*/ 61 w 417"/>
              <a:gd name="T19" fmla="*/ 10 h 209"/>
              <a:gd name="T20" fmla="*/ 71 w 417"/>
              <a:gd name="T21" fmla="*/ 4 h 209"/>
              <a:gd name="T22" fmla="*/ 84 w 417"/>
              <a:gd name="T23" fmla="*/ 3 h 209"/>
              <a:gd name="T24" fmla="*/ 92 w 417"/>
              <a:gd name="T25" fmla="*/ 2 h 209"/>
              <a:gd name="T26" fmla="*/ 103 w 417"/>
              <a:gd name="T27" fmla="*/ 4 h 209"/>
              <a:gd name="T28" fmla="*/ 397 w 417"/>
              <a:gd name="T29" fmla="*/ 131 h 209"/>
              <a:gd name="T30" fmla="*/ 381 w 417"/>
              <a:gd name="T31" fmla="*/ 142 h 209"/>
              <a:gd name="T32" fmla="*/ 349 w 417"/>
              <a:gd name="T33" fmla="*/ 137 h 209"/>
              <a:gd name="T34" fmla="*/ 335 w 417"/>
              <a:gd name="T35" fmla="*/ 129 h 209"/>
              <a:gd name="T36" fmla="*/ 344 w 417"/>
              <a:gd name="T37" fmla="*/ 124 h 209"/>
              <a:gd name="T38" fmla="*/ 362 w 417"/>
              <a:gd name="T39" fmla="*/ 127 h 209"/>
              <a:gd name="T40" fmla="*/ 371 w 417"/>
              <a:gd name="T41" fmla="*/ 128 h 209"/>
              <a:gd name="T42" fmla="*/ 375 w 417"/>
              <a:gd name="T43" fmla="*/ 129 h 209"/>
              <a:gd name="T44" fmla="*/ 394 w 417"/>
              <a:gd name="T45" fmla="*/ 129 h 209"/>
              <a:gd name="T46" fmla="*/ 11 w 417"/>
              <a:gd name="T47" fmla="*/ 35 h 209"/>
              <a:gd name="T48" fmla="*/ 4 w 417"/>
              <a:gd name="T49" fmla="*/ 55 h 209"/>
              <a:gd name="T50" fmla="*/ 19 w 417"/>
              <a:gd name="T51" fmla="*/ 39 h 209"/>
              <a:gd name="T52" fmla="*/ 416 w 417"/>
              <a:gd name="T53" fmla="*/ 199 h 209"/>
              <a:gd name="T54" fmla="*/ 400 w 417"/>
              <a:gd name="T55" fmla="*/ 208 h 209"/>
              <a:gd name="T56" fmla="*/ 415 w 417"/>
              <a:gd name="T57" fmla="*/ 207 h 209"/>
              <a:gd name="T58" fmla="*/ 291 w 417"/>
              <a:gd name="T59" fmla="*/ 113 h 209"/>
              <a:gd name="T60" fmla="*/ 279 w 417"/>
              <a:gd name="T61" fmla="*/ 116 h 209"/>
              <a:gd name="T62" fmla="*/ 274 w 417"/>
              <a:gd name="T63" fmla="*/ 118 h 209"/>
              <a:gd name="T64" fmla="*/ 271 w 417"/>
              <a:gd name="T65" fmla="*/ 116 h 209"/>
              <a:gd name="T66" fmla="*/ 265 w 417"/>
              <a:gd name="T67" fmla="*/ 111 h 209"/>
              <a:gd name="T68" fmla="*/ 264 w 417"/>
              <a:gd name="T69" fmla="*/ 111 h 209"/>
              <a:gd name="T70" fmla="*/ 259 w 417"/>
              <a:gd name="T71" fmla="*/ 112 h 209"/>
              <a:gd name="T72" fmla="*/ 259 w 417"/>
              <a:gd name="T73" fmla="*/ 104 h 209"/>
              <a:gd name="T74" fmla="*/ 259 w 417"/>
              <a:gd name="T75" fmla="*/ 104 h 209"/>
              <a:gd name="T76" fmla="*/ 255 w 417"/>
              <a:gd name="T77" fmla="*/ 104 h 209"/>
              <a:gd name="T78" fmla="*/ 250 w 417"/>
              <a:gd name="T79" fmla="*/ 104 h 209"/>
              <a:gd name="T80" fmla="*/ 253 w 417"/>
              <a:gd name="T81" fmla="*/ 111 h 209"/>
              <a:gd name="T82" fmla="*/ 239 w 417"/>
              <a:gd name="T83" fmla="*/ 110 h 209"/>
              <a:gd name="T84" fmla="*/ 233 w 417"/>
              <a:gd name="T85" fmla="*/ 100 h 209"/>
              <a:gd name="T86" fmla="*/ 229 w 417"/>
              <a:gd name="T87" fmla="*/ 94 h 209"/>
              <a:gd name="T88" fmla="*/ 221 w 417"/>
              <a:gd name="T89" fmla="*/ 80 h 209"/>
              <a:gd name="T90" fmla="*/ 231 w 417"/>
              <a:gd name="T91" fmla="*/ 79 h 209"/>
              <a:gd name="T92" fmla="*/ 236 w 417"/>
              <a:gd name="T93" fmla="*/ 79 h 209"/>
              <a:gd name="T94" fmla="*/ 251 w 417"/>
              <a:gd name="T95" fmla="*/ 64 h 209"/>
              <a:gd name="T96" fmla="*/ 267 w 417"/>
              <a:gd name="T97" fmla="*/ 82 h 209"/>
              <a:gd name="T98" fmla="*/ 273 w 417"/>
              <a:gd name="T99" fmla="*/ 94 h 209"/>
              <a:gd name="T100" fmla="*/ 279 w 417"/>
              <a:gd name="T101" fmla="*/ 96 h 209"/>
              <a:gd name="T102" fmla="*/ 281 w 417"/>
              <a:gd name="T103" fmla="*/ 99 h 209"/>
              <a:gd name="T104" fmla="*/ 285 w 417"/>
              <a:gd name="T105" fmla="*/ 103 h 209"/>
              <a:gd name="T106" fmla="*/ 18 w 417"/>
              <a:gd name="T107" fmla="*/ 26 h 209"/>
              <a:gd name="T108" fmla="*/ 257 w 417"/>
              <a:gd name="T109" fmla="*/ 105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17" h="209">
                <a:moveTo>
                  <a:pt x="386" y="170"/>
                </a:moveTo>
                <a:cubicBezTo>
                  <a:pt x="386" y="171"/>
                  <a:pt x="386" y="172"/>
                  <a:pt x="386" y="173"/>
                </a:cubicBezTo>
                <a:cubicBezTo>
                  <a:pt x="385" y="174"/>
                  <a:pt x="384" y="174"/>
                  <a:pt x="384" y="175"/>
                </a:cubicBezTo>
                <a:cubicBezTo>
                  <a:pt x="384" y="176"/>
                  <a:pt x="383" y="177"/>
                  <a:pt x="382" y="178"/>
                </a:cubicBezTo>
                <a:cubicBezTo>
                  <a:pt x="380" y="178"/>
                  <a:pt x="379" y="179"/>
                  <a:pt x="377" y="180"/>
                </a:cubicBezTo>
                <a:cubicBezTo>
                  <a:pt x="375" y="181"/>
                  <a:pt x="373" y="181"/>
                  <a:pt x="371" y="181"/>
                </a:cubicBezTo>
                <a:cubicBezTo>
                  <a:pt x="371" y="181"/>
                  <a:pt x="371" y="180"/>
                  <a:pt x="370" y="181"/>
                </a:cubicBezTo>
                <a:cubicBezTo>
                  <a:pt x="369" y="181"/>
                  <a:pt x="368" y="181"/>
                  <a:pt x="368" y="180"/>
                </a:cubicBezTo>
                <a:cubicBezTo>
                  <a:pt x="367" y="179"/>
                  <a:pt x="366" y="178"/>
                  <a:pt x="366" y="177"/>
                </a:cubicBezTo>
                <a:cubicBezTo>
                  <a:pt x="365" y="175"/>
                  <a:pt x="365" y="173"/>
                  <a:pt x="366" y="172"/>
                </a:cubicBezTo>
                <a:cubicBezTo>
                  <a:pt x="366" y="170"/>
                  <a:pt x="364" y="167"/>
                  <a:pt x="362" y="166"/>
                </a:cubicBezTo>
                <a:cubicBezTo>
                  <a:pt x="362" y="166"/>
                  <a:pt x="361" y="165"/>
                  <a:pt x="360" y="165"/>
                </a:cubicBezTo>
                <a:cubicBezTo>
                  <a:pt x="358" y="164"/>
                  <a:pt x="357" y="162"/>
                  <a:pt x="358" y="160"/>
                </a:cubicBezTo>
                <a:cubicBezTo>
                  <a:pt x="358" y="160"/>
                  <a:pt x="358" y="159"/>
                  <a:pt x="358" y="159"/>
                </a:cubicBezTo>
                <a:cubicBezTo>
                  <a:pt x="359" y="159"/>
                  <a:pt x="360" y="158"/>
                  <a:pt x="361" y="158"/>
                </a:cubicBezTo>
                <a:cubicBezTo>
                  <a:pt x="361" y="158"/>
                  <a:pt x="361" y="158"/>
                  <a:pt x="361" y="158"/>
                </a:cubicBezTo>
                <a:cubicBezTo>
                  <a:pt x="363" y="157"/>
                  <a:pt x="364" y="158"/>
                  <a:pt x="365" y="157"/>
                </a:cubicBezTo>
                <a:cubicBezTo>
                  <a:pt x="366" y="157"/>
                  <a:pt x="366" y="158"/>
                  <a:pt x="367" y="158"/>
                </a:cubicBezTo>
                <a:cubicBezTo>
                  <a:pt x="367" y="158"/>
                  <a:pt x="367" y="158"/>
                  <a:pt x="367" y="158"/>
                </a:cubicBezTo>
                <a:cubicBezTo>
                  <a:pt x="368" y="158"/>
                  <a:pt x="370" y="157"/>
                  <a:pt x="372" y="158"/>
                </a:cubicBezTo>
                <a:cubicBezTo>
                  <a:pt x="372" y="158"/>
                  <a:pt x="372" y="158"/>
                  <a:pt x="373" y="158"/>
                </a:cubicBezTo>
                <a:cubicBezTo>
                  <a:pt x="375" y="159"/>
                  <a:pt x="377" y="160"/>
                  <a:pt x="379" y="162"/>
                </a:cubicBezTo>
                <a:cubicBezTo>
                  <a:pt x="381" y="164"/>
                  <a:pt x="384" y="166"/>
                  <a:pt x="386" y="170"/>
                </a:cubicBezTo>
                <a:close/>
                <a:moveTo>
                  <a:pt x="107" y="12"/>
                </a:moveTo>
                <a:cubicBezTo>
                  <a:pt x="107" y="13"/>
                  <a:pt x="108" y="16"/>
                  <a:pt x="106" y="17"/>
                </a:cubicBezTo>
                <a:cubicBezTo>
                  <a:pt x="106" y="17"/>
                  <a:pt x="106" y="17"/>
                  <a:pt x="106" y="17"/>
                </a:cubicBezTo>
                <a:cubicBezTo>
                  <a:pt x="105" y="18"/>
                  <a:pt x="104" y="20"/>
                  <a:pt x="104" y="21"/>
                </a:cubicBezTo>
                <a:cubicBezTo>
                  <a:pt x="104" y="22"/>
                  <a:pt x="103" y="22"/>
                  <a:pt x="102" y="23"/>
                </a:cubicBezTo>
                <a:cubicBezTo>
                  <a:pt x="102" y="26"/>
                  <a:pt x="103" y="29"/>
                  <a:pt x="103" y="32"/>
                </a:cubicBezTo>
                <a:cubicBezTo>
                  <a:pt x="103" y="33"/>
                  <a:pt x="103" y="34"/>
                  <a:pt x="101" y="34"/>
                </a:cubicBezTo>
                <a:cubicBezTo>
                  <a:pt x="101" y="34"/>
                  <a:pt x="100" y="34"/>
                  <a:pt x="100" y="34"/>
                </a:cubicBezTo>
                <a:cubicBezTo>
                  <a:pt x="101" y="36"/>
                  <a:pt x="101" y="36"/>
                  <a:pt x="99" y="37"/>
                </a:cubicBezTo>
                <a:cubicBezTo>
                  <a:pt x="99" y="37"/>
                  <a:pt x="99" y="37"/>
                  <a:pt x="99" y="37"/>
                </a:cubicBezTo>
                <a:cubicBezTo>
                  <a:pt x="99" y="37"/>
                  <a:pt x="99" y="37"/>
                  <a:pt x="99" y="37"/>
                </a:cubicBezTo>
                <a:cubicBezTo>
                  <a:pt x="98" y="37"/>
                  <a:pt x="98" y="37"/>
                  <a:pt x="98" y="38"/>
                </a:cubicBezTo>
                <a:cubicBezTo>
                  <a:pt x="97" y="38"/>
                  <a:pt x="97" y="38"/>
                  <a:pt x="97" y="38"/>
                </a:cubicBezTo>
                <a:cubicBezTo>
                  <a:pt x="95" y="41"/>
                  <a:pt x="93" y="43"/>
                  <a:pt x="90" y="44"/>
                </a:cubicBezTo>
                <a:cubicBezTo>
                  <a:pt x="90" y="44"/>
                  <a:pt x="90" y="44"/>
                  <a:pt x="90" y="44"/>
                </a:cubicBezTo>
                <a:cubicBezTo>
                  <a:pt x="90" y="44"/>
                  <a:pt x="90" y="44"/>
                  <a:pt x="90" y="44"/>
                </a:cubicBezTo>
                <a:cubicBezTo>
                  <a:pt x="90" y="44"/>
                  <a:pt x="90" y="44"/>
                  <a:pt x="90" y="44"/>
                </a:cubicBezTo>
                <a:cubicBezTo>
                  <a:pt x="88" y="43"/>
                  <a:pt x="87" y="43"/>
                  <a:pt x="85" y="42"/>
                </a:cubicBezTo>
                <a:cubicBezTo>
                  <a:pt x="85" y="42"/>
                  <a:pt x="85" y="42"/>
                  <a:pt x="85" y="42"/>
                </a:cubicBezTo>
                <a:cubicBezTo>
                  <a:pt x="85" y="42"/>
                  <a:pt x="85" y="42"/>
                  <a:pt x="85" y="42"/>
                </a:cubicBezTo>
                <a:cubicBezTo>
                  <a:pt x="81" y="42"/>
                  <a:pt x="77" y="42"/>
                  <a:pt x="74" y="40"/>
                </a:cubicBezTo>
                <a:cubicBezTo>
                  <a:pt x="74" y="40"/>
                  <a:pt x="73" y="40"/>
                  <a:pt x="73" y="40"/>
                </a:cubicBezTo>
                <a:cubicBezTo>
                  <a:pt x="71" y="40"/>
                  <a:pt x="69" y="40"/>
                  <a:pt x="68" y="37"/>
                </a:cubicBezTo>
                <a:cubicBezTo>
                  <a:pt x="68" y="37"/>
                  <a:pt x="67" y="37"/>
                  <a:pt x="67" y="36"/>
                </a:cubicBezTo>
                <a:cubicBezTo>
                  <a:pt x="66" y="34"/>
                  <a:pt x="63" y="34"/>
                  <a:pt x="61" y="33"/>
                </a:cubicBezTo>
                <a:cubicBezTo>
                  <a:pt x="59" y="32"/>
                  <a:pt x="57" y="31"/>
                  <a:pt x="55" y="31"/>
                </a:cubicBezTo>
                <a:cubicBezTo>
                  <a:pt x="55" y="31"/>
                  <a:pt x="55" y="31"/>
                  <a:pt x="55" y="31"/>
                </a:cubicBezTo>
                <a:cubicBezTo>
                  <a:pt x="53" y="28"/>
                  <a:pt x="51" y="25"/>
                  <a:pt x="52" y="22"/>
                </a:cubicBezTo>
                <a:cubicBezTo>
                  <a:pt x="52" y="20"/>
                  <a:pt x="53" y="19"/>
                  <a:pt x="54" y="18"/>
                </a:cubicBezTo>
                <a:cubicBezTo>
                  <a:pt x="55" y="18"/>
                  <a:pt x="56" y="17"/>
                  <a:pt x="57" y="16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15"/>
                  <a:pt x="57" y="14"/>
                  <a:pt x="58" y="13"/>
                </a:cubicBezTo>
                <a:cubicBezTo>
                  <a:pt x="58" y="13"/>
                  <a:pt x="58" y="13"/>
                  <a:pt x="58" y="13"/>
                </a:cubicBezTo>
                <a:cubicBezTo>
                  <a:pt x="58" y="12"/>
                  <a:pt x="58" y="12"/>
                  <a:pt x="58" y="12"/>
                </a:cubicBezTo>
                <a:cubicBezTo>
                  <a:pt x="59" y="11"/>
                  <a:pt x="59" y="10"/>
                  <a:pt x="60" y="10"/>
                </a:cubicBezTo>
                <a:cubicBezTo>
                  <a:pt x="60" y="10"/>
                  <a:pt x="60" y="10"/>
                  <a:pt x="61" y="10"/>
                </a:cubicBezTo>
                <a:cubicBezTo>
                  <a:pt x="61" y="9"/>
                  <a:pt x="61" y="9"/>
                  <a:pt x="61" y="9"/>
                </a:cubicBezTo>
                <a:cubicBezTo>
                  <a:pt x="64" y="9"/>
                  <a:pt x="67" y="7"/>
                  <a:pt x="69" y="5"/>
                </a:cubicBezTo>
                <a:cubicBezTo>
                  <a:pt x="70" y="5"/>
                  <a:pt x="70" y="5"/>
                  <a:pt x="71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2" y="4"/>
                  <a:pt x="73" y="3"/>
                  <a:pt x="73" y="3"/>
                </a:cubicBezTo>
                <a:cubicBezTo>
                  <a:pt x="75" y="1"/>
                  <a:pt x="76" y="1"/>
                  <a:pt x="78" y="1"/>
                </a:cubicBezTo>
                <a:cubicBezTo>
                  <a:pt x="78" y="1"/>
                  <a:pt x="79" y="1"/>
                  <a:pt x="79" y="2"/>
                </a:cubicBezTo>
                <a:cubicBezTo>
                  <a:pt x="79" y="2"/>
                  <a:pt x="80" y="2"/>
                  <a:pt x="80" y="2"/>
                </a:cubicBezTo>
                <a:cubicBezTo>
                  <a:pt x="81" y="2"/>
                  <a:pt x="82" y="2"/>
                  <a:pt x="82" y="3"/>
                </a:cubicBezTo>
                <a:cubicBezTo>
                  <a:pt x="83" y="4"/>
                  <a:pt x="83" y="3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5" y="0"/>
                  <a:pt x="85" y="0"/>
                  <a:pt x="87" y="1"/>
                </a:cubicBezTo>
                <a:cubicBezTo>
                  <a:pt x="88" y="1"/>
                  <a:pt x="89" y="1"/>
                  <a:pt x="90" y="1"/>
                </a:cubicBezTo>
                <a:cubicBezTo>
                  <a:pt x="91" y="1"/>
                  <a:pt x="91" y="1"/>
                  <a:pt x="92" y="2"/>
                </a:cubicBezTo>
                <a:cubicBezTo>
                  <a:pt x="92" y="2"/>
                  <a:pt x="92" y="2"/>
                  <a:pt x="92" y="2"/>
                </a:cubicBezTo>
                <a:cubicBezTo>
                  <a:pt x="92" y="2"/>
                  <a:pt x="92" y="2"/>
                  <a:pt x="92" y="2"/>
                </a:cubicBezTo>
                <a:cubicBezTo>
                  <a:pt x="92" y="2"/>
                  <a:pt x="92" y="2"/>
                  <a:pt x="92" y="2"/>
                </a:cubicBezTo>
                <a:cubicBezTo>
                  <a:pt x="93" y="1"/>
                  <a:pt x="94" y="1"/>
                  <a:pt x="95" y="1"/>
                </a:cubicBezTo>
                <a:cubicBezTo>
                  <a:pt x="97" y="0"/>
                  <a:pt x="97" y="2"/>
                  <a:pt x="98" y="2"/>
                </a:cubicBezTo>
                <a:cubicBezTo>
                  <a:pt x="98" y="2"/>
                  <a:pt x="99" y="3"/>
                  <a:pt x="100" y="3"/>
                </a:cubicBezTo>
                <a:cubicBezTo>
                  <a:pt x="101" y="2"/>
                  <a:pt x="102" y="3"/>
                  <a:pt x="103" y="4"/>
                </a:cubicBezTo>
                <a:cubicBezTo>
                  <a:pt x="103" y="4"/>
                  <a:pt x="103" y="5"/>
                  <a:pt x="103" y="5"/>
                </a:cubicBezTo>
                <a:cubicBezTo>
                  <a:pt x="106" y="6"/>
                  <a:pt x="105" y="8"/>
                  <a:pt x="106" y="10"/>
                </a:cubicBezTo>
                <a:cubicBezTo>
                  <a:pt x="106" y="10"/>
                  <a:pt x="106" y="10"/>
                  <a:pt x="106" y="11"/>
                </a:cubicBezTo>
                <a:cubicBezTo>
                  <a:pt x="106" y="11"/>
                  <a:pt x="107" y="11"/>
                  <a:pt x="107" y="12"/>
                </a:cubicBezTo>
                <a:close/>
                <a:moveTo>
                  <a:pt x="397" y="130"/>
                </a:moveTo>
                <a:cubicBezTo>
                  <a:pt x="397" y="130"/>
                  <a:pt x="397" y="131"/>
                  <a:pt x="397" y="131"/>
                </a:cubicBezTo>
                <a:cubicBezTo>
                  <a:pt x="395" y="133"/>
                  <a:pt x="395" y="134"/>
                  <a:pt x="393" y="136"/>
                </a:cubicBezTo>
                <a:cubicBezTo>
                  <a:pt x="393" y="136"/>
                  <a:pt x="393" y="136"/>
                  <a:pt x="393" y="136"/>
                </a:cubicBezTo>
                <a:cubicBezTo>
                  <a:pt x="393" y="136"/>
                  <a:pt x="393" y="136"/>
                  <a:pt x="393" y="136"/>
                </a:cubicBezTo>
                <a:cubicBezTo>
                  <a:pt x="391" y="138"/>
                  <a:pt x="389" y="139"/>
                  <a:pt x="387" y="141"/>
                </a:cubicBezTo>
                <a:cubicBezTo>
                  <a:pt x="385" y="140"/>
                  <a:pt x="383" y="143"/>
                  <a:pt x="381" y="142"/>
                </a:cubicBezTo>
                <a:cubicBezTo>
                  <a:pt x="381" y="142"/>
                  <a:pt x="381" y="142"/>
                  <a:pt x="381" y="142"/>
                </a:cubicBezTo>
                <a:cubicBezTo>
                  <a:pt x="378" y="144"/>
                  <a:pt x="375" y="142"/>
                  <a:pt x="373" y="142"/>
                </a:cubicBezTo>
                <a:cubicBezTo>
                  <a:pt x="371" y="141"/>
                  <a:pt x="368" y="141"/>
                  <a:pt x="366" y="140"/>
                </a:cubicBezTo>
                <a:cubicBezTo>
                  <a:pt x="364" y="139"/>
                  <a:pt x="362" y="139"/>
                  <a:pt x="360" y="137"/>
                </a:cubicBezTo>
                <a:cubicBezTo>
                  <a:pt x="360" y="137"/>
                  <a:pt x="360" y="137"/>
                  <a:pt x="360" y="137"/>
                </a:cubicBezTo>
                <a:cubicBezTo>
                  <a:pt x="359" y="137"/>
                  <a:pt x="357" y="137"/>
                  <a:pt x="355" y="137"/>
                </a:cubicBezTo>
                <a:cubicBezTo>
                  <a:pt x="353" y="136"/>
                  <a:pt x="351" y="137"/>
                  <a:pt x="349" y="137"/>
                </a:cubicBezTo>
                <a:cubicBezTo>
                  <a:pt x="347" y="138"/>
                  <a:pt x="345" y="138"/>
                  <a:pt x="343" y="138"/>
                </a:cubicBezTo>
                <a:cubicBezTo>
                  <a:pt x="341" y="138"/>
                  <a:pt x="339" y="138"/>
                  <a:pt x="337" y="138"/>
                </a:cubicBezTo>
                <a:cubicBezTo>
                  <a:pt x="335" y="138"/>
                  <a:pt x="333" y="138"/>
                  <a:pt x="331" y="137"/>
                </a:cubicBezTo>
                <a:cubicBezTo>
                  <a:pt x="330" y="137"/>
                  <a:pt x="329" y="137"/>
                  <a:pt x="330" y="136"/>
                </a:cubicBezTo>
                <a:cubicBezTo>
                  <a:pt x="331" y="135"/>
                  <a:pt x="331" y="134"/>
                  <a:pt x="331" y="133"/>
                </a:cubicBezTo>
                <a:cubicBezTo>
                  <a:pt x="332" y="131"/>
                  <a:pt x="334" y="130"/>
                  <a:pt x="335" y="129"/>
                </a:cubicBezTo>
                <a:cubicBezTo>
                  <a:pt x="336" y="128"/>
                  <a:pt x="337" y="126"/>
                  <a:pt x="336" y="125"/>
                </a:cubicBezTo>
                <a:cubicBezTo>
                  <a:pt x="336" y="124"/>
                  <a:pt x="336" y="124"/>
                  <a:pt x="336" y="123"/>
                </a:cubicBezTo>
                <a:cubicBezTo>
                  <a:pt x="336" y="123"/>
                  <a:pt x="335" y="123"/>
                  <a:pt x="336" y="122"/>
                </a:cubicBezTo>
                <a:cubicBezTo>
                  <a:pt x="336" y="122"/>
                  <a:pt x="336" y="122"/>
                  <a:pt x="337" y="122"/>
                </a:cubicBezTo>
                <a:cubicBezTo>
                  <a:pt x="337" y="123"/>
                  <a:pt x="338" y="123"/>
                  <a:pt x="339" y="123"/>
                </a:cubicBezTo>
                <a:cubicBezTo>
                  <a:pt x="341" y="123"/>
                  <a:pt x="342" y="124"/>
                  <a:pt x="344" y="124"/>
                </a:cubicBezTo>
                <a:cubicBezTo>
                  <a:pt x="346" y="125"/>
                  <a:pt x="349" y="125"/>
                  <a:pt x="352" y="125"/>
                </a:cubicBezTo>
                <a:cubicBezTo>
                  <a:pt x="352" y="125"/>
                  <a:pt x="353" y="125"/>
                  <a:pt x="354" y="126"/>
                </a:cubicBezTo>
                <a:cubicBezTo>
                  <a:pt x="354" y="126"/>
                  <a:pt x="354" y="126"/>
                  <a:pt x="354" y="126"/>
                </a:cubicBezTo>
                <a:cubicBezTo>
                  <a:pt x="356" y="126"/>
                  <a:pt x="359" y="126"/>
                  <a:pt x="362" y="127"/>
                </a:cubicBezTo>
                <a:cubicBezTo>
                  <a:pt x="362" y="127"/>
                  <a:pt x="362" y="127"/>
                  <a:pt x="362" y="127"/>
                </a:cubicBezTo>
                <a:cubicBezTo>
                  <a:pt x="362" y="127"/>
                  <a:pt x="362" y="127"/>
                  <a:pt x="362" y="127"/>
                </a:cubicBezTo>
                <a:cubicBezTo>
                  <a:pt x="363" y="127"/>
                  <a:pt x="364" y="127"/>
                  <a:pt x="364" y="127"/>
                </a:cubicBezTo>
                <a:cubicBezTo>
                  <a:pt x="365" y="127"/>
                  <a:pt x="365" y="127"/>
                  <a:pt x="365" y="126"/>
                </a:cubicBezTo>
                <a:cubicBezTo>
                  <a:pt x="366" y="126"/>
                  <a:pt x="366" y="125"/>
                  <a:pt x="366" y="125"/>
                </a:cubicBezTo>
                <a:cubicBezTo>
                  <a:pt x="366" y="124"/>
                  <a:pt x="366" y="123"/>
                  <a:pt x="367" y="123"/>
                </a:cubicBezTo>
                <a:cubicBezTo>
                  <a:pt x="368" y="123"/>
                  <a:pt x="369" y="124"/>
                  <a:pt x="369" y="125"/>
                </a:cubicBezTo>
                <a:cubicBezTo>
                  <a:pt x="370" y="126"/>
                  <a:pt x="370" y="127"/>
                  <a:pt x="371" y="128"/>
                </a:cubicBezTo>
                <a:cubicBezTo>
                  <a:pt x="371" y="128"/>
                  <a:pt x="371" y="128"/>
                  <a:pt x="371" y="128"/>
                </a:cubicBezTo>
                <a:cubicBezTo>
                  <a:pt x="372" y="128"/>
                  <a:pt x="372" y="128"/>
                  <a:pt x="373" y="128"/>
                </a:cubicBezTo>
                <a:cubicBezTo>
                  <a:pt x="373" y="129"/>
                  <a:pt x="373" y="129"/>
                  <a:pt x="373" y="129"/>
                </a:cubicBezTo>
                <a:cubicBezTo>
                  <a:pt x="373" y="129"/>
                  <a:pt x="373" y="129"/>
                  <a:pt x="373" y="129"/>
                </a:cubicBezTo>
                <a:cubicBezTo>
                  <a:pt x="374" y="129"/>
                  <a:pt x="375" y="129"/>
                  <a:pt x="375" y="129"/>
                </a:cubicBezTo>
                <a:cubicBezTo>
                  <a:pt x="375" y="129"/>
                  <a:pt x="375" y="129"/>
                  <a:pt x="375" y="129"/>
                </a:cubicBezTo>
                <a:cubicBezTo>
                  <a:pt x="376" y="129"/>
                  <a:pt x="377" y="128"/>
                  <a:pt x="378" y="130"/>
                </a:cubicBezTo>
                <a:cubicBezTo>
                  <a:pt x="378" y="130"/>
                  <a:pt x="378" y="130"/>
                  <a:pt x="379" y="130"/>
                </a:cubicBezTo>
                <a:cubicBezTo>
                  <a:pt x="381" y="129"/>
                  <a:pt x="383" y="129"/>
                  <a:pt x="386" y="128"/>
                </a:cubicBezTo>
                <a:cubicBezTo>
                  <a:pt x="387" y="128"/>
                  <a:pt x="388" y="129"/>
                  <a:pt x="389" y="128"/>
                </a:cubicBezTo>
                <a:cubicBezTo>
                  <a:pt x="390" y="128"/>
                  <a:pt x="391" y="128"/>
                  <a:pt x="392" y="128"/>
                </a:cubicBezTo>
                <a:cubicBezTo>
                  <a:pt x="393" y="128"/>
                  <a:pt x="394" y="128"/>
                  <a:pt x="394" y="129"/>
                </a:cubicBezTo>
                <a:cubicBezTo>
                  <a:pt x="394" y="130"/>
                  <a:pt x="395" y="130"/>
                  <a:pt x="396" y="130"/>
                </a:cubicBezTo>
                <a:cubicBezTo>
                  <a:pt x="396" y="130"/>
                  <a:pt x="396" y="130"/>
                  <a:pt x="397" y="130"/>
                </a:cubicBezTo>
                <a:close/>
                <a:moveTo>
                  <a:pt x="21" y="29"/>
                </a:moveTo>
                <a:cubicBezTo>
                  <a:pt x="20" y="28"/>
                  <a:pt x="19" y="28"/>
                  <a:pt x="18" y="28"/>
                </a:cubicBezTo>
                <a:cubicBezTo>
                  <a:pt x="16" y="29"/>
                  <a:pt x="15" y="29"/>
                  <a:pt x="15" y="31"/>
                </a:cubicBezTo>
                <a:cubicBezTo>
                  <a:pt x="15" y="33"/>
                  <a:pt x="14" y="35"/>
                  <a:pt x="11" y="35"/>
                </a:cubicBezTo>
                <a:cubicBezTo>
                  <a:pt x="10" y="36"/>
                  <a:pt x="8" y="37"/>
                  <a:pt x="7" y="38"/>
                </a:cubicBezTo>
                <a:cubicBezTo>
                  <a:pt x="5" y="40"/>
                  <a:pt x="2" y="41"/>
                  <a:pt x="2" y="45"/>
                </a:cubicBezTo>
                <a:cubicBezTo>
                  <a:pt x="2" y="45"/>
                  <a:pt x="2" y="45"/>
                  <a:pt x="2" y="45"/>
                </a:cubicBezTo>
                <a:cubicBezTo>
                  <a:pt x="1" y="46"/>
                  <a:pt x="0" y="47"/>
                  <a:pt x="1" y="49"/>
                </a:cubicBezTo>
                <a:cubicBezTo>
                  <a:pt x="1" y="50"/>
                  <a:pt x="0" y="50"/>
                  <a:pt x="1" y="51"/>
                </a:cubicBezTo>
                <a:cubicBezTo>
                  <a:pt x="2" y="52"/>
                  <a:pt x="3" y="54"/>
                  <a:pt x="4" y="55"/>
                </a:cubicBezTo>
                <a:cubicBezTo>
                  <a:pt x="4" y="55"/>
                  <a:pt x="5" y="55"/>
                  <a:pt x="5" y="54"/>
                </a:cubicBezTo>
                <a:cubicBezTo>
                  <a:pt x="5" y="53"/>
                  <a:pt x="6" y="52"/>
                  <a:pt x="7" y="51"/>
                </a:cubicBezTo>
                <a:cubicBezTo>
                  <a:pt x="7" y="49"/>
                  <a:pt x="9" y="47"/>
                  <a:pt x="10" y="45"/>
                </a:cubicBezTo>
                <a:cubicBezTo>
                  <a:pt x="10" y="44"/>
                  <a:pt x="12" y="44"/>
                  <a:pt x="13" y="44"/>
                </a:cubicBezTo>
                <a:cubicBezTo>
                  <a:pt x="15" y="43"/>
                  <a:pt x="17" y="42"/>
                  <a:pt x="18" y="41"/>
                </a:cubicBezTo>
                <a:cubicBezTo>
                  <a:pt x="19" y="41"/>
                  <a:pt x="20" y="40"/>
                  <a:pt x="19" y="39"/>
                </a:cubicBezTo>
                <a:cubicBezTo>
                  <a:pt x="18" y="36"/>
                  <a:pt x="19" y="33"/>
                  <a:pt x="21" y="31"/>
                </a:cubicBezTo>
                <a:cubicBezTo>
                  <a:pt x="22" y="30"/>
                  <a:pt x="22" y="29"/>
                  <a:pt x="21" y="29"/>
                </a:cubicBezTo>
                <a:close/>
                <a:moveTo>
                  <a:pt x="415" y="205"/>
                </a:moveTo>
                <a:cubicBezTo>
                  <a:pt x="414" y="204"/>
                  <a:pt x="414" y="204"/>
                  <a:pt x="415" y="203"/>
                </a:cubicBezTo>
                <a:cubicBezTo>
                  <a:pt x="415" y="202"/>
                  <a:pt x="415" y="201"/>
                  <a:pt x="416" y="200"/>
                </a:cubicBezTo>
                <a:cubicBezTo>
                  <a:pt x="416" y="200"/>
                  <a:pt x="416" y="199"/>
                  <a:pt x="416" y="199"/>
                </a:cubicBezTo>
                <a:cubicBezTo>
                  <a:pt x="415" y="197"/>
                  <a:pt x="412" y="196"/>
                  <a:pt x="410" y="197"/>
                </a:cubicBezTo>
                <a:cubicBezTo>
                  <a:pt x="409" y="197"/>
                  <a:pt x="408" y="198"/>
                  <a:pt x="408" y="198"/>
                </a:cubicBezTo>
                <a:cubicBezTo>
                  <a:pt x="406" y="200"/>
                  <a:pt x="404" y="202"/>
                  <a:pt x="401" y="202"/>
                </a:cubicBezTo>
                <a:cubicBezTo>
                  <a:pt x="399" y="202"/>
                  <a:pt x="399" y="204"/>
                  <a:pt x="398" y="205"/>
                </a:cubicBezTo>
                <a:cubicBezTo>
                  <a:pt x="398" y="206"/>
                  <a:pt x="399" y="206"/>
                  <a:pt x="399" y="207"/>
                </a:cubicBezTo>
                <a:cubicBezTo>
                  <a:pt x="400" y="207"/>
                  <a:pt x="400" y="207"/>
                  <a:pt x="400" y="208"/>
                </a:cubicBezTo>
                <a:cubicBezTo>
                  <a:pt x="401" y="209"/>
                  <a:pt x="401" y="209"/>
                  <a:pt x="402" y="208"/>
                </a:cubicBezTo>
                <a:cubicBezTo>
                  <a:pt x="403" y="208"/>
                  <a:pt x="403" y="207"/>
                  <a:pt x="404" y="207"/>
                </a:cubicBezTo>
                <a:cubicBezTo>
                  <a:pt x="406" y="208"/>
                  <a:pt x="407" y="207"/>
                  <a:pt x="408" y="206"/>
                </a:cubicBezTo>
                <a:cubicBezTo>
                  <a:pt x="409" y="206"/>
                  <a:pt x="409" y="206"/>
                  <a:pt x="410" y="207"/>
                </a:cubicBezTo>
                <a:cubicBezTo>
                  <a:pt x="410" y="208"/>
                  <a:pt x="411" y="208"/>
                  <a:pt x="412" y="207"/>
                </a:cubicBezTo>
                <a:cubicBezTo>
                  <a:pt x="413" y="207"/>
                  <a:pt x="414" y="206"/>
                  <a:pt x="415" y="207"/>
                </a:cubicBezTo>
                <a:cubicBezTo>
                  <a:pt x="415" y="207"/>
                  <a:pt x="416" y="206"/>
                  <a:pt x="416" y="205"/>
                </a:cubicBezTo>
                <a:cubicBezTo>
                  <a:pt x="417" y="205"/>
                  <a:pt x="416" y="205"/>
                  <a:pt x="415" y="205"/>
                </a:cubicBezTo>
                <a:close/>
                <a:moveTo>
                  <a:pt x="259" y="104"/>
                </a:move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lose/>
                <a:moveTo>
                  <a:pt x="291" y="113"/>
                </a:moveTo>
                <a:cubicBezTo>
                  <a:pt x="290" y="114"/>
                  <a:pt x="288" y="116"/>
                  <a:pt x="286" y="116"/>
                </a:cubicBezTo>
                <a:cubicBezTo>
                  <a:pt x="286" y="116"/>
                  <a:pt x="286" y="116"/>
                  <a:pt x="286" y="116"/>
                </a:cubicBezTo>
                <a:cubicBezTo>
                  <a:pt x="287" y="117"/>
                  <a:pt x="286" y="117"/>
                  <a:pt x="286" y="117"/>
                </a:cubicBezTo>
                <a:cubicBezTo>
                  <a:pt x="284" y="117"/>
                  <a:pt x="285" y="116"/>
                  <a:pt x="285" y="116"/>
                </a:cubicBezTo>
                <a:cubicBezTo>
                  <a:pt x="284" y="114"/>
                  <a:pt x="282" y="115"/>
                  <a:pt x="281" y="115"/>
                </a:cubicBezTo>
                <a:cubicBezTo>
                  <a:pt x="281" y="115"/>
                  <a:pt x="280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8" y="116"/>
                  <a:pt x="277" y="116"/>
                  <a:pt x="276" y="118"/>
                </a:cubicBezTo>
                <a:cubicBezTo>
                  <a:pt x="276" y="118"/>
                  <a:pt x="275" y="118"/>
                  <a:pt x="274" y="118"/>
                </a:cubicBezTo>
                <a:cubicBezTo>
                  <a:pt x="274" y="118"/>
                  <a:pt x="274" y="118"/>
                  <a:pt x="274" y="118"/>
                </a:cubicBezTo>
                <a:cubicBezTo>
                  <a:pt x="274" y="118"/>
                  <a:pt x="274" y="118"/>
                  <a:pt x="274" y="118"/>
                </a:cubicBezTo>
                <a:cubicBezTo>
                  <a:pt x="273" y="118"/>
                  <a:pt x="273" y="118"/>
                  <a:pt x="273" y="117"/>
                </a:cubicBezTo>
                <a:cubicBezTo>
                  <a:pt x="273" y="117"/>
                  <a:pt x="272" y="117"/>
                  <a:pt x="272" y="116"/>
                </a:cubicBezTo>
                <a:cubicBezTo>
                  <a:pt x="272" y="116"/>
                  <a:pt x="272" y="116"/>
                  <a:pt x="272" y="116"/>
                </a:cubicBezTo>
                <a:cubicBezTo>
                  <a:pt x="272" y="116"/>
                  <a:pt x="272" y="116"/>
                  <a:pt x="271" y="116"/>
                </a:cubicBezTo>
                <a:cubicBezTo>
                  <a:pt x="270" y="115"/>
                  <a:pt x="269" y="114"/>
                  <a:pt x="268" y="114"/>
                </a:cubicBezTo>
                <a:cubicBezTo>
                  <a:pt x="267" y="113"/>
                  <a:pt x="267" y="113"/>
                  <a:pt x="267" y="112"/>
                </a:cubicBezTo>
                <a:cubicBezTo>
                  <a:pt x="267" y="111"/>
                  <a:pt x="267" y="111"/>
                  <a:pt x="266" y="111"/>
                </a:cubicBezTo>
                <a:cubicBezTo>
                  <a:pt x="266" y="111"/>
                  <a:pt x="266" y="111"/>
                  <a:pt x="266" y="111"/>
                </a:cubicBezTo>
                <a:cubicBezTo>
                  <a:pt x="266" y="111"/>
                  <a:pt x="266" y="111"/>
                  <a:pt x="266" y="111"/>
                </a:cubicBezTo>
                <a:cubicBezTo>
                  <a:pt x="266" y="111"/>
                  <a:pt x="265" y="111"/>
                  <a:pt x="265" y="111"/>
                </a:cubicBezTo>
                <a:cubicBezTo>
                  <a:pt x="265" y="111"/>
                  <a:pt x="266" y="111"/>
                  <a:pt x="266" y="112"/>
                </a:cubicBezTo>
                <a:cubicBezTo>
                  <a:pt x="266" y="112"/>
                  <a:pt x="266" y="112"/>
                  <a:pt x="266" y="112"/>
                </a:cubicBezTo>
                <a:cubicBezTo>
                  <a:pt x="266" y="112"/>
                  <a:pt x="266" y="113"/>
                  <a:pt x="266" y="113"/>
                </a:cubicBezTo>
                <a:cubicBezTo>
                  <a:pt x="265" y="113"/>
                  <a:pt x="265" y="112"/>
                  <a:pt x="265" y="112"/>
                </a:cubicBezTo>
                <a:cubicBezTo>
                  <a:pt x="265" y="112"/>
                  <a:pt x="264" y="111"/>
                  <a:pt x="264" y="111"/>
                </a:cubicBezTo>
                <a:cubicBezTo>
                  <a:pt x="264" y="111"/>
                  <a:pt x="264" y="111"/>
                  <a:pt x="264" y="111"/>
                </a:cubicBezTo>
                <a:cubicBezTo>
                  <a:pt x="264" y="111"/>
                  <a:pt x="264" y="111"/>
                  <a:pt x="264" y="111"/>
                </a:cubicBezTo>
                <a:cubicBezTo>
                  <a:pt x="264" y="111"/>
                  <a:pt x="264" y="111"/>
                  <a:pt x="264" y="111"/>
                </a:cubicBezTo>
                <a:cubicBezTo>
                  <a:pt x="264" y="109"/>
                  <a:pt x="263" y="109"/>
                  <a:pt x="262" y="111"/>
                </a:cubicBezTo>
                <a:cubicBezTo>
                  <a:pt x="262" y="111"/>
                  <a:pt x="262" y="111"/>
                  <a:pt x="262" y="111"/>
                </a:cubicBezTo>
                <a:cubicBezTo>
                  <a:pt x="263" y="113"/>
                  <a:pt x="262" y="112"/>
                  <a:pt x="261" y="112"/>
                </a:cubicBezTo>
                <a:cubicBezTo>
                  <a:pt x="261" y="112"/>
                  <a:pt x="260" y="112"/>
                  <a:pt x="259" y="112"/>
                </a:cubicBezTo>
                <a:cubicBezTo>
                  <a:pt x="258" y="112"/>
                  <a:pt x="258" y="112"/>
                  <a:pt x="258" y="112"/>
                </a:cubicBezTo>
                <a:cubicBezTo>
                  <a:pt x="258" y="112"/>
                  <a:pt x="258" y="112"/>
                  <a:pt x="258" y="112"/>
                </a:cubicBezTo>
                <a:cubicBezTo>
                  <a:pt x="258" y="111"/>
                  <a:pt x="257" y="110"/>
                  <a:pt x="257" y="110"/>
                </a:cubicBezTo>
                <a:cubicBezTo>
                  <a:pt x="256" y="109"/>
                  <a:pt x="256" y="107"/>
                  <a:pt x="257" y="106"/>
                </a:cubicBezTo>
                <a:cubicBezTo>
                  <a:pt x="258" y="105"/>
                  <a:pt x="259" y="105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3"/>
                  <a:pt x="259" y="103"/>
                </a:cubicBezTo>
                <a:cubicBezTo>
                  <a:pt x="258" y="102"/>
                  <a:pt x="257" y="102"/>
                  <a:pt x="256" y="102"/>
                </a:cubicBezTo>
                <a:cubicBezTo>
                  <a:pt x="256" y="102"/>
                  <a:pt x="256" y="102"/>
                  <a:pt x="256" y="102"/>
                </a:cubicBezTo>
                <a:cubicBezTo>
                  <a:pt x="256" y="102"/>
                  <a:pt x="256" y="102"/>
                  <a:pt x="256" y="102"/>
                </a:cubicBezTo>
                <a:cubicBezTo>
                  <a:pt x="256" y="103"/>
                  <a:pt x="256" y="103"/>
                  <a:pt x="256" y="103"/>
                </a:cubicBezTo>
                <a:cubicBezTo>
                  <a:pt x="256" y="104"/>
                  <a:pt x="256" y="104"/>
                  <a:pt x="255" y="104"/>
                </a:cubicBezTo>
                <a:cubicBezTo>
                  <a:pt x="255" y="104"/>
                  <a:pt x="255" y="104"/>
                  <a:pt x="255" y="104"/>
                </a:cubicBezTo>
                <a:cubicBezTo>
                  <a:pt x="255" y="103"/>
                  <a:pt x="254" y="102"/>
                  <a:pt x="254" y="103"/>
                </a:cubicBezTo>
                <a:cubicBezTo>
                  <a:pt x="253" y="104"/>
                  <a:pt x="254" y="105"/>
                  <a:pt x="254" y="105"/>
                </a:cubicBezTo>
                <a:cubicBezTo>
                  <a:pt x="255" y="105"/>
                  <a:pt x="255" y="106"/>
                  <a:pt x="255" y="107"/>
                </a:cubicBezTo>
                <a:cubicBezTo>
                  <a:pt x="254" y="106"/>
                  <a:pt x="252" y="106"/>
                  <a:pt x="252" y="105"/>
                </a:cubicBezTo>
                <a:cubicBezTo>
                  <a:pt x="252" y="104"/>
                  <a:pt x="251" y="104"/>
                  <a:pt x="250" y="104"/>
                </a:cubicBezTo>
                <a:cubicBezTo>
                  <a:pt x="250" y="104"/>
                  <a:pt x="250" y="105"/>
                  <a:pt x="250" y="105"/>
                </a:cubicBezTo>
                <a:cubicBezTo>
                  <a:pt x="250" y="106"/>
                  <a:pt x="250" y="106"/>
                  <a:pt x="251" y="106"/>
                </a:cubicBezTo>
                <a:cubicBezTo>
                  <a:pt x="252" y="106"/>
                  <a:pt x="252" y="106"/>
                  <a:pt x="253" y="107"/>
                </a:cubicBezTo>
                <a:cubicBezTo>
                  <a:pt x="255" y="107"/>
                  <a:pt x="255" y="108"/>
                  <a:pt x="255" y="109"/>
                </a:cubicBezTo>
                <a:cubicBezTo>
                  <a:pt x="255" y="111"/>
                  <a:pt x="254" y="111"/>
                  <a:pt x="253" y="111"/>
                </a:cubicBezTo>
                <a:cubicBezTo>
                  <a:pt x="253" y="111"/>
                  <a:pt x="253" y="111"/>
                  <a:pt x="253" y="111"/>
                </a:cubicBezTo>
                <a:cubicBezTo>
                  <a:pt x="252" y="112"/>
                  <a:pt x="250" y="112"/>
                  <a:pt x="249" y="112"/>
                </a:cubicBezTo>
                <a:cubicBezTo>
                  <a:pt x="249" y="112"/>
                  <a:pt x="249" y="112"/>
                  <a:pt x="249" y="112"/>
                </a:cubicBezTo>
                <a:cubicBezTo>
                  <a:pt x="247" y="113"/>
                  <a:pt x="245" y="113"/>
                  <a:pt x="243" y="113"/>
                </a:cubicBezTo>
                <a:cubicBezTo>
                  <a:pt x="243" y="113"/>
                  <a:pt x="243" y="113"/>
                  <a:pt x="243" y="113"/>
                </a:cubicBezTo>
                <a:cubicBezTo>
                  <a:pt x="242" y="113"/>
                  <a:pt x="241" y="114"/>
                  <a:pt x="240" y="113"/>
                </a:cubicBezTo>
                <a:cubicBezTo>
                  <a:pt x="239" y="112"/>
                  <a:pt x="239" y="111"/>
                  <a:pt x="239" y="110"/>
                </a:cubicBezTo>
                <a:cubicBezTo>
                  <a:pt x="238" y="107"/>
                  <a:pt x="237" y="105"/>
                  <a:pt x="235" y="103"/>
                </a:cubicBezTo>
                <a:cubicBezTo>
                  <a:pt x="235" y="103"/>
                  <a:pt x="235" y="103"/>
                  <a:pt x="235" y="103"/>
                </a:cubicBezTo>
                <a:cubicBezTo>
                  <a:pt x="235" y="103"/>
                  <a:pt x="235" y="103"/>
                  <a:pt x="235" y="102"/>
                </a:cubicBezTo>
                <a:cubicBezTo>
                  <a:pt x="235" y="102"/>
                  <a:pt x="234" y="102"/>
                  <a:pt x="234" y="101"/>
                </a:cubicBezTo>
                <a:cubicBezTo>
                  <a:pt x="234" y="101"/>
                  <a:pt x="234" y="101"/>
                  <a:pt x="233" y="101"/>
                </a:cubicBezTo>
                <a:cubicBezTo>
                  <a:pt x="233" y="101"/>
                  <a:pt x="233" y="101"/>
                  <a:pt x="233" y="100"/>
                </a:cubicBezTo>
                <a:cubicBezTo>
                  <a:pt x="233" y="100"/>
                  <a:pt x="233" y="100"/>
                  <a:pt x="233" y="100"/>
                </a:cubicBezTo>
                <a:cubicBezTo>
                  <a:pt x="233" y="100"/>
                  <a:pt x="233" y="100"/>
                  <a:pt x="233" y="100"/>
                </a:cubicBezTo>
                <a:cubicBezTo>
                  <a:pt x="233" y="100"/>
                  <a:pt x="233" y="99"/>
                  <a:pt x="233" y="99"/>
                </a:cubicBezTo>
                <a:cubicBezTo>
                  <a:pt x="233" y="99"/>
                  <a:pt x="232" y="99"/>
                  <a:pt x="232" y="99"/>
                </a:cubicBezTo>
                <a:cubicBezTo>
                  <a:pt x="232" y="98"/>
                  <a:pt x="232" y="98"/>
                  <a:pt x="232" y="97"/>
                </a:cubicBezTo>
                <a:cubicBezTo>
                  <a:pt x="231" y="96"/>
                  <a:pt x="231" y="95"/>
                  <a:pt x="229" y="94"/>
                </a:cubicBezTo>
                <a:cubicBezTo>
                  <a:pt x="228" y="93"/>
                  <a:pt x="228" y="92"/>
                  <a:pt x="227" y="91"/>
                </a:cubicBezTo>
                <a:cubicBezTo>
                  <a:pt x="226" y="91"/>
                  <a:pt x="226" y="90"/>
                  <a:pt x="226" y="90"/>
                </a:cubicBezTo>
                <a:cubicBezTo>
                  <a:pt x="226" y="89"/>
                  <a:pt x="226" y="88"/>
                  <a:pt x="226" y="87"/>
                </a:cubicBezTo>
                <a:cubicBezTo>
                  <a:pt x="227" y="85"/>
                  <a:pt x="226" y="83"/>
                  <a:pt x="224" y="82"/>
                </a:cubicBezTo>
                <a:cubicBezTo>
                  <a:pt x="223" y="81"/>
                  <a:pt x="223" y="81"/>
                  <a:pt x="222" y="81"/>
                </a:cubicBezTo>
                <a:cubicBezTo>
                  <a:pt x="222" y="80"/>
                  <a:pt x="221" y="80"/>
                  <a:pt x="221" y="80"/>
                </a:cubicBezTo>
                <a:cubicBezTo>
                  <a:pt x="222" y="79"/>
                  <a:pt x="222" y="80"/>
                  <a:pt x="222" y="79"/>
                </a:cubicBezTo>
                <a:cubicBezTo>
                  <a:pt x="222" y="79"/>
                  <a:pt x="223" y="79"/>
                  <a:pt x="223" y="79"/>
                </a:cubicBezTo>
                <a:cubicBezTo>
                  <a:pt x="223" y="79"/>
                  <a:pt x="223" y="79"/>
                  <a:pt x="223" y="79"/>
                </a:cubicBezTo>
                <a:cubicBezTo>
                  <a:pt x="224" y="79"/>
                  <a:pt x="224" y="79"/>
                  <a:pt x="225" y="79"/>
                </a:cubicBezTo>
                <a:cubicBezTo>
                  <a:pt x="225" y="79"/>
                  <a:pt x="225" y="79"/>
                  <a:pt x="225" y="79"/>
                </a:cubicBezTo>
                <a:cubicBezTo>
                  <a:pt x="227" y="78"/>
                  <a:pt x="229" y="79"/>
                  <a:pt x="231" y="79"/>
                </a:cubicBezTo>
                <a:cubicBezTo>
                  <a:pt x="231" y="79"/>
                  <a:pt x="231" y="79"/>
                  <a:pt x="231" y="79"/>
                </a:cubicBezTo>
                <a:cubicBezTo>
                  <a:pt x="231" y="79"/>
                  <a:pt x="231" y="79"/>
                  <a:pt x="231" y="79"/>
                </a:cubicBezTo>
                <a:cubicBezTo>
                  <a:pt x="232" y="79"/>
                  <a:pt x="232" y="79"/>
                  <a:pt x="232" y="79"/>
                </a:cubicBezTo>
                <a:cubicBezTo>
                  <a:pt x="232" y="79"/>
                  <a:pt x="232" y="79"/>
                  <a:pt x="232" y="79"/>
                </a:cubicBezTo>
                <a:cubicBezTo>
                  <a:pt x="233" y="79"/>
                  <a:pt x="234" y="79"/>
                  <a:pt x="235" y="79"/>
                </a:cubicBezTo>
                <a:cubicBezTo>
                  <a:pt x="235" y="79"/>
                  <a:pt x="235" y="79"/>
                  <a:pt x="236" y="79"/>
                </a:cubicBezTo>
                <a:cubicBezTo>
                  <a:pt x="238" y="79"/>
                  <a:pt x="239" y="79"/>
                  <a:pt x="240" y="77"/>
                </a:cubicBezTo>
                <a:cubicBezTo>
                  <a:pt x="240" y="76"/>
                  <a:pt x="241" y="75"/>
                  <a:pt x="241" y="75"/>
                </a:cubicBezTo>
                <a:cubicBezTo>
                  <a:pt x="243" y="73"/>
                  <a:pt x="244" y="71"/>
                  <a:pt x="245" y="70"/>
                </a:cubicBezTo>
                <a:cubicBezTo>
                  <a:pt x="247" y="67"/>
                  <a:pt x="248" y="65"/>
                  <a:pt x="251" y="64"/>
                </a:cubicBezTo>
                <a:cubicBezTo>
                  <a:pt x="251" y="64"/>
                  <a:pt x="251" y="64"/>
                  <a:pt x="251" y="64"/>
                </a:cubicBezTo>
                <a:cubicBezTo>
                  <a:pt x="251" y="64"/>
                  <a:pt x="251" y="64"/>
                  <a:pt x="251" y="64"/>
                </a:cubicBezTo>
                <a:cubicBezTo>
                  <a:pt x="254" y="63"/>
                  <a:pt x="256" y="63"/>
                  <a:pt x="258" y="66"/>
                </a:cubicBezTo>
                <a:cubicBezTo>
                  <a:pt x="259" y="67"/>
                  <a:pt x="260" y="69"/>
                  <a:pt x="261" y="71"/>
                </a:cubicBezTo>
                <a:cubicBezTo>
                  <a:pt x="261" y="71"/>
                  <a:pt x="261" y="72"/>
                  <a:pt x="261" y="72"/>
                </a:cubicBezTo>
                <a:cubicBezTo>
                  <a:pt x="262" y="74"/>
                  <a:pt x="262" y="75"/>
                  <a:pt x="263" y="76"/>
                </a:cubicBezTo>
                <a:cubicBezTo>
                  <a:pt x="264" y="76"/>
                  <a:pt x="264" y="77"/>
                  <a:pt x="264" y="77"/>
                </a:cubicBezTo>
                <a:cubicBezTo>
                  <a:pt x="265" y="79"/>
                  <a:pt x="266" y="80"/>
                  <a:pt x="267" y="82"/>
                </a:cubicBezTo>
                <a:cubicBezTo>
                  <a:pt x="267" y="81"/>
                  <a:pt x="268" y="81"/>
                  <a:pt x="268" y="82"/>
                </a:cubicBezTo>
                <a:cubicBezTo>
                  <a:pt x="270" y="82"/>
                  <a:pt x="271" y="86"/>
                  <a:pt x="271" y="87"/>
                </a:cubicBezTo>
                <a:cubicBezTo>
                  <a:pt x="271" y="87"/>
                  <a:pt x="270" y="88"/>
                  <a:pt x="270" y="88"/>
                </a:cubicBezTo>
                <a:cubicBezTo>
                  <a:pt x="269" y="88"/>
                  <a:pt x="269" y="88"/>
                  <a:pt x="269" y="89"/>
                </a:cubicBezTo>
                <a:cubicBezTo>
                  <a:pt x="269" y="91"/>
                  <a:pt x="271" y="93"/>
                  <a:pt x="273" y="94"/>
                </a:cubicBezTo>
                <a:cubicBezTo>
                  <a:pt x="273" y="94"/>
                  <a:pt x="273" y="94"/>
                  <a:pt x="273" y="94"/>
                </a:cubicBezTo>
                <a:cubicBezTo>
                  <a:pt x="273" y="94"/>
                  <a:pt x="273" y="94"/>
                  <a:pt x="273" y="94"/>
                </a:cubicBezTo>
                <a:cubicBezTo>
                  <a:pt x="274" y="95"/>
                  <a:pt x="274" y="97"/>
                  <a:pt x="274" y="98"/>
                </a:cubicBezTo>
                <a:cubicBezTo>
                  <a:pt x="275" y="98"/>
                  <a:pt x="276" y="98"/>
                  <a:pt x="276" y="99"/>
                </a:cubicBezTo>
                <a:cubicBezTo>
                  <a:pt x="277" y="99"/>
                  <a:pt x="277" y="99"/>
                  <a:pt x="278" y="99"/>
                </a:cubicBezTo>
                <a:cubicBezTo>
                  <a:pt x="278" y="99"/>
                  <a:pt x="278" y="99"/>
                  <a:pt x="278" y="99"/>
                </a:cubicBezTo>
                <a:cubicBezTo>
                  <a:pt x="278" y="98"/>
                  <a:pt x="278" y="97"/>
                  <a:pt x="279" y="96"/>
                </a:cubicBezTo>
                <a:cubicBezTo>
                  <a:pt x="279" y="96"/>
                  <a:pt x="279" y="96"/>
                  <a:pt x="279" y="96"/>
                </a:cubicBezTo>
                <a:cubicBezTo>
                  <a:pt x="279" y="96"/>
                  <a:pt x="279" y="96"/>
                  <a:pt x="279" y="96"/>
                </a:cubicBezTo>
                <a:cubicBezTo>
                  <a:pt x="278" y="96"/>
                  <a:pt x="277" y="96"/>
                  <a:pt x="277" y="94"/>
                </a:cubicBezTo>
                <a:cubicBezTo>
                  <a:pt x="278" y="94"/>
                  <a:pt x="279" y="93"/>
                  <a:pt x="279" y="94"/>
                </a:cubicBezTo>
                <a:cubicBezTo>
                  <a:pt x="281" y="94"/>
                  <a:pt x="282" y="94"/>
                  <a:pt x="283" y="94"/>
                </a:cubicBezTo>
                <a:cubicBezTo>
                  <a:pt x="282" y="95"/>
                  <a:pt x="281" y="97"/>
                  <a:pt x="281" y="99"/>
                </a:cubicBezTo>
                <a:cubicBezTo>
                  <a:pt x="281" y="99"/>
                  <a:pt x="281" y="99"/>
                  <a:pt x="281" y="99"/>
                </a:cubicBezTo>
                <a:cubicBezTo>
                  <a:pt x="282" y="100"/>
                  <a:pt x="282" y="101"/>
                  <a:pt x="283" y="101"/>
                </a:cubicBezTo>
                <a:cubicBezTo>
                  <a:pt x="283" y="101"/>
                  <a:pt x="283" y="101"/>
                  <a:pt x="283" y="101"/>
                </a:cubicBezTo>
                <a:cubicBezTo>
                  <a:pt x="283" y="101"/>
                  <a:pt x="283" y="101"/>
                  <a:pt x="283" y="101"/>
                </a:cubicBezTo>
                <a:cubicBezTo>
                  <a:pt x="284" y="102"/>
                  <a:pt x="285" y="102"/>
                  <a:pt x="285" y="103"/>
                </a:cubicBezTo>
                <a:cubicBezTo>
                  <a:pt x="285" y="103"/>
                  <a:pt x="285" y="103"/>
                  <a:pt x="285" y="103"/>
                </a:cubicBezTo>
                <a:cubicBezTo>
                  <a:pt x="285" y="105"/>
                  <a:pt x="285" y="106"/>
                  <a:pt x="286" y="108"/>
                </a:cubicBezTo>
                <a:cubicBezTo>
                  <a:pt x="286" y="108"/>
                  <a:pt x="286" y="108"/>
                  <a:pt x="286" y="108"/>
                </a:cubicBezTo>
                <a:cubicBezTo>
                  <a:pt x="287" y="109"/>
                  <a:pt x="289" y="110"/>
                  <a:pt x="290" y="111"/>
                </a:cubicBezTo>
                <a:cubicBezTo>
                  <a:pt x="291" y="111"/>
                  <a:pt x="291" y="112"/>
                  <a:pt x="291" y="113"/>
                </a:cubicBezTo>
                <a:close/>
                <a:moveTo>
                  <a:pt x="17" y="26"/>
                </a:moveTo>
                <a:cubicBezTo>
                  <a:pt x="17" y="26"/>
                  <a:pt x="18" y="26"/>
                  <a:pt x="18" y="26"/>
                </a:cubicBezTo>
                <a:cubicBezTo>
                  <a:pt x="18" y="25"/>
                  <a:pt x="17" y="25"/>
                  <a:pt x="17" y="25"/>
                </a:cubicBezTo>
                <a:cubicBezTo>
                  <a:pt x="17" y="25"/>
                  <a:pt x="17" y="25"/>
                  <a:pt x="17" y="26"/>
                </a:cubicBezTo>
                <a:cubicBezTo>
                  <a:pt x="17" y="26"/>
                  <a:pt x="17" y="26"/>
                  <a:pt x="17" y="26"/>
                </a:cubicBezTo>
                <a:close/>
                <a:moveTo>
                  <a:pt x="257" y="105"/>
                </a:moveTo>
                <a:cubicBezTo>
                  <a:pt x="256" y="105"/>
                  <a:pt x="256" y="105"/>
                  <a:pt x="256" y="106"/>
                </a:cubicBezTo>
                <a:cubicBezTo>
                  <a:pt x="257" y="106"/>
                  <a:pt x="257" y="105"/>
                  <a:pt x="257" y="105"/>
                </a:cubicBezTo>
                <a:close/>
              </a:path>
            </a:pathLst>
          </a:custGeom>
          <a:solidFill>
            <a:schemeClr val="accent3"/>
          </a:solidFill>
          <a:ln w="7938" cap="rnd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Alaska">
            <a:extLst>
              <a:ext uri="{FF2B5EF4-FFF2-40B4-BE49-F238E27FC236}">
                <a16:creationId xmlns:a16="http://schemas.microsoft.com/office/drawing/2014/main" id="{4B37EAC8-F013-4853-B2F5-0940DF48F96C}"/>
              </a:ext>
            </a:extLst>
          </p:cNvPr>
          <p:cNvSpPr>
            <a:spLocks noEditPoints="1"/>
          </p:cNvSpPr>
          <p:nvPr/>
        </p:nvSpPr>
        <p:spPr bwMode="auto">
          <a:xfrm>
            <a:off x="300896" y="2024626"/>
            <a:ext cx="2931009" cy="2223868"/>
          </a:xfrm>
          <a:custGeom>
            <a:avLst/>
            <a:gdLst>
              <a:gd name="T0" fmla="*/ 425 w 740"/>
              <a:gd name="T1" fmla="*/ 445 h 561"/>
              <a:gd name="T2" fmla="*/ 442 w 740"/>
              <a:gd name="T3" fmla="*/ 430 h 561"/>
              <a:gd name="T4" fmla="*/ 433 w 740"/>
              <a:gd name="T5" fmla="*/ 438 h 561"/>
              <a:gd name="T6" fmla="*/ 425 w 740"/>
              <a:gd name="T7" fmla="*/ 434 h 561"/>
              <a:gd name="T8" fmla="*/ 435 w 740"/>
              <a:gd name="T9" fmla="*/ 413 h 561"/>
              <a:gd name="T10" fmla="*/ 452 w 740"/>
              <a:gd name="T11" fmla="*/ 413 h 561"/>
              <a:gd name="T12" fmla="*/ 448 w 740"/>
              <a:gd name="T13" fmla="*/ 409 h 561"/>
              <a:gd name="T14" fmla="*/ 456 w 740"/>
              <a:gd name="T15" fmla="*/ 403 h 561"/>
              <a:gd name="T16" fmla="*/ 433 w 740"/>
              <a:gd name="T17" fmla="*/ 422 h 561"/>
              <a:gd name="T18" fmla="*/ 309 w 740"/>
              <a:gd name="T19" fmla="*/ 488 h 561"/>
              <a:gd name="T20" fmla="*/ 267 w 740"/>
              <a:gd name="T21" fmla="*/ 513 h 561"/>
              <a:gd name="T22" fmla="*/ 269 w 740"/>
              <a:gd name="T23" fmla="*/ 506 h 561"/>
              <a:gd name="T24" fmla="*/ 168 w 740"/>
              <a:gd name="T25" fmla="*/ 544 h 561"/>
              <a:gd name="T26" fmla="*/ 4 w 740"/>
              <a:gd name="T27" fmla="*/ 527 h 561"/>
              <a:gd name="T28" fmla="*/ 229 w 740"/>
              <a:gd name="T29" fmla="*/ 529 h 561"/>
              <a:gd name="T30" fmla="*/ 273 w 740"/>
              <a:gd name="T31" fmla="*/ 507 h 561"/>
              <a:gd name="T32" fmla="*/ 45 w 740"/>
              <a:gd name="T33" fmla="*/ 538 h 561"/>
              <a:gd name="T34" fmla="*/ 86 w 740"/>
              <a:gd name="T35" fmla="*/ 556 h 561"/>
              <a:gd name="T36" fmla="*/ 346 w 740"/>
              <a:gd name="T37" fmla="*/ 472 h 561"/>
              <a:gd name="T38" fmla="*/ 274 w 740"/>
              <a:gd name="T39" fmla="*/ 364 h 561"/>
              <a:gd name="T40" fmla="*/ 532 w 740"/>
              <a:gd name="T41" fmla="*/ 349 h 561"/>
              <a:gd name="T42" fmla="*/ 702 w 740"/>
              <a:gd name="T43" fmla="*/ 445 h 561"/>
              <a:gd name="T44" fmla="*/ 685 w 740"/>
              <a:gd name="T45" fmla="*/ 442 h 561"/>
              <a:gd name="T46" fmla="*/ 699 w 740"/>
              <a:gd name="T47" fmla="*/ 476 h 561"/>
              <a:gd name="T48" fmla="*/ 679 w 740"/>
              <a:gd name="T49" fmla="*/ 452 h 561"/>
              <a:gd name="T50" fmla="*/ 669 w 740"/>
              <a:gd name="T51" fmla="*/ 426 h 561"/>
              <a:gd name="T52" fmla="*/ 667 w 740"/>
              <a:gd name="T53" fmla="*/ 409 h 561"/>
              <a:gd name="T54" fmla="*/ 666 w 740"/>
              <a:gd name="T55" fmla="*/ 417 h 561"/>
              <a:gd name="T56" fmla="*/ 694 w 740"/>
              <a:gd name="T57" fmla="*/ 471 h 561"/>
              <a:gd name="T58" fmla="*/ 702 w 740"/>
              <a:gd name="T59" fmla="*/ 456 h 561"/>
              <a:gd name="T60" fmla="*/ 707 w 740"/>
              <a:gd name="T61" fmla="*/ 460 h 561"/>
              <a:gd name="T62" fmla="*/ 700 w 740"/>
              <a:gd name="T63" fmla="*/ 469 h 561"/>
              <a:gd name="T64" fmla="*/ 702 w 740"/>
              <a:gd name="T65" fmla="*/ 452 h 561"/>
              <a:gd name="T66" fmla="*/ 685 w 740"/>
              <a:gd name="T67" fmla="*/ 414 h 561"/>
              <a:gd name="T68" fmla="*/ 680 w 740"/>
              <a:gd name="T69" fmla="*/ 406 h 561"/>
              <a:gd name="T70" fmla="*/ 720 w 740"/>
              <a:gd name="T71" fmla="*/ 443 h 561"/>
              <a:gd name="T72" fmla="*/ 564 w 740"/>
              <a:gd name="T73" fmla="*/ 48 h 561"/>
              <a:gd name="T74" fmla="*/ 483 w 740"/>
              <a:gd name="T75" fmla="*/ 34 h 561"/>
              <a:gd name="T76" fmla="*/ 406 w 740"/>
              <a:gd name="T77" fmla="*/ 20 h 561"/>
              <a:gd name="T78" fmla="*/ 331 w 740"/>
              <a:gd name="T79" fmla="*/ 44 h 561"/>
              <a:gd name="T80" fmla="*/ 323 w 740"/>
              <a:gd name="T81" fmla="*/ 153 h 561"/>
              <a:gd name="T82" fmla="*/ 336 w 740"/>
              <a:gd name="T83" fmla="*/ 181 h 561"/>
              <a:gd name="T84" fmla="*/ 269 w 740"/>
              <a:gd name="T85" fmla="*/ 210 h 561"/>
              <a:gd name="T86" fmla="*/ 335 w 740"/>
              <a:gd name="T87" fmla="*/ 236 h 561"/>
              <a:gd name="T88" fmla="*/ 292 w 740"/>
              <a:gd name="T89" fmla="*/ 282 h 561"/>
              <a:gd name="T90" fmla="*/ 294 w 740"/>
              <a:gd name="T91" fmla="*/ 336 h 561"/>
              <a:gd name="T92" fmla="*/ 324 w 740"/>
              <a:gd name="T93" fmla="*/ 345 h 561"/>
              <a:gd name="T94" fmla="*/ 357 w 740"/>
              <a:gd name="T95" fmla="*/ 388 h 561"/>
              <a:gd name="T96" fmla="*/ 371 w 740"/>
              <a:gd name="T97" fmla="*/ 439 h 561"/>
              <a:gd name="T98" fmla="*/ 337 w 740"/>
              <a:gd name="T99" fmla="*/ 466 h 561"/>
              <a:gd name="T100" fmla="*/ 401 w 740"/>
              <a:gd name="T101" fmla="*/ 428 h 561"/>
              <a:gd name="T102" fmla="*/ 429 w 740"/>
              <a:gd name="T103" fmla="*/ 382 h 561"/>
              <a:gd name="T104" fmla="*/ 489 w 740"/>
              <a:gd name="T105" fmla="*/ 321 h 561"/>
              <a:gd name="T106" fmla="*/ 471 w 740"/>
              <a:gd name="T107" fmla="*/ 378 h 561"/>
              <a:gd name="T108" fmla="*/ 509 w 740"/>
              <a:gd name="T109" fmla="*/ 357 h 561"/>
              <a:gd name="T110" fmla="*/ 509 w 740"/>
              <a:gd name="T111" fmla="*/ 336 h 561"/>
              <a:gd name="T112" fmla="*/ 552 w 740"/>
              <a:gd name="T113" fmla="*/ 355 h 561"/>
              <a:gd name="T114" fmla="*/ 627 w 740"/>
              <a:gd name="T115" fmla="*/ 381 h 561"/>
              <a:gd name="T116" fmla="*/ 672 w 740"/>
              <a:gd name="T117" fmla="*/ 386 h 561"/>
              <a:gd name="T118" fmla="*/ 700 w 740"/>
              <a:gd name="T119" fmla="*/ 420 h 561"/>
              <a:gd name="T120" fmla="*/ 711 w 740"/>
              <a:gd name="T121" fmla="*/ 452 h 561"/>
              <a:gd name="T122" fmla="*/ 718 w 740"/>
              <a:gd name="T123" fmla="*/ 468 h 561"/>
              <a:gd name="T124" fmla="*/ 449 w 740"/>
              <a:gd name="T125" fmla="*/ 357 h 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40" h="561">
                <a:moveTo>
                  <a:pt x="203" y="259"/>
                </a:moveTo>
                <a:cubicBezTo>
                  <a:pt x="203" y="259"/>
                  <a:pt x="203" y="258"/>
                  <a:pt x="203" y="258"/>
                </a:cubicBezTo>
                <a:cubicBezTo>
                  <a:pt x="203" y="257"/>
                  <a:pt x="204" y="257"/>
                  <a:pt x="204" y="257"/>
                </a:cubicBezTo>
                <a:cubicBezTo>
                  <a:pt x="205" y="257"/>
                  <a:pt x="204" y="259"/>
                  <a:pt x="205" y="260"/>
                </a:cubicBezTo>
                <a:cubicBezTo>
                  <a:pt x="205" y="260"/>
                  <a:pt x="205" y="260"/>
                  <a:pt x="206" y="260"/>
                </a:cubicBezTo>
                <a:cubicBezTo>
                  <a:pt x="208" y="261"/>
                  <a:pt x="210" y="262"/>
                  <a:pt x="212" y="262"/>
                </a:cubicBezTo>
                <a:cubicBezTo>
                  <a:pt x="212" y="262"/>
                  <a:pt x="213" y="262"/>
                  <a:pt x="213" y="262"/>
                </a:cubicBezTo>
                <a:cubicBezTo>
                  <a:pt x="214" y="262"/>
                  <a:pt x="215" y="262"/>
                  <a:pt x="216" y="261"/>
                </a:cubicBezTo>
                <a:cubicBezTo>
                  <a:pt x="217" y="260"/>
                  <a:pt x="218" y="260"/>
                  <a:pt x="219" y="260"/>
                </a:cubicBezTo>
                <a:cubicBezTo>
                  <a:pt x="220" y="259"/>
                  <a:pt x="221" y="259"/>
                  <a:pt x="221" y="259"/>
                </a:cubicBezTo>
                <a:cubicBezTo>
                  <a:pt x="222" y="260"/>
                  <a:pt x="222" y="260"/>
                  <a:pt x="222" y="260"/>
                </a:cubicBezTo>
                <a:cubicBezTo>
                  <a:pt x="224" y="261"/>
                  <a:pt x="225" y="262"/>
                  <a:pt x="225" y="264"/>
                </a:cubicBezTo>
                <a:cubicBezTo>
                  <a:pt x="225" y="264"/>
                  <a:pt x="226" y="265"/>
                  <a:pt x="226" y="266"/>
                </a:cubicBezTo>
                <a:cubicBezTo>
                  <a:pt x="227" y="267"/>
                  <a:pt x="228" y="266"/>
                  <a:pt x="230" y="267"/>
                </a:cubicBezTo>
                <a:cubicBezTo>
                  <a:pt x="230" y="267"/>
                  <a:pt x="231" y="268"/>
                  <a:pt x="232" y="268"/>
                </a:cubicBezTo>
                <a:cubicBezTo>
                  <a:pt x="234" y="270"/>
                  <a:pt x="238" y="269"/>
                  <a:pt x="241" y="270"/>
                </a:cubicBezTo>
                <a:cubicBezTo>
                  <a:pt x="242" y="270"/>
                  <a:pt x="242" y="270"/>
                  <a:pt x="242" y="271"/>
                </a:cubicBezTo>
                <a:cubicBezTo>
                  <a:pt x="242" y="271"/>
                  <a:pt x="242" y="271"/>
                  <a:pt x="242" y="271"/>
                </a:cubicBezTo>
                <a:cubicBezTo>
                  <a:pt x="242" y="272"/>
                  <a:pt x="242" y="273"/>
                  <a:pt x="242" y="274"/>
                </a:cubicBezTo>
                <a:cubicBezTo>
                  <a:pt x="241" y="275"/>
                  <a:pt x="240" y="275"/>
                  <a:pt x="239" y="275"/>
                </a:cubicBezTo>
                <a:cubicBezTo>
                  <a:pt x="239" y="275"/>
                  <a:pt x="239" y="275"/>
                  <a:pt x="238" y="275"/>
                </a:cubicBezTo>
                <a:cubicBezTo>
                  <a:pt x="237" y="274"/>
                  <a:pt x="235" y="274"/>
                  <a:pt x="234" y="275"/>
                </a:cubicBezTo>
                <a:cubicBezTo>
                  <a:pt x="233" y="275"/>
                  <a:pt x="232" y="277"/>
                  <a:pt x="231" y="278"/>
                </a:cubicBezTo>
                <a:cubicBezTo>
                  <a:pt x="231" y="279"/>
                  <a:pt x="231" y="279"/>
                  <a:pt x="231" y="280"/>
                </a:cubicBezTo>
                <a:cubicBezTo>
                  <a:pt x="231" y="280"/>
                  <a:pt x="231" y="281"/>
                  <a:pt x="230" y="281"/>
                </a:cubicBezTo>
                <a:cubicBezTo>
                  <a:pt x="230" y="281"/>
                  <a:pt x="230" y="281"/>
                  <a:pt x="229" y="280"/>
                </a:cubicBezTo>
                <a:cubicBezTo>
                  <a:pt x="229" y="280"/>
                  <a:pt x="228" y="280"/>
                  <a:pt x="228" y="279"/>
                </a:cubicBezTo>
                <a:cubicBezTo>
                  <a:pt x="228" y="278"/>
                  <a:pt x="228" y="278"/>
                  <a:pt x="228" y="277"/>
                </a:cubicBezTo>
                <a:cubicBezTo>
                  <a:pt x="227" y="276"/>
                  <a:pt x="226" y="276"/>
                  <a:pt x="225" y="275"/>
                </a:cubicBezTo>
                <a:cubicBezTo>
                  <a:pt x="224" y="275"/>
                  <a:pt x="223" y="274"/>
                  <a:pt x="222" y="274"/>
                </a:cubicBezTo>
                <a:cubicBezTo>
                  <a:pt x="222" y="273"/>
                  <a:pt x="221" y="272"/>
                  <a:pt x="221" y="272"/>
                </a:cubicBezTo>
                <a:cubicBezTo>
                  <a:pt x="220" y="271"/>
                  <a:pt x="219" y="270"/>
                  <a:pt x="218" y="269"/>
                </a:cubicBezTo>
                <a:cubicBezTo>
                  <a:pt x="217" y="268"/>
                  <a:pt x="216" y="268"/>
                  <a:pt x="214" y="267"/>
                </a:cubicBezTo>
                <a:cubicBezTo>
                  <a:pt x="212" y="267"/>
                  <a:pt x="211" y="267"/>
                  <a:pt x="209" y="268"/>
                </a:cubicBezTo>
                <a:cubicBezTo>
                  <a:pt x="209" y="269"/>
                  <a:pt x="209" y="269"/>
                  <a:pt x="208" y="270"/>
                </a:cubicBezTo>
                <a:cubicBezTo>
                  <a:pt x="208" y="270"/>
                  <a:pt x="207" y="270"/>
                  <a:pt x="207" y="270"/>
                </a:cubicBezTo>
                <a:cubicBezTo>
                  <a:pt x="206" y="270"/>
                  <a:pt x="206" y="270"/>
                  <a:pt x="206" y="270"/>
                </a:cubicBezTo>
                <a:cubicBezTo>
                  <a:pt x="205" y="269"/>
                  <a:pt x="203" y="268"/>
                  <a:pt x="202" y="267"/>
                </a:cubicBezTo>
                <a:cubicBezTo>
                  <a:pt x="202" y="266"/>
                  <a:pt x="202" y="265"/>
                  <a:pt x="202" y="263"/>
                </a:cubicBezTo>
                <a:cubicBezTo>
                  <a:pt x="202" y="262"/>
                  <a:pt x="203" y="261"/>
                  <a:pt x="203" y="259"/>
                </a:cubicBezTo>
                <a:close/>
                <a:moveTo>
                  <a:pt x="427" y="436"/>
                </a:moveTo>
                <a:cubicBezTo>
                  <a:pt x="427" y="436"/>
                  <a:pt x="427" y="436"/>
                  <a:pt x="427" y="436"/>
                </a:cubicBezTo>
                <a:cubicBezTo>
                  <a:pt x="427" y="436"/>
                  <a:pt x="427" y="436"/>
                  <a:pt x="427" y="436"/>
                </a:cubicBezTo>
                <a:close/>
                <a:moveTo>
                  <a:pt x="449" y="397"/>
                </a:moveTo>
                <a:cubicBezTo>
                  <a:pt x="449" y="398"/>
                  <a:pt x="449" y="398"/>
                  <a:pt x="450" y="398"/>
                </a:cubicBezTo>
                <a:cubicBezTo>
                  <a:pt x="450" y="399"/>
                  <a:pt x="451" y="398"/>
                  <a:pt x="451" y="399"/>
                </a:cubicBezTo>
                <a:cubicBezTo>
                  <a:pt x="451" y="399"/>
                  <a:pt x="451" y="399"/>
                  <a:pt x="451" y="399"/>
                </a:cubicBezTo>
                <a:cubicBezTo>
                  <a:pt x="451" y="398"/>
                  <a:pt x="452" y="398"/>
                  <a:pt x="452" y="398"/>
                </a:cubicBezTo>
                <a:cubicBezTo>
                  <a:pt x="452" y="398"/>
                  <a:pt x="452" y="398"/>
                  <a:pt x="452" y="398"/>
                </a:cubicBezTo>
                <a:cubicBezTo>
                  <a:pt x="452" y="398"/>
                  <a:pt x="452" y="397"/>
                  <a:pt x="452" y="397"/>
                </a:cubicBezTo>
                <a:cubicBezTo>
                  <a:pt x="452" y="397"/>
                  <a:pt x="452" y="397"/>
                  <a:pt x="452" y="397"/>
                </a:cubicBezTo>
                <a:cubicBezTo>
                  <a:pt x="452" y="397"/>
                  <a:pt x="452" y="397"/>
                  <a:pt x="453" y="396"/>
                </a:cubicBezTo>
                <a:cubicBezTo>
                  <a:pt x="453" y="396"/>
                  <a:pt x="453" y="396"/>
                  <a:pt x="453" y="395"/>
                </a:cubicBezTo>
                <a:cubicBezTo>
                  <a:pt x="453" y="395"/>
                  <a:pt x="453" y="395"/>
                  <a:pt x="453" y="395"/>
                </a:cubicBezTo>
                <a:cubicBezTo>
                  <a:pt x="452" y="395"/>
                  <a:pt x="452" y="395"/>
                  <a:pt x="452" y="395"/>
                </a:cubicBezTo>
                <a:cubicBezTo>
                  <a:pt x="452" y="395"/>
                  <a:pt x="452" y="395"/>
                  <a:pt x="452" y="395"/>
                </a:cubicBezTo>
                <a:cubicBezTo>
                  <a:pt x="452" y="395"/>
                  <a:pt x="451" y="395"/>
                  <a:pt x="451" y="395"/>
                </a:cubicBezTo>
                <a:cubicBezTo>
                  <a:pt x="451" y="395"/>
                  <a:pt x="451" y="395"/>
                  <a:pt x="451" y="396"/>
                </a:cubicBezTo>
                <a:cubicBezTo>
                  <a:pt x="451" y="396"/>
                  <a:pt x="451" y="396"/>
                  <a:pt x="450" y="396"/>
                </a:cubicBezTo>
                <a:cubicBezTo>
                  <a:pt x="450" y="396"/>
                  <a:pt x="450" y="396"/>
                  <a:pt x="450" y="395"/>
                </a:cubicBezTo>
                <a:cubicBezTo>
                  <a:pt x="450" y="395"/>
                  <a:pt x="450" y="395"/>
                  <a:pt x="450" y="395"/>
                </a:cubicBezTo>
                <a:cubicBezTo>
                  <a:pt x="450" y="396"/>
                  <a:pt x="449" y="396"/>
                  <a:pt x="449" y="396"/>
                </a:cubicBezTo>
                <a:cubicBezTo>
                  <a:pt x="449" y="396"/>
                  <a:pt x="449" y="396"/>
                  <a:pt x="449" y="396"/>
                </a:cubicBezTo>
                <a:cubicBezTo>
                  <a:pt x="449" y="396"/>
                  <a:pt x="449" y="396"/>
                  <a:pt x="449" y="396"/>
                </a:cubicBezTo>
                <a:cubicBezTo>
                  <a:pt x="449" y="396"/>
                  <a:pt x="450" y="396"/>
                  <a:pt x="450" y="396"/>
                </a:cubicBezTo>
                <a:cubicBezTo>
                  <a:pt x="450" y="396"/>
                  <a:pt x="450" y="396"/>
                  <a:pt x="450" y="397"/>
                </a:cubicBezTo>
                <a:cubicBezTo>
                  <a:pt x="450" y="397"/>
                  <a:pt x="450" y="397"/>
                  <a:pt x="449" y="397"/>
                </a:cubicBezTo>
                <a:cubicBezTo>
                  <a:pt x="449" y="396"/>
                  <a:pt x="449" y="397"/>
                  <a:pt x="449" y="397"/>
                </a:cubicBezTo>
                <a:cubicBezTo>
                  <a:pt x="449" y="397"/>
                  <a:pt x="449" y="397"/>
                  <a:pt x="449" y="397"/>
                </a:cubicBezTo>
                <a:cubicBezTo>
                  <a:pt x="449" y="397"/>
                  <a:pt x="449" y="397"/>
                  <a:pt x="449" y="397"/>
                </a:cubicBezTo>
                <a:close/>
                <a:moveTo>
                  <a:pt x="430" y="444"/>
                </a:moveTo>
                <a:cubicBezTo>
                  <a:pt x="430" y="444"/>
                  <a:pt x="430" y="444"/>
                  <a:pt x="430" y="444"/>
                </a:cubicBezTo>
                <a:cubicBezTo>
                  <a:pt x="431" y="444"/>
                  <a:pt x="431" y="444"/>
                  <a:pt x="430" y="443"/>
                </a:cubicBezTo>
                <a:cubicBezTo>
                  <a:pt x="430" y="443"/>
                  <a:pt x="430" y="443"/>
                  <a:pt x="430" y="443"/>
                </a:cubicBezTo>
                <a:cubicBezTo>
                  <a:pt x="429" y="443"/>
                  <a:pt x="429" y="443"/>
                  <a:pt x="429" y="443"/>
                </a:cubicBezTo>
                <a:cubicBezTo>
                  <a:pt x="429" y="443"/>
                  <a:pt x="428" y="443"/>
                  <a:pt x="428" y="443"/>
                </a:cubicBezTo>
                <a:cubicBezTo>
                  <a:pt x="428" y="444"/>
                  <a:pt x="427" y="444"/>
                  <a:pt x="427" y="444"/>
                </a:cubicBezTo>
                <a:cubicBezTo>
                  <a:pt x="427" y="444"/>
                  <a:pt x="427" y="445"/>
                  <a:pt x="427" y="445"/>
                </a:cubicBezTo>
                <a:cubicBezTo>
                  <a:pt x="427" y="445"/>
                  <a:pt x="427" y="445"/>
                  <a:pt x="427" y="445"/>
                </a:cubicBezTo>
                <a:cubicBezTo>
                  <a:pt x="427" y="446"/>
                  <a:pt x="428" y="446"/>
                  <a:pt x="429" y="446"/>
                </a:cubicBezTo>
                <a:cubicBezTo>
                  <a:pt x="429" y="446"/>
                  <a:pt x="430" y="445"/>
                  <a:pt x="430" y="445"/>
                </a:cubicBezTo>
                <a:cubicBezTo>
                  <a:pt x="430" y="445"/>
                  <a:pt x="430" y="445"/>
                  <a:pt x="430" y="444"/>
                </a:cubicBezTo>
                <a:close/>
                <a:moveTo>
                  <a:pt x="425" y="445"/>
                </a:moveTo>
                <a:cubicBezTo>
                  <a:pt x="425" y="445"/>
                  <a:pt x="425" y="445"/>
                  <a:pt x="425" y="445"/>
                </a:cubicBez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4"/>
                  <a:pt x="425" y="444"/>
                </a:cubicBezTo>
                <a:cubicBezTo>
                  <a:pt x="424" y="444"/>
                  <a:pt x="423" y="445"/>
                  <a:pt x="422" y="446"/>
                </a:cubicBezTo>
                <a:cubicBezTo>
                  <a:pt x="422" y="446"/>
                  <a:pt x="422" y="447"/>
                  <a:pt x="421" y="447"/>
                </a:cubicBezTo>
                <a:cubicBezTo>
                  <a:pt x="421" y="448"/>
                  <a:pt x="421" y="448"/>
                  <a:pt x="422" y="448"/>
                </a:cubicBezTo>
                <a:cubicBezTo>
                  <a:pt x="422" y="448"/>
                  <a:pt x="422" y="448"/>
                  <a:pt x="422" y="448"/>
                </a:cubicBezTo>
                <a:cubicBezTo>
                  <a:pt x="422" y="448"/>
                  <a:pt x="423" y="447"/>
                  <a:pt x="423" y="447"/>
                </a:cubicBezTo>
                <a:cubicBezTo>
                  <a:pt x="423" y="447"/>
                  <a:pt x="423" y="447"/>
                  <a:pt x="424" y="446"/>
                </a:cubicBezTo>
                <a:cubicBezTo>
                  <a:pt x="424" y="446"/>
                  <a:pt x="424" y="446"/>
                  <a:pt x="425" y="446"/>
                </a:cubicBezTo>
                <a:cubicBezTo>
                  <a:pt x="425" y="446"/>
                  <a:pt x="425" y="446"/>
                  <a:pt x="425" y="446"/>
                </a:cubicBezTo>
                <a:cubicBezTo>
                  <a:pt x="425" y="445"/>
                  <a:pt x="425" y="445"/>
                  <a:pt x="425" y="445"/>
                </a:cubicBezTo>
                <a:close/>
                <a:moveTo>
                  <a:pt x="425" y="444"/>
                </a:move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4"/>
                  <a:pt x="425" y="444"/>
                </a:cubicBezTo>
                <a:close/>
                <a:moveTo>
                  <a:pt x="455" y="419"/>
                </a:moveTo>
                <a:cubicBezTo>
                  <a:pt x="455" y="420"/>
                  <a:pt x="455" y="420"/>
                  <a:pt x="455" y="420"/>
                </a:cubicBezTo>
                <a:cubicBezTo>
                  <a:pt x="455" y="421"/>
                  <a:pt x="454" y="421"/>
                  <a:pt x="454" y="422"/>
                </a:cubicBezTo>
                <a:cubicBezTo>
                  <a:pt x="453" y="422"/>
                  <a:pt x="453" y="423"/>
                  <a:pt x="453" y="424"/>
                </a:cubicBezTo>
                <a:cubicBezTo>
                  <a:pt x="453" y="424"/>
                  <a:pt x="453" y="424"/>
                  <a:pt x="453" y="424"/>
                </a:cubicBezTo>
                <a:cubicBezTo>
                  <a:pt x="452" y="424"/>
                  <a:pt x="452" y="424"/>
                  <a:pt x="451" y="424"/>
                </a:cubicBezTo>
                <a:cubicBezTo>
                  <a:pt x="451" y="424"/>
                  <a:pt x="451" y="424"/>
                  <a:pt x="451" y="424"/>
                </a:cubicBezTo>
                <a:cubicBezTo>
                  <a:pt x="451" y="423"/>
                  <a:pt x="452" y="423"/>
                  <a:pt x="451" y="423"/>
                </a:cubicBezTo>
                <a:cubicBezTo>
                  <a:pt x="451" y="423"/>
                  <a:pt x="451" y="423"/>
                  <a:pt x="451" y="423"/>
                </a:cubicBezTo>
                <a:cubicBezTo>
                  <a:pt x="451" y="423"/>
                  <a:pt x="450" y="423"/>
                  <a:pt x="450" y="423"/>
                </a:cubicBezTo>
                <a:cubicBezTo>
                  <a:pt x="450" y="423"/>
                  <a:pt x="450" y="423"/>
                  <a:pt x="450" y="423"/>
                </a:cubicBezTo>
                <a:cubicBezTo>
                  <a:pt x="450" y="423"/>
                  <a:pt x="449" y="423"/>
                  <a:pt x="449" y="423"/>
                </a:cubicBezTo>
                <a:cubicBezTo>
                  <a:pt x="449" y="423"/>
                  <a:pt x="448" y="423"/>
                  <a:pt x="448" y="422"/>
                </a:cubicBezTo>
                <a:cubicBezTo>
                  <a:pt x="448" y="422"/>
                  <a:pt x="448" y="422"/>
                  <a:pt x="447" y="422"/>
                </a:cubicBezTo>
                <a:cubicBezTo>
                  <a:pt x="447" y="422"/>
                  <a:pt x="447" y="422"/>
                  <a:pt x="446" y="422"/>
                </a:cubicBezTo>
                <a:cubicBezTo>
                  <a:pt x="446" y="422"/>
                  <a:pt x="446" y="422"/>
                  <a:pt x="446" y="422"/>
                </a:cubicBezTo>
                <a:cubicBezTo>
                  <a:pt x="446" y="422"/>
                  <a:pt x="446" y="422"/>
                  <a:pt x="445" y="422"/>
                </a:cubicBezTo>
                <a:cubicBezTo>
                  <a:pt x="445" y="422"/>
                  <a:pt x="446" y="422"/>
                  <a:pt x="446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4" y="423"/>
                  <a:pt x="444" y="423"/>
                  <a:pt x="444" y="423"/>
                </a:cubicBezTo>
                <a:cubicBezTo>
                  <a:pt x="444" y="423"/>
                  <a:pt x="444" y="423"/>
                  <a:pt x="445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5" y="423"/>
                  <a:pt x="445" y="423"/>
                  <a:pt x="446" y="423"/>
                </a:cubicBezTo>
                <a:cubicBezTo>
                  <a:pt x="446" y="423"/>
                  <a:pt x="447" y="423"/>
                  <a:pt x="448" y="423"/>
                </a:cubicBezTo>
                <a:cubicBezTo>
                  <a:pt x="448" y="423"/>
                  <a:pt x="448" y="424"/>
                  <a:pt x="448" y="424"/>
                </a:cubicBezTo>
                <a:cubicBezTo>
                  <a:pt x="448" y="424"/>
                  <a:pt x="448" y="424"/>
                  <a:pt x="448" y="424"/>
                </a:cubicBezTo>
                <a:cubicBezTo>
                  <a:pt x="448" y="424"/>
                  <a:pt x="449" y="425"/>
                  <a:pt x="449" y="424"/>
                </a:cubicBezTo>
                <a:cubicBezTo>
                  <a:pt x="449" y="424"/>
                  <a:pt x="449" y="425"/>
                  <a:pt x="449" y="425"/>
                </a:cubicBezTo>
                <a:cubicBezTo>
                  <a:pt x="449" y="425"/>
                  <a:pt x="449" y="425"/>
                  <a:pt x="449" y="425"/>
                </a:cubicBezTo>
                <a:cubicBezTo>
                  <a:pt x="449" y="426"/>
                  <a:pt x="449" y="427"/>
                  <a:pt x="449" y="427"/>
                </a:cubicBezTo>
                <a:cubicBezTo>
                  <a:pt x="448" y="427"/>
                  <a:pt x="448" y="427"/>
                  <a:pt x="448" y="427"/>
                </a:cubicBezTo>
                <a:cubicBezTo>
                  <a:pt x="448" y="427"/>
                  <a:pt x="448" y="427"/>
                  <a:pt x="448" y="427"/>
                </a:cubicBezTo>
                <a:cubicBezTo>
                  <a:pt x="447" y="427"/>
                  <a:pt x="447" y="427"/>
                  <a:pt x="447" y="427"/>
                </a:cubicBezTo>
                <a:cubicBezTo>
                  <a:pt x="447" y="427"/>
                  <a:pt x="447" y="427"/>
                  <a:pt x="447" y="427"/>
                </a:cubicBezTo>
                <a:cubicBezTo>
                  <a:pt x="447" y="427"/>
                  <a:pt x="447" y="427"/>
                  <a:pt x="447" y="427"/>
                </a:cubicBezTo>
                <a:cubicBezTo>
                  <a:pt x="447" y="428"/>
                  <a:pt x="447" y="428"/>
                  <a:pt x="446" y="428"/>
                </a:cubicBezTo>
                <a:cubicBezTo>
                  <a:pt x="446" y="428"/>
                  <a:pt x="446" y="428"/>
                  <a:pt x="446" y="427"/>
                </a:cubicBezTo>
                <a:cubicBezTo>
                  <a:pt x="446" y="427"/>
                  <a:pt x="446" y="427"/>
                  <a:pt x="446" y="427"/>
                </a:cubicBezTo>
                <a:cubicBezTo>
                  <a:pt x="446" y="427"/>
                  <a:pt x="446" y="427"/>
                  <a:pt x="446" y="427"/>
                </a:cubicBezTo>
                <a:cubicBezTo>
                  <a:pt x="446" y="427"/>
                  <a:pt x="446" y="426"/>
                  <a:pt x="446" y="426"/>
                </a:cubicBezTo>
                <a:cubicBezTo>
                  <a:pt x="446" y="426"/>
                  <a:pt x="446" y="426"/>
                  <a:pt x="446" y="426"/>
                </a:cubicBezTo>
                <a:cubicBezTo>
                  <a:pt x="446" y="426"/>
                  <a:pt x="446" y="426"/>
                  <a:pt x="445" y="426"/>
                </a:cubicBezTo>
                <a:cubicBezTo>
                  <a:pt x="445" y="426"/>
                  <a:pt x="445" y="426"/>
                  <a:pt x="445" y="426"/>
                </a:cubicBezTo>
                <a:cubicBezTo>
                  <a:pt x="445" y="426"/>
                  <a:pt x="444" y="426"/>
                  <a:pt x="444" y="426"/>
                </a:cubicBezTo>
                <a:cubicBezTo>
                  <a:pt x="444" y="426"/>
                  <a:pt x="444" y="426"/>
                  <a:pt x="444" y="426"/>
                </a:cubicBezTo>
                <a:cubicBezTo>
                  <a:pt x="443" y="426"/>
                  <a:pt x="443" y="427"/>
                  <a:pt x="443" y="427"/>
                </a:cubicBezTo>
                <a:cubicBezTo>
                  <a:pt x="443" y="426"/>
                  <a:pt x="442" y="426"/>
                  <a:pt x="442" y="426"/>
                </a:cubicBezTo>
                <a:cubicBezTo>
                  <a:pt x="442" y="426"/>
                  <a:pt x="442" y="426"/>
                  <a:pt x="442" y="426"/>
                </a:cubicBezTo>
                <a:cubicBezTo>
                  <a:pt x="442" y="426"/>
                  <a:pt x="442" y="426"/>
                  <a:pt x="442" y="426"/>
                </a:cubicBezTo>
                <a:cubicBezTo>
                  <a:pt x="442" y="426"/>
                  <a:pt x="442" y="426"/>
                  <a:pt x="442" y="427"/>
                </a:cubicBezTo>
                <a:cubicBezTo>
                  <a:pt x="442" y="427"/>
                  <a:pt x="442" y="427"/>
                  <a:pt x="442" y="427"/>
                </a:cubicBezTo>
                <a:cubicBezTo>
                  <a:pt x="442" y="427"/>
                  <a:pt x="443" y="427"/>
                  <a:pt x="443" y="427"/>
                </a:cubicBezTo>
                <a:cubicBezTo>
                  <a:pt x="443" y="427"/>
                  <a:pt x="443" y="427"/>
                  <a:pt x="444" y="427"/>
                </a:cubicBezTo>
                <a:cubicBezTo>
                  <a:pt x="444" y="427"/>
                  <a:pt x="445" y="427"/>
                  <a:pt x="445" y="428"/>
                </a:cubicBezTo>
                <a:cubicBezTo>
                  <a:pt x="445" y="428"/>
                  <a:pt x="445" y="428"/>
                  <a:pt x="445" y="428"/>
                </a:cubicBezTo>
                <a:cubicBezTo>
                  <a:pt x="445" y="428"/>
                  <a:pt x="444" y="429"/>
                  <a:pt x="444" y="429"/>
                </a:cubicBezTo>
                <a:cubicBezTo>
                  <a:pt x="444" y="429"/>
                  <a:pt x="444" y="429"/>
                  <a:pt x="443" y="429"/>
                </a:cubicBezTo>
                <a:cubicBezTo>
                  <a:pt x="443" y="429"/>
                  <a:pt x="442" y="429"/>
                  <a:pt x="442" y="429"/>
                </a:cubicBezTo>
                <a:cubicBezTo>
                  <a:pt x="442" y="429"/>
                  <a:pt x="442" y="429"/>
                  <a:pt x="442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2" y="429"/>
                  <a:pt x="442" y="429"/>
                  <a:pt x="442" y="430"/>
                </a:cubicBezTo>
                <a:cubicBezTo>
                  <a:pt x="442" y="430"/>
                  <a:pt x="442" y="430"/>
                  <a:pt x="442" y="429"/>
                </a:cubicBezTo>
                <a:cubicBezTo>
                  <a:pt x="442" y="429"/>
                  <a:pt x="442" y="430"/>
                  <a:pt x="442" y="430"/>
                </a:cubicBezTo>
                <a:cubicBezTo>
                  <a:pt x="442" y="430"/>
                  <a:pt x="442" y="430"/>
                  <a:pt x="442" y="430"/>
                </a:cubicBezTo>
                <a:cubicBezTo>
                  <a:pt x="442" y="430"/>
                  <a:pt x="442" y="430"/>
                  <a:pt x="442" y="431"/>
                </a:cubicBezTo>
                <a:cubicBezTo>
                  <a:pt x="442" y="431"/>
                  <a:pt x="442" y="431"/>
                  <a:pt x="442" y="431"/>
                </a:cubicBezTo>
                <a:cubicBezTo>
                  <a:pt x="442" y="430"/>
                  <a:pt x="443" y="430"/>
                  <a:pt x="443" y="430"/>
                </a:cubicBezTo>
                <a:cubicBezTo>
                  <a:pt x="443" y="430"/>
                  <a:pt x="444" y="430"/>
                  <a:pt x="443" y="430"/>
                </a:cubicBezTo>
                <a:cubicBezTo>
                  <a:pt x="443" y="430"/>
                  <a:pt x="443" y="430"/>
                  <a:pt x="443" y="430"/>
                </a:cubicBezTo>
                <a:cubicBezTo>
                  <a:pt x="443" y="430"/>
                  <a:pt x="443" y="431"/>
                  <a:pt x="443" y="431"/>
                </a:cubicBezTo>
                <a:cubicBezTo>
                  <a:pt x="443" y="430"/>
                  <a:pt x="444" y="430"/>
                  <a:pt x="444" y="430"/>
                </a:cubicBezTo>
                <a:cubicBezTo>
                  <a:pt x="444" y="430"/>
                  <a:pt x="444" y="430"/>
                  <a:pt x="444" y="430"/>
                </a:cubicBezTo>
                <a:cubicBezTo>
                  <a:pt x="445" y="430"/>
                  <a:pt x="445" y="430"/>
                  <a:pt x="445" y="430"/>
                </a:cubicBezTo>
                <a:cubicBezTo>
                  <a:pt x="445" y="430"/>
                  <a:pt x="446" y="430"/>
                  <a:pt x="446" y="430"/>
                </a:cubicBezTo>
                <a:cubicBezTo>
                  <a:pt x="446" y="430"/>
                  <a:pt x="446" y="430"/>
                  <a:pt x="446" y="431"/>
                </a:cubicBezTo>
                <a:cubicBezTo>
                  <a:pt x="446" y="431"/>
                  <a:pt x="446" y="431"/>
                  <a:pt x="445" y="431"/>
                </a:cubicBezTo>
                <a:cubicBezTo>
                  <a:pt x="445" y="431"/>
                  <a:pt x="445" y="431"/>
                  <a:pt x="445" y="431"/>
                </a:cubicBezTo>
                <a:cubicBezTo>
                  <a:pt x="444" y="431"/>
                  <a:pt x="444" y="431"/>
                  <a:pt x="444" y="432"/>
                </a:cubicBezTo>
                <a:cubicBezTo>
                  <a:pt x="443" y="432"/>
                  <a:pt x="443" y="432"/>
                  <a:pt x="443" y="432"/>
                </a:cubicBezTo>
                <a:cubicBezTo>
                  <a:pt x="443" y="432"/>
                  <a:pt x="442" y="432"/>
                  <a:pt x="442" y="432"/>
                </a:cubicBezTo>
                <a:cubicBezTo>
                  <a:pt x="442" y="432"/>
                  <a:pt x="441" y="433"/>
                  <a:pt x="442" y="433"/>
                </a:cubicBezTo>
                <a:cubicBezTo>
                  <a:pt x="442" y="433"/>
                  <a:pt x="442" y="433"/>
                  <a:pt x="442" y="433"/>
                </a:cubicBezTo>
                <a:cubicBezTo>
                  <a:pt x="442" y="434"/>
                  <a:pt x="441" y="434"/>
                  <a:pt x="440" y="434"/>
                </a:cubicBezTo>
                <a:cubicBezTo>
                  <a:pt x="440" y="434"/>
                  <a:pt x="440" y="434"/>
                  <a:pt x="440" y="434"/>
                </a:cubicBezTo>
                <a:cubicBezTo>
                  <a:pt x="440" y="433"/>
                  <a:pt x="440" y="433"/>
                  <a:pt x="440" y="433"/>
                </a:cubicBezTo>
                <a:cubicBezTo>
                  <a:pt x="440" y="433"/>
                  <a:pt x="440" y="433"/>
                  <a:pt x="440" y="433"/>
                </a:cubicBezTo>
                <a:cubicBezTo>
                  <a:pt x="440" y="432"/>
                  <a:pt x="441" y="432"/>
                  <a:pt x="441" y="432"/>
                </a:cubicBezTo>
                <a:cubicBezTo>
                  <a:pt x="440" y="432"/>
                  <a:pt x="440" y="432"/>
                  <a:pt x="440" y="432"/>
                </a:cubicBezTo>
                <a:cubicBezTo>
                  <a:pt x="440" y="432"/>
                  <a:pt x="440" y="432"/>
                  <a:pt x="440" y="432"/>
                </a:cubicBezTo>
                <a:cubicBezTo>
                  <a:pt x="440" y="432"/>
                  <a:pt x="440" y="432"/>
                  <a:pt x="439" y="433"/>
                </a:cubicBezTo>
                <a:cubicBezTo>
                  <a:pt x="439" y="433"/>
                  <a:pt x="439" y="432"/>
                  <a:pt x="439" y="432"/>
                </a:cubicBezTo>
                <a:cubicBezTo>
                  <a:pt x="439" y="432"/>
                  <a:pt x="439" y="432"/>
                  <a:pt x="439" y="432"/>
                </a:cubicBezTo>
                <a:cubicBezTo>
                  <a:pt x="440" y="432"/>
                  <a:pt x="440" y="432"/>
                  <a:pt x="440" y="431"/>
                </a:cubicBezTo>
                <a:cubicBezTo>
                  <a:pt x="440" y="431"/>
                  <a:pt x="440" y="431"/>
                  <a:pt x="440" y="431"/>
                </a:cubicBezTo>
                <a:cubicBezTo>
                  <a:pt x="440" y="431"/>
                  <a:pt x="440" y="431"/>
                  <a:pt x="440" y="431"/>
                </a:cubicBezTo>
                <a:cubicBezTo>
                  <a:pt x="439" y="431"/>
                  <a:pt x="440" y="431"/>
                  <a:pt x="440" y="431"/>
                </a:cubicBezTo>
                <a:cubicBezTo>
                  <a:pt x="440" y="431"/>
                  <a:pt x="441" y="430"/>
                  <a:pt x="441" y="430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0" y="429"/>
                </a:cubicBezTo>
                <a:cubicBezTo>
                  <a:pt x="440" y="430"/>
                  <a:pt x="440" y="430"/>
                  <a:pt x="440" y="429"/>
                </a:cubicBezTo>
                <a:cubicBezTo>
                  <a:pt x="440" y="429"/>
                  <a:pt x="439" y="429"/>
                  <a:pt x="439" y="429"/>
                </a:cubicBezTo>
                <a:cubicBezTo>
                  <a:pt x="439" y="429"/>
                  <a:pt x="439" y="430"/>
                  <a:pt x="439" y="430"/>
                </a:cubicBezTo>
                <a:cubicBezTo>
                  <a:pt x="439" y="430"/>
                  <a:pt x="440" y="430"/>
                  <a:pt x="440" y="430"/>
                </a:cubicBezTo>
                <a:cubicBezTo>
                  <a:pt x="439" y="430"/>
                  <a:pt x="439" y="430"/>
                  <a:pt x="439" y="431"/>
                </a:cubicBezTo>
                <a:cubicBezTo>
                  <a:pt x="439" y="431"/>
                  <a:pt x="439" y="431"/>
                  <a:pt x="439" y="431"/>
                </a:cubicBezTo>
                <a:cubicBezTo>
                  <a:pt x="439" y="431"/>
                  <a:pt x="439" y="431"/>
                  <a:pt x="439" y="431"/>
                </a:cubicBezTo>
                <a:cubicBezTo>
                  <a:pt x="438" y="431"/>
                  <a:pt x="438" y="431"/>
                  <a:pt x="438" y="431"/>
                </a:cubicBezTo>
                <a:cubicBezTo>
                  <a:pt x="438" y="431"/>
                  <a:pt x="438" y="431"/>
                  <a:pt x="438" y="430"/>
                </a:cubicBezTo>
                <a:cubicBezTo>
                  <a:pt x="438" y="430"/>
                  <a:pt x="438" y="430"/>
                  <a:pt x="438" y="430"/>
                </a:cubicBezTo>
                <a:cubicBezTo>
                  <a:pt x="438" y="430"/>
                  <a:pt x="438" y="430"/>
                  <a:pt x="437" y="430"/>
                </a:cubicBezTo>
                <a:cubicBezTo>
                  <a:pt x="437" y="430"/>
                  <a:pt x="437" y="430"/>
                  <a:pt x="437" y="430"/>
                </a:cubicBezTo>
                <a:cubicBezTo>
                  <a:pt x="437" y="430"/>
                  <a:pt x="438" y="430"/>
                  <a:pt x="438" y="430"/>
                </a:cubicBezTo>
                <a:cubicBezTo>
                  <a:pt x="438" y="430"/>
                  <a:pt x="438" y="430"/>
                  <a:pt x="438" y="430"/>
                </a:cubicBezTo>
                <a:cubicBezTo>
                  <a:pt x="438" y="430"/>
                  <a:pt x="438" y="431"/>
                  <a:pt x="438" y="431"/>
                </a:cubicBezTo>
                <a:cubicBezTo>
                  <a:pt x="438" y="431"/>
                  <a:pt x="438" y="432"/>
                  <a:pt x="438" y="432"/>
                </a:cubicBezTo>
                <a:cubicBezTo>
                  <a:pt x="438" y="432"/>
                  <a:pt x="438" y="432"/>
                  <a:pt x="438" y="432"/>
                </a:cubicBezTo>
                <a:cubicBezTo>
                  <a:pt x="438" y="433"/>
                  <a:pt x="438" y="432"/>
                  <a:pt x="438" y="432"/>
                </a:cubicBezTo>
                <a:cubicBezTo>
                  <a:pt x="437" y="432"/>
                  <a:pt x="437" y="432"/>
                  <a:pt x="437" y="432"/>
                </a:cubicBezTo>
                <a:cubicBezTo>
                  <a:pt x="436" y="432"/>
                  <a:pt x="436" y="432"/>
                  <a:pt x="436" y="432"/>
                </a:cubicBezTo>
                <a:cubicBezTo>
                  <a:pt x="436" y="432"/>
                  <a:pt x="436" y="432"/>
                  <a:pt x="436" y="432"/>
                </a:cubicBezTo>
                <a:cubicBezTo>
                  <a:pt x="435" y="432"/>
                  <a:pt x="435" y="432"/>
                  <a:pt x="435" y="433"/>
                </a:cubicBezTo>
                <a:cubicBezTo>
                  <a:pt x="435" y="433"/>
                  <a:pt x="435" y="433"/>
                  <a:pt x="436" y="433"/>
                </a:cubicBezTo>
                <a:cubicBezTo>
                  <a:pt x="436" y="433"/>
                  <a:pt x="436" y="433"/>
                  <a:pt x="436" y="433"/>
                </a:cubicBezTo>
                <a:cubicBezTo>
                  <a:pt x="437" y="433"/>
                  <a:pt x="437" y="433"/>
                  <a:pt x="437" y="433"/>
                </a:cubicBezTo>
                <a:cubicBezTo>
                  <a:pt x="437" y="433"/>
                  <a:pt x="437" y="433"/>
                  <a:pt x="437" y="433"/>
                </a:cubicBezTo>
                <a:cubicBezTo>
                  <a:pt x="437" y="434"/>
                  <a:pt x="437" y="434"/>
                  <a:pt x="437" y="434"/>
                </a:cubicBezTo>
                <a:cubicBezTo>
                  <a:pt x="437" y="434"/>
                  <a:pt x="437" y="434"/>
                  <a:pt x="437" y="434"/>
                </a:cubicBezTo>
                <a:cubicBezTo>
                  <a:pt x="438" y="434"/>
                  <a:pt x="437" y="434"/>
                  <a:pt x="437" y="435"/>
                </a:cubicBezTo>
                <a:cubicBezTo>
                  <a:pt x="437" y="435"/>
                  <a:pt x="437" y="435"/>
                  <a:pt x="437" y="435"/>
                </a:cubicBezTo>
                <a:cubicBezTo>
                  <a:pt x="437" y="435"/>
                  <a:pt x="437" y="435"/>
                  <a:pt x="437" y="435"/>
                </a:cubicBezTo>
                <a:cubicBezTo>
                  <a:pt x="437" y="435"/>
                  <a:pt x="437" y="435"/>
                  <a:pt x="437" y="435"/>
                </a:cubicBezTo>
                <a:cubicBezTo>
                  <a:pt x="437" y="436"/>
                  <a:pt x="436" y="436"/>
                  <a:pt x="436" y="436"/>
                </a:cubicBezTo>
                <a:cubicBezTo>
                  <a:pt x="436" y="436"/>
                  <a:pt x="436" y="436"/>
                  <a:pt x="436" y="435"/>
                </a:cubicBezTo>
                <a:cubicBezTo>
                  <a:pt x="436" y="435"/>
                  <a:pt x="436" y="435"/>
                  <a:pt x="435" y="435"/>
                </a:cubicBezTo>
                <a:cubicBezTo>
                  <a:pt x="435" y="435"/>
                  <a:pt x="435" y="435"/>
                  <a:pt x="435" y="435"/>
                </a:cubicBezTo>
                <a:cubicBezTo>
                  <a:pt x="435" y="435"/>
                  <a:pt x="435" y="436"/>
                  <a:pt x="435" y="436"/>
                </a:cubicBezTo>
                <a:cubicBezTo>
                  <a:pt x="436" y="436"/>
                  <a:pt x="435" y="436"/>
                  <a:pt x="435" y="437"/>
                </a:cubicBezTo>
                <a:cubicBezTo>
                  <a:pt x="435" y="437"/>
                  <a:pt x="435" y="437"/>
                  <a:pt x="435" y="437"/>
                </a:cubicBezTo>
                <a:cubicBezTo>
                  <a:pt x="434" y="437"/>
                  <a:pt x="434" y="437"/>
                  <a:pt x="435" y="437"/>
                </a:cubicBezTo>
                <a:cubicBezTo>
                  <a:pt x="435" y="437"/>
                  <a:pt x="435" y="437"/>
                  <a:pt x="435" y="438"/>
                </a:cubicBezTo>
                <a:cubicBezTo>
                  <a:pt x="435" y="437"/>
                  <a:pt x="435" y="437"/>
                  <a:pt x="435" y="437"/>
                </a:cubicBezTo>
                <a:cubicBezTo>
                  <a:pt x="435" y="437"/>
                  <a:pt x="435" y="437"/>
                  <a:pt x="435" y="437"/>
                </a:cubicBezTo>
                <a:cubicBezTo>
                  <a:pt x="436" y="437"/>
                  <a:pt x="435" y="437"/>
                  <a:pt x="435" y="437"/>
                </a:cubicBezTo>
                <a:cubicBezTo>
                  <a:pt x="435" y="437"/>
                  <a:pt x="435" y="438"/>
                  <a:pt x="434" y="438"/>
                </a:cubicBezTo>
                <a:cubicBezTo>
                  <a:pt x="434" y="438"/>
                  <a:pt x="434" y="438"/>
                  <a:pt x="434" y="438"/>
                </a:cubicBezTo>
                <a:cubicBezTo>
                  <a:pt x="433" y="438"/>
                  <a:pt x="433" y="438"/>
                  <a:pt x="433" y="438"/>
                </a:cubicBezTo>
                <a:cubicBezTo>
                  <a:pt x="433" y="439"/>
                  <a:pt x="433" y="439"/>
                  <a:pt x="432" y="440"/>
                </a:cubicBezTo>
                <a:cubicBezTo>
                  <a:pt x="432" y="440"/>
                  <a:pt x="432" y="440"/>
                  <a:pt x="432" y="440"/>
                </a:cubicBezTo>
                <a:cubicBezTo>
                  <a:pt x="432" y="440"/>
                  <a:pt x="431" y="440"/>
                  <a:pt x="431" y="440"/>
                </a:cubicBezTo>
                <a:cubicBezTo>
                  <a:pt x="431" y="440"/>
                  <a:pt x="431" y="440"/>
                  <a:pt x="431" y="440"/>
                </a:cubicBezTo>
                <a:cubicBezTo>
                  <a:pt x="430" y="440"/>
                  <a:pt x="430" y="440"/>
                  <a:pt x="430" y="440"/>
                </a:cubicBezTo>
                <a:cubicBezTo>
                  <a:pt x="430" y="440"/>
                  <a:pt x="430" y="439"/>
                  <a:pt x="430" y="439"/>
                </a:cubicBezTo>
                <a:cubicBezTo>
                  <a:pt x="430" y="438"/>
                  <a:pt x="431" y="438"/>
                  <a:pt x="431" y="438"/>
                </a:cubicBezTo>
                <a:cubicBezTo>
                  <a:pt x="431" y="437"/>
                  <a:pt x="432" y="437"/>
                  <a:pt x="432" y="436"/>
                </a:cubicBezTo>
                <a:cubicBezTo>
                  <a:pt x="432" y="436"/>
                  <a:pt x="432" y="436"/>
                  <a:pt x="432" y="436"/>
                </a:cubicBezTo>
                <a:cubicBezTo>
                  <a:pt x="433" y="436"/>
                  <a:pt x="433" y="435"/>
                  <a:pt x="434" y="435"/>
                </a:cubicBezTo>
                <a:cubicBezTo>
                  <a:pt x="434" y="435"/>
                  <a:pt x="434" y="434"/>
                  <a:pt x="434" y="434"/>
                </a:cubicBezTo>
                <a:cubicBezTo>
                  <a:pt x="434" y="434"/>
                  <a:pt x="435" y="434"/>
                  <a:pt x="434" y="434"/>
                </a:cubicBezTo>
                <a:cubicBezTo>
                  <a:pt x="434" y="434"/>
                  <a:pt x="434" y="434"/>
                  <a:pt x="434" y="434"/>
                </a:cubicBezTo>
                <a:cubicBezTo>
                  <a:pt x="434" y="434"/>
                  <a:pt x="434" y="435"/>
                  <a:pt x="433" y="435"/>
                </a:cubicBezTo>
                <a:cubicBezTo>
                  <a:pt x="433" y="435"/>
                  <a:pt x="433" y="434"/>
                  <a:pt x="434" y="434"/>
                </a:cubicBezTo>
                <a:cubicBezTo>
                  <a:pt x="434" y="434"/>
                  <a:pt x="434" y="434"/>
                  <a:pt x="434" y="434"/>
                </a:cubicBezTo>
                <a:cubicBezTo>
                  <a:pt x="434" y="434"/>
                  <a:pt x="433" y="433"/>
                  <a:pt x="433" y="434"/>
                </a:cubicBezTo>
                <a:cubicBezTo>
                  <a:pt x="433" y="434"/>
                  <a:pt x="433" y="434"/>
                  <a:pt x="433" y="434"/>
                </a:cubicBezTo>
                <a:cubicBezTo>
                  <a:pt x="433" y="434"/>
                  <a:pt x="433" y="435"/>
                  <a:pt x="433" y="435"/>
                </a:cubicBezTo>
                <a:cubicBezTo>
                  <a:pt x="433" y="435"/>
                  <a:pt x="433" y="435"/>
                  <a:pt x="432" y="435"/>
                </a:cubicBezTo>
                <a:cubicBezTo>
                  <a:pt x="432" y="435"/>
                  <a:pt x="432" y="435"/>
                  <a:pt x="432" y="435"/>
                </a:cubicBezTo>
                <a:cubicBezTo>
                  <a:pt x="432" y="434"/>
                  <a:pt x="432" y="434"/>
                  <a:pt x="432" y="433"/>
                </a:cubicBezTo>
                <a:cubicBezTo>
                  <a:pt x="432" y="433"/>
                  <a:pt x="433" y="433"/>
                  <a:pt x="433" y="433"/>
                </a:cubicBezTo>
                <a:cubicBezTo>
                  <a:pt x="433" y="432"/>
                  <a:pt x="433" y="432"/>
                  <a:pt x="433" y="432"/>
                </a:cubicBezTo>
                <a:cubicBezTo>
                  <a:pt x="433" y="432"/>
                  <a:pt x="433" y="432"/>
                  <a:pt x="434" y="432"/>
                </a:cubicBezTo>
                <a:cubicBezTo>
                  <a:pt x="434" y="431"/>
                  <a:pt x="434" y="431"/>
                  <a:pt x="435" y="431"/>
                </a:cubicBezTo>
                <a:cubicBezTo>
                  <a:pt x="435" y="431"/>
                  <a:pt x="435" y="431"/>
                  <a:pt x="434" y="431"/>
                </a:cubicBezTo>
                <a:cubicBezTo>
                  <a:pt x="434" y="431"/>
                  <a:pt x="434" y="431"/>
                  <a:pt x="434" y="431"/>
                </a:cubicBezTo>
                <a:cubicBezTo>
                  <a:pt x="434" y="430"/>
                  <a:pt x="434" y="431"/>
                  <a:pt x="434" y="431"/>
                </a:cubicBezTo>
                <a:cubicBezTo>
                  <a:pt x="434" y="431"/>
                  <a:pt x="434" y="431"/>
                  <a:pt x="433" y="431"/>
                </a:cubicBezTo>
                <a:cubicBezTo>
                  <a:pt x="433" y="431"/>
                  <a:pt x="433" y="431"/>
                  <a:pt x="433" y="431"/>
                </a:cubicBezTo>
                <a:cubicBezTo>
                  <a:pt x="433" y="432"/>
                  <a:pt x="432" y="432"/>
                  <a:pt x="432" y="432"/>
                </a:cubicBezTo>
                <a:cubicBezTo>
                  <a:pt x="432" y="433"/>
                  <a:pt x="432" y="433"/>
                  <a:pt x="432" y="433"/>
                </a:cubicBezTo>
                <a:cubicBezTo>
                  <a:pt x="431" y="433"/>
                  <a:pt x="431" y="433"/>
                  <a:pt x="431" y="433"/>
                </a:cubicBezTo>
                <a:cubicBezTo>
                  <a:pt x="431" y="434"/>
                  <a:pt x="431" y="434"/>
                  <a:pt x="431" y="434"/>
                </a:cubicBezTo>
                <a:cubicBezTo>
                  <a:pt x="431" y="435"/>
                  <a:pt x="431" y="435"/>
                  <a:pt x="430" y="435"/>
                </a:cubicBezTo>
                <a:cubicBezTo>
                  <a:pt x="430" y="435"/>
                  <a:pt x="430" y="434"/>
                  <a:pt x="430" y="434"/>
                </a:cubicBezTo>
                <a:cubicBezTo>
                  <a:pt x="430" y="434"/>
                  <a:pt x="430" y="434"/>
                  <a:pt x="430" y="434"/>
                </a:cubicBezTo>
                <a:cubicBezTo>
                  <a:pt x="430" y="434"/>
                  <a:pt x="430" y="433"/>
                  <a:pt x="430" y="433"/>
                </a:cubicBezTo>
                <a:cubicBezTo>
                  <a:pt x="430" y="432"/>
                  <a:pt x="431" y="432"/>
                  <a:pt x="431" y="432"/>
                </a:cubicBezTo>
                <a:cubicBezTo>
                  <a:pt x="432" y="432"/>
                  <a:pt x="432" y="431"/>
                  <a:pt x="432" y="431"/>
                </a:cubicBezTo>
                <a:cubicBezTo>
                  <a:pt x="431" y="431"/>
                  <a:pt x="431" y="431"/>
                  <a:pt x="430" y="431"/>
                </a:cubicBezTo>
                <a:cubicBezTo>
                  <a:pt x="430" y="431"/>
                  <a:pt x="430" y="431"/>
                  <a:pt x="430" y="431"/>
                </a:cubicBezTo>
                <a:cubicBezTo>
                  <a:pt x="430" y="431"/>
                  <a:pt x="430" y="431"/>
                  <a:pt x="430" y="431"/>
                </a:cubicBezTo>
                <a:cubicBezTo>
                  <a:pt x="430" y="431"/>
                  <a:pt x="429" y="431"/>
                  <a:pt x="429" y="431"/>
                </a:cubicBezTo>
                <a:cubicBezTo>
                  <a:pt x="429" y="431"/>
                  <a:pt x="429" y="431"/>
                  <a:pt x="429" y="431"/>
                </a:cubicBezTo>
                <a:cubicBezTo>
                  <a:pt x="429" y="430"/>
                  <a:pt x="429" y="430"/>
                  <a:pt x="428" y="430"/>
                </a:cubicBezTo>
                <a:cubicBezTo>
                  <a:pt x="428" y="430"/>
                  <a:pt x="428" y="430"/>
                  <a:pt x="428" y="431"/>
                </a:cubicBezTo>
                <a:cubicBezTo>
                  <a:pt x="428" y="431"/>
                  <a:pt x="428" y="431"/>
                  <a:pt x="428" y="431"/>
                </a:cubicBezTo>
                <a:cubicBezTo>
                  <a:pt x="428" y="431"/>
                  <a:pt x="427" y="431"/>
                  <a:pt x="427" y="431"/>
                </a:cubicBezTo>
                <a:cubicBezTo>
                  <a:pt x="427" y="431"/>
                  <a:pt x="427" y="431"/>
                  <a:pt x="427" y="431"/>
                </a:cubicBezTo>
                <a:cubicBezTo>
                  <a:pt x="426" y="431"/>
                  <a:pt x="426" y="431"/>
                  <a:pt x="426" y="431"/>
                </a:cubicBezTo>
                <a:cubicBezTo>
                  <a:pt x="426" y="431"/>
                  <a:pt x="426" y="431"/>
                  <a:pt x="426" y="431"/>
                </a:cubicBezTo>
                <a:cubicBezTo>
                  <a:pt x="425" y="431"/>
                  <a:pt x="425" y="432"/>
                  <a:pt x="425" y="432"/>
                </a:cubicBezTo>
                <a:cubicBezTo>
                  <a:pt x="425" y="432"/>
                  <a:pt x="426" y="433"/>
                  <a:pt x="426" y="433"/>
                </a:cubicBezTo>
                <a:cubicBezTo>
                  <a:pt x="426" y="433"/>
                  <a:pt x="427" y="433"/>
                  <a:pt x="427" y="433"/>
                </a:cubicBezTo>
                <a:cubicBezTo>
                  <a:pt x="427" y="433"/>
                  <a:pt x="427" y="432"/>
                  <a:pt x="427" y="432"/>
                </a:cubicBezTo>
                <a:cubicBezTo>
                  <a:pt x="428" y="432"/>
                  <a:pt x="428" y="431"/>
                  <a:pt x="428" y="431"/>
                </a:cubicBezTo>
                <a:cubicBezTo>
                  <a:pt x="429" y="431"/>
                  <a:pt x="429" y="431"/>
                  <a:pt x="430" y="431"/>
                </a:cubicBezTo>
                <a:cubicBezTo>
                  <a:pt x="430" y="431"/>
                  <a:pt x="430" y="431"/>
                  <a:pt x="430" y="432"/>
                </a:cubicBezTo>
                <a:cubicBezTo>
                  <a:pt x="430" y="432"/>
                  <a:pt x="430" y="433"/>
                  <a:pt x="430" y="433"/>
                </a:cubicBezTo>
                <a:cubicBezTo>
                  <a:pt x="430" y="434"/>
                  <a:pt x="430" y="434"/>
                  <a:pt x="429" y="434"/>
                </a:cubicBezTo>
                <a:cubicBezTo>
                  <a:pt x="429" y="434"/>
                  <a:pt x="429" y="434"/>
                  <a:pt x="429" y="435"/>
                </a:cubicBezTo>
                <a:cubicBezTo>
                  <a:pt x="430" y="435"/>
                  <a:pt x="429" y="435"/>
                  <a:pt x="429" y="435"/>
                </a:cubicBezTo>
                <a:cubicBezTo>
                  <a:pt x="429" y="435"/>
                  <a:pt x="429" y="436"/>
                  <a:pt x="429" y="436"/>
                </a:cubicBezTo>
                <a:cubicBezTo>
                  <a:pt x="429" y="436"/>
                  <a:pt x="428" y="436"/>
                  <a:pt x="428" y="436"/>
                </a:cubicBezTo>
                <a:cubicBezTo>
                  <a:pt x="428" y="436"/>
                  <a:pt x="428" y="436"/>
                  <a:pt x="428" y="436"/>
                </a:cubicBezTo>
                <a:cubicBezTo>
                  <a:pt x="428" y="436"/>
                  <a:pt x="429" y="436"/>
                  <a:pt x="429" y="436"/>
                </a:cubicBezTo>
                <a:cubicBezTo>
                  <a:pt x="429" y="436"/>
                  <a:pt x="429" y="436"/>
                  <a:pt x="429" y="436"/>
                </a:cubicBezTo>
                <a:cubicBezTo>
                  <a:pt x="429" y="436"/>
                  <a:pt x="429" y="437"/>
                  <a:pt x="428" y="437"/>
                </a:cubicBezTo>
                <a:cubicBezTo>
                  <a:pt x="428" y="436"/>
                  <a:pt x="428" y="437"/>
                  <a:pt x="428" y="437"/>
                </a:cubicBezTo>
                <a:cubicBezTo>
                  <a:pt x="428" y="437"/>
                  <a:pt x="428" y="437"/>
                  <a:pt x="428" y="437"/>
                </a:cubicBezTo>
                <a:cubicBezTo>
                  <a:pt x="428" y="437"/>
                  <a:pt x="428" y="437"/>
                  <a:pt x="428" y="437"/>
                </a:cubicBezTo>
                <a:cubicBezTo>
                  <a:pt x="428" y="437"/>
                  <a:pt x="428" y="436"/>
                  <a:pt x="428" y="436"/>
                </a:cubicBezTo>
                <a:cubicBezTo>
                  <a:pt x="428" y="436"/>
                  <a:pt x="428" y="436"/>
                  <a:pt x="428" y="436"/>
                </a:cubicBezTo>
                <a:cubicBezTo>
                  <a:pt x="428" y="436"/>
                  <a:pt x="428" y="436"/>
                  <a:pt x="427" y="436"/>
                </a:cubicBezTo>
                <a:cubicBezTo>
                  <a:pt x="427" y="436"/>
                  <a:pt x="427" y="436"/>
                  <a:pt x="427" y="436"/>
                </a:cubicBezTo>
                <a:cubicBezTo>
                  <a:pt x="427" y="436"/>
                  <a:pt x="427" y="436"/>
                  <a:pt x="427" y="436"/>
                </a:cubicBezTo>
                <a:cubicBezTo>
                  <a:pt x="427" y="436"/>
                  <a:pt x="427" y="435"/>
                  <a:pt x="428" y="435"/>
                </a:cubicBezTo>
                <a:cubicBezTo>
                  <a:pt x="427" y="435"/>
                  <a:pt x="427" y="435"/>
                  <a:pt x="427" y="435"/>
                </a:cubicBezTo>
                <a:cubicBezTo>
                  <a:pt x="427" y="435"/>
                  <a:pt x="427" y="435"/>
                  <a:pt x="427" y="435"/>
                </a:cubicBezTo>
                <a:cubicBezTo>
                  <a:pt x="426" y="435"/>
                  <a:pt x="426" y="435"/>
                  <a:pt x="425" y="435"/>
                </a:cubicBezTo>
                <a:cubicBezTo>
                  <a:pt x="425" y="434"/>
                  <a:pt x="425" y="434"/>
                  <a:pt x="425" y="434"/>
                </a:cubicBezTo>
                <a:cubicBezTo>
                  <a:pt x="425" y="433"/>
                  <a:pt x="425" y="432"/>
                  <a:pt x="425" y="431"/>
                </a:cubicBezTo>
                <a:cubicBezTo>
                  <a:pt x="425" y="431"/>
                  <a:pt x="425" y="430"/>
                  <a:pt x="425" y="430"/>
                </a:cubicBezTo>
                <a:cubicBezTo>
                  <a:pt x="424" y="429"/>
                  <a:pt x="424" y="428"/>
                  <a:pt x="424" y="428"/>
                </a:cubicBezTo>
                <a:cubicBezTo>
                  <a:pt x="423" y="428"/>
                  <a:pt x="423" y="428"/>
                  <a:pt x="423" y="428"/>
                </a:cubicBezTo>
                <a:cubicBezTo>
                  <a:pt x="423" y="428"/>
                  <a:pt x="423" y="428"/>
                  <a:pt x="423" y="427"/>
                </a:cubicBezTo>
                <a:cubicBezTo>
                  <a:pt x="423" y="427"/>
                  <a:pt x="422" y="427"/>
                  <a:pt x="422" y="427"/>
                </a:cubicBezTo>
                <a:cubicBezTo>
                  <a:pt x="422" y="428"/>
                  <a:pt x="422" y="428"/>
                  <a:pt x="422" y="428"/>
                </a:cubicBezTo>
                <a:cubicBezTo>
                  <a:pt x="422" y="428"/>
                  <a:pt x="421" y="427"/>
                  <a:pt x="422" y="427"/>
                </a:cubicBezTo>
                <a:cubicBezTo>
                  <a:pt x="422" y="427"/>
                  <a:pt x="422" y="427"/>
                  <a:pt x="422" y="427"/>
                </a:cubicBezTo>
                <a:cubicBezTo>
                  <a:pt x="422" y="427"/>
                  <a:pt x="422" y="426"/>
                  <a:pt x="422" y="426"/>
                </a:cubicBezTo>
                <a:cubicBezTo>
                  <a:pt x="421" y="426"/>
                  <a:pt x="421" y="426"/>
                  <a:pt x="421" y="426"/>
                </a:cubicBezTo>
                <a:cubicBezTo>
                  <a:pt x="421" y="426"/>
                  <a:pt x="422" y="426"/>
                  <a:pt x="422" y="426"/>
                </a:cubicBezTo>
                <a:cubicBezTo>
                  <a:pt x="422" y="426"/>
                  <a:pt x="422" y="426"/>
                  <a:pt x="422" y="425"/>
                </a:cubicBezTo>
                <a:cubicBezTo>
                  <a:pt x="422" y="425"/>
                  <a:pt x="422" y="425"/>
                  <a:pt x="422" y="425"/>
                </a:cubicBezTo>
                <a:cubicBezTo>
                  <a:pt x="422" y="425"/>
                  <a:pt x="422" y="424"/>
                  <a:pt x="422" y="424"/>
                </a:cubicBezTo>
                <a:cubicBezTo>
                  <a:pt x="422" y="424"/>
                  <a:pt x="422" y="424"/>
                  <a:pt x="422" y="424"/>
                </a:cubicBezTo>
                <a:cubicBezTo>
                  <a:pt x="423" y="424"/>
                  <a:pt x="423" y="423"/>
                  <a:pt x="423" y="423"/>
                </a:cubicBezTo>
                <a:cubicBezTo>
                  <a:pt x="423" y="423"/>
                  <a:pt x="423" y="423"/>
                  <a:pt x="423" y="422"/>
                </a:cubicBezTo>
                <a:cubicBezTo>
                  <a:pt x="423" y="422"/>
                  <a:pt x="424" y="422"/>
                  <a:pt x="424" y="422"/>
                </a:cubicBezTo>
                <a:cubicBezTo>
                  <a:pt x="424" y="422"/>
                  <a:pt x="424" y="422"/>
                  <a:pt x="424" y="422"/>
                </a:cubicBezTo>
                <a:cubicBezTo>
                  <a:pt x="425" y="422"/>
                  <a:pt x="425" y="421"/>
                  <a:pt x="425" y="421"/>
                </a:cubicBezTo>
                <a:cubicBezTo>
                  <a:pt x="425" y="421"/>
                  <a:pt x="425" y="421"/>
                  <a:pt x="425" y="421"/>
                </a:cubicBezTo>
                <a:cubicBezTo>
                  <a:pt x="425" y="420"/>
                  <a:pt x="425" y="420"/>
                  <a:pt x="425" y="420"/>
                </a:cubicBezTo>
                <a:cubicBezTo>
                  <a:pt x="425" y="421"/>
                  <a:pt x="426" y="421"/>
                  <a:pt x="426" y="420"/>
                </a:cubicBezTo>
                <a:cubicBezTo>
                  <a:pt x="426" y="420"/>
                  <a:pt x="426" y="420"/>
                  <a:pt x="427" y="419"/>
                </a:cubicBezTo>
                <a:cubicBezTo>
                  <a:pt x="427" y="419"/>
                  <a:pt x="427" y="419"/>
                  <a:pt x="427" y="419"/>
                </a:cubicBezTo>
                <a:cubicBezTo>
                  <a:pt x="427" y="419"/>
                  <a:pt x="427" y="419"/>
                  <a:pt x="427" y="419"/>
                </a:cubicBezTo>
                <a:cubicBezTo>
                  <a:pt x="428" y="419"/>
                  <a:pt x="428" y="418"/>
                  <a:pt x="429" y="418"/>
                </a:cubicBezTo>
                <a:cubicBezTo>
                  <a:pt x="429" y="418"/>
                  <a:pt x="430" y="418"/>
                  <a:pt x="430" y="419"/>
                </a:cubicBezTo>
                <a:cubicBezTo>
                  <a:pt x="430" y="419"/>
                  <a:pt x="430" y="419"/>
                  <a:pt x="431" y="419"/>
                </a:cubicBezTo>
                <a:cubicBezTo>
                  <a:pt x="431" y="418"/>
                  <a:pt x="431" y="419"/>
                  <a:pt x="431" y="419"/>
                </a:cubicBezTo>
                <a:cubicBezTo>
                  <a:pt x="431" y="419"/>
                  <a:pt x="432" y="419"/>
                  <a:pt x="432" y="419"/>
                </a:cubicBezTo>
                <a:cubicBezTo>
                  <a:pt x="432" y="420"/>
                  <a:pt x="432" y="420"/>
                  <a:pt x="432" y="421"/>
                </a:cubicBezTo>
                <a:cubicBezTo>
                  <a:pt x="432" y="421"/>
                  <a:pt x="431" y="421"/>
                  <a:pt x="431" y="421"/>
                </a:cubicBezTo>
                <a:cubicBezTo>
                  <a:pt x="431" y="421"/>
                  <a:pt x="431" y="421"/>
                  <a:pt x="431" y="421"/>
                </a:cubicBezTo>
                <a:cubicBezTo>
                  <a:pt x="431" y="421"/>
                  <a:pt x="431" y="421"/>
                  <a:pt x="431" y="421"/>
                </a:cubicBezTo>
                <a:cubicBezTo>
                  <a:pt x="431" y="422"/>
                  <a:pt x="431" y="422"/>
                  <a:pt x="431" y="421"/>
                </a:cubicBezTo>
                <a:cubicBezTo>
                  <a:pt x="432" y="421"/>
                  <a:pt x="432" y="421"/>
                  <a:pt x="432" y="421"/>
                </a:cubicBezTo>
                <a:cubicBezTo>
                  <a:pt x="432" y="421"/>
                  <a:pt x="432" y="421"/>
                  <a:pt x="432" y="421"/>
                </a:cubicBezTo>
                <a:cubicBezTo>
                  <a:pt x="432" y="421"/>
                  <a:pt x="432" y="421"/>
                  <a:pt x="432" y="422"/>
                </a:cubicBezTo>
                <a:cubicBezTo>
                  <a:pt x="433" y="422"/>
                  <a:pt x="432" y="422"/>
                  <a:pt x="433" y="422"/>
                </a:cubicBezTo>
                <a:cubicBezTo>
                  <a:pt x="433" y="423"/>
                  <a:pt x="433" y="423"/>
                  <a:pt x="433" y="423"/>
                </a:cubicBezTo>
                <a:cubicBezTo>
                  <a:pt x="433" y="424"/>
                  <a:pt x="433" y="424"/>
                  <a:pt x="433" y="424"/>
                </a:cubicBezTo>
                <a:cubicBezTo>
                  <a:pt x="433" y="424"/>
                  <a:pt x="433" y="425"/>
                  <a:pt x="433" y="425"/>
                </a:cubicBezTo>
                <a:cubicBezTo>
                  <a:pt x="434" y="425"/>
                  <a:pt x="434" y="425"/>
                  <a:pt x="434" y="426"/>
                </a:cubicBezTo>
                <a:cubicBezTo>
                  <a:pt x="434" y="426"/>
                  <a:pt x="434" y="426"/>
                  <a:pt x="434" y="427"/>
                </a:cubicBezTo>
                <a:cubicBezTo>
                  <a:pt x="435" y="427"/>
                  <a:pt x="435" y="427"/>
                  <a:pt x="435" y="427"/>
                </a:cubicBezTo>
                <a:cubicBezTo>
                  <a:pt x="435" y="427"/>
                  <a:pt x="436" y="427"/>
                  <a:pt x="436" y="427"/>
                </a:cubicBezTo>
                <a:cubicBezTo>
                  <a:pt x="436" y="427"/>
                  <a:pt x="436" y="427"/>
                  <a:pt x="435" y="427"/>
                </a:cubicBezTo>
                <a:cubicBezTo>
                  <a:pt x="435" y="427"/>
                  <a:pt x="435" y="427"/>
                  <a:pt x="435" y="427"/>
                </a:cubicBezTo>
                <a:cubicBezTo>
                  <a:pt x="435" y="426"/>
                  <a:pt x="435" y="426"/>
                  <a:pt x="435" y="426"/>
                </a:cubicBezTo>
                <a:cubicBezTo>
                  <a:pt x="434" y="425"/>
                  <a:pt x="434" y="425"/>
                  <a:pt x="434" y="424"/>
                </a:cubicBezTo>
                <a:cubicBezTo>
                  <a:pt x="434" y="424"/>
                  <a:pt x="434" y="424"/>
                  <a:pt x="434" y="424"/>
                </a:cubicBezTo>
                <a:cubicBezTo>
                  <a:pt x="434" y="423"/>
                  <a:pt x="434" y="423"/>
                  <a:pt x="434" y="422"/>
                </a:cubicBezTo>
                <a:cubicBezTo>
                  <a:pt x="434" y="422"/>
                  <a:pt x="434" y="421"/>
                  <a:pt x="434" y="421"/>
                </a:cubicBezTo>
                <a:cubicBezTo>
                  <a:pt x="434" y="421"/>
                  <a:pt x="433" y="421"/>
                  <a:pt x="433" y="421"/>
                </a:cubicBezTo>
                <a:cubicBezTo>
                  <a:pt x="433" y="421"/>
                  <a:pt x="434" y="420"/>
                  <a:pt x="434" y="420"/>
                </a:cubicBezTo>
                <a:cubicBezTo>
                  <a:pt x="434" y="420"/>
                  <a:pt x="434" y="420"/>
                  <a:pt x="434" y="421"/>
                </a:cubicBezTo>
                <a:cubicBezTo>
                  <a:pt x="434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4" y="421"/>
                  <a:pt x="434" y="421"/>
                  <a:pt x="434" y="420"/>
                </a:cubicBezTo>
                <a:cubicBezTo>
                  <a:pt x="434" y="420"/>
                  <a:pt x="433" y="420"/>
                  <a:pt x="433" y="419"/>
                </a:cubicBezTo>
                <a:cubicBezTo>
                  <a:pt x="433" y="419"/>
                  <a:pt x="433" y="419"/>
                  <a:pt x="433" y="419"/>
                </a:cubicBezTo>
                <a:cubicBezTo>
                  <a:pt x="434" y="419"/>
                  <a:pt x="435" y="419"/>
                  <a:pt x="436" y="419"/>
                </a:cubicBezTo>
                <a:cubicBezTo>
                  <a:pt x="436" y="419"/>
                  <a:pt x="436" y="419"/>
                  <a:pt x="436" y="419"/>
                </a:cubicBezTo>
                <a:cubicBezTo>
                  <a:pt x="436" y="419"/>
                  <a:pt x="436" y="419"/>
                  <a:pt x="436" y="420"/>
                </a:cubicBezTo>
                <a:cubicBezTo>
                  <a:pt x="436" y="420"/>
                  <a:pt x="436" y="420"/>
                  <a:pt x="437" y="420"/>
                </a:cubicBezTo>
                <a:cubicBezTo>
                  <a:pt x="437" y="420"/>
                  <a:pt x="437" y="420"/>
                  <a:pt x="437" y="420"/>
                </a:cubicBezTo>
                <a:cubicBezTo>
                  <a:pt x="437" y="420"/>
                  <a:pt x="437" y="420"/>
                  <a:pt x="437" y="419"/>
                </a:cubicBezTo>
                <a:cubicBezTo>
                  <a:pt x="437" y="419"/>
                  <a:pt x="436" y="418"/>
                  <a:pt x="435" y="418"/>
                </a:cubicBezTo>
                <a:cubicBezTo>
                  <a:pt x="435" y="418"/>
                  <a:pt x="435" y="418"/>
                  <a:pt x="435" y="418"/>
                </a:cubicBezTo>
                <a:cubicBezTo>
                  <a:pt x="434" y="418"/>
                  <a:pt x="434" y="418"/>
                  <a:pt x="434" y="417"/>
                </a:cubicBezTo>
                <a:cubicBezTo>
                  <a:pt x="434" y="417"/>
                  <a:pt x="434" y="417"/>
                  <a:pt x="433" y="417"/>
                </a:cubicBezTo>
                <a:cubicBezTo>
                  <a:pt x="433" y="417"/>
                  <a:pt x="432" y="417"/>
                  <a:pt x="432" y="416"/>
                </a:cubicBezTo>
                <a:cubicBezTo>
                  <a:pt x="432" y="416"/>
                  <a:pt x="432" y="415"/>
                  <a:pt x="432" y="415"/>
                </a:cubicBezTo>
                <a:cubicBezTo>
                  <a:pt x="433" y="415"/>
                  <a:pt x="433" y="414"/>
                  <a:pt x="433" y="414"/>
                </a:cubicBezTo>
                <a:cubicBezTo>
                  <a:pt x="433" y="414"/>
                  <a:pt x="433" y="414"/>
                  <a:pt x="433" y="414"/>
                </a:cubicBezTo>
                <a:cubicBezTo>
                  <a:pt x="433" y="414"/>
                  <a:pt x="434" y="413"/>
                  <a:pt x="434" y="413"/>
                </a:cubicBezTo>
                <a:cubicBezTo>
                  <a:pt x="434" y="413"/>
                  <a:pt x="434" y="413"/>
                  <a:pt x="435" y="413"/>
                </a:cubicBezTo>
                <a:cubicBezTo>
                  <a:pt x="435" y="413"/>
                  <a:pt x="435" y="413"/>
                  <a:pt x="435" y="413"/>
                </a:cubicBezTo>
                <a:cubicBezTo>
                  <a:pt x="435" y="413"/>
                  <a:pt x="436" y="413"/>
                  <a:pt x="436" y="413"/>
                </a:cubicBezTo>
                <a:cubicBezTo>
                  <a:pt x="436" y="413"/>
                  <a:pt x="436" y="413"/>
                  <a:pt x="436" y="414"/>
                </a:cubicBezTo>
                <a:cubicBezTo>
                  <a:pt x="436" y="414"/>
                  <a:pt x="437" y="414"/>
                  <a:pt x="437" y="414"/>
                </a:cubicBezTo>
                <a:cubicBezTo>
                  <a:pt x="437" y="414"/>
                  <a:pt x="437" y="414"/>
                  <a:pt x="437" y="415"/>
                </a:cubicBezTo>
                <a:cubicBezTo>
                  <a:pt x="437" y="415"/>
                  <a:pt x="437" y="415"/>
                  <a:pt x="437" y="415"/>
                </a:cubicBezTo>
                <a:cubicBezTo>
                  <a:pt x="437" y="415"/>
                  <a:pt x="437" y="415"/>
                  <a:pt x="437" y="415"/>
                </a:cubicBezTo>
                <a:cubicBezTo>
                  <a:pt x="437" y="416"/>
                  <a:pt x="437" y="416"/>
                  <a:pt x="437" y="417"/>
                </a:cubicBezTo>
                <a:cubicBezTo>
                  <a:pt x="437" y="418"/>
                  <a:pt x="438" y="418"/>
                  <a:pt x="438" y="418"/>
                </a:cubicBezTo>
                <a:cubicBezTo>
                  <a:pt x="438" y="418"/>
                  <a:pt x="438" y="419"/>
                  <a:pt x="438" y="419"/>
                </a:cubicBezTo>
                <a:cubicBezTo>
                  <a:pt x="438" y="418"/>
                  <a:pt x="438" y="418"/>
                  <a:pt x="438" y="417"/>
                </a:cubicBezTo>
                <a:cubicBezTo>
                  <a:pt x="438" y="417"/>
                  <a:pt x="438" y="417"/>
                  <a:pt x="438" y="417"/>
                </a:cubicBezTo>
                <a:cubicBezTo>
                  <a:pt x="438" y="417"/>
                  <a:pt x="439" y="417"/>
                  <a:pt x="439" y="417"/>
                </a:cubicBezTo>
                <a:cubicBezTo>
                  <a:pt x="439" y="417"/>
                  <a:pt x="438" y="417"/>
                  <a:pt x="438" y="417"/>
                </a:cubicBezTo>
                <a:cubicBezTo>
                  <a:pt x="438" y="416"/>
                  <a:pt x="438" y="416"/>
                  <a:pt x="438" y="416"/>
                </a:cubicBezTo>
                <a:cubicBezTo>
                  <a:pt x="438" y="416"/>
                  <a:pt x="438" y="416"/>
                  <a:pt x="438" y="416"/>
                </a:cubicBezTo>
                <a:cubicBezTo>
                  <a:pt x="439" y="416"/>
                  <a:pt x="439" y="416"/>
                  <a:pt x="439" y="416"/>
                </a:cubicBezTo>
                <a:cubicBezTo>
                  <a:pt x="439" y="416"/>
                  <a:pt x="439" y="417"/>
                  <a:pt x="439" y="417"/>
                </a:cubicBezTo>
                <a:cubicBezTo>
                  <a:pt x="439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6"/>
                  <a:pt x="440" y="416"/>
                </a:cubicBezTo>
                <a:cubicBezTo>
                  <a:pt x="440" y="416"/>
                  <a:pt x="440" y="416"/>
                  <a:pt x="440" y="416"/>
                </a:cubicBezTo>
                <a:cubicBezTo>
                  <a:pt x="440" y="416"/>
                  <a:pt x="439" y="416"/>
                  <a:pt x="439" y="416"/>
                </a:cubicBezTo>
                <a:cubicBezTo>
                  <a:pt x="439" y="415"/>
                  <a:pt x="439" y="415"/>
                  <a:pt x="438" y="415"/>
                </a:cubicBezTo>
                <a:cubicBezTo>
                  <a:pt x="438" y="415"/>
                  <a:pt x="438" y="415"/>
                  <a:pt x="438" y="415"/>
                </a:cubicBezTo>
                <a:cubicBezTo>
                  <a:pt x="438" y="414"/>
                  <a:pt x="438" y="414"/>
                  <a:pt x="438" y="414"/>
                </a:cubicBezTo>
                <a:cubicBezTo>
                  <a:pt x="439" y="414"/>
                  <a:pt x="440" y="415"/>
                  <a:pt x="440" y="415"/>
                </a:cubicBezTo>
                <a:cubicBezTo>
                  <a:pt x="441" y="415"/>
                  <a:pt x="441" y="415"/>
                  <a:pt x="441" y="415"/>
                </a:cubicBezTo>
                <a:cubicBezTo>
                  <a:pt x="441" y="415"/>
                  <a:pt x="441" y="415"/>
                  <a:pt x="441" y="415"/>
                </a:cubicBezTo>
                <a:cubicBezTo>
                  <a:pt x="442" y="415"/>
                  <a:pt x="442" y="415"/>
                  <a:pt x="442" y="416"/>
                </a:cubicBezTo>
                <a:cubicBezTo>
                  <a:pt x="442" y="416"/>
                  <a:pt x="442" y="416"/>
                  <a:pt x="441" y="416"/>
                </a:cubicBezTo>
                <a:cubicBezTo>
                  <a:pt x="441" y="416"/>
                  <a:pt x="441" y="416"/>
                  <a:pt x="442" y="417"/>
                </a:cubicBezTo>
                <a:cubicBezTo>
                  <a:pt x="442" y="417"/>
                  <a:pt x="442" y="417"/>
                  <a:pt x="442" y="417"/>
                </a:cubicBezTo>
                <a:cubicBezTo>
                  <a:pt x="442" y="417"/>
                  <a:pt x="442" y="417"/>
                  <a:pt x="442" y="417"/>
                </a:cubicBezTo>
                <a:cubicBezTo>
                  <a:pt x="442" y="416"/>
                  <a:pt x="442" y="416"/>
                  <a:pt x="442" y="415"/>
                </a:cubicBezTo>
                <a:cubicBezTo>
                  <a:pt x="442" y="415"/>
                  <a:pt x="442" y="414"/>
                  <a:pt x="442" y="413"/>
                </a:cubicBezTo>
                <a:cubicBezTo>
                  <a:pt x="442" y="413"/>
                  <a:pt x="442" y="413"/>
                  <a:pt x="442" y="413"/>
                </a:cubicBezTo>
                <a:cubicBezTo>
                  <a:pt x="442" y="413"/>
                  <a:pt x="441" y="413"/>
                  <a:pt x="441" y="413"/>
                </a:cubicBezTo>
                <a:cubicBezTo>
                  <a:pt x="442" y="413"/>
                  <a:pt x="442" y="413"/>
                  <a:pt x="442" y="413"/>
                </a:cubicBezTo>
                <a:cubicBezTo>
                  <a:pt x="442" y="413"/>
                  <a:pt x="442" y="414"/>
                  <a:pt x="443" y="414"/>
                </a:cubicBezTo>
                <a:cubicBezTo>
                  <a:pt x="443" y="414"/>
                  <a:pt x="443" y="414"/>
                  <a:pt x="443" y="414"/>
                </a:cubicBezTo>
                <a:cubicBezTo>
                  <a:pt x="443" y="414"/>
                  <a:pt x="443" y="413"/>
                  <a:pt x="443" y="413"/>
                </a:cubicBezTo>
                <a:cubicBezTo>
                  <a:pt x="443" y="413"/>
                  <a:pt x="443" y="413"/>
                  <a:pt x="443" y="413"/>
                </a:cubicBezTo>
                <a:cubicBezTo>
                  <a:pt x="442" y="413"/>
                  <a:pt x="442" y="412"/>
                  <a:pt x="442" y="412"/>
                </a:cubicBezTo>
                <a:cubicBezTo>
                  <a:pt x="441" y="411"/>
                  <a:pt x="441" y="411"/>
                  <a:pt x="441" y="411"/>
                </a:cubicBezTo>
                <a:cubicBezTo>
                  <a:pt x="440" y="411"/>
                  <a:pt x="440" y="410"/>
                  <a:pt x="441" y="410"/>
                </a:cubicBezTo>
                <a:cubicBezTo>
                  <a:pt x="441" y="410"/>
                  <a:pt x="441" y="410"/>
                  <a:pt x="441" y="410"/>
                </a:cubicBezTo>
                <a:cubicBezTo>
                  <a:pt x="441" y="411"/>
                  <a:pt x="442" y="411"/>
                  <a:pt x="442" y="411"/>
                </a:cubicBezTo>
                <a:cubicBezTo>
                  <a:pt x="442" y="411"/>
                  <a:pt x="442" y="411"/>
                  <a:pt x="442" y="411"/>
                </a:cubicBezTo>
                <a:cubicBezTo>
                  <a:pt x="443" y="411"/>
                  <a:pt x="443" y="412"/>
                  <a:pt x="444" y="412"/>
                </a:cubicBezTo>
                <a:cubicBezTo>
                  <a:pt x="444" y="412"/>
                  <a:pt x="444" y="412"/>
                  <a:pt x="444" y="412"/>
                </a:cubicBezTo>
                <a:cubicBezTo>
                  <a:pt x="444" y="412"/>
                  <a:pt x="444" y="412"/>
                  <a:pt x="444" y="412"/>
                </a:cubicBezTo>
                <a:cubicBezTo>
                  <a:pt x="444" y="411"/>
                  <a:pt x="444" y="411"/>
                  <a:pt x="445" y="411"/>
                </a:cubicBezTo>
                <a:cubicBezTo>
                  <a:pt x="445" y="411"/>
                  <a:pt x="445" y="411"/>
                  <a:pt x="446" y="412"/>
                </a:cubicBezTo>
                <a:cubicBezTo>
                  <a:pt x="446" y="412"/>
                  <a:pt x="446" y="412"/>
                  <a:pt x="447" y="412"/>
                </a:cubicBezTo>
                <a:cubicBezTo>
                  <a:pt x="447" y="412"/>
                  <a:pt x="447" y="412"/>
                  <a:pt x="447" y="413"/>
                </a:cubicBezTo>
                <a:cubicBezTo>
                  <a:pt x="447" y="413"/>
                  <a:pt x="446" y="413"/>
                  <a:pt x="446" y="413"/>
                </a:cubicBezTo>
                <a:cubicBezTo>
                  <a:pt x="446" y="413"/>
                  <a:pt x="446" y="413"/>
                  <a:pt x="446" y="414"/>
                </a:cubicBezTo>
                <a:cubicBezTo>
                  <a:pt x="446" y="414"/>
                  <a:pt x="446" y="414"/>
                  <a:pt x="446" y="414"/>
                </a:cubicBezTo>
                <a:cubicBezTo>
                  <a:pt x="446" y="414"/>
                  <a:pt x="445" y="414"/>
                  <a:pt x="445" y="415"/>
                </a:cubicBezTo>
                <a:cubicBezTo>
                  <a:pt x="446" y="415"/>
                  <a:pt x="445" y="416"/>
                  <a:pt x="446" y="416"/>
                </a:cubicBezTo>
                <a:cubicBezTo>
                  <a:pt x="446" y="416"/>
                  <a:pt x="446" y="416"/>
                  <a:pt x="446" y="417"/>
                </a:cubicBezTo>
                <a:cubicBezTo>
                  <a:pt x="446" y="417"/>
                  <a:pt x="446" y="417"/>
                  <a:pt x="446" y="417"/>
                </a:cubicBezTo>
                <a:cubicBezTo>
                  <a:pt x="446" y="417"/>
                  <a:pt x="446" y="417"/>
                  <a:pt x="446" y="417"/>
                </a:cubicBezTo>
                <a:cubicBezTo>
                  <a:pt x="446" y="416"/>
                  <a:pt x="446" y="415"/>
                  <a:pt x="446" y="415"/>
                </a:cubicBezTo>
                <a:cubicBezTo>
                  <a:pt x="446" y="414"/>
                  <a:pt x="447" y="414"/>
                  <a:pt x="447" y="414"/>
                </a:cubicBezTo>
                <a:cubicBezTo>
                  <a:pt x="447" y="414"/>
                  <a:pt x="447" y="414"/>
                  <a:pt x="447" y="414"/>
                </a:cubicBezTo>
                <a:cubicBezTo>
                  <a:pt x="447" y="414"/>
                  <a:pt x="447" y="414"/>
                  <a:pt x="447" y="414"/>
                </a:cubicBezTo>
                <a:cubicBezTo>
                  <a:pt x="448" y="414"/>
                  <a:pt x="448" y="415"/>
                  <a:pt x="448" y="414"/>
                </a:cubicBezTo>
                <a:cubicBezTo>
                  <a:pt x="448" y="414"/>
                  <a:pt x="448" y="414"/>
                  <a:pt x="448" y="414"/>
                </a:cubicBezTo>
                <a:cubicBezTo>
                  <a:pt x="448" y="414"/>
                  <a:pt x="448" y="414"/>
                  <a:pt x="448" y="414"/>
                </a:cubicBezTo>
                <a:cubicBezTo>
                  <a:pt x="448" y="413"/>
                  <a:pt x="449" y="413"/>
                  <a:pt x="449" y="413"/>
                </a:cubicBezTo>
                <a:cubicBezTo>
                  <a:pt x="449" y="413"/>
                  <a:pt x="449" y="414"/>
                  <a:pt x="449" y="413"/>
                </a:cubicBezTo>
                <a:cubicBezTo>
                  <a:pt x="449" y="413"/>
                  <a:pt x="449" y="413"/>
                  <a:pt x="449" y="413"/>
                </a:cubicBezTo>
                <a:cubicBezTo>
                  <a:pt x="449" y="413"/>
                  <a:pt x="449" y="413"/>
                  <a:pt x="449" y="412"/>
                </a:cubicBezTo>
                <a:cubicBezTo>
                  <a:pt x="449" y="412"/>
                  <a:pt x="449" y="412"/>
                  <a:pt x="449" y="412"/>
                </a:cubicBezTo>
                <a:cubicBezTo>
                  <a:pt x="450" y="412"/>
                  <a:pt x="450" y="412"/>
                  <a:pt x="450" y="412"/>
                </a:cubicBezTo>
                <a:cubicBezTo>
                  <a:pt x="450" y="412"/>
                  <a:pt x="450" y="412"/>
                  <a:pt x="450" y="412"/>
                </a:cubicBezTo>
                <a:cubicBezTo>
                  <a:pt x="450" y="412"/>
                  <a:pt x="451" y="412"/>
                  <a:pt x="451" y="413"/>
                </a:cubicBezTo>
                <a:cubicBezTo>
                  <a:pt x="451" y="413"/>
                  <a:pt x="451" y="413"/>
                  <a:pt x="451" y="413"/>
                </a:cubicBezTo>
                <a:cubicBezTo>
                  <a:pt x="451" y="413"/>
                  <a:pt x="452" y="413"/>
                  <a:pt x="452" y="413"/>
                </a:cubicBezTo>
                <a:cubicBezTo>
                  <a:pt x="452" y="414"/>
                  <a:pt x="452" y="414"/>
                  <a:pt x="452" y="414"/>
                </a:cubicBezTo>
                <a:cubicBezTo>
                  <a:pt x="452" y="414"/>
                  <a:pt x="452" y="414"/>
                  <a:pt x="452" y="414"/>
                </a:cubicBezTo>
                <a:cubicBezTo>
                  <a:pt x="452" y="414"/>
                  <a:pt x="452" y="414"/>
                  <a:pt x="452" y="415"/>
                </a:cubicBezTo>
                <a:cubicBezTo>
                  <a:pt x="452" y="415"/>
                  <a:pt x="452" y="414"/>
                  <a:pt x="452" y="414"/>
                </a:cubicBezTo>
                <a:cubicBezTo>
                  <a:pt x="452" y="414"/>
                  <a:pt x="452" y="414"/>
                  <a:pt x="453" y="414"/>
                </a:cubicBezTo>
                <a:cubicBezTo>
                  <a:pt x="453" y="415"/>
                  <a:pt x="453" y="415"/>
                  <a:pt x="452" y="415"/>
                </a:cubicBezTo>
                <a:cubicBezTo>
                  <a:pt x="452" y="415"/>
                  <a:pt x="452" y="415"/>
                  <a:pt x="452" y="415"/>
                </a:cubicBezTo>
                <a:cubicBezTo>
                  <a:pt x="452" y="415"/>
                  <a:pt x="452" y="415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7"/>
                  <a:pt x="451" y="417"/>
                  <a:pt x="450" y="417"/>
                </a:cubicBezTo>
                <a:cubicBezTo>
                  <a:pt x="450" y="417"/>
                  <a:pt x="450" y="417"/>
                  <a:pt x="450" y="417"/>
                </a:cubicBezTo>
                <a:cubicBezTo>
                  <a:pt x="450" y="417"/>
                  <a:pt x="450" y="417"/>
                  <a:pt x="450" y="418"/>
                </a:cubicBezTo>
                <a:cubicBezTo>
                  <a:pt x="450" y="418"/>
                  <a:pt x="450" y="418"/>
                  <a:pt x="450" y="418"/>
                </a:cubicBezTo>
                <a:cubicBezTo>
                  <a:pt x="451" y="417"/>
                  <a:pt x="451" y="417"/>
                  <a:pt x="451" y="417"/>
                </a:cubicBezTo>
                <a:cubicBezTo>
                  <a:pt x="451" y="417"/>
                  <a:pt x="451" y="418"/>
                  <a:pt x="451" y="418"/>
                </a:cubicBezTo>
                <a:cubicBezTo>
                  <a:pt x="451" y="418"/>
                  <a:pt x="451" y="418"/>
                  <a:pt x="451" y="418"/>
                </a:cubicBezTo>
                <a:cubicBezTo>
                  <a:pt x="451" y="418"/>
                  <a:pt x="451" y="419"/>
                  <a:pt x="451" y="419"/>
                </a:cubicBezTo>
                <a:cubicBezTo>
                  <a:pt x="451" y="419"/>
                  <a:pt x="451" y="418"/>
                  <a:pt x="452" y="418"/>
                </a:cubicBezTo>
                <a:cubicBezTo>
                  <a:pt x="452" y="418"/>
                  <a:pt x="452" y="418"/>
                  <a:pt x="452" y="418"/>
                </a:cubicBezTo>
                <a:cubicBezTo>
                  <a:pt x="452" y="419"/>
                  <a:pt x="452" y="419"/>
                  <a:pt x="452" y="419"/>
                </a:cubicBezTo>
                <a:cubicBezTo>
                  <a:pt x="452" y="419"/>
                  <a:pt x="452" y="419"/>
                  <a:pt x="451" y="420"/>
                </a:cubicBezTo>
                <a:cubicBezTo>
                  <a:pt x="451" y="420"/>
                  <a:pt x="451" y="420"/>
                  <a:pt x="451" y="420"/>
                </a:cubicBezTo>
                <a:cubicBezTo>
                  <a:pt x="451" y="420"/>
                  <a:pt x="452" y="420"/>
                  <a:pt x="452" y="420"/>
                </a:cubicBezTo>
                <a:cubicBezTo>
                  <a:pt x="452" y="419"/>
                  <a:pt x="453" y="419"/>
                  <a:pt x="453" y="419"/>
                </a:cubicBezTo>
                <a:cubicBezTo>
                  <a:pt x="453" y="419"/>
                  <a:pt x="453" y="419"/>
                  <a:pt x="453" y="419"/>
                </a:cubicBezTo>
                <a:cubicBezTo>
                  <a:pt x="454" y="419"/>
                  <a:pt x="454" y="419"/>
                  <a:pt x="454" y="419"/>
                </a:cubicBezTo>
                <a:cubicBezTo>
                  <a:pt x="454" y="420"/>
                  <a:pt x="454" y="419"/>
                  <a:pt x="455" y="419"/>
                </a:cubicBezTo>
                <a:cubicBezTo>
                  <a:pt x="455" y="419"/>
                  <a:pt x="455" y="419"/>
                  <a:pt x="455" y="419"/>
                </a:cubicBezTo>
                <a:close/>
                <a:moveTo>
                  <a:pt x="435" y="417"/>
                </a:moveTo>
                <a:cubicBezTo>
                  <a:pt x="435" y="417"/>
                  <a:pt x="435" y="417"/>
                  <a:pt x="435" y="417"/>
                </a:cubicBezTo>
                <a:cubicBezTo>
                  <a:pt x="435" y="417"/>
                  <a:pt x="435" y="417"/>
                  <a:pt x="435" y="417"/>
                </a:cubicBezTo>
                <a:close/>
                <a:moveTo>
                  <a:pt x="447" y="419"/>
                </a:moveTo>
                <a:cubicBezTo>
                  <a:pt x="447" y="419"/>
                  <a:pt x="447" y="419"/>
                  <a:pt x="447" y="419"/>
                </a:cubicBezTo>
                <a:cubicBezTo>
                  <a:pt x="447" y="419"/>
                  <a:pt x="447" y="419"/>
                  <a:pt x="447" y="419"/>
                </a:cubicBezTo>
                <a:close/>
                <a:moveTo>
                  <a:pt x="450" y="418"/>
                </a:moveTo>
                <a:cubicBezTo>
                  <a:pt x="450" y="418"/>
                  <a:pt x="450" y="418"/>
                  <a:pt x="450" y="418"/>
                </a:cubicBezTo>
                <a:cubicBezTo>
                  <a:pt x="450" y="418"/>
                  <a:pt x="450" y="418"/>
                  <a:pt x="450" y="418"/>
                </a:cubicBezTo>
                <a:cubicBezTo>
                  <a:pt x="450" y="418"/>
                  <a:pt x="450" y="418"/>
                  <a:pt x="450" y="418"/>
                </a:cubicBezTo>
                <a:close/>
                <a:moveTo>
                  <a:pt x="411" y="460"/>
                </a:moveTo>
                <a:cubicBezTo>
                  <a:pt x="411" y="460"/>
                  <a:pt x="411" y="460"/>
                  <a:pt x="411" y="459"/>
                </a:cubicBezTo>
                <a:cubicBezTo>
                  <a:pt x="411" y="459"/>
                  <a:pt x="410" y="460"/>
                  <a:pt x="410" y="460"/>
                </a:cubicBezTo>
                <a:cubicBezTo>
                  <a:pt x="410" y="460"/>
                  <a:pt x="410" y="461"/>
                  <a:pt x="410" y="461"/>
                </a:cubicBezTo>
                <a:cubicBezTo>
                  <a:pt x="409" y="461"/>
                  <a:pt x="409" y="461"/>
                  <a:pt x="409" y="461"/>
                </a:cubicBezTo>
                <a:cubicBezTo>
                  <a:pt x="409" y="462"/>
                  <a:pt x="409" y="462"/>
                  <a:pt x="409" y="462"/>
                </a:cubicBezTo>
                <a:cubicBezTo>
                  <a:pt x="409" y="463"/>
                  <a:pt x="409" y="463"/>
                  <a:pt x="410" y="463"/>
                </a:cubicBezTo>
                <a:cubicBezTo>
                  <a:pt x="410" y="463"/>
                  <a:pt x="410" y="463"/>
                  <a:pt x="411" y="463"/>
                </a:cubicBezTo>
                <a:cubicBezTo>
                  <a:pt x="411" y="463"/>
                  <a:pt x="411" y="463"/>
                  <a:pt x="411" y="463"/>
                </a:cubicBezTo>
                <a:cubicBezTo>
                  <a:pt x="411" y="462"/>
                  <a:pt x="412" y="462"/>
                  <a:pt x="411" y="461"/>
                </a:cubicBezTo>
                <a:cubicBezTo>
                  <a:pt x="411" y="461"/>
                  <a:pt x="411" y="460"/>
                  <a:pt x="411" y="460"/>
                </a:cubicBezTo>
                <a:close/>
                <a:moveTo>
                  <a:pt x="458" y="404"/>
                </a:moveTo>
                <a:cubicBezTo>
                  <a:pt x="458" y="404"/>
                  <a:pt x="458" y="405"/>
                  <a:pt x="457" y="405"/>
                </a:cubicBezTo>
                <a:cubicBezTo>
                  <a:pt x="457" y="405"/>
                  <a:pt x="457" y="405"/>
                  <a:pt x="457" y="405"/>
                </a:cubicBezTo>
                <a:cubicBezTo>
                  <a:pt x="457" y="405"/>
                  <a:pt x="456" y="405"/>
                  <a:pt x="457" y="406"/>
                </a:cubicBezTo>
                <a:cubicBezTo>
                  <a:pt x="457" y="406"/>
                  <a:pt x="456" y="406"/>
                  <a:pt x="456" y="406"/>
                </a:cubicBezTo>
                <a:cubicBezTo>
                  <a:pt x="456" y="406"/>
                  <a:pt x="456" y="406"/>
                  <a:pt x="456" y="406"/>
                </a:cubicBezTo>
                <a:cubicBezTo>
                  <a:pt x="455" y="406"/>
                  <a:pt x="455" y="406"/>
                  <a:pt x="455" y="406"/>
                </a:cubicBezTo>
                <a:cubicBezTo>
                  <a:pt x="455" y="406"/>
                  <a:pt x="455" y="406"/>
                  <a:pt x="454" y="405"/>
                </a:cubicBezTo>
                <a:cubicBezTo>
                  <a:pt x="454" y="405"/>
                  <a:pt x="454" y="404"/>
                  <a:pt x="454" y="404"/>
                </a:cubicBezTo>
                <a:cubicBezTo>
                  <a:pt x="454" y="404"/>
                  <a:pt x="454" y="404"/>
                  <a:pt x="454" y="404"/>
                </a:cubicBezTo>
                <a:cubicBezTo>
                  <a:pt x="454" y="403"/>
                  <a:pt x="454" y="404"/>
                  <a:pt x="454" y="404"/>
                </a:cubicBezTo>
                <a:cubicBezTo>
                  <a:pt x="454" y="404"/>
                  <a:pt x="454" y="404"/>
                  <a:pt x="453" y="404"/>
                </a:cubicBezTo>
                <a:cubicBezTo>
                  <a:pt x="453" y="404"/>
                  <a:pt x="453" y="405"/>
                  <a:pt x="453" y="405"/>
                </a:cubicBezTo>
                <a:cubicBezTo>
                  <a:pt x="454" y="405"/>
                  <a:pt x="454" y="405"/>
                  <a:pt x="453" y="406"/>
                </a:cubicBezTo>
                <a:cubicBezTo>
                  <a:pt x="453" y="406"/>
                  <a:pt x="453" y="406"/>
                  <a:pt x="453" y="406"/>
                </a:cubicBezTo>
                <a:cubicBezTo>
                  <a:pt x="453" y="405"/>
                  <a:pt x="453" y="405"/>
                  <a:pt x="453" y="405"/>
                </a:cubicBezTo>
                <a:cubicBezTo>
                  <a:pt x="453" y="406"/>
                  <a:pt x="453" y="406"/>
                  <a:pt x="453" y="407"/>
                </a:cubicBezTo>
                <a:cubicBezTo>
                  <a:pt x="453" y="407"/>
                  <a:pt x="453" y="407"/>
                  <a:pt x="453" y="407"/>
                </a:cubicBezTo>
                <a:cubicBezTo>
                  <a:pt x="453" y="407"/>
                  <a:pt x="453" y="408"/>
                  <a:pt x="453" y="407"/>
                </a:cubicBezTo>
                <a:cubicBezTo>
                  <a:pt x="453" y="407"/>
                  <a:pt x="453" y="407"/>
                  <a:pt x="452" y="407"/>
                </a:cubicBezTo>
                <a:cubicBezTo>
                  <a:pt x="452" y="407"/>
                  <a:pt x="452" y="407"/>
                  <a:pt x="452" y="407"/>
                </a:cubicBezTo>
                <a:cubicBezTo>
                  <a:pt x="452" y="407"/>
                  <a:pt x="452" y="407"/>
                  <a:pt x="451" y="407"/>
                </a:cubicBezTo>
                <a:cubicBezTo>
                  <a:pt x="451" y="407"/>
                  <a:pt x="451" y="407"/>
                  <a:pt x="451" y="407"/>
                </a:cubicBezTo>
                <a:cubicBezTo>
                  <a:pt x="451" y="407"/>
                  <a:pt x="450" y="407"/>
                  <a:pt x="450" y="408"/>
                </a:cubicBezTo>
                <a:cubicBezTo>
                  <a:pt x="450" y="408"/>
                  <a:pt x="450" y="408"/>
                  <a:pt x="450" y="408"/>
                </a:cubicBezTo>
                <a:cubicBezTo>
                  <a:pt x="450" y="408"/>
                  <a:pt x="450" y="408"/>
                  <a:pt x="450" y="407"/>
                </a:cubicBezTo>
                <a:cubicBezTo>
                  <a:pt x="450" y="407"/>
                  <a:pt x="450" y="406"/>
                  <a:pt x="450" y="406"/>
                </a:cubicBezTo>
                <a:cubicBezTo>
                  <a:pt x="450" y="405"/>
                  <a:pt x="450" y="405"/>
                  <a:pt x="450" y="405"/>
                </a:cubicBezTo>
                <a:cubicBezTo>
                  <a:pt x="450" y="405"/>
                  <a:pt x="450" y="406"/>
                  <a:pt x="450" y="406"/>
                </a:cubicBezTo>
                <a:cubicBezTo>
                  <a:pt x="449" y="406"/>
                  <a:pt x="449" y="407"/>
                  <a:pt x="449" y="407"/>
                </a:cubicBezTo>
                <a:cubicBezTo>
                  <a:pt x="449" y="408"/>
                  <a:pt x="449" y="408"/>
                  <a:pt x="449" y="408"/>
                </a:cubicBezTo>
                <a:cubicBezTo>
                  <a:pt x="449" y="408"/>
                  <a:pt x="449" y="408"/>
                  <a:pt x="449" y="409"/>
                </a:cubicBezTo>
                <a:cubicBezTo>
                  <a:pt x="449" y="409"/>
                  <a:pt x="448" y="409"/>
                  <a:pt x="448" y="409"/>
                </a:cubicBezTo>
                <a:cubicBezTo>
                  <a:pt x="448" y="409"/>
                  <a:pt x="447" y="409"/>
                  <a:pt x="447" y="408"/>
                </a:cubicBezTo>
                <a:cubicBezTo>
                  <a:pt x="447" y="408"/>
                  <a:pt x="447" y="408"/>
                  <a:pt x="447" y="408"/>
                </a:cubicBezTo>
                <a:cubicBezTo>
                  <a:pt x="447" y="408"/>
                  <a:pt x="447" y="408"/>
                  <a:pt x="447" y="408"/>
                </a:cubicBezTo>
                <a:cubicBezTo>
                  <a:pt x="447" y="409"/>
                  <a:pt x="447" y="409"/>
                  <a:pt x="447" y="409"/>
                </a:cubicBezTo>
                <a:cubicBezTo>
                  <a:pt x="448" y="410"/>
                  <a:pt x="447" y="410"/>
                  <a:pt x="447" y="410"/>
                </a:cubicBezTo>
                <a:cubicBezTo>
                  <a:pt x="447" y="410"/>
                  <a:pt x="447" y="410"/>
                  <a:pt x="446" y="410"/>
                </a:cubicBezTo>
                <a:cubicBezTo>
                  <a:pt x="446" y="410"/>
                  <a:pt x="445" y="409"/>
                  <a:pt x="445" y="409"/>
                </a:cubicBezTo>
                <a:cubicBezTo>
                  <a:pt x="444" y="409"/>
                  <a:pt x="444" y="408"/>
                  <a:pt x="444" y="408"/>
                </a:cubicBezTo>
                <a:cubicBezTo>
                  <a:pt x="444" y="408"/>
                  <a:pt x="444" y="408"/>
                  <a:pt x="444" y="407"/>
                </a:cubicBezTo>
                <a:cubicBezTo>
                  <a:pt x="443" y="407"/>
                  <a:pt x="443" y="407"/>
                  <a:pt x="442" y="408"/>
                </a:cubicBezTo>
                <a:cubicBezTo>
                  <a:pt x="442" y="408"/>
                  <a:pt x="442" y="407"/>
                  <a:pt x="442" y="407"/>
                </a:cubicBezTo>
                <a:cubicBezTo>
                  <a:pt x="442" y="407"/>
                  <a:pt x="442" y="407"/>
                  <a:pt x="442" y="407"/>
                </a:cubicBezTo>
                <a:cubicBezTo>
                  <a:pt x="442" y="407"/>
                  <a:pt x="442" y="407"/>
                  <a:pt x="442" y="407"/>
                </a:cubicBezTo>
                <a:cubicBezTo>
                  <a:pt x="441" y="406"/>
                  <a:pt x="442" y="406"/>
                  <a:pt x="442" y="405"/>
                </a:cubicBezTo>
                <a:cubicBezTo>
                  <a:pt x="442" y="405"/>
                  <a:pt x="442" y="405"/>
                  <a:pt x="442" y="405"/>
                </a:cubicBezTo>
                <a:cubicBezTo>
                  <a:pt x="442" y="405"/>
                  <a:pt x="442" y="405"/>
                  <a:pt x="442" y="405"/>
                </a:cubicBezTo>
                <a:cubicBezTo>
                  <a:pt x="443" y="405"/>
                  <a:pt x="443" y="405"/>
                  <a:pt x="443" y="405"/>
                </a:cubicBezTo>
                <a:cubicBezTo>
                  <a:pt x="443" y="405"/>
                  <a:pt x="444" y="405"/>
                  <a:pt x="444" y="405"/>
                </a:cubicBezTo>
                <a:cubicBezTo>
                  <a:pt x="444" y="405"/>
                  <a:pt x="444" y="406"/>
                  <a:pt x="444" y="406"/>
                </a:cubicBezTo>
                <a:cubicBezTo>
                  <a:pt x="444" y="406"/>
                  <a:pt x="444" y="406"/>
                  <a:pt x="444" y="406"/>
                </a:cubicBezTo>
                <a:cubicBezTo>
                  <a:pt x="445" y="406"/>
                  <a:pt x="444" y="406"/>
                  <a:pt x="445" y="406"/>
                </a:cubicBezTo>
                <a:cubicBezTo>
                  <a:pt x="445" y="406"/>
                  <a:pt x="445" y="406"/>
                  <a:pt x="445" y="406"/>
                </a:cubicBezTo>
                <a:cubicBezTo>
                  <a:pt x="445" y="406"/>
                  <a:pt x="445" y="406"/>
                  <a:pt x="445" y="406"/>
                </a:cubicBezTo>
                <a:cubicBezTo>
                  <a:pt x="445" y="406"/>
                  <a:pt x="445" y="405"/>
                  <a:pt x="445" y="405"/>
                </a:cubicBezTo>
                <a:cubicBezTo>
                  <a:pt x="445" y="405"/>
                  <a:pt x="445" y="405"/>
                  <a:pt x="444" y="405"/>
                </a:cubicBezTo>
                <a:cubicBezTo>
                  <a:pt x="444" y="405"/>
                  <a:pt x="444" y="405"/>
                  <a:pt x="444" y="404"/>
                </a:cubicBezTo>
                <a:cubicBezTo>
                  <a:pt x="444" y="404"/>
                  <a:pt x="444" y="404"/>
                  <a:pt x="444" y="404"/>
                </a:cubicBezTo>
                <a:cubicBezTo>
                  <a:pt x="443" y="404"/>
                  <a:pt x="443" y="404"/>
                  <a:pt x="443" y="403"/>
                </a:cubicBezTo>
                <a:cubicBezTo>
                  <a:pt x="444" y="403"/>
                  <a:pt x="444" y="403"/>
                  <a:pt x="444" y="403"/>
                </a:cubicBezTo>
                <a:cubicBezTo>
                  <a:pt x="445" y="403"/>
                  <a:pt x="445" y="403"/>
                  <a:pt x="446" y="404"/>
                </a:cubicBezTo>
                <a:cubicBezTo>
                  <a:pt x="446" y="404"/>
                  <a:pt x="446" y="404"/>
                  <a:pt x="446" y="404"/>
                </a:cubicBezTo>
                <a:cubicBezTo>
                  <a:pt x="446" y="403"/>
                  <a:pt x="447" y="403"/>
                  <a:pt x="447" y="403"/>
                </a:cubicBezTo>
                <a:cubicBezTo>
                  <a:pt x="447" y="404"/>
                  <a:pt x="447" y="404"/>
                  <a:pt x="447" y="404"/>
                </a:cubicBezTo>
                <a:cubicBezTo>
                  <a:pt x="447" y="403"/>
                  <a:pt x="447" y="403"/>
                  <a:pt x="447" y="403"/>
                </a:cubicBezTo>
                <a:cubicBezTo>
                  <a:pt x="447" y="403"/>
                  <a:pt x="447" y="402"/>
                  <a:pt x="447" y="402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7" y="402"/>
                  <a:pt x="447" y="402"/>
                  <a:pt x="447" y="401"/>
                </a:cubicBezTo>
                <a:cubicBezTo>
                  <a:pt x="447" y="401"/>
                  <a:pt x="447" y="401"/>
                  <a:pt x="447" y="401"/>
                </a:cubicBezTo>
                <a:cubicBezTo>
                  <a:pt x="446" y="401"/>
                  <a:pt x="446" y="401"/>
                  <a:pt x="446" y="401"/>
                </a:cubicBezTo>
                <a:cubicBezTo>
                  <a:pt x="446" y="400"/>
                  <a:pt x="446" y="400"/>
                  <a:pt x="446" y="400"/>
                </a:cubicBezTo>
                <a:cubicBezTo>
                  <a:pt x="446" y="400"/>
                  <a:pt x="446" y="400"/>
                  <a:pt x="446" y="400"/>
                </a:cubicBezTo>
                <a:cubicBezTo>
                  <a:pt x="446" y="400"/>
                  <a:pt x="447" y="400"/>
                  <a:pt x="447" y="400"/>
                </a:cubicBezTo>
                <a:cubicBezTo>
                  <a:pt x="447" y="400"/>
                  <a:pt x="447" y="400"/>
                  <a:pt x="447" y="400"/>
                </a:cubicBezTo>
                <a:cubicBezTo>
                  <a:pt x="447" y="399"/>
                  <a:pt x="448" y="399"/>
                  <a:pt x="448" y="399"/>
                </a:cubicBezTo>
                <a:cubicBezTo>
                  <a:pt x="448" y="399"/>
                  <a:pt x="448" y="400"/>
                  <a:pt x="448" y="400"/>
                </a:cubicBezTo>
                <a:cubicBezTo>
                  <a:pt x="449" y="400"/>
                  <a:pt x="448" y="399"/>
                  <a:pt x="449" y="399"/>
                </a:cubicBezTo>
                <a:cubicBezTo>
                  <a:pt x="449" y="399"/>
                  <a:pt x="449" y="399"/>
                  <a:pt x="449" y="399"/>
                </a:cubicBezTo>
                <a:cubicBezTo>
                  <a:pt x="449" y="399"/>
                  <a:pt x="449" y="398"/>
                  <a:pt x="449" y="398"/>
                </a:cubicBezTo>
                <a:cubicBezTo>
                  <a:pt x="449" y="399"/>
                  <a:pt x="449" y="399"/>
                  <a:pt x="449" y="399"/>
                </a:cubicBezTo>
                <a:cubicBezTo>
                  <a:pt x="449" y="399"/>
                  <a:pt x="449" y="399"/>
                  <a:pt x="449" y="399"/>
                </a:cubicBezTo>
                <a:cubicBezTo>
                  <a:pt x="450" y="399"/>
                  <a:pt x="450" y="399"/>
                  <a:pt x="450" y="399"/>
                </a:cubicBezTo>
                <a:cubicBezTo>
                  <a:pt x="450" y="399"/>
                  <a:pt x="451" y="399"/>
                  <a:pt x="451" y="399"/>
                </a:cubicBezTo>
                <a:cubicBezTo>
                  <a:pt x="451" y="399"/>
                  <a:pt x="451" y="399"/>
                  <a:pt x="451" y="400"/>
                </a:cubicBezTo>
                <a:cubicBezTo>
                  <a:pt x="450" y="400"/>
                  <a:pt x="450" y="400"/>
                  <a:pt x="451" y="400"/>
                </a:cubicBezTo>
                <a:cubicBezTo>
                  <a:pt x="451" y="400"/>
                  <a:pt x="451" y="400"/>
                  <a:pt x="451" y="401"/>
                </a:cubicBezTo>
                <a:cubicBezTo>
                  <a:pt x="451" y="401"/>
                  <a:pt x="451" y="401"/>
                  <a:pt x="451" y="401"/>
                </a:cubicBezTo>
                <a:cubicBezTo>
                  <a:pt x="451" y="401"/>
                  <a:pt x="451" y="402"/>
                  <a:pt x="451" y="402"/>
                </a:cubicBezTo>
                <a:cubicBezTo>
                  <a:pt x="451" y="402"/>
                  <a:pt x="451" y="402"/>
                  <a:pt x="451" y="402"/>
                </a:cubicBezTo>
                <a:cubicBezTo>
                  <a:pt x="451" y="401"/>
                  <a:pt x="451" y="401"/>
                  <a:pt x="451" y="401"/>
                </a:cubicBezTo>
                <a:cubicBezTo>
                  <a:pt x="452" y="401"/>
                  <a:pt x="452" y="402"/>
                  <a:pt x="452" y="402"/>
                </a:cubicBezTo>
                <a:cubicBezTo>
                  <a:pt x="452" y="402"/>
                  <a:pt x="453" y="402"/>
                  <a:pt x="452" y="402"/>
                </a:cubicBezTo>
                <a:cubicBezTo>
                  <a:pt x="452" y="401"/>
                  <a:pt x="453" y="401"/>
                  <a:pt x="453" y="401"/>
                </a:cubicBezTo>
                <a:cubicBezTo>
                  <a:pt x="453" y="401"/>
                  <a:pt x="453" y="400"/>
                  <a:pt x="453" y="400"/>
                </a:cubicBezTo>
                <a:cubicBezTo>
                  <a:pt x="453" y="400"/>
                  <a:pt x="453" y="400"/>
                  <a:pt x="453" y="400"/>
                </a:cubicBezTo>
                <a:cubicBezTo>
                  <a:pt x="453" y="400"/>
                  <a:pt x="453" y="400"/>
                  <a:pt x="453" y="400"/>
                </a:cubicBezTo>
                <a:cubicBezTo>
                  <a:pt x="453" y="400"/>
                  <a:pt x="453" y="400"/>
                  <a:pt x="453" y="400"/>
                </a:cubicBezTo>
                <a:cubicBezTo>
                  <a:pt x="453" y="400"/>
                  <a:pt x="453" y="400"/>
                  <a:pt x="454" y="400"/>
                </a:cubicBezTo>
                <a:cubicBezTo>
                  <a:pt x="454" y="400"/>
                  <a:pt x="454" y="401"/>
                  <a:pt x="454" y="401"/>
                </a:cubicBezTo>
                <a:cubicBezTo>
                  <a:pt x="454" y="401"/>
                  <a:pt x="454" y="401"/>
                  <a:pt x="454" y="401"/>
                </a:cubicBezTo>
                <a:cubicBezTo>
                  <a:pt x="454" y="401"/>
                  <a:pt x="454" y="401"/>
                  <a:pt x="454" y="401"/>
                </a:cubicBezTo>
                <a:cubicBezTo>
                  <a:pt x="454" y="401"/>
                  <a:pt x="454" y="402"/>
                  <a:pt x="454" y="402"/>
                </a:cubicBezTo>
                <a:cubicBezTo>
                  <a:pt x="455" y="402"/>
                  <a:pt x="455" y="402"/>
                  <a:pt x="455" y="401"/>
                </a:cubicBezTo>
                <a:cubicBezTo>
                  <a:pt x="455" y="401"/>
                  <a:pt x="456" y="401"/>
                  <a:pt x="456" y="401"/>
                </a:cubicBezTo>
                <a:cubicBezTo>
                  <a:pt x="456" y="401"/>
                  <a:pt x="456" y="402"/>
                  <a:pt x="456" y="402"/>
                </a:cubicBezTo>
                <a:cubicBezTo>
                  <a:pt x="456" y="402"/>
                  <a:pt x="456" y="402"/>
                  <a:pt x="456" y="402"/>
                </a:cubicBezTo>
                <a:cubicBezTo>
                  <a:pt x="455" y="403"/>
                  <a:pt x="455" y="404"/>
                  <a:pt x="455" y="405"/>
                </a:cubicBezTo>
                <a:cubicBezTo>
                  <a:pt x="455" y="405"/>
                  <a:pt x="455" y="405"/>
                  <a:pt x="455" y="405"/>
                </a:cubicBezTo>
                <a:cubicBezTo>
                  <a:pt x="455" y="405"/>
                  <a:pt x="455" y="405"/>
                  <a:pt x="455" y="405"/>
                </a:cubicBezTo>
                <a:cubicBezTo>
                  <a:pt x="456" y="405"/>
                  <a:pt x="456" y="404"/>
                  <a:pt x="456" y="404"/>
                </a:cubicBezTo>
                <a:cubicBezTo>
                  <a:pt x="456" y="404"/>
                  <a:pt x="456" y="403"/>
                  <a:pt x="456" y="403"/>
                </a:cubicBezTo>
                <a:cubicBezTo>
                  <a:pt x="456" y="403"/>
                  <a:pt x="456" y="403"/>
                  <a:pt x="456" y="403"/>
                </a:cubicBezTo>
                <a:cubicBezTo>
                  <a:pt x="457" y="403"/>
                  <a:pt x="457" y="403"/>
                  <a:pt x="457" y="403"/>
                </a:cubicBezTo>
                <a:cubicBezTo>
                  <a:pt x="457" y="402"/>
                  <a:pt x="457" y="402"/>
                  <a:pt x="457" y="402"/>
                </a:cubicBezTo>
                <a:cubicBezTo>
                  <a:pt x="458" y="402"/>
                  <a:pt x="458" y="403"/>
                  <a:pt x="458" y="404"/>
                </a:cubicBezTo>
                <a:close/>
                <a:moveTo>
                  <a:pt x="438" y="412"/>
                </a:moveTo>
                <a:cubicBezTo>
                  <a:pt x="438" y="413"/>
                  <a:pt x="438" y="413"/>
                  <a:pt x="439" y="413"/>
                </a:cubicBezTo>
                <a:cubicBezTo>
                  <a:pt x="439" y="413"/>
                  <a:pt x="439" y="414"/>
                  <a:pt x="440" y="414"/>
                </a:cubicBezTo>
                <a:cubicBezTo>
                  <a:pt x="440" y="414"/>
                  <a:pt x="440" y="414"/>
                  <a:pt x="440" y="414"/>
                </a:cubicBezTo>
                <a:cubicBezTo>
                  <a:pt x="440" y="414"/>
                  <a:pt x="440" y="414"/>
                  <a:pt x="440" y="414"/>
                </a:cubicBezTo>
                <a:cubicBezTo>
                  <a:pt x="441" y="415"/>
                  <a:pt x="441" y="415"/>
                  <a:pt x="441" y="415"/>
                </a:cubicBezTo>
                <a:cubicBezTo>
                  <a:pt x="441" y="415"/>
                  <a:pt x="442" y="415"/>
                  <a:pt x="442" y="415"/>
                </a:cubicBezTo>
                <a:cubicBezTo>
                  <a:pt x="442" y="415"/>
                  <a:pt x="442" y="415"/>
                  <a:pt x="442" y="415"/>
                </a:cubicBezTo>
                <a:cubicBezTo>
                  <a:pt x="441" y="414"/>
                  <a:pt x="441" y="414"/>
                  <a:pt x="441" y="413"/>
                </a:cubicBezTo>
                <a:cubicBezTo>
                  <a:pt x="441" y="413"/>
                  <a:pt x="441" y="413"/>
                  <a:pt x="441" y="413"/>
                </a:cubicBezTo>
                <a:cubicBezTo>
                  <a:pt x="441" y="413"/>
                  <a:pt x="441" y="413"/>
                  <a:pt x="441" y="412"/>
                </a:cubicBezTo>
                <a:cubicBezTo>
                  <a:pt x="440" y="412"/>
                  <a:pt x="440" y="412"/>
                  <a:pt x="440" y="412"/>
                </a:cubicBezTo>
                <a:cubicBezTo>
                  <a:pt x="440" y="412"/>
                  <a:pt x="439" y="411"/>
                  <a:pt x="438" y="411"/>
                </a:cubicBezTo>
                <a:cubicBezTo>
                  <a:pt x="438" y="411"/>
                  <a:pt x="438" y="411"/>
                  <a:pt x="438" y="411"/>
                </a:cubicBezTo>
                <a:cubicBezTo>
                  <a:pt x="437" y="411"/>
                  <a:pt x="437" y="412"/>
                  <a:pt x="438" y="412"/>
                </a:cubicBezTo>
                <a:close/>
                <a:moveTo>
                  <a:pt x="433" y="444"/>
                </a:moveTo>
                <a:cubicBezTo>
                  <a:pt x="433" y="444"/>
                  <a:pt x="433" y="444"/>
                  <a:pt x="432" y="445"/>
                </a:cubicBezTo>
                <a:cubicBezTo>
                  <a:pt x="432" y="445"/>
                  <a:pt x="432" y="445"/>
                  <a:pt x="432" y="445"/>
                </a:cubicBezTo>
                <a:cubicBezTo>
                  <a:pt x="432" y="445"/>
                  <a:pt x="432" y="445"/>
                  <a:pt x="432" y="445"/>
                </a:cubicBezTo>
                <a:cubicBezTo>
                  <a:pt x="431" y="445"/>
                  <a:pt x="431" y="445"/>
                  <a:pt x="431" y="445"/>
                </a:cubicBezTo>
                <a:cubicBezTo>
                  <a:pt x="430" y="445"/>
                  <a:pt x="430" y="445"/>
                  <a:pt x="430" y="445"/>
                </a:cubicBezTo>
                <a:cubicBezTo>
                  <a:pt x="430" y="446"/>
                  <a:pt x="430" y="446"/>
                  <a:pt x="430" y="446"/>
                </a:cubicBezTo>
                <a:cubicBezTo>
                  <a:pt x="431" y="446"/>
                  <a:pt x="431" y="446"/>
                  <a:pt x="432" y="446"/>
                </a:cubicBezTo>
                <a:cubicBezTo>
                  <a:pt x="432" y="446"/>
                  <a:pt x="433" y="445"/>
                  <a:pt x="433" y="445"/>
                </a:cubicBezTo>
                <a:cubicBezTo>
                  <a:pt x="433" y="445"/>
                  <a:pt x="433" y="445"/>
                  <a:pt x="433" y="444"/>
                </a:cubicBezTo>
                <a:close/>
                <a:moveTo>
                  <a:pt x="439" y="408"/>
                </a:moveTo>
                <a:cubicBezTo>
                  <a:pt x="440" y="408"/>
                  <a:pt x="440" y="407"/>
                  <a:pt x="440" y="407"/>
                </a:cubicBezTo>
                <a:cubicBezTo>
                  <a:pt x="440" y="407"/>
                  <a:pt x="440" y="407"/>
                  <a:pt x="441" y="407"/>
                </a:cubicBezTo>
                <a:cubicBezTo>
                  <a:pt x="441" y="407"/>
                  <a:pt x="441" y="407"/>
                  <a:pt x="441" y="407"/>
                </a:cubicBezTo>
                <a:cubicBezTo>
                  <a:pt x="441" y="407"/>
                  <a:pt x="441" y="407"/>
                  <a:pt x="442" y="408"/>
                </a:cubicBezTo>
                <a:cubicBezTo>
                  <a:pt x="442" y="408"/>
                  <a:pt x="442" y="408"/>
                  <a:pt x="442" y="408"/>
                </a:cubicBezTo>
                <a:cubicBezTo>
                  <a:pt x="442" y="408"/>
                  <a:pt x="442" y="408"/>
                  <a:pt x="442" y="408"/>
                </a:cubicBezTo>
                <a:cubicBezTo>
                  <a:pt x="443" y="408"/>
                  <a:pt x="443" y="408"/>
                  <a:pt x="443" y="408"/>
                </a:cubicBezTo>
                <a:cubicBezTo>
                  <a:pt x="443" y="408"/>
                  <a:pt x="443" y="408"/>
                  <a:pt x="443" y="408"/>
                </a:cubicBezTo>
                <a:cubicBezTo>
                  <a:pt x="443" y="408"/>
                  <a:pt x="443" y="409"/>
                  <a:pt x="444" y="409"/>
                </a:cubicBezTo>
                <a:cubicBezTo>
                  <a:pt x="444" y="409"/>
                  <a:pt x="444" y="410"/>
                  <a:pt x="444" y="410"/>
                </a:cubicBezTo>
                <a:cubicBezTo>
                  <a:pt x="445" y="410"/>
                  <a:pt x="445" y="410"/>
                  <a:pt x="445" y="410"/>
                </a:cubicBezTo>
                <a:cubicBezTo>
                  <a:pt x="445" y="410"/>
                  <a:pt x="446" y="410"/>
                  <a:pt x="446" y="410"/>
                </a:cubicBezTo>
                <a:cubicBezTo>
                  <a:pt x="446" y="411"/>
                  <a:pt x="445" y="411"/>
                  <a:pt x="445" y="411"/>
                </a:cubicBezTo>
                <a:cubicBezTo>
                  <a:pt x="445" y="411"/>
                  <a:pt x="444" y="411"/>
                  <a:pt x="444" y="411"/>
                </a:cubicBezTo>
                <a:cubicBezTo>
                  <a:pt x="444" y="411"/>
                  <a:pt x="443" y="410"/>
                  <a:pt x="443" y="410"/>
                </a:cubicBezTo>
                <a:cubicBezTo>
                  <a:pt x="443" y="410"/>
                  <a:pt x="443" y="410"/>
                  <a:pt x="442" y="410"/>
                </a:cubicBezTo>
                <a:cubicBezTo>
                  <a:pt x="442" y="410"/>
                  <a:pt x="442" y="409"/>
                  <a:pt x="442" y="409"/>
                </a:cubicBezTo>
                <a:cubicBezTo>
                  <a:pt x="441" y="409"/>
                  <a:pt x="441" y="409"/>
                  <a:pt x="441" y="409"/>
                </a:cubicBezTo>
                <a:cubicBezTo>
                  <a:pt x="441" y="409"/>
                  <a:pt x="441" y="408"/>
                  <a:pt x="441" y="408"/>
                </a:cubicBezTo>
                <a:cubicBezTo>
                  <a:pt x="441" y="408"/>
                  <a:pt x="441" y="408"/>
                  <a:pt x="441" y="409"/>
                </a:cubicBezTo>
                <a:cubicBezTo>
                  <a:pt x="441" y="409"/>
                  <a:pt x="441" y="409"/>
                  <a:pt x="441" y="409"/>
                </a:cubicBezTo>
                <a:cubicBezTo>
                  <a:pt x="441" y="409"/>
                  <a:pt x="441" y="409"/>
                  <a:pt x="441" y="409"/>
                </a:cubicBezTo>
                <a:cubicBezTo>
                  <a:pt x="440" y="409"/>
                  <a:pt x="440" y="409"/>
                  <a:pt x="440" y="409"/>
                </a:cubicBezTo>
                <a:cubicBezTo>
                  <a:pt x="439" y="409"/>
                  <a:pt x="439" y="409"/>
                  <a:pt x="439" y="408"/>
                </a:cubicBezTo>
                <a:close/>
                <a:moveTo>
                  <a:pt x="460" y="404"/>
                </a:moveTo>
                <a:cubicBezTo>
                  <a:pt x="460" y="404"/>
                  <a:pt x="460" y="404"/>
                  <a:pt x="459" y="404"/>
                </a:cubicBezTo>
                <a:cubicBezTo>
                  <a:pt x="459" y="404"/>
                  <a:pt x="459" y="404"/>
                  <a:pt x="459" y="404"/>
                </a:cubicBezTo>
                <a:cubicBezTo>
                  <a:pt x="459" y="404"/>
                  <a:pt x="459" y="405"/>
                  <a:pt x="459" y="405"/>
                </a:cubicBezTo>
                <a:cubicBezTo>
                  <a:pt x="459" y="405"/>
                  <a:pt x="459" y="405"/>
                  <a:pt x="459" y="405"/>
                </a:cubicBezTo>
                <a:cubicBezTo>
                  <a:pt x="459" y="405"/>
                  <a:pt x="459" y="405"/>
                  <a:pt x="459" y="405"/>
                </a:cubicBezTo>
                <a:cubicBezTo>
                  <a:pt x="459" y="406"/>
                  <a:pt x="459" y="406"/>
                  <a:pt x="459" y="406"/>
                </a:cubicBezTo>
                <a:cubicBezTo>
                  <a:pt x="459" y="406"/>
                  <a:pt x="459" y="406"/>
                  <a:pt x="459" y="406"/>
                </a:cubicBezTo>
                <a:cubicBezTo>
                  <a:pt x="460" y="405"/>
                  <a:pt x="460" y="405"/>
                  <a:pt x="460" y="404"/>
                </a:cubicBezTo>
                <a:close/>
                <a:moveTo>
                  <a:pt x="448" y="411"/>
                </a:moveTo>
                <a:cubicBezTo>
                  <a:pt x="448" y="411"/>
                  <a:pt x="448" y="411"/>
                  <a:pt x="448" y="411"/>
                </a:cubicBezTo>
                <a:cubicBezTo>
                  <a:pt x="448" y="411"/>
                  <a:pt x="448" y="411"/>
                  <a:pt x="447" y="411"/>
                </a:cubicBezTo>
                <a:cubicBezTo>
                  <a:pt x="447" y="411"/>
                  <a:pt x="447" y="411"/>
                  <a:pt x="447" y="411"/>
                </a:cubicBezTo>
                <a:cubicBezTo>
                  <a:pt x="446" y="411"/>
                  <a:pt x="446" y="411"/>
                  <a:pt x="446" y="411"/>
                </a:cubicBezTo>
                <a:cubicBezTo>
                  <a:pt x="446" y="412"/>
                  <a:pt x="447" y="412"/>
                  <a:pt x="447" y="412"/>
                </a:cubicBezTo>
                <a:cubicBezTo>
                  <a:pt x="447" y="412"/>
                  <a:pt x="448" y="412"/>
                  <a:pt x="448" y="411"/>
                </a:cubicBezTo>
                <a:close/>
                <a:moveTo>
                  <a:pt x="452" y="411"/>
                </a:moveTo>
                <a:cubicBezTo>
                  <a:pt x="452" y="411"/>
                  <a:pt x="452" y="411"/>
                  <a:pt x="452" y="411"/>
                </a:cubicBezTo>
                <a:cubicBezTo>
                  <a:pt x="451" y="411"/>
                  <a:pt x="451" y="411"/>
                  <a:pt x="451" y="411"/>
                </a:cubicBezTo>
                <a:cubicBezTo>
                  <a:pt x="451" y="412"/>
                  <a:pt x="451" y="412"/>
                  <a:pt x="451" y="412"/>
                </a:cubicBezTo>
                <a:cubicBezTo>
                  <a:pt x="451" y="412"/>
                  <a:pt x="452" y="412"/>
                  <a:pt x="452" y="412"/>
                </a:cubicBezTo>
                <a:cubicBezTo>
                  <a:pt x="452" y="412"/>
                  <a:pt x="452" y="412"/>
                  <a:pt x="452" y="412"/>
                </a:cubicBezTo>
                <a:cubicBezTo>
                  <a:pt x="452" y="412"/>
                  <a:pt x="452" y="412"/>
                  <a:pt x="452" y="412"/>
                </a:cubicBezTo>
                <a:cubicBezTo>
                  <a:pt x="453" y="413"/>
                  <a:pt x="453" y="413"/>
                  <a:pt x="453" y="412"/>
                </a:cubicBezTo>
                <a:cubicBezTo>
                  <a:pt x="453" y="412"/>
                  <a:pt x="452" y="412"/>
                  <a:pt x="452" y="412"/>
                </a:cubicBezTo>
                <a:cubicBezTo>
                  <a:pt x="452" y="412"/>
                  <a:pt x="452" y="412"/>
                  <a:pt x="452" y="411"/>
                </a:cubicBezTo>
                <a:cubicBezTo>
                  <a:pt x="452" y="411"/>
                  <a:pt x="452" y="411"/>
                  <a:pt x="452" y="411"/>
                </a:cubicBezTo>
                <a:close/>
                <a:moveTo>
                  <a:pt x="434" y="424"/>
                </a:moveTo>
                <a:cubicBezTo>
                  <a:pt x="434" y="423"/>
                  <a:pt x="434" y="422"/>
                  <a:pt x="433" y="421"/>
                </a:cubicBezTo>
                <a:cubicBezTo>
                  <a:pt x="433" y="421"/>
                  <a:pt x="433" y="422"/>
                  <a:pt x="433" y="422"/>
                </a:cubicBezTo>
                <a:cubicBezTo>
                  <a:pt x="433" y="422"/>
                  <a:pt x="433" y="423"/>
                  <a:pt x="433" y="423"/>
                </a:cubicBezTo>
                <a:cubicBezTo>
                  <a:pt x="433" y="423"/>
                  <a:pt x="433" y="424"/>
                  <a:pt x="434" y="424"/>
                </a:cubicBezTo>
                <a:close/>
                <a:moveTo>
                  <a:pt x="445" y="402"/>
                </a:moveTo>
                <a:cubicBezTo>
                  <a:pt x="446" y="403"/>
                  <a:pt x="446" y="403"/>
                  <a:pt x="447" y="403"/>
                </a:cubicBezTo>
                <a:cubicBezTo>
                  <a:pt x="447" y="403"/>
                  <a:pt x="447" y="403"/>
                  <a:pt x="447" y="403"/>
                </a:cubicBezTo>
                <a:cubicBezTo>
                  <a:pt x="447" y="403"/>
                  <a:pt x="447" y="403"/>
                  <a:pt x="447" y="403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6" y="402"/>
                  <a:pt x="446" y="402"/>
                  <a:pt x="446" y="402"/>
                </a:cubicBezTo>
                <a:cubicBezTo>
                  <a:pt x="446" y="402"/>
                  <a:pt x="445" y="402"/>
                  <a:pt x="445" y="402"/>
                </a:cubicBezTo>
                <a:cubicBezTo>
                  <a:pt x="445" y="402"/>
                  <a:pt x="445" y="402"/>
                  <a:pt x="445" y="402"/>
                </a:cubicBezTo>
                <a:cubicBezTo>
                  <a:pt x="445" y="402"/>
                  <a:pt x="445" y="402"/>
                  <a:pt x="445" y="402"/>
                </a:cubicBezTo>
                <a:close/>
                <a:moveTo>
                  <a:pt x="431" y="441"/>
                </a:moveTo>
                <a:cubicBezTo>
                  <a:pt x="431" y="441"/>
                  <a:pt x="431" y="441"/>
                  <a:pt x="431" y="441"/>
                </a:cubicBezTo>
                <a:cubicBezTo>
                  <a:pt x="431" y="441"/>
                  <a:pt x="431" y="440"/>
                  <a:pt x="431" y="441"/>
                </a:cubicBezTo>
                <a:cubicBezTo>
                  <a:pt x="430" y="441"/>
                  <a:pt x="430" y="441"/>
                  <a:pt x="430" y="441"/>
                </a:cubicBezTo>
                <a:cubicBezTo>
                  <a:pt x="430" y="442"/>
                  <a:pt x="431" y="441"/>
                  <a:pt x="431" y="442"/>
                </a:cubicBezTo>
                <a:cubicBezTo>
                  <a:pt x="431" y="442"/>
                  <a:pt x="431" y="442"/>
                  <a:pt x="431" y="441"/>
                </a:cubicBezTo>
                <a:close/>
                <a:moveTo>
                  <a:pt x="426" y="444"/>
                </a:moveTo>
                <a:cubicBezTo>
                  <a:pt x="426" y="444"/>
                  <a:pt x="426" y="444"/>
                  <a:pt x="426" y="444"/>
                </a:cubicBezTo>
                <a:cubicBezTo>
                  <a:pt x="426" y="444"/>
                  <a:pt x="426" y="445"/>
                  <a:pt x="426" y="445"/>
                </a:cubicBezTo>
                <a:cubicBezTo>
                  <a:pt x="426" y="445"/>
                  <a:pt x="426" y="445"/>
                  <a:pt x="426" y="445"/>
                </a:cubicBezTo>
                <a:cubicBezTo>
                  <a:pt x="426" y="445"/>
                  <a:pt x="426" y="444"/>
                  <a:pt x="426" y="444"/>
                </a:cubicBezTo>
                <a:cubicBezTo>
                  <a:pt x="426" y="444"/>
                  <a:pt x="426" y="444"/>
                  <a:pt x="426" y="444"/>
                </a:cubicBezTo>
                <a:close/>
                <a:moveTo>
                  <a:pt x="437" y="436"/>
                </a:moveTo>
                <a:cubicBezTo>
                  <a:pt x="437" y="436"/>
                  <a:pt x="437" y="436"/>
                  <a:pt x="436" y="436"/>
                </a:cubicBezTo>
                <a:cubicBezTo>
                  <a:pt x="436" y="436"/>
                  <a:pt x="436" y="436"/>
                  <a:pt x="436" y="436"/>
                </a:cubicBezTo>
                <a:cubicBezTo>
                  <a:pt x="437" y="436"/>
                  <a:pt x="437" y="436"/>
                  <a:pt x="437" y="436"/>
                </a:cubicBezTo>
                <a:cubicBezTo>
                  <a:pt x="437" y="436"/>
                  <a:pt x="437" y="436"/>
                  <a:pt x="437" y="436"/>
                </a:cubicBezTo>
                <a:cubicBezTo>
                  <a:pt x="437" y="436"/>
                  <a:pt x="437" y="436"/>
                  <a:pt x="437" y="436"/>
                </a:cubicBezTo>
                <a:close/>
                <a:moveTo>
                  <a:pt x="428" y="437"/>
                </a:moveTo>
                <a:cubicBezTo>
                  <a:pt x="428" y="437"/>
                  <a:pt x="428" y="437"/>
                  <a:pt x="428" y="438"/>
                </a:cubicBezTo>
                <a:cubicBezTo>
                  <a:pt x="428" y="437"/>
                  <a:pt x="428" y="437"/>
                  <a:pt x="428" y="437"/>
                </a:cubicBezTo>
                <a:close/>
                <a:moveTo>
                  <a:pt x="453" y="425"/>
                </a:moveTo>
                <a:cubicBezTo>
                  <a:pt x="453" y="425"/>
                  <a:pt x="453" y="425"/>
                  <a:pt x="453" y="425"/>
                </a:cubicBezTo>
                <a:cubicBezTo>
                  <a:pt x="453" y="425"/>
                  <a:pt x="453" y="425"/>
                  <a:pt x="453" y="425"/>
                </a:cubicBezTo>
                <a:cubicBezTo>
                  <a:pt x="453" y="425"/>
                  <a:pt x="454" y="425"/>
                  <a:pt x="454" y="425"/>
                </a:cubicBezTo>
                <a:cubicBezTo>
                  <a:pt x="454" y="425"/>
                  <a:pt x="454" y="425"/>
                  <a:pt x="453" y="425"/>
                </a:cubicBezTo>
                <a:close/>
                <a:moveTo>
                  <a:pt x="453" y="416"/>
                </a:moveTo>
                <a:cubicBezTo>
                  <a:pt x="453" y="416"/>
                  <a:pt x="453" y="416"/>
                  <a:pt x="453" y="416"/>
                </a:cubicBezTo>
                <a:cubicBezTo>
                  <a:pt x="453" y="415"/>
                  <a:pt x="453" y="415"/>
                  <a:pt x="453" y="415"/>
                </a:cubicBezTo>
                <a:cubicBezTo>
                  <a:pt x="453" y="415"/>
                  <a:pt x="453" y="416"/>
                  <a:pt x="453" y="416"/>
                </a:cubicBezTo>
                <a:cubicBezTo>
                  <a:pt x="453" y="416"/>
                  <a:pt x="453" y="416"/>
                  <a:pt x="453" y="416"/>
                </a:cubicBezTo>
                <a:close/>
                <a:moveTo>
                  <a:pt x="425" y="444"/>
                </a:move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3"/>
                  <a:pt x="425" y="444"/>
                </a:cubicBezTo>
                <a:close/>
                <a:moveTo>
                  <a:pt x="425" y="444"/>
                </a:move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4"/>
                  <a:pt x="425" y="444"/>
                </a:cubicBezTo>
                <a:close/>
                <a:moveTo>
                  <a:pt x="428" y="437"/>
                </a:moveTo>
                <a:cubicBezTo>
                  <a:pt x="428" y="437"/>
                  <a:pt x="428" y="436"/>
                  <a:pt x="427" y="436"/>
                </a:cubicBezTo>
                <a:cubicBezTo>
                  <a:pt x="428" y="436"/>
                  <a:pt x="427" y="437"/>
                  <a:pt x="428" y="437"/>
                </a:cubicBezTo>
                <a:close/>
                <a:moveTo>
                  <a:pt x="311" y="486"/>
                </a:moveTo>
                <a:cubicBezTo>
                  <a:pt x="311" y="486"/>
                  <a:pt x="311" y="486"/>
                  <a:pt x="311" y="486"/>
                </a:cubicBezTo>
                <a:cubicBezTo>
                  <a:pt x="312" y="486"/>
                  <a:pt x="314" y="487"/>
                  <a:pt x="315" y="487"/>
                </a:cubicBezTo>
                <a:cubicBezTo>
                  <a:pt x="315" y="486"/>
                  <a:pt x="314" y="486"/>
                  <a:pt x="314" y="486"/>
                </a:cubicBezTo>
                <a:cubicBezTo>
                  <a:pt x="313" y="486"/>
                  <a:pt x="313" y="486"/>
                  <a:pt x="312" y="486"/>
                </a:cubicBezTo>
                <a:cubicBezTo>
                  <a:pt x="311" y="486"/>
                  <a:pt x="311" y="486"/>
                  <a:pt x="310" y="485"/>
                </a:cubicBezTo>
                <a:cubicBezTo>
                  <a:pt x="310" y="485"/>
                  <a:pt x="310" y="484"/>
                  <a:pt x="310" y="483"/>
                </a:cubicBezTo>
                <a:cubicBezTo>
                  <a:pt x="310" y="482"/>
                  <a:pt x="310" y="481"/>
                  <a:pt x="309" y="480"/>
                </a:cubicBezTo>
                <a:cubicBezTo>
                  <a:pt x="309" y="480"/>
                  <a:pt x="309" y="480"/>
                  <a:pt x="309" y="480"/>
                </a:cubicBezTo>
                <a:cubicBezTo>
                  <a:pt x="309" y="479"/>
                  <a:pt x="308" y="479"/>
                  <a:pt x="308" y="479"/>
                </a:cubicBezTo>
                <a:cubicBezTo>
                  <a:pt x="307" y="479"/>
                  <a:pt x="306" y="479"/>
                  <a:pt x="305" y="479"/>
                </a:cubicBezTo>
                <a:cubicBezTo>
                  <a:pt x="305" y="479"/>
                  <a:pt x="304" y="479"/>
                  <a:pt x="304" y="479"/>
                </a:cubicBezTo>
                <a:cubicBezTo>
                  <a:pt x="304" y="480"/>
                  <a:pt x="303" y="480"/>
                  <a:pt x="303" y="480"/>
                </a:cubicBezTo>
                <a:cubicBezTo>
                  <a:pt x="303" y="481"/>
                  <a:pt x="302" y="481"/>
                  <a:pt x="302" y="481"/>
                </a:cubicBezTo>
                <a:cubicBezTo>
                  <a:pt x="301" y="482"/>
                  <a:pt x="301" y="482"/>
                  <a:pt x="300" y="482"/>
                </a:cubicBezTo>
                <a:cubicBezTo>
                  <a:pt x="300" y="482"/>
                  <a:pt x="299" y="483"/>
                  <a:pt x="299" y="483"/>
                </a:cubicBezTo>
                <a:cubicBezTo>
                  <a:pt x="298" y="482"/>
                  <a:pt x="298" y="482"/>
                  <a:pt x="297" y="482"/>
                </a:cubicBezTo>
                <a:cubicBezTo>
                  <a:pt x="297" y="482"/>
                  <a:pt x="297" y="482"/>
                  <a:pt x="296" y="482"/>
                </a:cubicBezTo>
                <a:cubicBezTo>
                  <a:pt x="296" y="482"/>
                  <a:pt x="296" y="483"/>
                  <a:pt x="296" y="483"/>
                </a:cubicBezTo>
                <a:cubicBezTo>
                  <a:pt x="296" y="484"/>
                  <a:pt x="295" y="485"/>
                  <a:pt x="295" y="485"/>
                </a:cubicBezTo>
                <a:cubicBezTo>
                  <a:pt x="294" y="486"/>
                  <a:pt x="294" y="487"/>
                  <a:pt x="294" y="487"/>
                </a:cubicBezTo>
                <a:cubicBezTo>
                  <a:pt x="294" y="488"/>
                  <a:pt x="293" y="488"/>
                  <a:pt x="293" y="488"/>
                </a:cubicBezTo>
                <a:cubicBezTo>
                  <a:pt x="293" y="489"/>
                  <a:pt x="292" y="489"/>
                  <a:pt x="291" y="489"/>
                </a:cubicBezTo>
                <a:cubicBezTo>
                  <a:pt x="291" y="489"/>
                  <a:pt x="290" y="490"/>
                  <a:pt x="291" y="491"/>
                </a:cubicBezTo>
                <a:cubicBezTo>
                  <a:pt x="291" y="491"/>
                  <a:pt x="291" y="492"/>
                  <a:pt x="291" y="493"/>
                </a:cubicBezTo>
                <a:cubicBezTo>
                  <a:pt x="291" y="493"/>
                  <a:pt x="291" y="493"/>
                  <a:pt x="291" y="493"/>
                </a:cubicBezTo>
                <a:cubicBezTo>
                  <a:pt x="291" y="493"/>
                  <a:pt x="291" y="493"/>
                  <a:pt x="291" y="493"/>
                </a:cubicBezTo>
                <a:cubicBezTo>
                  <a:pt x="293" y="493"/>
                  <a:pt x="296" y="493"/>
                  <a:pt x="297" y="493"/>
                </a:cubicBezTo>
                <a:cubicBezTo>
                  <a:pt x="298" y="493"/>
                  <a:pt x="298" y="492"/>
                  <a:pt x="298" y="492"/>
                </a:cubicBezTo>
                <a:cubicBezTo>
                  <a:pt x="299" y="492"/>
                  <a:pt x="299" y="491"/>
                  <a:pt x="299" y="491"/>
                </a:cubicBezTo>
                <a:cubicBezTo>
                  <a:pt x="300" y="490"/>
                  <a:pt x="301" y="489"/>
                  <a:pt x="302" y="488"/>
                </a:cubicBezTo>
                <a:cubicBezTo>
                  <a:pt x="305" y="488"/>
                  <a:pt x="307" y="488"/>
                  <a:pt x="309" y="488"/>
                </a:cubicBezTo>
                <a:cubicBezTo>
                  <a:pt x="310" y="488"/>
                  <a:pt x="310" y="488"/>
                  <a:pt x="311" y="487"/>
                </a:cubicBezTo>
                <a:cubicBezTo>
                  <a:pt x="311" y="487"/>
                  <a:pt x="311" y="486"/>
                  <a:pt x="311" y="486"/>
                </a:cubicBezTo>
                <a:close/>
                <a:moveTo>
                  <a:pt x="253" y="516"/>
                </a:moveTo>
                <a:cubicBezTo>
                  <a:pt x="252" y="517"/>
                  <a:pt x="251" y="518"/>
                  <a:pt x="249" y="518"/>
                </a:cubicBezTo>
                <a:cubicBezTo>
                  <a:pt x="248" y="519"/>
                  <a:pt x="247" y="519"/>
                  <a:pt x="247" y="520"/>
                </a:cubicBezTo>
                <a:cubicBezTo>
                  <a:pt x="247" y="521"/>
                  <a:pt x="247" y="521"/>
                  <a:pt x="246" y="522"/>
                </a:cubicBezTo>
                <a:cubicBezTo>
                  <a:pt x="246" y="522"/>
                  <a:pt x="245" y="523"/>
                  <a:pt x="245" y="523"/>
                </a:cubicBezTo>
                <a:cubicBezTo>
                  <a:pt x="244" y="524"/>
                  <a:pt x="243" y="524"/>
                  <a:pt x="243" y="525"/>
                </a:cubicBezTo>
                <a:cubicBezTo>
                  <a:pt x="242" y="525"/>
                  <a:pt x="242" y="525"/>
                  <a:pt x="242" y="525"/>
                </a:cubicBezTo>
                <a:cubicBezTo>
                  <a:pt x="242" y="525"/>
                  <a:pt x="241" y="525"/>
                  <a:pt x="241" y="525"/>
                </a:cubicBezTo>
                <a:cubicBezTo>
                  <a:pt x="241" y="526"/>
                  <a:pt x="241" y="526"/>
                  <a:pt x="241" y="526"/>
                </a:cubicBezTo>
                <a:cubicBezTo>
                  <a:pt x="241" y="526"/>
                  <a:pt x="241" y="526"/>
                  <a:pt x="242" y="526"/>
                </a:cubicBezTo>
                <a:cubicBezTo>
                  <a:pt x="241" y="526"/>
                  <a:pt x="241" y="526"/>
                  <a:pt x="241" y="526"/>
                </a:cubicBezTo>
                <a:cubicBezTo>
                  <a:pt x="241" y="526"/>
                  <a:pt x="240" y="526"/>
                  <a:pt x="240" y="526"/>
                </a:cubicBezTo>
                <a:cubicBezTo>
                  <a:pt x="239" y="527"/>
                  <a:pt x="239" y="527"/>
                  <a:pt x="238" y="527"/>
                </a:cubicBezTo>
                <a:cubicBezTo>
                  <a:pt x="238" y="527"/>
                  <a:pt x="238" y="527"/>
                  <a:pt x="238" y="527"/>
                </a:cubicBezTo>
                <a:cubicBezTo>
                  <a:pt x="239" y="527"/>
                  <a:pt x="239" y="527"/>
                  <a:pt x="239" y="526"/>
                </a:cubicBezTo>
                <a:cubicBezTo>
                  <a:pt x="239" y="526"/>
                  <a:pt x="239" y="525"/>
                  <a:pt x="240" y="525"/>
                </a:cubicBezTo>
                <a:cubicBezTo>
                  <a:pt x="240" y="526"/>
                  <a:pt x="240" y="525"/>
                  <a:pt x="240" y="525"/>
                </a:cubicBezTo>
                <a:cubicBezTo>
                  <a:pt x="240" y="524"/>
                  <a:pt x="240" y="524"/>
                  <a:pt x="241" y="524"/>
                </a:cubicBezTo>
                <a:cubicBezTo>
                  <a:pt x="241" y="524"/>
                  <a:pt x="241" y="523"/>
                  <a:pt x="241" y="523"/>
                </a:cubicBezTo>
                <a:cubicBezTo>
                  <a:pt x="242" y="523"/>
                  <a:pt x="241" y="522"/>
                  <a:pt x="241" y="522"/>
                </a:cubicBezTo>
                <a:cubicBezTo>
                  <a:pt x="241" y="522"/>
                  <a:pt x="241" y="521"/>
                  <a:pt x="241" y="521"/>
                </a:cubicBezTo>
                <a:cubicBezTo>
                  <a:pt x="241" y="520"/>
                  <a:pt x="242" y="520"/>
                  <a:pt x="242" y="520"/>
                </a:cubicBezTo>
                <a:cubicBezTo>
                  <a:pt x="242" y="520"/>
                  <a:pt x="243" y="520"/>
                  <a:pt x="243" y="520"/>
                </a:cubicBezTo>
                <a:cubicBezTo>
                  <a:pt x="243" y="519"/>
                  <a:pt x="244" y="519"/>
                  <a:pt x="244" y="519"/>
                </a:cubicBezTo>
                <a:cubicBezTo>
                  <a:pt x="245" y="519"/>
                  <a:pt x="245" y="519"/>
                  <a:pt x="246" y="519"/>
                </a:cubicBezTo>
                <a:cubicBezTo>
                  <a:pt x="246" y="519"/>
                  <a:pt x="247" y="519"/>
                  <a:pt x="247" y="519"/>
                </a:cubicBezTo>
                <a:cubicBezTo>
                  <a:pt x="247" y="518"/>
                  <a:pt x="247" y="518"/>
                  <a:pt x="246" y="518"/>
                </a:cubicBezTo>
                <a:cubicBezTo>
                  <a:pt x="246" y="518"/>
                  <a:pt x="246" y="517"/>
                  <a:pt x="246" y="517"/>
                </a:cubicBezTo>
                <a:cubicBezTo>
                  <a:pt x="246" y="517"/>
                  <a:pt x="246" y="516"/>
                  <a:pt x="246" y="515"/>
                </a:cubicBezTo>
                <a:cubicBezTo>
                  <a:pt x="246" y="515"/>
                  <a:pt x="247" y="514"/>
                  <a:pt x="247" y="514"/>
                </a:cubicBezTo>
                <a:cubicBezTo>
                  <a:pt x="247" y="514"/>
                  <a:pt x="248" y="514"/>
                  <a:pt x="248" y="514"/>
                </a:cubicBezTo>
                <a:cubicBezTo>
                  <a:pt x="248" y="513"/>
                  <a:pt x="249" y="513"/>
                  <a:pt x="250" y="512"/>
                </a:cubicBezTo>
                <a:cubicBezTo>
                  <a:pt x="251" y="512"/>
                  <a:pt x="251" y="512"/>
                  <a:pt x="252" y="513"/>
                </a:cubicBezTo>
                <a:cubicBezTo>
                  <a:pt x="252" y="513"/>
                  <a:pt x="253" y="513"/>
                  <a:pt x="253" y="513"/>
                </a:cubicBezTo>
                <a:cubicBezTo>
                  <a:pt x="254" y="513"/>
                  <a:pt x="254" y="513"/>
                  <a:pt x="254" y="514"/>
                </a:cubicBezTo>
                <a:cubicBezTo>
                  <a:pt x="254" y="514"/>
                  <a:pt x="254" y="514"/>
                  <a:pt x="254" y="514"/>
                </a:cubicBezTo>
                <a:cubicBezTo>
                  <a:pt x="253" y="515"/>
                  <a:pt x="253" y="515"/>
                  <a:pt x="253" y="516"/>
                </a:cubicBezTo>
                <a:cubicBezTo>
                  <a:pt x="253" y="516"/>
                  <a:pt x="253" y="516"/>
                  <a:pt x="253" y="516"/>
                </a:cubicBezTo>
                <a:close/>
                <a:moveTo>
                  <a:pt x="127" y="549"/>
                </a:moveTo>
                <a:cubicBezTo>
                  <a:pt x="128" y="549"/>
                  <a:pt x="128" y="549"/>
                  <a:pt x="128" y="548"/>
                </a:cubicBezTo>
                <a:cubicBezTo>
                  <a:pt x="127" y="548"/>
                  <a:pt x="127" y="549"/>
                  <a:pt x="126" y="549"/>
                </a:cubicBezTo>
                <a:cubicBezTo>
                  <a:pt x="125" y="549"/>
                  <a:pt x="125" y="548"/>
                  <a:pt x="124" y="548"/>
                </a:cubicBezTo>
                <a:cubicBezTo>
                  <a:pt x="124" y="548"/>
                  <a:pt x="124" y="547"/>
                  <a:pt x="123" y="547"/>
                </a:cubicBezTo>
                <a:cubicBezTo>
                  <a:pt x="123" y="547"/>
                  <a:pt x="122" y="547"/>
                  <a:pt x="122" y="547"/>
                </a:cubicBezTo>
                <a:cubicBezTo>
                  <a:pt x="121" y="547"/>
                  <a:pt x="121" y="547"/>
                  <a:pt x="120" y="548"/>
                </a:cubicBezTo>
                <a:cubicBezTo>
                  <a:pt x="120" y="548"/>
                  <a:pt x="121" y="548"/>
                  <a:pt x="121" y="548"/>
                </a:cubicBezTo>
                <a:cubicBezTo>
                  <a:pt x="121" y="549"/>
                  <a:pt x="122" y="549"/>
                  <a:pt x="122" y="549"/>
                </a:cubicBezTo>
                <a:cubicBezTo>
                  <a:pt x="122" y="550"/>
                  <a:pt x="122" y="550"/>
                  <a:pt x="123" y="550"/>
                </a:cubicBezTo>
                <a:cubicBezTo>
                  <a:pt x="123" y="550"/>
                  <a:pt x="123" y="550"/>
                  <a:pt x="124" y="550"/>
                </a:cubicBezTo>
                <a:cubicBezTo>
                  <a:pt x="124" y="551"/>
                  <a:pt x="124" y="551"/>
                  <a:pt x="123" y="551"/>
                </a:cubicBezTo>
                <a:cubicBezTo>
                  <a:pt x="123" y="551"/>
                  <a:pt x="122" y="551"/>
                  <a:pt x="122" y="551"/>
                </a:cubicBezTo>
                <a:cubicBezTo>
                  <a:pt x="122" y="551"/>
                  <a:pt x="121" y="552"/>
                  <a:pt x="122" y="552"/>
                </a:cubicBezTo>
                <a:cubicBezTo>
                  <a:pt x="122" y="552"/>
                  <a:pt x="122" y="552"/>
                  <a:pt x="122" y="552"/>
                </a:cubicBezTo>
                <a:cubicBezTo>
                  <a:pt x="122" y="552"/>
                  <a:pt x="123" y="552"/>
                  <a:pt x="123" y="552"/>
                </a:cubicBezTo>
                <a:cubicBezTo>
                  <a:pt x="123" y="553"/>
                  <a:pt x="124" y="553"/>
                  <a:pt x="124" y="553"/>
                </a:cubicBezTo>
                <a:cubicBezTo>
                  <a:pt x="124" y="553"/>
                  <a:pt x="124" y="554"/>
                  <a:pt x="124" y="553"/>
                </a:cubicBezTo>
                <a:cubicBezTo>
                  <a:pt x="124" y="553"/>
                  <a:pt x="124" y="553"/>
                  <a:pt x="124" y="553"/>
                </a:cubicBezTo>
                <a:cubicBezTo>
                  <a:pt x="124" y="552"/>
                  <a:pt x="124" y="552"/>
                  <a:pt x="125" y="552"/>
                </a:cubicBezTo>
                <a:cubicBezTo>
                  <a:pt x="125" y="552"/>
                  <a:pt x="125" y="551"/>
                  <a:pt x="125" y="551"/>
                </a:cubicBezTo>
                <a:cubicBezTo>
                  <a:pt x="125" y="551"/>
                  <a:pt x="126" y="550"/>
                  <a:pt x="125" y="550"/>
                </a:cubicBezTo>
                <a:cubicBezTo>
                  <a:pt x="126" y="550"/>
                  <a:pt x="126" y="550"/>
                  <a:pt x="126" y="550"/>
                </a:cubicBezTo>
                <a:cubicBezTo>
                  <a:pt x="126" y="549"/>
                  <a:pt x="127" y="549"/>
                  <a:pt x="127" y="549"/>
                </a:cubicBezTo>
                <a:close/>
                <a:moveTo>
                  <a:pt x="273" y="509"/>
                </a:moveTo>
                <a:cubicBezTo>
                  <a:pt x="273" y="509"/>
                  <a:pt x="273" y="510"/>
                  <a:pt x="273" y="510"/>
                </a:cubicBezTo>
                <a:cubicBezTo>
                  <a:pt x="272" y="510"/>
                  <a:pt x="271" y="510"/>
                  <a:pt x="270" y="510"/>
                </a:cubicBezTo>
                <a:cubicBezTo>
                  <a:pt x="270" y="511"/>
                  <a:pt x="270" y="511"/>
                  <a:pt x="270" y="511"/>
                </a:cubicBezTo>
                <a:cubicBezTo>
                  <a:pt x="270" y="511"/>
                  <a:pt x="270" y="511"/>
                  <a:pt x="270" y="511"/>
                </a:cubicBezTo>
                <a:cubicBezTo>
                  <a:pt x="270" y="511"/>
                  <a:pt x="270" y="511"/>
                  <a:pt x="270" y="512"/>
                </a:cubicBezTo>
                <a:cubicBezTo>
                  <a:pt x="270" y="512"/>
                  <a:pt x="270" y="512"/>
                  <a:pt x="269" y="512"/>
                </a:cubicBezTo>
                <a:cubicBezTo>
                  <a:pt x="269" y="512"/>
                  <a:pt x="269" y="512"/>
                  <a:pt x="269" y="512"/>
                </a:cubicBezTo>
                <a:cubicBezTo>
                  <a:pt x="269" y="512"/>
                  <a:pt x="269" y="512"/>
                  <a:pt x="269" y="511"/>
                </a:cubicBezTo>
                <a:cubicBezTo>
                  <a:pt x="269" y="512"/>
                  <a:pt x="268" y="512"/>
                  <a:pt x="269" y="512"/>
                </a:cubicBezTo>
                <a:cubicBezTo>
                  <a:pt x="269" y="512"/>
                  <a:pt x="269" y="513"/>
                  <a:pt x="269" y="513"/>
                </a:cubicBezTo>
                <a:cubicBezTo>
                  <a:pt x="268" y="513"/>
                  <a:pt x="268" y="513"/>
                  <a:pt x="268" y="513"/>
                </a:cubicBezTo>
                <a:cubicBezTo>
                  <a:pt x="268" y="513"/>
                  <a:pt x="268" y="513"/>
                  <a:pt x="268" y="512"/>
                </a:cubicBezTo>
                <a:cubicBezTo>
                  <a:pt x="268" y="513"/>
                  <a:pt x="268" y="513"/>
                  <a:pt x="268" y="513"/>
                </a:cubicBezTo>
                <a:cubicBezTo>
                  <a:pt x="268" y="513"/>
                  <a:pt x="269" y="513"/>
                  <a:pt x="268" y="513"/>
                </a:cubicBezTo>
                <a:cubicBezTo>
                  <a:pt x="268" y="513"/>
                  <a:pt x="268" y="513"/>
                  <a:pt x="268" y="513"/>
                </a:cubicBezTo>
                <a:cubicBezTo>
                  <a:pt x="267" y="513"/>
                  <a:pt x="267" y="513"/>
                  <a:pt x="267" y="512"/>
                </a:cubicBezTo>
                <a:cubicBezTo>
                  <a:pt x="267" y="512"/>
                  <a:pt x="267" y="512"/>
                  <a:pt x="267" y="512"/>
                </a:cubicBezTo>
                <a:cubicBezTo>
                  <a:pt x="267" y="513"/>
                  <a:pt x="267" y="513"/>
                  <a:pt x="267" y="513"/>
                </a:cubicBezTo>
                <a:cubicBezTo>
                  <a:pt x="267" y="513"/>
                  <a:pt x="267" y="514"/>
                  <a:pt x="267" y="514"/>
                </a:cubicBezTo>
                <a:cubicBezTo>
                  <a:pt x="267" y="514"/>
                  <a:pt x="267" y="514"/>
                  <a:pt x="267" y="514"/>
                </a:cubicBezTo>
                <a:cubicBezTo>
                  <a:pt x="267" y="515"/>
                  <a:pt x="267" y="515"/>
                  <a:pt x="266" y="514"/>
                </a:cubicBezTo>
                <a:cubicBezTo>
                  <a:pt x="266" y="514"/>
                  <a:pt x="266" y="514"/>
                  <a:pt x="266" y="514"/>
                </a:cubicBezTo>
                <a:cubicBezTo>
                  <a:pt x="266" y="515"/>
                  <a:pt x="265" y="515"/>
                  <a:pt x="265" y="515"/>
                </a:cubicBezTo>
                <a:cubicBezTo>
                  <a:pt x="265" y="514"/>
                  <a:pt x="265" y="515"/>
                  <a:pt x="264" y="515"/>
                </a:cubicBezTo>
                <a:cubicBezTo>
                  <a:pt x="264" y="515"/>
                  <a:pt x="264" y="515"/>
                  <a:pt x="264" y="515"/>
                </a:cubicBezTo>
                <a:cubicBezTo>
                  <a:pt x="264" y="514"/>
                  <a:pt x="264" y="514"/>
                  <a:pt x="264" y="514"/>
                </a:cubicBezTo>
                <a:cubicBezTo>
                  <a:pt x="264" y="514"/>
                  <a:pt x="263" y="514"/>
                  <a:pt x="263" y="515"/>
                </a:cubicBezTo>
                <a:cubicBezTo>
                  <a:pt x="263" y="515"/>
                  <a:pt x="263" y="515"/>
                  <a:pt x="263" y="515"/>
                </a:cubicBezTo>
                <a:cubicBezTo>
                  <a:pt x="262" y="515"/>
                  <a:pt x="262" y="516"/>
                  <a:pt x="261" y="516"/>
                </a:cubicBezTo>
                <a:cubicBezTo>
                  <a:pt x="261" y="516"/>
                  <a:pt x="261" y="516"/>
                  <a:pt x="261" y="516"/>
                </a:cubicBezTo>
                <a:cubicBezTo>
                  <a:pt x="260" y="517"/>
                  <a:pt x="260" y="517"/>
                  <a:pt x="259" y="517"/>
                </a:cubicBezTo>
                <a:cubicBezTo>
                  <a:pt x="258" y="517"/>
                  <a:pt x="258" y="518"/>
                  <a:pt x="258" y="518"/>
                </a:cubicBezTo>
                <a:cubicBezTo>
                  <a:pt x="258" y="518"/>
                  <a:pt x="258" y="519"/>
                  <a:pt x="257" y="518"/>
                </a:cubicBezTo>
                <a:cubicBezTo>
                  <a:pt x="257" y="518"/>
                  <a:pt x="257" y="518"/>
                  <a:pt x="257" y="518"/>
                </a:cubicBezTo>
                <a:cubicBezTo>
                  <a:pt x="256" y="518"/>
                  <a:pt x="256" y="518"/>
                  <a:pt x="256" y="519"/>
                </a:cubicBezTo>
                <a:cubicBezTo>
                  <a:pt x="256" y="519"/>
                  <a:pt x="256" y="519"/>
                  <a:pt x="255" y="519"/>
                </a:cubicBezTo>
                <a:cubicBezTo>
                  <a:pt x="255" y="519"/>
                  <a:pt x="255" y="518"/>
                  <a:pt x="254" y="518"/>
                </a:cubicBezTo>
                <a:cubicBezTo>
                  <a:pt x="254" y="518"/>
                  <a:pt x="254" y="518"/>
                  <a:pt x="254" y="518"/>
                </a:cubicBezTo>
                <a:cubicBezTo>
                  <a:pt x="253" y="518"/>
                  <a:pt x="253" y="518"/>
                  <a:pt x="254" y="517"/>
                </a:cubicBezTo>
                <a:cubicBezTo>
                  <a:pt x="254" y="517"/>
                  <a:pt x="254" y="517"/>
                  <a:pt x="255" y="516"/>
                </a:cubicBezTo>
                <a:cubicBezTo>
                  <a:pt x="255" y="516"/>
                  <a:pt x="255" y="516"/>
                  <a:pt x="256" y="516"/>
                </a:cubicBezTo>
                <a:cubicBezTo>
                  <a:pt x="256" y="516"/>
                  <a:pt x="256" y="516"/>
                  <a:pt x="257" y="516"/>
                </a:cubicBezTo>
                <a:cubicBezTo>
                  <a:pt x="257" y="516"/>
                  <a:pt x="257" y="516"/>
                  <a:pt x="257" y="516"/>
                </a:cubicBezTo>
                <a:cubicBezTo>
                  <a:pt x="257" y="516"/>
                  <a:pt x="257" y="516"/>
                  <a:pt x="258" y="516"/>
                </a:cubicBezTo>
                <a:cubicBezTo>
                  <a:pt x="258" y="515"/>
                  <a:pt x="258" y="515"/>
                  <a:pt x="258" y="515"/>
                </a:cubicBezTo>
                <a:cubicBezTo>
                  <a:pt x="258" y="515"/>
                  <a:pt x="259" y="515"/>
                  <a:pt x="259" y="515"/>
                </a:cubicBezTo>
                <a:cubicBezTo>
                  <a:pt x="259" y="515"/>
                  <a:pt x="259" y="515"/>
                  <a:pt x="259" y="515"/>
                </a:cubicBezTo>
                <a:cubicBezTo>
                  <a:pt x="259" y="515"/>
                  <a:pt x="259" y="515"/>
                  <a:pt x="259" y="515"/>
                </a:cubicBezTo>
                <a:cubicBezTo>
                  <a:pt x="260" y="515"/>
                  <a:pt x="260" y="515"/>
                  <a:pt x="260" y="515"/>
                </a:cubicBezTo>
                <a:cubicBezTo>
                  <a:pt x="260" y="515"/>
                  <a:pt x="260" y="515"/>
                  <a:pt x="260" y="515"/>
                </a:cubicBezTo>
                <a:cubicBezTo>
                  <a:pt x="260" y="515"/>
                  <a:pt x="260" y="515"/>
                  <a:pt x="261" y="515"/>
                </a:cubicBezTo>
                <a:cubicBezTo>
                  <a:pt x="261" y="514"/>
                  <a:pt x="261" y="514"/>
                  <a:pt x="260" y="514"/>
                </a:cubicBezTo>
                <a:cubicBezTo>
                  <a:pt x="261" y="514"/>
                  <a:pt x="262" y="514"/>
                  <a:pt x="263" y="514"/>
                </a:cubicBezTo>
                <a:cubicBezTo>
                  <a:pt x="263" y="514"/>
                  <a:pt x="262" y="514"/>
                  <a:pt x="262" y="514"/>
                </a:cubicBezTo>
                <a:cubicBezTo>
                  <a:pt x="262" y="514"/>
                  <a:pt x="262" y="513"/>
                  <a:pt x="262" y="513"/>
                </a:cubicBezTo>
                <a:cubicBezTo>
                  <a:pt x="262" y="513"/>
                  <a:pt x="262" y="513"/>
                  <a:pt x="262" y="513"/>
                </a:cubicBezTo>
                <a:cubicBezTo>
                  <a:pt x="263" y="513"/>
                  <a:pt x="264" y="513"/>
                  <a:pt x="265" y="513"/>
                </a:cubicBezTo>
                <a:cubicBezTo>
                  <a:pt x="264" y="512"/>
                  <a:pt x="264" y="513"/>
                  <a:pt x="264" y="513"/>
                </a:cubicBezTo>
                <a:cubicBezTo>
                  <a:pt x="263" y="513"/>
                  <a:pt x="263" y="513"/>
                  <a:pt x="263" y="512"/>
                </a:cubicBezTo>
                <a:cubicBezTo>
                  <a:pt x="262" y="512"/>
                  <a:pt x="262" y="512"/>
                  <a:pt x="262" y="512"/>
                </a:cubicBezTo>
                <a:cubicBezTo>
                  <a:pt x="262" y="511"/>
                  <a:pt x="262" y="511"/>
                  <a:pt x="262" y="511"/>
                </a:cubicBezTo>
                <a:cubicBezTo>
                  <a:pt x="263" y="511"/>
                  <a:pt x="263" y="511"/>
                  <a:pt x="263" y="511"/>
                </a:cubicBezTo>
                <a:cubicBezTo>
                  <a:pt x="263" y="511"/>
                  <a:pt x="263" y="511"/>
                  <a:pt x="264" y="511"/>
                </a:cubicBezTo>
                <a:cubicBezTo>
                  <a:pt x="263" y="511"/>
                  <a:pt x="263" y="511"/>
                  <a:pt x="264" y="511"/>
                </a:cubicBezTo>
                <a:cubicBezTo>
                  <a:pt x="264" y="510"/>
                  <a:pt x="264" y="510"/>
                  <a:pt x="264" y="510"/>
                </a:cubicBezTo>
                <a:cubicBezTo>
                  <a:pt x="263" y="510"/>
                  <a:pt x="263" y="510"/>
                  <a:pt x="263" y="509"/>
                </a:cubicBezTo>
                <a:cubicBezTo>
                  <a:pt x="263" y="509"/>
                  <a:pt x="264" y="509"/>
                  <a:pt x="264" y="509"/>
                </a:cubicBezTo>
                <a:cubicBezTo>
                  <a:pt x="264" y="509"/>
                  <a:pt x="265" y="509"/>
                  <a:pt x="265" y="509"/>
                </a:cubicBezTo>
                <a:cubicBezTo>
                  <a:pt x="265" y="509"/>
                  <a:pt x="266" y="509"/>
                  <a:pt x="266" y="509"/>
                </a:cubicBezTo>
                <a:cubicBezTo>
                  <a:pt x="266" y="510"/>
                  <a:pt x="266" y="510"/>
                  <a:pt x="266" y="510"/>
                </a:cubicBezTo>
                <a:cubicBezTo>
                  <a:pt x="266" y="510"/>
                  <a:pt x="266" y="510"/>
                  <a:pt x="266" y="510"/>
                </a:cubicBezTo>
                <a:cubicBezTo>
                  <a:pt x="266" y="510"/>
                  <a:pt x="266" y="510"/>
                  <a:pt x="267" y="511"/>
                </a:cubicBezTo>
                <a:cubicBezTo>
                  <a:pt x="267" y="511"/>
                  <a:pt x="267" y="511"/>
                  <a:pt x="267" y="511"/>
                </a:cubicBezTo>
                <a:cubicBezTo>
                  <a:pt x="267" y="511"/>
                  <a:pt x="267" y="510"/>
                  <a:pt x="267" y="510"/>
                </a:cubicBezTo>
                <a:cubicBezTo>
                  <a:pt x="267" y="510"/>
                  <a:pt x="267" y="510"/>
                  <a:pt x="267" y="510"/>
                </a:cubicBezTo>
                <a:cubicBezTo>
                  <a:pt x="266" y="509"/>
                  <a:pt x="266" y="509"/>
                  <a:pt x="267" y="509"/>
                </a:cubicBezTo>
                <a:cubicBezTo>
                  <a:pt x="267" y="509"/>
                  <a:pt x="267" y="509"/>
                  <a:pt x="268" y="509"/>
                </a:cubicBezTo>
                <a:cubicBezTo>
                  <a:pt x="268" y="509"/>
                  <a:pt x="267" y="508"/>
                  <a:pt x="267" y="508"/>
                </a:cubicBezTo>
                <a:cubicBezTo>
                  <a:pt x="267" y="508"/>
                  <a:pt x="267" y="508"/>
                  <a:pt x="267" y="508"/>
                </a:cubicBezTo>
                <a:cubicBezTo>
                  <a:pt x="267" y="508"/>
                  <a:pt x="267" y="508"/>
                  <a:pt x="267" y="508"/>
                </a:cubicBezTo>
                <a:cubicBezTo>
                  <a:pt x="266" y="508"/>
                  <a:pt x="266" y="509"/>
                  <a:pt x="266" y="508"/>
                </a:cubicBezTo>
                <a:cubicBezTo>
                  <a:pt x="266" y="508"/>
                  <a:pt x="266" y="508"/>
                  <a:pt x="266" y="508"/>
                </a:cubicBezTo>
                <a:cubicBezTo>
                  <a:pt x="265" y="508"/>
                  <a:pt x="265" y="508"/>
                  <a:pt x="265" y="507"/>
                </a:cubicBezTo>
                <a:cubicBezTo>
                  <a:pt x="265" y="508"/>
                  <a:pt x="264" y="508"/>
                  <a:pt x="264" y="508"/>
                </a:cubicBezTo>
                <a:cubicBezTo>
                  <a:pt x="264" y="508"/>
                  <a:pt x="263" y="507"/>
                  <a:pt x="263" y="507"/>
                </a:cubicBezTo>
                <a:cubicBezTo>
                  <a:pt x="263" y="506"/>
                  <a:pt x="263" y="506"/>
                  <a:pt x="262" y="506"/>
                </a:cubicBezTo>
                <a:cubicBezTo>
                  <a:pt x="262" y="506"/>
                  <a:pt x="262" y="506"/>
                  <a:pt x="262" y="506"/>
                </a:cubicBezTo>
                <a:cubicBezTo>
                  <a:pt x="263" y="505"/>
                  <a:pt x="263" y="505"/>
                  <a:pt x="263" y="505"/>
                </a:cubicBezTo>
                <a:cubicBezTo>
                  <a:pt x="263" y="504"/>
                  <a:pt x="264" y="504"/>
                  <a:pt x="264" y="504"/>
                </a:cubicBezTo>
                <a:cubicBezTo>
                  <a:pt x="265" y="503"/>
                  <a:pt x="266" y="503"/>
                  <a:pt x="267" y="502"/>
                </a:cubicBezTo>
                <a:cubicBezTo>
                  <a:pt x="267" y="502"/>
                  <a:pt x="267" y="502"/>
                  <a:pt x="267" y="503"/>
                </a:cubicBezTo>
                <a:cubicBezTo>
                  <a:pt x="267" y="503"/>
                  <a:pt x="267" y="503"/>
                  <a:pt x="267" y="503"/>
                </a:cubicBezTo>
                <a:cubicBezTo>
                  <a:pt x="268" y="503"/>
                  <a:pt x="268" y="503"/>
                  <a:pt x="268" y="502"/>
                </a:cubicBezTo>
                <a:cubicBezTo>
                  <a:pt x="269" y="502"/>
                  <a:pt x="269" y="502"/>
                  <a:pt x="269" y="503"/>
                </a:cubicBezTo>
                <a:cubicBezTo>
                  <a:pt x="269" y="503"/>
                  <a:pt x="269" y="503"/>
                  <a:pt x="269" y="503"/>
                </a:cubicBezTo>
                <a:cubicBezTo>
                  <a:pt x="269" y="503"/>
                  <a:pt x="270" y="503"/>
                  <a:pt x="269" y="504"/>
                </a:cubicBezTo>
                <a:cubicBezTo>
                  <a:pt x="269" y="504"/>
                  <a:pt x="269" y="504"/>
                  <a:pt x="269" y="504"/>
                </a:cubicBezTo>
                <a:cubicBezTo>
                  <a:pt x="269" y="505"/>
                  <a:pt x="269" y="505"/>
                  <a:pt x="269" y="505"/>
                </a:cubicBezTo>
                <a:cubicBezTo>
                  <a:pt x="269" y="505"/>
                  <a:pt x="269" y="505"/>
                  <a:pt x="269" y="506"/>
                </a:cubicBezTo>
                <a:cubicBezTo>
                  <a:pt x="269" y="506"/>
                  <a:pt x="269" y="506"/>
                  <a:pt x="269" y="506"/>
                </a:cubicBezTo>
                <a:cubicBezTo>
                  <a:pt x="269" y="506"/>
                  <a:pt x="269" y="506"/>
                  <a:pt x="269" y="506"/>
                </a:cubicBezTo>
                <a:cubicBezTo>
                  <a:pt x="270" y="506"/>
                  <a:pt x="271" y="505"/>
                  <a:pt x="271" y="505"/>
                </a:cubicBezTo>
                <a:cubicBezTo>
                  <a:pt x="271" y="504"/>
                  <a:pt x="272" y="504"/>
                  <a:pt x="272" y="503"/>
                </a:cubicBezTo>
                <a:cubicBezTo>
                  <a:pt x="272" y="503"/>
                  <a:pt x="272" y="503"/>
                  <a:pt x="272" y="503"/>
                </a:cubicBezTo>
                <a:cubicBezTo>
                  <a:pt x="272" y="503"/>
                  <a:pt x="272" y="503"/>
                  <a:pt x="272" y="503"/>
                </a:cubicBezTo>
                <a:cubicBezTo>
                  <a:pt x="272" y="503"/>
                  <a:pt x="272" y="503"/>
                  <a:pt x="272" y="503"/>
                </a:cubicBezTo>
                <a:cubicBezTo>
                  <a:pt x="272" y="504"/>
                  <a:pt x="272" y="504"/>
                  <a:pt x="273" y="504"/>
                </a:cubicBezTo>
                <a:cubicBezTo>
                  <a:pt x="273" y="504"/>
                  <a:pt x="273" y="504"/>
                  <a:pt x="273" y="504"/>
                </a:cubicBezTo>
                <a:cubicBezTo>
                  <a:pt x="273" y="504"/>
                  <a:pt x="273" y="504"/>
                  <a:pt x="273" y="504"/>
                </a:cubicBezTo>
                <a:cubicBezTo>
                  <a:pt x="273" y="504"/>
                  <a:pt x="273" y="503"/>
                  <a:pt x="273" y="503"/>
                </a:cubicBezTo>
                <a:cubicBezTo>
                  <a:pt x="274" y="503"/>
                  <a:pt x="273" y="504"/>
                  <a:pt x="274" y="504"/>
                </a:cubicBezTo>
                <a:cubicBezTo>
                  <a:pt x="274" y="504"/>
                  <a:pt x="273" y="505"/>
                  <a:pt x="274" y="504"/>
                </a:cubicBezTo>
                <a:cubicBezTo>
                  <a:pt x="274" y="504"/>
                  <a:pt x="274" y="505"/>
                  <a:pt x="274" y="505"/>
                </a:cubicBezTo>
                <a:cubicBezTo>
                  <a:pt x="274" y="505"/>
                  <a:pt x="273" y="506"/>
                  <a:pt x="273" y="505"/>
                </a:cubicBezTo>
                <a:cubicBezTo>
                  <a:pt x="273" y="505"/>
                  <a:pt x="272" y="505"/>
                  <a:pt x="272" y="506"/>
                </a:cubicBezTo>
                <a:cubicBezTo>
                  <a:pt x="272" y="506"/>
                  <a:pt x="272" y="506"/>
                  <a:pt x="272" y="507"/>
                </a:cubicBezTo>
                <a:cubicBezTo>
                  <a:pt x="271" y="507"/>
                  <a:pt x="271" y="507"/>
                  <a:pt x="270" y="507"/>
                </a:cubicBezTo>
                <a:cubicBezTo>
                  <a:pt x="271" y="508"/>
                  <a:pt x="270" y="508"/>
                  <a:pt x="269" y="508"/>
                </a:cubicBezTo>
                <a:cubicBezTo>
                  <a:pt x="269" y="508"/>
                  <a:pt x="270" y="508"/>
                  <a:pt x="270" y="508"/>
                </a:cubicBezTo>
                <a:cubicBezTo>
                  <a:pt x="270" y="509"/>
                  <a:pt x="270" y="509"/>
                  <a:pt x="270" y="509"/>
                </a:cubicBezTo>
                <a:cubicBezTo>
                  <a:pt x="270" y="509"/>
                  <a:pt x="270" y="509"/>
                  <a:pt x="271" y="509"/>
                </a:cubicBezTo>
                <a:cubicBezTo>
                  <a:pt x="271" y="509"/>
                  <a:pt x="271" y="509"/>
                  <a:pt x="271" y="509"/>
                </a:cubicBezTo>
                <a:cubicBezTo>
                  <a:pt x="271" y="509"/>
                  <a:pt x="271" y="508"/>
                  <a:pt x="271" y="508"/>
                </a:cubicBezTo>
                <a:cubicBezTo>
                  <a:pt x="272" y="508"/>
                  <a:pt x="272" y="508"/>
                  <a:pt x="272" y="508"/>
                </a:cubicBezTo>
                <a:cubicBezTo>
                  <a:pt x="272" y="508"/>
                  <a:pt x="272" y="508"/>
                  <a:pt x="272" y="508"/>
                </a:cubicBezTo>
                <a:cubicBezTo>
                  <a:pt x="272" y="508"/>
                  <a:pt x="272" y="508"/>
                  <a:pt x="273" y="508"/>
                </a:cubicBezTo>
                <a:cubicBezTo>
                  <a:pt x="273" y="508"/>
                  <a:pt x="273" y="508"/>
                  <a:pt x="273" y="508"/>
                </a:cubicBezTo>
                <a:cubicBezTo>
                  <a:pt x="273" y="508"/>
                  <a:pt x="273" y="508"/>
                  <a:pt x="273" y="508"/>
                </a:cubicBezTo>
                <a:cubicBezTo>
                  <a:pt x="273" y="509"/>
                  <a:pt x="273" y="509"/>
                  <a:pt x="273" y="509"/>
                </a:cubicBezTo>
                <a:close/>
                <a:moveTo>
                  <a:pt x="184" y="543"/>
                </a:moveTo>
                <a:cubicBezTo>
                  <a:pt x="184" y="543"/>
                  <a:pt x="183" y="543"/>
                  <a:pt x="183" y="543"/>
                </a:cubicBezTo>
                <a:cubicBezTo>
                  <a:pt x="183" y="543"/>
                  <a:pt x="183" y="543"/>
                  <a:pt x="182" y="543"/>
                </a:cubicBezTo>
                <a:cubicBezTo>
                  <a:pt x="182" y="543"/>
                  <a:pt x="181" y="543"/>
                  <a:pt x="181" y="543"/>
                </a:cubicBezTo>
                <a:cubicBezTo>
                  <a:pt x="180" y="543"/>
                  <a:pt x="180" y="543"/>
                  <a:pt x="180" y="542"/>
                </a:cubicBezTo>
                <a:cubicBezTo>
                  <a:pt x="179" y="542"/>
                  <a:pt x="178" y="543"/>
                  <a:pt x="177" y="543"/>
                </a:cubicBezTo>
                <a:cubicBezTo>
                  <a:pt x="176" y="543"/>
                  <a:pt x="175" y="542"/>
                  <a:pt x="174" y="543"/>
                </a:cubicBezTo>
                <a:cubicBezTo>
                  <a:pt x="174" y="543"/>
                  <a:pt x="175" y="543"/>
                  <a:pt x="175" y="544"/>
                </a:cubicBezTo>
                <a:cubicBezTo>
                  <a:pt x="175" y="544"/>
                  <a:pt x="176" y="544"/>
                  <a:pt x="177" y="544"/>
                </a:cubicBezTo>
                <a:cubicBezTo>
                  <a:pt x="177" y="544"/>
                  <a:pt x="178" y="544"/>
                  <a:pt x="179" y="544"/>
                </a:cubicBezTo>
                <a:cubicBezTo>
                  <a:pt x="179" y="544"/>
                  <a:pt x="180" y="544"/>
                  <a:pt x="180" y="545"/>
                </a:cubicBezTo>
                <a:cubicBezTo>
                  <a:pt x="180" y="545"/>
                  <a:pt x="181" y="545"/>
                  <a:pt x="181" y="545"/>
                </a:cubicBezTo>
                <a:cubicBezTo>
                  <a:pt x="182" y="544"/>
                  <a:pt x="183" y="544"/>
                  <a:pt x="183" y="544"/>
                </a:cubicBezTo>
                <a:cubicBezTo>
                  <a:pt x="183" y="544"/>
                  <a:pt x="183" y="544"/>
                  <a:pt x="184" y="544"/>
                </a:cubicBezTo>
                <a:cubicBezTo>
                  <a:pt x="185" y="544"/>
                  <a:pt x="186" y="544"/>
                  <a:pt x="187" y="544"/>
                </a:cubicBezTo>
                <a:cubicBezTo>
                  <a:pt x="187" y="544"/>
                  <a:pt x="187" y="544"/>
                  <a:pt x="188" y="543"/>
                </a:cubicBezTo>
                <a:cubicBezTo>
                  <a:pt x="187" y="543"/>
                  <a:pt x="187" y="543"/>
                  <a:pt x="187" y="543"/>
                </a:cubicBezTo>
                <a:cubicBezTo>
                  <a:pt x="186" y="543"/>
                  <a:pt x="185" y="543"/>
                  <a:pt x="184" y="543"/>
                </a:cubicBezTo>
                <a:close/>
                <a:moveTo>
                  <a:pt x="174" y="538"/>
                </a:moveTo>
                <a:cubicBezTo>
                  <a:pt x="174" y="538"/>
                  <a:pt x="174" y="538"/>
                  <a:pt x="174" y="537"/>
                </a:cubicBezTo>
                <a:cubicBezTo>
                  <a:pt x="173" y="537"/>
                  <a:pt x="172" y="536"/>
                  <a:pt x="171" y="537"/>
                </a:cubicBezTo>
                <a:cubicBezTo>
                  <a:pt x="171" y="537"/>
                  <a:pt x="170" y="537"/>
                  <a:pt x="170" y="538"/>
                </a:cubicBezTo>
                <a:cubicBezTo>
                  <a:pt x="170" y="539"/>
                  <a:pt x="170" y="539"/>
                  <a:pt x="169" y="539"/>
                </a:cubicBezTo>
                <a:cubicBezTo>
                  <a:pt x="169" y="538"/>
                  <a:pt x="168" y="539"/>
                  <a:pt x="169" y="539"/>
                </a:cubicBezTo>
                <a:cubicBezTo>
                  <a:pt x="169" y="539"/>
                  <a:pt x="169" y="539"/>
                  <a:pt x="170" y="539"/>
                </a:cubicBezTo>
                <a:cubicBezTo>
                  <a:pt x="170" y="539"/>
                  <a:pt x="170" y="539"/>
                  <a:pt x="170" y="539"/>
                </a:cubicBezTo>
                <a:cubicBezTo>
                  <a:pt x="170" y="539"/>
                  <a:pt x="171" y="539"/>
                  <a:pt x="171" y="540"/>
                </a:cubicBezTo>
                <a:cubicBezTo>
                  <a:pt x="171" y="540"/>
                  <a:pt x="171" y="540"/>
                  <a:pt x="171" y="540"/>
                </a:cubicBezTo>
                <a:cubicBezTo>
                  <a:pt x="171" y="540"/>
                  <a:pt x="171" y="540"/>
                  <a:pt x="171" y="540"/>
                </a:cubicBezTo>
                <a:cubicBezTo>
                  <a:pt x="171" y="541"/>
                  <a:pt x="170" y="541"/>
                  <a:pt x="169" y="541"/>
                </a:cubicBezTo>
                <a:cubicBezTo>
                  <a:pt x="169" y="541"/>
                  <a:pt x="169" y="540"/>
                  <a:pt x="168" y="541"/>
                </a:cubicBezTo>
                <a:cubicBezTo>
                  <a:pt x="168" y="541"/>
                  <a:pt x="169" y="541"/>
                  <a:pt x="169" y="541"/>
                </a:cubicBezTo>
                <a:cubicBezTo>
                  <a:pt x="169" y="542"/>
                  <a:pt x="169" y="542"/>
                  <a:pt x="169" y="542"/>
                </a:cubicBezTo>
                <a:cubicBezTo>
                  <a:pt x="168" y="541"/>
                  <a:pt x="167" y="542"/>
                  <a:pt x="167" y="542"/>
                </a:cubicBezTo>
                <a:cubicBezTo>
                  <a:pt x="167" y="542"/>
                  <a:pt x="167" y="542"/>
                  <a:pt x="168" y="543"/>
                </a:cubicBezTo>
                <a:cubicBezTo>
                  <a:pt x="167" y="542"/>
                  <a:pt x="167" y="542"/>
                  <a:pt x="167" y="542"/>
                </a:cubicBezTo>
                <a:cubicBezTo>
                  <a:pt x="167" y="542"/>
                  <a:pt x="167" y="542"/>
                  <a:pt x="166" y="543"/>
                </a:cubicBezTo>
                <a:cubicBezTo>
                  <a:pt x="166" y="543"/>
                  <a:pt x="166" y="543"/>
                  <a:pt x="165" y="543"/>
                </a:cubicBezTo>
                <a:cubicBezTo>
                  <a:pt x="165" y="543"/>
                  <a:pt x="165" y="543"/>
                  <a:pt x="165" y="543"/>
                </a:cubicBezTo>
                <a:cubicBezTo>
                  <a:pt x="164" y="543"/>
                  <a:pt x="164" y="543"/>
                  <a:pt x="164" y="543"/>
                </a:cubicBezTo>
                <a:cubicBezTo>
                  <a:pt x="163" y="543"/>
                  <a:pt x="163" y="543"/>
                  <a:pt x="162" y="544"/>
                </a:cubicBezTo>
                <a:cubicBezTo>
                  <a:pt x="162" y="544"/>
                  <a:pt x="162" y="544"/>
                  <a:pt x="162" y="544"/>
                </a:cubicBezTo>
                <a:cubicBezTo>
                  <a:pt x="161" y="544"/>
                  <a:pt x="161" y="544"/>
                  <a:pt x="161" y="544"/>
                </a:cubicBezTo>
                <a:cubicBezTo>
                  <a:pt x="161" y="545"/>
                  <a:pt x="160" y="545"/>
                  <a:pt x="160" y="544"/>
                </a:cubicBezTo>
                <a:cubicBezTo>
                  <a:pt x="160" y="544"/>
                  <a:pt x="159" y="544"/>
                  <a:pt x="159" y="544"/>
                </a:cubicBezTo>
                <a:cubicBezTo>
                  <a:pt x="159" y="544"/>
                  <a:pt x="158" y="544"/>
                  <a:pt x="157" y="545"/>
                </a:cubicBezTo>
                <a:cubicBezTo>
                  <a:pt x="158" y="545"/>
                  <a:pt x="159" y="545"/>
                  <a:pt x="160" y="545"/>
                </a:cubicBezTo>
                <a:cubicBezTo>
                  <a:pt x="161" y="545"/>
                  <a:pt x="161" y="545"/>
                  <a:pt x="162" y="545"/>
                </a:cubicBezTo>
                <a:cubicBezTo>
                  <a:pt x="162" y="545"/>
                  <a:pt x="162" y="544"/>
                  <a:pt x="163" y="545"/>
                </a:cubicBezTo>
                <a:cubicBezTo>
                  <a:pt x="163" y="545"/>
                  <a:pt x="164" y="545"/>
                  <a:pt x="165" y="545"/>
                </a:cubicBezTo>
                <a:cubicBezTo>
                  <a:pt x="165" y="545"/>
                  <a:pt x="165" y="545"/>
                  <a:pt x="165" y="545"/>
                </a:cubicBezTo>
                <a:cubicBezTo>
                  <a:pt x="165" y="544"/>
                  <a:pt x="166" y="544"/>
                  <a:pt x="166" y="545"/>
                </a:cubicBezTo>
                <a:cubicBezTo>
                  <a:pt x="167" y="544"/>
                  <a:pt x="167" y="545"/>
                  <a:pt x="168" y="544"/>
                </a:cubicBezTo>
                <a:cubicBezTo>
                  <a:pt x="168" y="544"/>
                  <a:pt x="168" y="544"/>
                  <a:pt x="168" y="544"/>
                </a:cubicBezTo>
                <a:cubicBezTo>
                  <a:pt x="168" y="544"/>
                  <a:pt x="168" y="544"/>
                  <a:pt x="168" y="544"/>
                </a:cubicBezTo>
                <a:cubicBezTo>
                  <a:pt x="168" y="544"/>
                  <a:pt x="168" y="544"/>
                  <a:pt x="169" y="544"/>
                </a:cubicBezTo>
                <a:cubicBezTo>
                  <a:pt x="169" y="544"/>
                  <a:pt x="169" y="544"/>
                  <a:pt x="169" y="544"/>
                </a:cubicBezTo>
                <a:cubicBezTo>
                  <a:pt x="169" y="544"/>
                  <a:pt x="169" y="544"/>
                  <a:pt x="169" y="544"/>
                </a:cubicBezTo>
                <a:cubicBezTo>
                  <a:pt x="169" y="544"/>
                  <a:pt x="169" y="543"/>
                  <a:pt x="169" y="543"/>
                </a:cubicBezTo>
                <a:cubicBezTo>
                  <a:pt x="169" y="543"/>
                  <a:pt x="170" y="543"/>
                  <a:pt x="170" y="543"/>
                </a:cubicBezTo>
                <a:cubicBezTo>
                  <a:pt x="170" y="543"/>
                  <a:pt x="171" y="543"/>
                  <a:pt x="171" y="543"/>
                </a:cubicBezTo>
                <a:cubicBezTo>
                  <a:pt x="171" y="543"/>
                  <a:pt x="171" y="543"/>
                  <a:pt x="172" y="543"/>
                </a:cubicBezTo>
                <a:cubicBezTo>
                  <a:pt x="172" y="543"/>
                  <a:pt x="172" y="543"/>
                  <a:pt x="173" y="543"/>
                </a:cubicBezTo>
                <a:cubicBezTo>
                  <a:pt x="173" y="543"/>
                  <a:pt x="173" y="543"/>
                  <a:pt x="173" y="542"/>
                </a:cubicBezTo>
                <a:cubicBezTo>
                  <a:pt x="173" y="542"/>
                  <a:pt x="173" y="542"/>
                  <a:pt x="172" y="541"/>
                </a:cubicBezTo>
                <a:cubicBezTo>
                  <a:pt x="172" y="541"/>
                  <a:pt x="172" y="540"/>
                  <a:pt x="173" y="541"/>
                </a:cubicBezTo>
                <a:cubicBezTo>
                  <a:pt x="173" y="541"/>
                  <a:pt x="173" y="541"/>
                  <a:pt x="173" y="541"/>
                </a:cubicBezTo>
                <a:cubicBezTo>
                  <a:pt x="174" y="540"/>
                  <a:pt x="174" y="540"/>
                  <a:pt x="174" y="540"/>
                </a:cubicBezTo>
                <a:cubicBezTo>
                  <a:pt x="175" y="539"/>
                  <a:pt x="175" y="538"/>
                  <a:pt x="174" y="538"/>
                </a:cubicBezTo>
                <a:close/>
                <a:moveTo>
                  <a:pt x="134" y="547"/>
                </a:moveTo>
                <a:cubicBezTo>
                  <a:pt x="133" y="547"/>
                  <a:pt x="133" y="547"/>
                  <a:pt x="133" y="547"/>
                </a:cubicBezTo>
                <a:cubicBezTo>
                  <a:pt x="133" y="548"/>
                  <a:pt x="133" y="548"/>
                  <a:pt x="133" y="548"/>
                </a:cubicBezTo>
                <a:cubicBezTo>
                  <a:pt x="133" y="549"/>
                  <a:pt x="133" y="550"/>
                  <a:pt x="132" y="550"/>
                </a:cubicBezTo>
                <a:cubicBezTo>
                  <a:pt x="131" y="550"/>
                  <a:pt x="130" y="550"/>
                  <a:pt x="129" y="551"/>
                </a:cubicBezTo>
                <a:cubicBezTo>
                  <a:pt x="129" y="551"/>
                  <a:pt x="128" y="551"/>
                  <a:pt x="128" y="551"/>
                </a:cubicBezTo>
                <a:cubicBezTo>
                  <a:pt x="128" y="551"/>
                  <a:pt x="128" y="551"/>
                  <a:pt x="127" y="551"/>
                </a:cubicBezTo>
                <a:cubicBezTo>
                  <a:pt x="127" y="551"/>
                  <a:pt x="127" y="551"/>
                  <a:pt x="127" y="551"/>
                </a:cubicBezTo>
                <a:cubicBezTo>
                  <a:pt x="127" y="552"/>
                  <a:pt x="127" y="552"/>
                  <a:pt x="127" y="552"/>
                </a:cubicBezTo>
                <a:cubicBezTo>
                  <a:pt x="128" y="552"/>
                  <a:pt x="128" y="552"/>
                  <a:pt x="128" y="552"/>
                </a:cubicBezTo>
                <a:cubicBezTo>
                  <a:pt x="128" y="551"/>
                  <a:pt x="128" y="551"/>
                  <a:pt x="129" y="551"/>
                </a:cubicBezTo>
                <a:cubicBezTo>
                  <a:pt x="129" y="551"/>
                  <a:pt x="129" y="552"/>
                  <a:pt x="130" y="551"/>
                </a:cubicBezTo>
                <a:cubicBezTo>
                  <a:pt x="130" y="551"/>
                  <a:pt x="131" y="551"/>
                  <a:pt x="131" y="551"/>
                </a:cubicBezTo>
                <a:cubicBezTo>
                  <a:pt x="131" y="551"/>
                  <a:pt x="131" y="551"/>
                  <a:pt x="132" y="551"/>
                </a:cubicBezTo>
                <a:cubicBezTo>
                  <a:pt x="132" y="552"/>
                  <a:pt x="132" y="552"/>
                  <a:pt x="132" y="552"/>
                </a:cubicBezTo>
                <a:cubicBezTo>
                  <a:pt x="132" y="552"/>
                  <a:pt x="133" y="552"/>
                  <a:pt x="133" y="552"/>
                </a:cubicBezTo>
                <a:cubicBezTo>
                  <a:pt x="133" y="551"/>
                  <a:pt x="133" y="551"/>
                  <a:pt x="134" y="551"/>
                </a:cubicBezTo>
                <a:cubicBezTo>
                  <a:pt x="134" y="551"/>
                  <a:pt x="134" y="551"/>
                  <a:pt x="134" y="551"/>
                </a:cubicBezTo>
                <a:cubicBezTo>
                  <a:pt x="134" y="550"/>
                  <a:pt x="135" y="550"/>
                  <a:pt x="134" y="549"/>
                </a:cubicBezTo>
                <a:cubicBezTo>
                  <a:pt x="134" y="549"/>
                  <a:pt x="134" y="549"/>
                  <a:pt x="135" y="549"/>
                </a:cubicBezTo>
                <a:cubicBezTo>
                  <a:pt x="135" y="548"/>
                  <a:pt x="135" y="548"/>
                  <a:pt x="135" y="547"/>
                </a:cubicBezTo>
                <a:cubicBezTo>
                  <a:pt x="135" y="547"/>
                  <a:pt x="134" y="546"/>
                  <a:pt x="134" y="547"/>
                </a:cubicBezTo>
                <a:close/>
                <a:moveTo>
                  <a:pt x="66" y="546"/>
                </a:moveTo>
                <a:cubicBezTo>
                  <a:pt x="65" y="546"/>
                  <a:pt x="66" y="546"/>
                  <a:pt x="66" y="545"/>
                </a:cubicBezTo>
                <a:cubicBezTo>
                  <a:pt x="67" y="545"/>
                  <a:pt x="67" y="544"/>
                  <a:pt x="67" y="544"/>
                </a:cubicBezTo>
                <a:cubicBezTo>
                  <a:pt x="67" y="543"/>
                  <a:pt x="67" y="543"/>
                  <a:pt x="67" y="543"/>
                </a:cubicBezTo>
                <a:cubicBezTo>
                  <a:pt x="66" y="542"/>
                  <a:pt x="66" y="542"/>
                  <a:pt x="66" y="543"/>
                </a:cubicBezTo>
                <a:cubicBezTo>
                  <a:pt x="66" y="543"/>
                  <a:pt x="66" y="543"/>
                  <a:pt x="66" y="544"/>
                </a:cubicBezTo>
                <a:cubicBezTo>
                  <a:pt x="66" y="544"/>
                  <a:pt x="65" y="544"/>
                  <a:pt x="65" y="545"/>
                </a:cubicBezTo>
                <a:cubicBezTo>
                  <a:pt x="65" y="545"/>
                  <a:pt x="65" y="546"/>
                  <a:pt x="64" y="546"/>
                </a:cubicBezTo>
                <a:cubicBezTo>
                  <a:pt x="64" y="546"/>
                  <a:pt x="63" y="546"/>
                  <a:pt x="63" y="547"/>
                </a:cubicBezTo>
                <a:cubicBezTo>
                  <a:pt x="63" y="547"/>
                  <a:pt x="63" y="547"/>
                  <a:pt x="63" y="547"/>
                </a:cubicBezTo>
                <a:cubicBezTo>
                  <a:pt x="62" y="547"/>
                  <a:pt x="62" y="547"/>
                  <a:pt x="61" y="548"/>
                </a:cubicBezTo>
                <a:cubicBezTo>
                  <a:pt x="62" y="548"/>
                  <a:pt x="62" y="548"/>
                  <a:pt x="62" y="548"/>
                </a:cubicBezTo>
                <a:cubicBezTo>
                  <a:pt x="62" y="549"/>
                  <a:pt x="63" y="549"/>
                  <a:pt x="63" y="549"/>
                </a:cubicBezTo>
                <a:cubicBezTo>
                  <a:pt x="63" y="549"/>
                  <a:pt x="63" y="548"/>
                  <a:pt x="63" y="548"/>
                </a:cubicBezTo>
                <a:cubicBezTo>
                  <a:pt x="63" y="547"/>
                  <a:pt x="63" y="547"/>
                  <a:pt x="64" y="547"/>
                </a:cubicBezTo>
                <a:cubicBezTo>
                  <a:pt x="65" y="547"/>
                  <a:pt x="65" y="547"/>
                  <a:pt x="66" y="547"/>
                </a:cubicBezTo>
                <a:cubicBezTo>
                  <a:pt x="66" y="547"/>
                  <a:pt x="66" y="547"/>
                  <a:pt x="67" y="547"/>
                </a:cubicBezTo>
                <a:cubicBezTo>
                  <a:pt x="67" y="547"/>
                  <a:pt x="67" y="546"/>
                  <a:pt x="66" y="546"/>
                </a:cubicBezTo>
                <a:close/>
                <a:moveTo>
                  <a:pt x="13" y="528"/>
                </a:moveTo>
                <a:cubicBezTo>
                  <a:pt x="13" y="527"/>
                  <a:pt x="13" y="527"/>
                  <a:pt x="12" y="527"/>
                </a:cubicBezTo>
                <a:cubicBezTo>
                  <a:pt x="12" y="527"/>
                  <a:pt x="12" y="527"/>
                  <a:pt x="11" y="527"/>
                </a:cubicBezTo>
                <a:cubicBezTo>
                  <a:pt x="11" y="527"/>
                  <a:pt x="11" y="527"/>
                  <a:pt x="11" y="527"/>
                </a:cubicBezTo>
                <a:cubicBezTo>
                  <a:pt x="11" y="526"/>
                  <a:pt x="11" y="526"/>
                  <a:pt x="11" y="526"/>
                </a:cubicBezTo>
                <a:cubicBezTo>
                  <a:pt x="11" y="526"/>
                  <a:pt x="11" y="526"/>
                  <a:pt x="10" y="526"/>
                </a:cubicBezTo>
                <a:cubicBezTo>
                  <a:pt x="10" y="525"/>
                  <a:pt x="10" y="526"/>
                  <a:pt x="10" y="526"/>
                </a:cubicBezTo>
                <a:cubicBezTo>
                  <a:pt x="10" y="526"/>
                  <a:pt x="9" y="526"/>
                  <a:pt x="9" y="526"/>
                </a:cubicBezTo>
                <a:cubicBezTo>
                  <a:pt x="9" y="526"/>
                  <a:pt x="9" y="526"/>
                  <a:pt x="9" y="525"/>
                </a:cubicBezTo>
                <a:cubicBezTo>
                  <a:pt x="10" y="525"/>
                  <a:pt x="9" y="525"/>
                  <a:pt x="9" y="524"/>
                </a:cubicBezTo>
                <a:cubicBezTo>
                  <a:pt x="9" y="524"/>
                  <a:pt x="8" y="524"/>
                  <a:pt x="8" y="524"/>
                </a:cubicBezTo>
                <a:cubicBezTo>
                  <a:pt x="8" y="524"/>
                  <a:pt x="8" y="524"/>
                  <a:pt x="8" y="524"/>
                </a:cubicBezTo>
                <a:cubicBezTo>
                  <a:pt x="7" y="524"/>
                  <a:pt x="7" y="525"/>
                  <a:pt x="7" y="525"/>
                </a:cubicBezTo>
                <a:cubicBezTo>
                  <a:pt x="7" y="525"/>
                  <a:pt x="6" y="525"/>
                  <a:pt x="6" y="525"/>
                </a:cubicBezTo>
                <a:cubicBezTo>
                  <a:pt x="6" y="524"/>
                  <a:pt x="6" y="524"/>
                  <a:pt x="6" y="524"/>
                </a:cubicBezTo>
                <a:cubicBezTo>
                  <a:pt x="5" y="524"/>
                  <a:pt x="4" y="524"/>
                  <a:pt x="4" y="524"/>
                </a:cubicBezTo>
                <a:cubicBezTo>
                  <a:pt x="3" y="524"/>
                  <a:pt x="3" y="524"/>
                  <a:pt x="3" y="524"/>
                </a:cubicBezTo>
                <a:cubicBezTo>
                  <a:pt x="2" y="525"/>
                  <a:pt x="2" y="525"/>
                  <a:pt x="1" y="525"/>
                </a:cubicBezTo>
                <a:cubicBezTo>
                  <a:pt x="1" y="526"/>
                  <a:pt x="0" y="526"/>
                  <a:pt x="1" y="526"/>
                </a:cubicBezTo>
                <a:cubicBezTo>
                  <a:pt x="1" y="526"/>
                  <a:pt x="1" y="526"/>
                  <a:pt x="1" y="526"/>
                </a:cubicBezTo>
                <a:cubicBezTo>
                  <a:pt x="2" y="526"/>
                  <a:pt x="2" y="526"/>
                  <a:pt x="3" y="526"/>
                </a:cubicBezTo>
                <a:cubicBezTo>
                  <a:pt x="3" y="526"/>
                  <a:pt x="3" y="526"/>
                  <a:pt x="3" y="526"/>
                </a:cubicBezTo>
                <a:cubicBezTo>
                  <a:pt x="3" y="526"/>
                  <a:pt x="3" y="527"/>
                  <a:pt x="3" y="527"/>
                </a:cubicBezTo>
                <a:cubicBezTo>
                  <a:pt x="3" y="527"/>
                  <a:pt x="3" y="527"/>
                  <a:pt x="3" y="527"/>
                </a:cubicBezTo>
                <a:cubicBezTo>
                  <a:pt x="3" y="527"/>
                  <a:pt x="3" y="527"/>
                  <a:pt x="3" y="527"/>
                </a:cubicBezTo>
                <a:cubicBezTo>
                  <a:pt x="3" y="527"/>
                  <a:pt x="4" y="527"/>
                  <a:pt x="4" y="527"/>
                </a:cubicBezTo>
                <a:cubicBezTo>
                  <a:pt x="4" y="527"/>
                  <a:pt x="3" y="527"/>
                  <a:pt x="3" y="527"/>
                </a:cubicBezTo>
                <a:cubicBezTo>
                  <a:pt x="4" y="527"/>
                  <a:pt x="4" y="527"/>
                  <a:pt x="4" y="527"/>
                </a:cubicBezTo>
                <a:cubicBezTo>
                  <a:pt x="4" y="527"/>
                  <a:pt x="4" y="527"/>
                  <a:pt x="4" y="527"/>
                </a:cubicBezTo>
                <a:cubicBezTo>
                  <a:pt x="4" y="527"/>
                  <a:pt x="4" y="527"/>
                  <a:pt x="4" y="527"/>
                </a:cubicBezTo>
                <a:cubicBezTo>
                  <a:pt x="4" y="527"/>
                  <a:pt x="4" y="528"/>
                  <a:pt x="4" y="528"/>
                </a:cubicBezTo>
                <a:cubicBezTo>
                  <a:pt x="4" y="528"/>
                  <a:pt x="4" y="529"/>
                  <a:pt x="4" y="529"/>
                </a:cubicBezTo>
                <a:cubicBezTo>
                  <a:pt x="5" y="529"/>
                  <a:pt x="5" y="529"/>
                  <a:pt x="5" y="529"/>
                </a:cubicBezTo>
                <a:cubicBezTo>
                  <a:pt x="5" y="528"/>
                  <a:pt x="6" y="529"/>
                  <a:pt x="6" y="529"/>
                </a:cubicBezTo>
                <a:cubicBezTo>
                  <a:pt x="6" y="530"/>
                  <a:pt x="6" y="530"/>
                  <a:pt x="7" y="529"/>
                </a:cubicBezTo>
                <a:cubicBezTo>
                  <a:pt x="7" y="529"/>
                  <a:pt x="7" y="528"/>
                  <a:pt x="8" y="528"/>
                </a:cubicBezTo>
                <a:cubicBezTo>
                  <a:pt x="8" y="528"/>
                  <a:pt x="8" y="528"/>
                  <a:pt x="9" y="528"/>
                </a:cubicBezTo>
                <a:cubicBezTo>
                  <a:pt x="9" y="529"/>
                  <a:pt x="9" y="529"/>
                  <a:pt x="9" y="528"/>
                </a:cubicBezTo>
                <a:cubicBezTo>
                  <a:pt x="10" y="528"/>
                  <a:pt x="10" y="528"/>
                  <a:pt x="10" y="528"/>
                </a:cubicBezTo>
                <a:cubicBezTo>
                  <a:pt x="10" y="527"/>
                  <a:pt x="10" y="527"/>
                  <a:pt x="11" y="528"/>
                </a:cubicBezTo>
                <a:cubicBezTo>
                  <a:pt x="11" y="528"/>
                  <a:pt x="11" y="528"/>
                  <a:pt x="11" y="528"/>
                </a:cubicBezTo>
                <a:cubicBezTo>
                  <a:pt x="12" y="528"/>
                  <a:pt x="12" y="528"/>
                  <a:pt x="12" y="528"/>
                </a:cubicBezTo>
                <a:cubicBezTo>
                  <a:pt x="13" y="528"/>
                  <a:pt x="13" y="528"/>
                  <a:pt x="13" y="528"/>
                </a:cubicBezTo>
                <a:close/>
                <a:moveTo>
                  <a:pt x="17" y="535"/>
                </a:moveTo>
                <a:cubicBezTo>
                  <a:pt x="16" y="534"/>
                  <a:pt x="16" y="535"/>
                  <a:pt x="16" y="535"/>
                </a:cubicBezTo>
                <a:cubicBezTo>
                  <a:pt x="16" y="535"/>
                  <a:pt x="15" y="535"/>
                  <a:pt x="15" y="535"/>
                </a:cubicBezTo>
                <a:cubicBezTo>
                  <a:pt x="14" y="536"/>
                  <a:pt x="14" y="536"/>
                  <a:pt x="13" y="536"/>
                </a:cubicBezTo>
                <a:cubicBezTo>
                  <a:pt x="13" y="536"/>
                  <a:pt x="13" y="536"/>
                  <a:pt x="12" y="536"/>
                </a:cubicBezTo>
                <a:cubicBezTo>
                  <a:pt x="12" y="536"/>
                  <a:pt x="12" y="537"/>
                  <a:pt x="12" y="537"/>
                </a:cubicBezTo>
                <a:cubicBezTo>
                  <a:pt x="12" y="537"/>
                  <a:pt x="12" y="537"/>
                  <a:pt x="12" y="537"/>
                </a:cubicBezTo>
                <a:cubicBezTo>
                  <a:pt x="13" y="537"/>
                  <a:pt x="14" y="537"/>
                  <a:pt x="14" y="537"/>
                </a:cubicBezTo>
                <a:cubicBezTo>
                  <a:pt x="15" y="537"/>
                  <a:pt x="15" y="537"/>
                  <a:pt x="16" y="538"/>
                </a:cubicBezTo>
                <a:cubicBezTo>
                  <a:pt x="16" y="538"/>
                  <a:pt x="16" y="538"/>
                  <a:pt x="16" y="538"/>
                </a:cubicBezTo>
                <a:cubicBezTo>
                  <a:pt x="17" y="538"/>
                  <a:pt x="17" y="538"/>
                  <a:pt x="17" y="537"/>
                </a:cubicBezTo>
                <a:cubicBezTo>
                  <a:pt x="17" y="537"/>
                  <a:pt x="17" y="537"/>
                  <a:pt x="17" y="536"/>
                </a:cubicBezTo>
                <a:cubicBezTo>
                  <a:pt x="16" y="536"/>
                  <a:pt x="16" y="536"/>
                  <a:pt x="17" y="535"/>
                </a:cubicBezTo>
                <a:cubicBezTo>
                  <a:pt x="17" y="535"/>
                  <a:pt x="17" y="535"/>
                  <a:pt x="17" y="535"/>
                </a:cubicBezTo>
                <a:cubicBezTo>
                  <a:pt x="17" y="535"/>
                  <a:pt x="17" y="535"/>
                  <a:pt x="17" y="535"/>
                </a:cubicBezTo>
                <a:close/>
                <a:moveTo>
                  <a:pt x="93" y="545"/>
                </a:moveTo>
                <a:cubicBezTo>
                  <a:pt x="93" y="545"/>
                  <a:pt x="92" y="545"/>
                  <a:pt x="92" y="545"/>
                </a:cubicBezTo>
                <a:cubicBezTo>
                  <a:pt x="92" y="545"/>
                  <a:pt x="91" y="546"/>
                  <a:pt x="91" y="546"/>
                </a:cubicBezTo>
                <a:cubicBezTo>
                  <a:pt x="91" y="546"/>
                  <a:pt x="91" y="546"/>
                  <a:pt x="91" y="546"/>
                </a:cubicBezTo>
                <a:cubicBezTo>
                  <a:pt x="91" y="548"/>
                  <a:pt x="92" y="548"/>
                  <a:pt x="93" y="548"/>
                </a:cubicBezTo>
                <a:cubicBezTo>
                  <a:pt x="94" y="547"/>
                  <a:pt x="94" y="547"/>
                  <a:pt x="94" y="546"/>
                </a:cubicBezTo>
                <a:cubicBezTo>
                  <a:pt x="94" y="546"/>
                  <a:pt x="94" y="546"/>
                  <a:pt x="94" y="546"/>
                </a:cubicBezTo>
                <a:cubicBezTo>
                  <a:pt x="94" y="546"/>
                  <a:pt x="94" y="546"/>
                  <a:pt x="93" y="545"/>
                </a:cubicBezTo>
                <a:close/>
                <a:moveTo>
                  <a:pt x="195" y="537"/>
                </a:moveTo>
                <a:cubicBezTo>
                  <a:pt x="195" y="537"/>
                  <a:pt x="194" y="537"/>
                  <a:pt x="194" y="537"/>
                </a:cubicBezTo>
                <a:cubicBezTo>
                  <a:pt x="193" y="538"/>
                  <a:pt x="193" y="538"/>
                  <a:pt x="193" y="538"/>
                </a:cubicBezTo>
                <a:cubicBezTo>
                  <a:pt x="192" y="539"/>
                  <a:pt x="192" y="539"/>
                  <a:pt x="192" y="540"/>
                </a:cubicBezTo>
                <a:cubicBezTo>
                  <a:pt x="192" y="540"/>
                  <a:pt x="193" y="540"/>
                  <a:pt x="193" y="540"/>
                </a:cubicBezTo>
                <a:cubicBezTo>
                  <a:pt x="194" y="540"/>
                  <a:pt x="194" y="540"/>
                  <a:pt x="195" y="539"/>
                </a:cubicBezTo>
                <a:cubicBezTo>
                  <a:pt x="196" y="538"/>
                  <a:pt x="196" y="538"/>
                  <a:pt x="195" y="537"/>
                </a:cubicBezTo>
                <a:close/>
                <a:moveTo>
                  <a:pt x="217" y="531"/>
                </a:moveTo>
                <a:cubicBezTo>
                  <a:pt x="216" y="531"/>
                  <a:pt x="216" y="532"/>
                  <a:pt x="216" y="532"/>
                </a:cubicBezTo>
                <a:cubicBezTo>
                  <a:pt x="215" y="532"/>
                  <a:pt x="215" y="533"/>
                  <a:pt x="215" y="533"/>
                </a:cubicBezTo>
                <a:cubicBezTo>
                  <a:pt x="215" y="534"/>
                  <a:pt x="215" y="534"/>
                  <a:pt x="215" y="534"/>
                </a:cubicBezTo>
                <a:cubicBezTo>
                  <a:pt x="215" y="534"/>
                  <a:pt x="216" y="534"/>
                  <a:pt x="216" y="534"/>
                </a:cubicBezTo>
                <a:cubicBezTo>
                  <a:pt x="216" y="533"/>
                  <a:pt x="216" y="533"/>
                  <a:pt x="217" y="533"/>
                </a:cubicBezTo>
                <a:cubicBezTo>
                  <a:pt x="218" y="533"/>
                  <a:pt x="218" y="533"/>
                  <a:pt x="218" y="532"/>
                </a:cubicBezTo>
                <a:cubicBezTo>
                  <a:pt x="218" y="532"/>
                  <a:pt x="218" y="532"/>
                  <a:pt x="218" y="531"/>
                </a:cubicBezTo>
                <a:cubicBezTo>
                  <a:pt x="218" y="531"/>
                  <a:pt x="217" y="531"/>
                  <a:pt x="217" y="531"/>
                </a:cubicBezTo>
                <a:close/>
                <a:moveTo>
                  <a:pt x="285" y="498"/>
                </a:moveTo>
                <a:cubicBezTo>
                  <a:pt x="285" y="498"/>
                  <a:pt x="284" y="498"/>
                  <a:pt x="284" y="498"/>
                </a:cubicBezTo>
                <a:cubicBezTo>
                  <a:pt x="284" y="498"/>
                  <a:pt x="284" y="498"/>
                  <a:pt x="283" y="498"/>
                </a:cubicBezTo>
                <a:cubicBezTo>
                  <a:pt x="283" y="498"/>
                  <a:pt x="283" y="498"/>
                  <a:pt x="283" y="497"/>
                </a:cubicBezTo>
                <a:cubicBezTo>
                  <a:pt x="283" y="497"/>
                  <a:pt x="283" y="497"/>
                  <a:pt x="283" y="497"/>
                </a:cubicBezTo>
                <a:cubicBezTo>
                  <a:pt x="283" y="497"/>
                  <a:pt x="283" y="497"/>
                  <a:pt x="284" y="496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2" y="496"/>
                  <a:pt x="281" y="497"/>
                  <a:pt x="281" y="497"/>
                </a:cubicBezTo>
                <a:cubicBezTo>
                  <a:pt x="281" y="497"/>
                  <a:pt x="281" y="497"/>
                  <a:pt x="281" y="497"/>
                </a:cubicBezTo>
                <a:cubicBezTo>
                  <a:pt x="281" y="498"/>
                  <a:pt x="281" y="498"/>
                  <a:pt x="282" y="498"/>
                </a:cubicBezTo>
                <a:cubicBezTo>
                  <a:pt x="282" y="497"/>
                  <a:pt x="282" y="497"/>
                  <a:pt x="282" y="498"/>
                </a:cubicBezTo>
                <a:cubicBezTo>
                  <a:pt x="282" y="498"/>
                  <a:pt x="282" y="498"/>
                  <a:pt x="282" y="498"/>
                </a:cubicBezTo>
                <a:cubicBezTo>
                  <a:pt x="282" y="498"/>
                  <a:pt x="282" y="498"/>
                  <a:pt x="282" y="499"/>
                </a:cubicBezTo>
                <a:cubicBezTo>
                  <a:pt x="282" y="499"/>
                  <a:pt x="282" y="499"/>
                  <a:pt x="282" y="499"/>
                </a:cubicBezTo>
                <a:cubicBezTo>
                  <a:pt x="282" y="500"/>
                  <a:pt x="282" y="500"/>
                  <a:pt x="282" y="500"/>
                </a:cubicBezTo>
                <a:cubicBezTo>
                  <a:pt x="283" y="500"/>
                  <a:pt x="283" y="500"/>
                  <a:pt x="283" y="500"/>
                </a:cubicBezTo>
                <a:cubicBezTo>
                  <a:pt x="283" y="499"/>
                  <a:pt x="283" y="499"/>
                  <a:pt x="283" y="499"/>
                </a:cubicBezTo>
                <a:cubicBezTo>
                  <a:pt x="283" y="499"/>
                  <a:pt x="283" y="499"/>
                  <a:pt x="283" y="499"/>
                </a:cubicBezTo>
                <a:cubicBezTo>
                  <a:pt x="284" y="499"/>
                  <a:pt x="284" y="499"/>
                  <a:pt x="284" y="499"/>
                </a:cubicBezTo>
                <a:cubicBezTo>
                  <a:pt x="284" y="499"/>
                  <a:pt x="285" y="499"/>
                  <a:pt x="285" y="498"/>
                </a:cubicBezTo>
                <a:close/>
                <a:moveTo>
                  <a:pt x="229" y="527"/>
                </a:moveTo>
                <a:cubicBezTo>
                  <a:pt x="229" y="527"/>
                  <a:pt x="228" y="527"/>
                  <a:pt x="227" y="527"/>
                </a:cubicBezTo>
                <a:cubicBezTo>
                  <a:pt x="227" y="527"/>
                  <a:pt x="227" y="527"/>
                  <a:pt x="226" y="527"/>
                </a:cubicBezTo>
                <a:cubicBezTo>
                  <a:pt x="226" y="527"/>
                  <a:pt x="226" y="527"/>
                  <a:pt x="226" y="528"/>
                </a:cubicBezTo>
                <a:cubicBezTo>
                  <a:pt x="225" y="528"/>
                  <a:pt x="226" y="529"/>
                  <a:pt x="226" y="529"/>
                </a:cubicBezTo>
                <a:cubicBezTo>
                  <a:pt x="226" y="529"/>
                  <a:pt x="227" y="529"/>
                  <a:pt x="227" y="528"/>
                </a:cubicBezTo>
                <a:cubicBezTo>
                  <a:pt x="227" y="528"/>
                  <a:pt x="227" y="528"/>
                  <a:pt x="227" y="528"/>
                </a:cubicBezTo>
                <a:cubicBezTo>
                  <a:pt x="228" y="528"/>
                  <a:pt x="228" y="528"/>
                  <a:pt x="229" y="529"/>
                </a:cubicBezTo>
                <a:cubicBezTo>
                  <a:pt x="229" y="529"/>
                  <a:pt x="229" y="529"/>
                  <a:pt x="229" y="529"/>
                </a:cubicBezTo>
                <a:cubicBezTo>
                  <a:pt x="230" y="529"/>
                  <a:pt x="230" y="527"/>
                  <a:pt x="229" y="527"/>
                </a:cubicBezTo>
                <a:close/>
                <a:moveTo>
                  <a:pt x="147" y="545"/>
                </a:moveTo>
                <a:cubicBezTo>
                  <a:pt x="147" y="545"/>
                  <a:pt x="147" y="545"/>
                  <a:pt x="148" y="546"/>
                </a:cubicBezTo>
                <a:cubicBezTo>
                  <a:pt x="148" y="546"/>
                  <a:pt x="148" y="546"/>
                  <a:pt x="148" y="546"/>
                </a:cubicBezTo>
                <a:cubicBezTo>
                  <a:pt x="148" y="546"/>
                  <a:pt x="148" y="545"/>
                  <a:pt x="148" y="545"/>
                </a:cubicBezTo>
                <a:cubicBezTo>
                  <a:pt x="148" y="545"/>
                  <a:pt x="148" y="545"/>
                  <a:pt x="148" y="545"/>
                </a:cubicBezTo>
                <a:cubicBezTo>
                  <a:pt x="149" y="545"/>
                  <a:pt x="149" y="544"/>
                  <a:pt x="149" y="544"/>
                </a:cubicBezTo>
                <a:cubicBezTo>
                  <a:pt x="149" y="543"/>
                  <a:pt x="148" y="543"/>
                  <a:pt x="147" y="543"/>
                </a:cubicBezTo>
                <a:cubicBezTo>
                  <a:pt x="147" y="543"/>
                  <a:pt x="146" y="544"/>
                  <a:pt x="146" y="544"/>
                </a:cubicBezTo>
                <a:cubicBezTo>
                  <a:pt x="146" y="545"/>
                  <a:pt x="146" y="545"/>
                  <a:pt x="147" y="545"/>
                </a:cubicBezTo>
                <a:close/>
                <a:moveTo>
                  <a:pt x="281" y="500"/>
                </a:moveTo>
                <a:cubicBezTo>
                  <a:pt x="281" y="500"/>
                  <a:pt x="281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499"/>
                  <a:pt x="280" y="500"/>
                  <a:pt x="280" y="499"/>
                </a:cubicBezTo>
                <a:cubicBezTo>
                  <a:pt x="280" y="499"/>
                  <a:pt x="280" y="499"/>
                  <a:pt x="280" y="499"/>
                </a:cubicBezTo>
                <a:cubicBezTo>
                  <a:pt x="280" y="499"/>
                  <a:pt x="280" y="499"/>
                  <a:pt x="279" y="499"/>
                </a:cubicBezTo>
                <a:cubicBezTo>
                  <a:pt x="279" y="499"/>
                  <a:pt x="279" y="499"/>
                  <a:pt x="279" y="499"/>
                </a:cubicBezTo>
                <a:cubicBezTo>
                  <a:pt x="279" y="498"/>
                  <a:pt x="279" y="498"/>
                  <a:pt x="278" y="498"/>
                </a:cubicBezTo>
                <a:cubicBezTo>
                  <a:pt x="278" y="498"/>
                  <a:pt x="278" y="498"/>
                  <a:pt x="278" y="498"/>
                </a:cubicBezTo>
                <a:cubicBezTo>
                  <a:pt x="277" y="498"/>
                  <a:pt x="277" y="498"/>
                  <a:pt x="276" y="499"/>
                </a:cubicBezTo>
                <a:cubicBezTo>
                  <a:pt x="276" y="499"/>
                  <a:pt x="275" y="500"/>
                  <a:pt x="276" y="501"/>
                </a:cubicBezTo>
                <a:cubicBezTo>
                  <a:pt x="276" y="501"/>
                  <a:pt x="276" y="501"/>
                  <a:pt x="276" y="501"/>
                </a:cubicBezTo>
                <a:cubicBezTo>
                  <a:pt x="276" y="502"/>
                  <a:pt x="277" y="502"/>
                  <a:pt x="277" y="501"/>
                </a:cubicBezTo>
                <a:cubicBezTo>
                  <a:pt x="277" y="501"/>
                  <a:pt x="277" y="501"/>
                  <a:pt x="277" y="501"/>
                </a:cubicBezTo>
                <a:cubicBezTo>
                  <a:pt x="277" y="501"/>
                  <a:pt x="278" y="501"/>
                  <a:pt x="278" y="501"/>
                </a:cubicBezTo>
                <a:cubicBezTo>
                  <a:pt x="278" y="502"/>
                  <a:pt x="278" y="502"/>
                  <a:pt x="279" y="502"/>
                </a:cubicBezTo>
                <a:cubicBezTo>
                  <a:pt x="279" y="502"/>
                  <a:pt x="279" y="501"/>
                  <a:pt x="279" y="501"/>
                </a:cubicBezTo>
                <a:cubicBezTo>
                  <a:pt x="279" y="501"/>
                  <a:pt x="279" y="501"/>
                  <a:pt x="279" y="501"/>
                </a:cubicBezTo>
                <a:cubicBezTo>
                  <a:pt x="280" y="501"/>
                  <a:pt x="281" y="501"/>
                  <a:pt x="281" y="500"/>
                </a:cubicBezTo>
                <a:cubicBezTo>
                  <a:pt x="281" y="500"/>
                  <a:pt x="281" y="500"/>
                  <a:pt x="281" y="500"/>
                </a:cubicBezTo>
                <a:cubicBezTo>
                  <a:pt x="281" y="500"/>
                  <a:pt x="281" y="500"/>
                  <a:pt x="281" y="500"/>
                </a:cubicBezTo>
                <a:close/>
                <a:moveTo>
                  <a:pt x="145" y="549"/>
                </a:moveTo>
                <a:cubicBezTo>
                  <a:pt x="145" y="549"/>
                  <a:pt x="145" y="549"/>
                  <a:pt x="145" y="548"/>
                </a:cubicBezTo>
                <a:cubicBezTo>
                  <a:pt x="145" y="548"/>
                  <a:pt x="144" y="548"/>
                  <a:pt x="144" y="548"/>
                </a:cubicBezTo>
                <a:cubicBezTo>
                  <a:pt x="143" y="548"/>
                  <a:pt x="143" y="548"/>
                  <a:pt x="143" y="549"/>
                </a:cubicBezTo>
                <a:cubicBezTo>
                  <a:pt x="143" y="549"/>
                  <a:pt x="143" y="549"/>
                  <a:pt x="143" y="549"/>
                </a:cubicBezTo>
                <a:cubicBezTo>
                  <a:pt x="142" y="548"/>
                  <a:pt x="142" y="548"/>
                  <a:pt x="142" y="549"/>
                </a:cubicBezTo>
                <a:cubicBezTo>
                  <a:pt x="142" y="549"/>
                  <a:pt x="142" y="549"/>
                  <a:pt x="141" y="549"/>
                </a:cubicBezTo>
                <a:cubicBezTo>
                  <a:pt x="141" y="549"/>
                  <a:pt x="141" y="548"/>
                  <a:pt x="140" y="548"/>
                </a:cubicBezTo>
                <a:cubicBezTo>
                  <a:pt x="140" y="548"/>
                  <a:pt x="141" y="547"/>
                  <a:pt x="141" y="547"/>
                </a:cubicBezTo>
                <a:cubicBezTo>
                  <a:pt x="141" y="547"/>
                  <a:pt x="141" y="546"/>
                  <a:pt x="141" y="546"/>
                </a:cubicBezTo>
                <a:cubicBezTo>
                  <a:pt x="142" y="546"/>
                  <a:pt x="142" y="546"/>
                  <a:pt x="141" y="545"/>
                </a:cubicBezTo>
                <a:cubicBezTo>
                  <a:pt x="141" y="545"/>
                  <a:pt x="141" y="545"/>
                  <a:pt x="141" y="545"/>
                </a:cubicBezTo>
                <a:cubicBezTo>
                  <a:pt x="141" y="546"/>
                  <a:pt x="140" y="546"/>
                  <a:pt x="141" y="546"/>
                </a:cubicBezTo>
                <a:cubicBezTo>
                  <a:pt x="141" y="547"/>
                  <a:pt x="141" y="547"/>
                  <a:pt x="140" y="547"/>
                </a:cubicBezTo>
                <a:cubicBezTo>
                  <a:pt x="140" y="547"/>
                  <a:pt x="140" y="547"/>
                  <a:pt x="140" y="546"/>
                </a:cubicBezTo>
                <a:cubicBezTo>
                  <a:pt x="140" y="546"/>
                  <a:pt x="139" y="546"/>
                  <a:pt x="139" y="546"/>
                </a:cubicBezTo>
                <a:cubicBezTo>
                  <a:pt x="139" y="546"/>
                  <a:pt x="138" y="546"/>
                  <a:pt x="138" y="547"/>
                </a:cubicBezTo>
                <a:cubicBezTo>
                  <a:pt x="138" y="547"/>
                  <a:pt x="139" y="547"/>
                  <a:pt x="139" y="548"/>
                </a:cubicBezTo>
                <a:cubicBezTo>
                  <a:pt x="139" y="548"/>
                  <a:pt x="139" y="548"/>
                  <a:pt x="139" y="548"/>
                </a:cubicBezTo>
                <a:cubicBezTo>
                  <a:pt x="138" y="549"/>
                  <a:pt x="138" y="549"/>
                  <a:pt x="139" y="550"/>
                </a:cubicBezTo>
                <a:cubicBezTo>
                  <a:pt x="139" y="550"/>
                  <a:pt x="138" y="550"/>
                  <a:pt x="138" y="549"/>
                </a:cubicBezTo>
                <a:cubicBezTo>
                  <a:pt x="137" y="549"/>
                  <a:pt x="137" y="549"/>
                  <a:pt x="137" y="549"/>
                </a:cubicBezTo>
                <a:cubicBezTo>
                  <a:pt x="137" y="550"/>
                  <a:pt x="137" y="550"/>
                  <a:pt x="138" y="550"/>
                </a:cubicBezTo>
                <a:cubicBezTo>
                  <a:pt x="138" y="550"/>
                  <a:pt x="138" y="550"/>
                  <a:pt x="138" y="551"/>
                </a:cubicBezTo>
                <a:cubicBezTo>
                  <a:pt x="138" y="551"/>
                  <a:pt x="137" y="551"/>
                  <a:pt x="137" y="552"/>
                </a:cubicBezTo>
                <a:cubicBezTo>
                  <a:pt x="136" y="552"/>
                  <a:pt x="136" y="552"/>
                  <a:pt x="136" y="553"/>
                </a:cubicBezTo>
                <a:cubicBezTo>
                  <a:pt x="136" y="553"/>
                  <a:pt x="136" y="554"/>
                  <a:pt x="136" y="554"/>
                </a:cubicBezTo>
                <a:cubicBezTo>
                  <a:pt x="137" y="554"/>
                  <a:pt x="137" y="553"/>
                  <a:pt x="137" y="553"/>
                </a:cubicBezTo>
                <a:cubicBezTo>
                  <a:pt x="137" y="553"/>
                  <a:pt x="137" y="552"/>
                  <a:pt x="138" y="551"/>
                </a:cubicBezTo>
                <a:cubicBezTo>
                  <a:pt x="138" y="552"/>
                  <a:pt x="138" y="552"/>
                  <a:pt x="138" y="553"/>
                </a:cubicBezTo>
                <a:cubicBezTo>
                  <a:pt x="138" y="553"/>
                  <a:pt x="138" y="553"/>
                  <a:pt x="138" y="553"/>
                </a:cubicBezTo>
                <a:cubicBezTo>
                  <a:pt x="139" y="553"/>
                  <a:pt x="139" y="553"/>
                  <a:pt x="139" y="552"/>
                </a:cubicBezTo>
                <a:cubicBezTo>
                  <a:pt x="139" y="552"/>
                  <a:pt x="140" y="552"/>
                  <a:pt x="140" y="552"/>
                </a:cubicBezTo>
                <a:cubicBezTo>
                  <a:pt x="140" y="552"/>
                  <a:pt x="141" y="551"/>
                  <a:pt x="141" y="551"/>
                </a:cubicBezTo>
                <a:cubicBezTo>
                  <a:pt x="141" y="551"/>
                  <a:pt x="142" y="551"/>
                  <a:pt x="142" y="551"/>
                </a:cubicBezTo>
                <a:cubicBezTo>
                  <a:pt x="142" y="551"/>
                  <a:pt x="142" y="551"/>
                  <a:pt x="142" y="551"/>
                </a:cubicBezTo>
                <a:cubicBezTo>
                  <a:pt x="142" y="550"/>
                  <a:pt x="142" y="550"/>
                  <a:pt x="142" y="550"/>
                </a:cubicBezTo>
                <a:cubicBezTo>
                  <a:pt x="143" y="551"/>
                  <a:pt x="143" y="550"/>
                  <a:pt x="143" y="550"/>
                </a:cubicBezTo>
                <a:cubicBezTo>
                  <a:pt x="143" y="550"/>
                  <a:pt x="143" y="550"/>
                  <a:pt x="143" y="549"/>
                </a:cubicBezTo>
                <a:cubicBezTo>
                  <a:pt x="144" y="550"/>
                  <a:pt x="144" y="550"/>
                  <a:pt x="144" y="550"/>
                </a:cubicBezTo>
                <a:cubicBezTo>
                  <a:pt x="144" y="551"/>
                  <a:pt x="144" y="551"/>
                  <a:pt x="144" y="551"/>
                </a:cubicBezTo>
                <a:cubicBezTo>
                  <a:pt x="144" y="551"/>
                  <a:pt x="144" y="551"/>
                  <a:pt x="144" y="551"/>
                </a:cubicBezTo>
                <a:cubicBezTo>
                  <a:pt x="144" y="550"/>
                  <a:pt x="145" y="551"/>
                  <a:pt x="145" y="551"/>
                </a:cubicBezTo>
                <a:cubicBezTo>
                  <a:pt x="145" y="550"/>
                  <a:pt x="145" y="550"/>
                  <a:pt x="145" y="549"/>
                </a:cubicBezTo>
                <a:cubicBezTo>
                  <a:pt x="145" y="549"/>
                  <a:pt x="145" y="549"/>
                  <a:pt x="145" y="549"/>
                </a:cubicBezTo>
                <a:close/>
                <a:moveTo>
                  <a:pt x="275" y="506"/>
                </a:moveTo>
                <a:cubicBezTo>
                  <a:pt x="275" y="506"/>
                  <a:pt x="274" y="506"/>
                  <a:pt x="274" y="507"/>
                </a:cubicBezTo>
                <a:cubicBezTo>
                  <a:pt x="274" y="507"/>
                  <a:pt x="274" y="507"/>
                  <a:pt x="274" y="507"/>
                </a:cubicBezTo>
                <a:cubicBezTo>
                  <a:pt x="274" y="507"/>
                  <a:pt x="273" y="507"/>
                  <a:pt x="273" y="507"/>
                </a:cubicBezTo>
                <a:cubicBezTo>
                  <a:pt x="273" y="508"/>
                  <a:pt x="273" y="508"/>
                  <a:pt x="273" y="508"/>
                </a:cubicBezTo>
                <a:cubicBezTo>
                  <a:pt x="273" y="509"/>
                  <a:pt x="274" y="509"/>
                  <a:pt x="274" y="509"/>
                </a:cubicBezTo>
                <a:cubicBezTo>
                  <a:pt x="274" y="509"/>
                  <a:pt x="275" y="508"/>
                  <a:pt x="275" y="508"/>
                </a:cubicBezTo>
                <a:cubicBezTo>
                  <a:pt x="275" y="508"/>
                  <a:pt x="275" y="508"/>
                  <a:pt x="275" y="508"/>
                </a:cubicBezTo>
                <a:cubicBezTo>
                  <a:pt x="275" y="508"/>
                  <a:pt x="275" y="507"/>
                  <a:pt x="275" y="507"/>
                </a:cubicBezTo>
                <a:cubicBezTo>
                  <a:pt x="275" y="507"/>
                  <a:pt x="275" y="506"/>
                  <a:pt x="276" y="506"/>
                </a:cubicBezTo>
                <a:cubicBezTo>
                  <a:pt x="276" y="506"/>
                  <a:pt x="276" y="506"/>
                  <a:pt x="276" y="506"/>
                </a:cubicBezTo>
                <a:cubicBezTo>
                  <a:pt x="276" y="506"/>
                  <a:pt x="275" y="506"/>
                  <a:pt x="275" y="506"/>
                </a:cubicBezTo>
                <a:close/>
                <a:moveTo>
                  <a:pt x="290" y="500"/>
                </a:moveTo>
                <a:cubicBezTo>
                  <a:pt x="290" y="500"/>
                  <a:pt x="289" y="500"/>
                  <a:pt x="289" y="500"/>
                </a:cubicBezTo>
                <a:cubicBezTo>
                  <a:pt x="289" y="500"/>
                  <a:pt x="288" y="500"/>
                  <a:pt x="287" y="500"/>
                </a:cubicBezTo>
                <a:cubicBezTo>
                  <a:pt x="287" y="500"/>
                  <a:pt x="287" y="501"/>
                  <a:pt x="287" y="501"/>
                </a:cubicBezTo>
                <a:cubicBezTo>
                  <a:pt x="288" y="501"/>
                  <a:pt x="289" y="501"/>
                  <a:pt x="289" y="501"/>
                </a:cubicBezTo>
                <a:cubicBezTo>
                  <a:pt x="290" y="501"/>
                  <a:pt x="290" y="501"/>
                  <a:pt x="290" y="501"/>
                </a:cubicBezTo>
                <a:cubicBezTo>
                  <a:pt x="291" y="501"/>
                  <a:pt x="291" y="500"/>
                  <a:pt x="291" y="500"/>
                </a:cubicBezTo>
                <a:cubicBezTo>
                  <a:pt x="290" y="500"/>
                  <a:pt x="290" y="500"/>
                  <a:pt x="290" y="500"/>
                </a:cubicBezTo>
                <a:close/>
                <a:moveTo>
                  <a:pt x="148" y="548"/>
                </a:moveTo>
                <a:cubicBezTo>
                  <a:pt x="147" y="549"/>
                  <a:pt x="147" y="548"/>
                  <a:pt x="147" y="548"/>
                </a:cubicBezTo>
                <a:cubicBezTo>
                  <a:pt x="146" y="548"/>
                  <a:pt x="146" y="548"/>
                  <a:pt x="146" y="548"/>
                </a:cubicBezTo>
                <a:cubicBezTo>
                  <a:pt x="146" y="548"/>
                  <a:pt x="146" y="549"/>
                  <a:pt x="146" y="549"/>
                </a:cubicBezTo>
                <a:cubicBezTo>
                  <a:pt x="146" y="550"/>
                  <a:pt x="146" y="550"/>
                  <a:pt x="147" y="550"/>
                </a:cubicBezTo>
                <a:cubicBezTo>
                  <a:pt x="147" y="550"/>
                  <a:pt x="147" y="550"/>
                  <a:pt x="147" y="549"/>
                </a:cubicBezTo>
                <a:cubicBezTo>
                  <a:pt x="147" y="549"/>
                  <a:pt x="148" y="549"/>
                  <a:pt x="148" y="549"/>
                </a:cubicBezTo>
                <a:cubicBezTo>
                  <a:pt x="148" y="549"/>
                  <a:pt x="148" y="549"/>
                  <a:pt x="148" y="549"/>
                </a:cubicBezTo>
                <a:cubicBezTo>
                  <a:pt x="148" y="548"/>
                  <a:pt x="148" y="548"/>
                  <a:pt x="148" y="548"/>
                </a:cubicBezTo>
                <a:close/>
                <a:moveTo>
                  <a:pt x="78" y="546"/>
                </a:moveTo>
                <a:cubicBezTo>
                  <a:pt x="77" y="546"/>
                  <a:pt x="77" y="546"/>
                  <a:pt x="77" y="546"/>
                </a:cubicBezTo>
                <a:cubicBezTo>
                  <a:pt x="78" y="547"/>
                  <a:pt x="78" y="547"/>
                  <a:pt x="78" y="547"/>
                </a:cubicBezTo>
                <a:cubicBezTo>
                  <a:pt x="78" y="547"/>
                  <a:pt x="79" y="547"/>
                  <a:pt x="79" y="546"/>
                </a:cubicBezTo>
                <a:cubicBezTo>
                  <a:pt x="79" y="546"/>
                  <a:pt x="78" y="546"/>
                  <a:pt x="78" y="546"/>
                </a:cubicBezTo>
                <a:close/>
                <a:moveTo>
                  <a:pt x="210" y="534"/>
                </a:moveTo>
                <a:cubicBezTo>
                  <a:pt x="209" y="534"/>
                  <a:pt x="209" y="535"/>
                  <a:pt x="209" y="535"/>
                </a:cubicBezTo>
                <a:cubicBezTo>
                  <a:pt x="209" y="536"/>
                  <a:pt x="209" y="536"/>
                  <a:pt x="210" y="536"/>
                </a:cubicBezTo>
                <a:cubicBezTo>
                  <a:pt x="210" y="536"/>
                  <a:pt x="210" y="535"/>
                  <a:pt x="210" y="535"/>
                </a:cubicBezTo>
                <a:cubicBezTo>
                  <a:pt x="210" y="535"/>
                  <a:pt x="210" y="535"/>
                  <a:pt x="210" y="534"/>
                </a:cubicBezTo>
                <a:close/>
                <a:moveTo>
                  <a:pt x="229" y="524"/>
                </a:moveTo>
                <a:cubicBezTo>
                  <a:pt x="229" y="524"/>
                  <a:pt x="229" y="524"/>
                  <a:pt x="229" y="525"/>
                </a:cubicBezTo>
                <a:cubicBezTo>
                  <a:pt x="229" y="525"/>
                  <a:pt x="229" y="525"/>
                  <a:pt x="229" y="525"/>
                </a:cubicBezTo>
                <a:cubicBezTo>
                  <a:pt x="229" y="525"/>
                  <a:pt x="230" y="525"/>
                  <a:pt x="230" y="524"/>
                </a:cubicBezTo>
                <a:cubicBezTo>
                  <a:pt x="230" y="524"/>
                  <a:pt x="230" y="524"/>
                  <a:pt x="229" y="524"/>
                </a:cubicBezTo>
                <a:close/>
                <a:moveTo>
                  <a:pt x="149" y="547"/>
                </a:moveTo>
                <a:cubicBezTo>
                  <a:pt x="149" y="547"/>
                  <a:pt x="148" y="547"/>
                  <a:pt x="148" y="547"/>
                </a:cubicBezTo>
                <a:cubicBezTo>
                  <a:pt x="148" y="547"/>
                  <a:pt x="148" y="547"/>
                  <a:pt x="147" y="548"/>
                </a:cubicBezTo>
                <a:cubicBezTo>
                  <a:pt x="148" y="548"/>
                  <a:pt x="148" y="548"/>
                  <a:pt x="149" y="548"/>
                </a:cubicBezTo>
                <a:cubicBezTo>
                  <a:pt x="149" y="548"/>
                  <a:pt x="149" y="548"/>
                  <a:pt x="149" y="548"/>
                </a:cubicBezTo>
                <a:cubicBezTo>
                  <a:pt x="150" y="547"/>
                  <a:pt x="149" y="548"/>
                  <a:pt x="149" y="547"/>
                </a:cubicBezTo>
                <a:close/>
                <a:moveTo>
                  <a:pt x="286" y="501"/>
                </a:moveTo>
                <a:cubicBezTo>
                  <a:pt x="286" y="500"/>
                  <a:pt x="285" y="501"/>
                  <a:pt x="285" y="501"/>
                </a:cubicBezTo>
                <a:cubicBezTo>
                  <a:pt x="285" y="501"/>
                  <a:pt x="285" y="501"/>
                  <a:pt x="286" y="501"/>
                </a:cubicBezTo>
                <a:cubicBezTo>
                  <a:pt x="286" y="502"/>
                  <a:pt x="286" y="501"/>
                  <a:pt x="287" y="501"/>
                </a:cubicBezTo>
                <a:cubicBezTo>
                  <a:pt x="287" y="501"/>
                  <a:pt x="286" y="501"/>
                  <a:pt x="286" y="501"/>
                </a:cubicBezTo>
                <a:close/>
                <a:moveTo>
                  <a:pt x="73" y="544"/>
                </a:moveTo>
                <a:cubicBezTo>
                  <a:pt x="73" y="544"/>
                  <a:pt x="73" y="545"/>
                  <a:pt x="73" y="545"/>
                </a:cubicBezTo>
                <a:cubicBezTo>
                  <a:pt x="73" y="545"/>
                  <a:pt x="73" y="546"/>
                  <a:pt x="73" y="546"/>
                </a:cubicBezTo>
                <a:cubicBezTo>
                  <a:pt x="74" y="546"/>
                  <a:pt x="74" y="546"/>
                  <a:pt x="74" y="545"/>
                </a:cubicBezTo>
                <a:cubicBezTo>
                  <a:pt x="74" y="545"/>
                  <a:pt x="74" y="544"/>
                  <a:pt x="73" y="544"/>
                </a:cubicBezTo>
                <a:close/>
                <a:moveTo>
                  <a:pt x="226" y="526"/>
                </a:moveTo>
                <a:cubicBezTo>
                  <a:pt x="226" y="526"/>
                  <a:pt x="225" y="526"/>
                  <a:pt x="225" y="526"/>
                </a:cubicBezTo>
                <a:cubicBezTo>
                  <a:pt x="224" y="526"/>
                  <a:pt x="224" y="526"/>
                  <a:pt x="224" y="526"/>
                </a:cubicBezTo>
                <a:cubicBezTo>
                  <a:pt x="224" y="527"/>
                  <a:pt x="224" y="527"/>
                  <a:pt x="224" y="527"/>
                </a:cubicBezTo>
                <a:cubicBezTo>
                  <a:pt x="225" y="527"/>
                  <a:pt x="225" y="527"/>
                  <a:pt x="225" y="527"/>
                </a:cubicBezTo>
                <a:cubicBezTo>
                  <a:pt x="225" y="527"/>
                  <a:pt x="226" y="527"/>
                  <a:pt x="226" y="526"/>
                </a:cubicBezTo>
                <a:close/>
                <a:moveTo>
                  <a:pt x="275" y="503"/>
                </a:moveTo>
                <a:cubicBezTo>
                  <a:pt x="275" y="503"/>
                  <a:pt x="275" y="503"/>
                  <a:pt x="275" y="503"/>
                </a:cubicBezTo>
                <a:cubicBezTo>
                  <a:pt x="274" y="504"/>
                  <a:pt x="275" y="503"/>
                  <a:pt x="275" y="504"/>
                </a:cubicBezTo>
                <a:cubicBezTo>
                  <a:pt x="275" y="504"/>
                  <a:pt x="276" y="504"/>
                  <a:pt x="276" y="503"/>
                </a:cubicBezTo>
                <a:cubicBezTo>
                  <a:pt x="276" y="503"/>
                  <a:pt x="275" y="503"/>
                  <a:pt x="275" y="503"/>
                </a:cubicBezTo>
                <a:close/>
                <a:moveTo>
                  <a:pt x="223" y="529"/>
                </a:moveTo>
                <a:cubicBezTo>
                  <a:pt x="223" y="529"/>
                  <a:pt x="223" y="530"/>
                  <a:pt x="223" y="530"/>
                </a:cubicBezTo>
                <a:cubicBezTo>
                  <a:pt x="223" y="531"/>
                  <a:pt x="224" y="530"/>
                  <a:pt x="224" y="530"/>
                </a:cubicBezTo>
                <a:cubicBezTo>
                  <a:pt x="224" y="530"/>
                  <a:pt x="224" y="530"/>
                  <a:pt x="224" y="530"/>
                </a:cubicBezTo>
                <a:cubicBezTo>
                  <a:pt x="224" y="530"/>
                  <a:pt x="224" y="530"/>
                  <a:pt x="224" y="530"/>
                </a:cubicBezTo>
                <a:cubicBezTo>
                  <a:pt x="224" y="530"/>
                  <a:pt x="224" y="530"/>
                  <a:pt x="224" y="530"/>
                </a:cubicBezTo>
                <a:cubicBezTo>
                  <a:pt x="225" y="530"/>
                  <a:pt x="225" y="530"/>
                  <a:pt x="225" y="529"/>
                </a:cubicBezTo>
                <a:cubicBezTo>
                  <a:pt x="224" y="529"/>
                  <a:pt x="224" y="529"/>
                  <a:pt x="223" y="529"/>
                </a:cubicBezTo>
                <a:close/>
                <a:moveTo>
                  <a:pt x="76" y="549"/>
                </a:moveTo>
                <a:cubicBezTo>
                  <a:pt x="76" y="549"/>
                  <a:pt x="75" y="549"/>
                  <a:pt x="75" y="549"/>
                </a:cubicBezTo>
                <a:cubicBezTo>
                  <a:pt x="75" y="549"/>
                  <a:pt x="75" y="549"/>
                  <a:pt x="75" y="550"/>
                </a:cubicBezTo>
                <a:cubicBezTo>
                  <a:pt x="75" y="550"/>
                  <a:pt x="75" y="550"/>
                  <a:pt x="75" y="550"/>
                </a:cubicBezTo>
                <a:cubicBezTo>
                  <a:pt x="76" y="550"/>
                  <a:pt x="76" y="550"/>
                  <a:pt x="76" y="550"/>
                </a:cubicBezTo>
                <a:cubicBezTo>
                  <a:pt x="76" y="550"/>
                  <a:pt x="76" y="550"/>
                  <a:pt x="76" y="550"/>
                </a:cubicBezTo>
                <a:cubicBezTo>
                  <a:pt x="76" y="550"/>
                  <a:pt x="76" y="549"/>
                  <a:pt x="76" y="549"/>
                </a:cubicBezTo>
                <a:close/>
                <a:moveTo>
                  <a:pt x="45" y="538"/>
                </a:moveTo>
                <a:cubicBezTo>
                  <a:pt x="45" y="538"/>
                  <a:pt x="45" y="537"/>
                  <a:pt x="44" y="538"/>
                </a:cubicBezTo>
                <a:cubicBezTo>
                  <a:pt x="44" y="538"/>
                  <a:pt x="44" y="538"/>
                  <a:pt x="45" y="538"/>
                </a:cubicBezTo>
                <a:cubicBezTo>
                  <a:pt x="45" y="538"/>
                  <a:pt x="45" y="538"/>
                  <a:pt x="45" y="538"/>
                </a:cubicBezTo>
                <a:cubicBezTo>
                  <a:pt x="45" y="538"/>
                  <a:pt x="45" y="538"/>
                  <a:pt x="45" y="538"/>
                </a:cubicBezTo>
                <a:cubicBezTo>
                  <a:pt x="45" y="538"/>
                  <a:pt x="45" y="538"/>
                  <a:pt x="45" y="538"/>
                </a:cubicBezTo>
                <a:close/>
                <a:moveTo>
                  <a:pt x="151" y="546"/>
                </a:moveTo>
                <a:cubicBezTo>
                  <a:pt x="151" y="546"/>
                  <a:pt x="150" y="546"/>
                  <a:pt x="151" y="547"/>
                </a:cubicBezTo>
                <a:cubicBezTo>
                  <a:pt x="151" y="547"/>
                  <a:pt x="151" y="547"/>
                  <a:pt x="152" y="547"/>
                </a:cubicBezTo>
                <a:cubicBezTo>
                  <a:pt x="151" y="547"/>
                  <a:pt x="151" y="546"/>
                  <a:pt x="151" y="546"/>
                </a:cubicBezTo>
                <a:close/>
                <a:moveTo>
                  <a:pt x="150" y="545"/>
                </a:moveTo>
                <a:cubicBezTo>
                  <a:pt x="150" y="545"/>
                  <a:pt x="150" y="545"/>
                  <a:pt x="150" y="546"/>
                </a:cubicBezTo>
                <a:cubicBezTo>
                  <a:pt x="149" y="546"/>
                  <a:pt x="150" y="546"/>
                  <a:pt x="150" y="546"/>
                </a:cubicBezTo>
                <a:cubicBezTo>
                  <a:pt x="150" y="546"/>
                  <a:pt x="150" y="546"/>
                  <a:pt x="150" y="546"/>
                </a:cubicBezTo>
                <a:cubicBezTo>
                  <a:pt x="150" y="545"/>
                  <a:pt x="150" y="545"/>
                  <a:pt x="150" y="545"/>
                </a:cubicBezTo>
                <a:close/>
                <a:moveTo>
                  <a:pt x="21" y="530"/>
                </a:moveTo>
                <a:cubicBezTo>
                  <a:pt x="21" y="530"/>
                  <a:pt x="21" y="530"/>
                  <a:pt x="21" y="530"/>
                </a:cubicBezTo>
                <a:cubicBezTo>
                  <a:pt x="21" y="530"/>
                  <a:pt x="22" y="530"/>
                  <a:pt x="22" y="530"/>
                </a:cubicBezTo>
                <a:cubicBezTo>
                  <a:pt x="22" y="531"/>
                  <a:pt x="22" y="530"/>
                  <a:pt x="22" y="530"/>
                </a:cubicBezTo>
                <a:cubicBezTo>
                  <a:pt x="22" y="530"/>
                  <a:pt x="22" y="530"/>
                  <a:pt x="21" y="530"/>
                </a:cubicBezTo>
                <a:close/>
                <a:moveTo>
                  <a:pt x="283" y="501"/>
                </a:moveTo>
                <a:cubicBezTo>
                  <a:pt x="283" y="501"/>
                  <a:pt x="282" y="502"/>
                  <a:pt x="283" y="502"/>
                </a:cubicBezTo>
                <a:cubicBezTo>
                  <a:pt x="283" y="502"/>
                  <a:pt x="283" y="502"/>
                  <a:pt x="283" y="502"/>
                </a:cubicBezTo>
                <a:cubicBezTo>
                  <a:pt x="284" y="502"/>
                  <a:pt x="283" y="501"/>
                  <a:pt x="283" y="501"/>
                </a:cubicBezTo>
                <a:close/>
                <a:moveTo>
                  <a:pt x="152" y="546"/>
                </a:moveTo>
                <a:cubicBezTo>
                  <a:pt x="152" y="546"/>
                  <a:pt x="153" y="546"/>
                  <a:pt x="153" y="546"/>
                </a:cubicBezTo>
                <a:cubicBezTo>
                  <a:pt x="152" y="546"/>
                  <a:pt x="152" y="546"/>
                  <a:pt x="152" y="546"/>
                </a:cubicBezTo>
                <a:close/>
                <a:moveTo>
                  <a:pt x="109" y="560"/>
                </a:moveTo>
                <a:cubicBezTo>
                  <a:pt x="108" y="560"/>
                  <a:pt x="108" y="560"/>
                  <a:pt x="108" y="561"/>
                </a:cubicBezTo>
                <a:cubicBezTo>
                  <a:pt x="108" y="561"/>
                  <a:pt x="109" y="561"/>
                  <a:pt x="109" y="561"/>
                </a:cubicBezTo>
                <a:cubicBezTo>
                  <a:pt x="109" y="561"/>
                  <a:pt x="109" y="560"/>
                  <a:pt x="109" y="560"/>
                </a:cubicBezTo>
                <a:close/>
                <a:moveTo>
                  <a:pt x="270" y="505"/>
                </a:moveTo>
                <a:cubicBezTo>
                  <a:pt x="270" y="505"/>
                  <a:pt x="270" y="504"/>
                  <a:pt x="270" y="504"/>
                </a:cubicBezTo>
                <a:cubicBezTo>
                  <a:pt x="270" y="504"/>
                  <a:pt x="270" y="505"/>
                  <a:pt x="270" y="505"/>
                </a:cubicBezTo>
                <a:cubicBezTo>
                  <a:pt x="270" y="505"/>
                  <a:pt x="270" y="505"/>
                  <a:pt x="270" y="505"/>
                </a:cubicBezTo>
                <a:close/>
                <a:moveTo>
                  <a:pt x="211" y="533"/>
                </a:moveTo>
                <a:cubicBezTo>
                  <a:pt x="211" y="533"/>
                  <a:pt x="211" y="533"/>
                  <a:pt x="211" y="534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11" y="533"/>
                  <a:pt x="211" y="533"/>
                  <a:pt x="211" y="533"/>
                </a:cubicBezTo>
                <a:close/>
                <a:moveTo>
                  <a:pt x="67" y="546"/>
                </a:moveTo>
                <a:cubicBezTo>
                  <a:pt x="67" y="546"/>
                  <a:pt x="67" y="546"/>
                  <a:pt x="67" y="546"/>
                </a:cubicBezTo>
                <a:cubicBezTo>
                  <a:pt x="67" y="546"/>
                  <a:pt x="67" y="546"/>
                  <a:pt x="68" y="546"/>
                </a:cubicBezTo>
                <a:cubicBezTo>
                  <a:pt x="67" y="546"/>
                  <a:pt x="67" y="546"/>
                  <a:pt x="67" y="546"/>
                </a:cubicBezTo>
                <a:close/>
                <a:moveTo>
                  <a:pt x="113" y="555"/>
                </a:moveTo>
                <a:cubicBezTo>
                  <a:pt x="113" y="554"/>
                  <a:pt x="112" y="554"/>
                  <a:pt x="112" y="554"/>
                </a:cubicBezTo>
                <a:cubicBezTo>
                  <a:pt x="112" y="555"/>
                  <a:pt x="113" y="555"/>
                  <a:pt x="113" y="555"/>
                </a:cubicBezTo>
                <a:close/>
                <a:moveTo>
                  <a:pt x="111" y="558"/>
                </a:moveTo>
                <a:cubicBezTo>
                  <a:pt x="111" y="558"/>
                  <a:pt x="110" y="558"/>
                  <a:pt x="110" y="558"/>
                </a:cubicBezTo>
                <a:cubicBezTo>
                  <a:pt x="111" y="559"/>
                  <a:pt x="110" y="559"/>
                  <a:pt x="110" y="559"/>
                </a:cubicBezTo>
                <a:cubicBezTo>
                  <a:pt x="111" y="559"/>
                  <a:pt x="111" y="559"/>
                  <a:pt x="111" y="559"/>
                </a:cubicBezTo>
                <a:cubicBezTo>
                  <a:pt x="111" y="559"/>
                  <a:pt x="111" y="559"/>
                  <a:pt x="111" y="559"/>
                </a:cubicBezTo>
                <a:cubicBezTo>
                  <a:pt x="111" y="559"/>
                  <a:pt x="111" y="558"/>
                  <a:pt x="111" y="558"/>
                </a:cubicBezTo>
                <a:close/>
                <a:moveTo>
                  <a:pt x="291" y="498"/>
                </a:moveTo>
                <a:cubicBezTo>
                  <a:pt x="292" y="498"/>
                  <a:pt x="292" y="498"/>
                  <a:pt x="292" y="498"/>
                </a:cubicBezTo>
                <a:cubicBezTo>
                  <a:pt x="292" y="498"/>
                  <a:pt x="292" y="498"/>
                  <a:pt x="291" y="498"/>
                </a:cubicBezTo>
                <a:close/>
                <a:moveTo>
                  <a:pt x="20" y="530"/>
                </a:moveTo>
                <a:cubicBezTo>
                  <a:pt x="20" y="530"/>
                  <a:pt x="20" y="530"/>
                  <a:pt x="20" y="530"/>
                </a:cubicBezTo>
                <a:cubicBezTo>
                  <a:pt x="20" y="530"/>
                  <a:pt x="20" y="530"/>
                  <a:pt x="20" y="530"/>
                </a:cubicBezTo>
                <a:close/>
                <a:moveTo>
                  <a:pt x="113" y="549"/>
                </a:moveTo>
                <a:cubicBezTo>
                  <a:pt x="113" y="550"/>
                  <a:pt x="113" y="550"/>
                  <a:pt x="113" y="550"/>
                </a:cubicBezTo>
                <a:cubicBezTo>
                  <a:pt x="113" y="550"/>
                  <a:pt x="113" y="550"/>
                  <a:pt x="113" y="550"/>
                </a:cubicBezTo>
                <a:cubicBezTo>
                  <a:pt x="113" y="551"/>
                  <a:pt x="112" y="551"/>
                  <a:pt x="112" y="550"/>
                </a:cubicBezTo>
                <a:cubicBezTo>
                  <a:pt x="112" y="550"/>
                  <a:pt x="112" y="549"/>
                  <a:pt x="112" y="549"/>
                </a:cubicBezTo>
                <a:cubicBezTo>
                  <a:pt x="113" y="548"/>
                  <a:pt x="113" y="549"/>
                  <a:pt x="113" y="549"/>
                </a:cubicBezTo>
                <a:cubicBezTo>
                  <a:pt x="113" y="549"/>
                  <a:pt x="113" y="549"/>
                  <a:pt x="113" y="549"/>
                </a:cubicBezTo>
                <a:close/>
                <a:moveTo>
                  <a:pt x="113" y="549"/>
                </a:moveTo>
                <a:cubicBezTo>
                  <a:pt x="113" y="549"/>
                  <a:pt x="113" y="549"/>
                  <a:pt x="113" y="549"/>
                </a:cubicBezTo>
                <a:cubicBezTo>
                  <a:pt x="113" y="549"/>
                  <a:pt x="113" y="549"/>
                  <a:pt x="113" y="549"/>
                </a:cubicBezTo>
                <a:close/>
                <a:moveTo>
                  <a:pt x="115" y="553"/>
                </a:moveTo>
                <a:cubicBezTo>
                  <a:pt x="115" y="553"/>
                  <a:pt x="114" y="553"/>
                  <a:pt x="114" y="554"/>
                </a:cubicBezTo>
                <a:cubicBezTo>
                  <a:pt x="114" y="554"/>
                  <a:pt x="114" y="554"/>
                  <a:pt x="115" y="554"/>
                </a:cubicBezTo>
                <a:cubicBezTo>
                  <a:pt x="115" y="554"/>
                  <a:pt x="115" y="554"/>
                  <a:pt x="115" y="553"/>
                </a:cubicBezTo>
                <a:cubicBezTo>
                  <a:pt x="115" y="553"/>
                  <a:pt x="115" y="553"/>
                  <a:pt x="115" y="553"/>
                </a:cubicBezTo>
                <a:close/>
                <a:moveTo>
                  <a:pt x="229" y="523"/>
                </a:moveTo>
                <a:cubicBezTo>
                  <a:pt x="229" y="523"/>
                  <a:pt x="229" y="523"/>
                  <a:pt x="228" y="523"/>
                </a:cubicBezTo>
                <a:cubicBezTo>
                  <a:pt x="228" y="523"/>
                  <a:pt x="228" y="523"/>
                  <a:pt x="228" y="523"/>
                </a:cubicBezTo>
                <a:cubicBezTo>
                  <a:pt x="228" y="523"/>
                  <a:pt x="229" y="523"/>
                  <a:pt x="229" y="523"/>
                </a:cubicBezTo>
                <a:close/>
                <a:moveTo>
                  <a:pt x="88" y="558"/>
                </a:moveTo>
                <a:cubicBezTo>
                  <a:pt x="88" y="558"/>
                  <a:pt x="88" y="558"/>
                  <a:pt x="88" y="558"/>
                </a:cubicBezTo>
                <a:cubicBezTo>
                  <a:pt x="88" y="557"/>
                  <a:pt x="88" y="558"/>
                  <a:pt x="87" y="557"/>
                </a:cubicBezTo>
                <a:cubicBezTo>
                  <a:pt x="87" y="557"/>
                  <a:pt x="87" y="557"/>
                  <a:pt x="87" y="557"/>
                </a:cubicBezTo>
                <a:cubicBezTo>
                  <a:pt x="87" y="556"/>
                  <a:pt x="86" y="556"/>
                  <a:pt x="86" y="556"/>
                </a:cubicBezTo>
                <a:cubicBezTo>
                  <a:pt x="86" y="556"/>
                  <a:pt x="86" y="556"/>
                  <a:pt x="86" y="556"/>
                </a:cubicBezTo>
                <a:cubicBezTo>
                  <a:pt x="86" y="556"/>
                  <a:pt x="85" y="555"/>
                  <a:pt x="85" y="555"/>
                </a:cubicBezTo>
                <a:cubicBezTo>
                  <a:pt x="85" y="555"/>
                  <a:pt x="84" y="554"/>
                  <a:pt x="84" y="554"/>
                </a:cubicBezTo>
                <a:cubicBezTo>
                  <a:pt x="84" y="554"/>
                  <a:pt x="83" y="554"/>
                  <a:pt x="83" y="553"/>
                </a:cubicBezTo>
                <a:cubicBezTo>
                  <a:pt x="83" y="553"/>
                  <a:pt x="83" y="553"/>
                  <a:pt x="82" y="553"/>
                </a:cubicBezTo>
                <a:cubicBezTo>
                  <a:pt x="82" y="553"/>
                  <a:pt x="81" y="553"/>
                  <a:pt x="80" y="552"/>
                </a:cubicBezTo>
                <a:cubicBezTo>
                  <a:pt x="80" y="552"/>
                  <a:pt x="80" y="552"/>
                  <a:pt x="80" y="553"/>
                </a:cubicBezTo>
                <a:cubicBezTo>
                  <a:pt x="80" y="553"/>
                  <a:pt x="80" y="553"/>
                  <a:pt x="80" y="553"/>
                </a:cubicBezTo>
                <a:cubicBezTo>
                  <a:pt x="80" y="553"/>
                  <a:pt x="80" y="554"/>
                  <a:pt x="80" y="554"/>
                </a:cubicBezTo>
                <a:cubicBezTo>
                  <a:pt x="81" y="554"/>
                  <a:pt x="82" y="554"/>
                  <a:pt x="83" y="554"/>
                </a:cubicBezTo>
                <a:cubicBezTo>
                  <a:pt x="83" y="555"/>
                  <a:pt x="83" y="555"/>
                  <a:pt x="84" y="555"/>
                </a:cubicBezTo>
                <a:cubicBezTo>
                  <a:pt x="84" y="555"/>
                  <a:pt x="85" y="556"/>
                  <a:pt x="85" y="556"/>
                </a:cubicBezTo>
                <a:cubicBezTo>
                  <a:pt x="85" y="557"/>
                  <a:pt x="86" y="557"/>
                  <a:pt x="87" y="558"/>
                </a:cubicBezTo>
                <a:cubicBezTo>
                  <a:pt x="87" y="558"/>
                  <a:pt x="87" y="558"/>
                  <a:pt x="87" y="558"/>
                </a:cubicBezTo>
                <a:cubicBezTo>
                  <a:pt x="87" y="559"/>
                  <a:pt x="87" y="559"/>
                  <a:pt x="88" y="559"/>
                </a:cubicBezTo>
                <a:cubicBezTo>
                  <a:pt x="88" y="559"/>
                  <a:pt x="89" y="559"/>
                  <a:pt x="89" y="558"/>
                </a:cubicBezTo>
                <a:cubicBezTo>
                  <a:pt x="89" y="558"/>
                  <a:pt x="90" y="558"/>
                  <a:pt x="90" y="558"/>
                </a:cubicBezTo>
                <a:cubicBezTo>
                  <a:pt x="90" y="559"/>
                  <a:pt x="90" y="558"/>
                  <a:pt x="90" y="558"/>
                </a:cubicBezTo>
                <a:cubicBezTo>
                  <a:pt x="90" y="558"/>
                  <a:pt x="90" y="558"/>
                  <a:pt x="90" y="558"/>
                </a:cubicBezTo>
                <a:cubicBezTo>
                  <a:pt x="90" y="558"/>
                  <a:pt x="89" y="557"/>
                  <a:pt x="88" y="558"/>
                </a:cubicBezTo>
                <a:close/>
                <a:moveTo>
                  <a:pt x="148" y="547"/>
                </a:moveTo>
                <a:cubicBezTo>
                  <a:pt x="148" y="547"/>
                  <a:pt x="148" y="547"/>
                  <a:pt x="148" y="547"/>
                </a:cubicBezTo>
                <a:cubicBezTo>
                  <a:pt x="148" y="547"/>
                  <a:pt x="148" y="547"/>
                  <a:pt x="148" y="547"/>
                </a:cubicBezTo>
                <a:cubicBezTo>
                  <a:pt x="148" y="546"/>
                  <a:pt x="148" y="546"/>
                  <a:pt x="148" y="546"/>
                </a:cubicBezTo>
                <a:cubicBezTo>
                  <a:pt x="148" y="546"/>
                  <a:pt x="148" y="547"/>
                  <a:pt x="148" y="547"/>
                </a:cubicBezTo>
                <a:close/>
                <a:moveTo>
                  <a:pt x="321" y="494"/>
                </a:moveTo>
                <a:cubicBezTo>
                  <a:pt x="321" y="493"/>
                  <a:pt x="321" y="493"/>
                  <a:pt x="321" y="492"/>
                </a:cubicBezTo>
                <a:cubicBezTo>
                  <a:pt x="321" y="492"/>
                  <a:pt x="321" y="492"/>
                  <a:pt x="321" y="492"/>
                </a:cubicBezTo>
                <a:cubicBezTo>
                  <a:pt x="321" y="492"/>
                  <a:pt x="321" y="492"/>
                  <a:pt x="321" y="492"/>
                </a:cubicBezTo>
                <a:cubicBezTo>
                  <a:pt x="320" y="492"/>
                  <a:pt x="319" y="492"/>
                  <a:pt x="319" y="492"/>
                </a:cubicBezTo>
                <a:cubicBezTo>
                  <a:pt x="319" y="492"/>
                  <a:pt x="318" y="492"/>
                  <a:pt x="318" y="492"/>
                </a:cubicBezTo>
                <a:cubicBezTo>
                  <a:pt x="318" y="492"/>
                  <a:pt x="318" y="492"/>
                  <a:pt x="318" y="492"/>
                </a:cubicBezTo>
                <a:cubicBezTo>
                  <a:pt x="318" y="493"/>
                  <a:pt x="319" y="493"/>
                  <a:pt x="319" y="493"/>
                </a:cubicBezTo>
                <a:cubicBezTo>
                  <a:pt x="319" y="494"/>
                  <a:pt x="320" y="494"/>
                  <a:pt x="320" y="494"/>
                </a:cubicBezTo>
                <a:cubicBezTo>
                  <a:pt x="320" y="494"/>
                  <a:pt x="320" y="494"/>
                  <a:pt x="320" y="494"/>
                </a:cubicBezTo>
                <a:cubicBezTo>
                  <a:pt x="320" y="495"/>
                  <a:pt x="320" y="494"/>
                  <a:pt x="320" y="494"/>
                </a:cubicBezTo>
                <a:cubicBezTo>
                  <a:pt x="320" y="494"/>
                  <a:pt x="320" y="494"/>
                  <a:pt x="321" y="494"/>
                </a:cubicBezTo>
                <a:cubicBezTo>
                  <a:pt x="321" y="494"/>
                  <a:pt x="321" y="494"/>
                  <a:pt x="321" y="494"/>
                </a:cubicBezTo>
                <a:close/>
                <a:moveTo>
                  <a:pt x="323" y="481"/>
                </a:moveTo>
                <a:cubicBezTo>
                  <a:pt x="323" y="481"/>
                  <a:pt x="323" y="481"/>
                  <a:pt x="323" y="481"/>
                </a:cubicBezTo>
                <a:cubicBezTo>
                  <a:pt x="323" y="482"/>
                  <a:pt x="323" y="482"/>
                  <a:pt x="323" y="482"/>
                </a:cubicBezTo>
                <a:cubicBezTo>
                  <a:pt x="323" y="482"/>
                  <a:pt x="323" y="483"/>
                  <a:pt x="323" y="483"/>
                </a:cubicBezTo>
                <a:cubicBezTo>
                  <a:pt x="324" y="483"/>
                  <a:pt x="324" y="483"/>
                  <a:pt x="324" y="483"/>
                </a:cubicBezTo>
                <a:cubicBezTo>
                  <a:pt x="324" y="484"/>
                  <a:pt x="325" y="484"/>
                  <a:pt x="325" y="484"/>
                </a:cubicBezTo>
                <a:cubicBezTo>
                  <a:pt x="325" y="484"/>
                  <a:pt x="325" y="483"/>
                  <a:pt x="325" y="483"/>
                </a:cubicBezTo>
                <a:cubicBezTo>
                  <a:pt x="325" y="483"/>
                  <a:pt x="326" y="482"/>
                  <a:pt x="326" y="481"/>
                </a:cubicBezTo>
                <a:cubicBezTo>
                  <a:pt x="326" y="481"/>
                  <a:pt x="326" y="481"/>
                  <a:pt x="326" y="481"/>
                </a:cubicBezTo>
                <a:cubicBezTo>
                  <a:pt x="326" y="481"/>
                  <a:pt x="325" y="481"/>
                  <a:pt x="325" y="481"/>
                </a:cubicBezTo>
                <a:cubicBezTo>
                  <a:pt x="325" y="481"/>
                  <a:pt x="325" y="481"/>
                  <a:pt x="324" y="481"/>
                </a:cubicBezTo>
                <a:cubicBezTo>
                  <a:pt x="324" y="481"/>
                  <a:pt x="324" y="481"/>
                  <a:pt x="323" y="481"/>
                </a:cubicBezTo>
                <a:close/>
                <a:moveTo>
                  <a:pt x="333" y="477"/>
                </a:moveTo>
                <a:cubicBezTo>
                  <a:pt x="333" y="477"/>
                  <a:pt x="332" y="477"/>
                  <a:pt x="332" y="477"/>
                </a:cubicBezTo>
                <a:cubicBezTo>
                  <a:pt x="332" y="477"/>
                  <a:pt x="332" y="477"/>
                  <a:pt x="332" y="477"/>
                </a:cubicBezTo>
                <a:cubicBezTo>
                  <a:pt x="331" y="477"/>
                  <a:pt x="331" y="477"/>
                  <a:pt x="330" y="477"/>
                </a:cubicBezTo>
                <a:cubicBezTo>
                  <a:pt x="330" y="477"/>
                  <a:pt x="330" y="477"/>
                  <a:pt x="330" y="477"/>
                </a:cubicBezTo>
                <a:cubicBezTo>
                  <a:pt x="330" y="477"/>
                  <a:pt x="330" y="477"/>
                  <a:pt x="330" y="477"/>
                </a:cubicBezTo>
                <a:cubicBezTo>
                  <a:pt x="330" y="477"/>
                  <a:pt x="330" y="477"/>
                  <a:pt x="331" y="478"/>
                </a:cubicBezTo>
                <a:cubicBezTo>
                  <a:pt x="331" y="478"/>
                  <a:pt x="331" y="478"/>
                  <a:pt x="331" y="478"/>
                </a:cubicBezTo>
                <a:cubicBezTo>
                  <a:pt x="331" y="478"/>
                  <a:pt x="331" y="478"/>
                  <a:pt x="332" y="479"/>
                </a:cubicBezTo>
                <a:cubicBezTo>
                  <a:pt x="332" y="479"/>
                  <a:pt x="332" y="479"/>
                  <a:pt x="332" y="479"/>
                </a:cubicBezTo>
                <a:cubicBezTo>
                  <a:pt x="332" y="479"/>
                  <a:pt x="332" y="479"/>
                  <a:pt x="332" y="479"/>
                </a:cubicBezTo>
                <a:cubicBezTo>
                  <a:pt x="333" y="479"/>
                  <a:pt x="333" y="479"/>
                  <a:pt x="333" y="479"/>
                </a:cubicBezTo>
                <a:cubicBezTo>
                  <a:pt x="333" y="478"/>
                  <a:pt x="333" y="478"/>
                  <a:pt x="333" y="478"/>
                </a:cubicBezTo>
                <a:cubicBezTo>
                  <a:pt x="333" y="478"/>
                  <a:pt x="333" y="478"/>
                  <a:pt x="333" y="477"/>
                </a:cubicBezTo>
                <a:close/>
                <a:moveTo>
                  <a:pt x="344" y="472"/>
                </a:moveTo>
                <a:cubicBezTo>
                  <a:pt x="344" y="472"/>
                  <a:pt x="344" y="472"/>
                  <a:pt x="343" y="473"/>
                </a:cubicBezTo>
                <a:cubicBezTo>
                  <a:pt x="343" y="473"/>
                  <a:pt x="343" y="474"/>
                  <a:pt x="343" y="474"/>
                </a:cubicBezTo>
                <a:cubicBezTo>
                  <a:pt x="343" y="475"/>
                  <a:pt x="343" y="476"/>
                  <a:pt x="343" y="476"/>
                </a:cubicBezTo>
                <a:cubicBezTo>
                  <a:pt x="344" y="477"/>
                  <a:pt x="344" y="477"/>
                  <a:pt x="344" y="477"/>
                </a:cubicBezTo>
                <a:cubicBezTo>
                  <a:pt x="344" y="477"/>
                  <a:pt x="344" y="476"/>
                  <a:pt x="344" y="476"/>
                </a:cubicBezTo>
                <a:cubicBezTo>
                  <a:pt x="345" y="476"/>
                  <a:pt x="345" y="476"/>
                  <a:pt x="346" y="476"/>
                </a:cubicBezTo>
                <a:cubicBezTo>
                  <a:pt x="346" y="476"/>
                  <a:pt x="347" y="477"/>
                  <a:pt x="347" y="477"/>
                </a:cubicBezTo>
                <a:cubicBezTo>
                  <a:pt x="347" y="477"/>
                  <a:pt x="347" y="477"/>
                  <a:pt x="347" y="477"/>
                </a:cubicBezTo>
                <a:cubicBezTo>
                  <a:pt x="347" y="477"/>
                  <a:pt x="347" y="477"/>
                  <a:pt x="347" y="477"/>
                </a:cubicBezTo>
                <a:cubicBezTo>
                  <a:pt x="348" y="477"/>
                  <a:pt x="348" y="476"/>
                  <a:pt x="348" y="476"/>
                </a:cubicBezTo>
                <a:cubicBezTo>
                  <a:pt x="347" y="476"/>
                  <a:pt x="347" y="475"/>
                  <a:pt x="347" y="475"/>
                </a:cubicBezTo>
                <a:cubicBezTo>
                  <a:pt x="347" y="475"/>
                  <a:pt x="347" y="475"/>
                  <a:pt x="347" y="474"/>
                </a:cubicBezTo>
                <a:cubicBezTo>
                  <a:pt x="347" y="474"/>
                  <a:pt x="348" y="474"/>
                  <a:pt x="348" y="474"/>
                </a:cubicBezTo>
                <a:cubicBezTo>
                  <a:pt x="349" y="474"/>
                  <a:pt x="350" y="474"/>
                  <a:pt x="350" y="474"/>
                </a:cubicBezTo>
                <a:cubicBezTo>
                  <a:pt x="350" y="473"/>
                  <a:pt x="350" y="473"/>
                  <a:pt x="349" y="473"/>
                </a:cubicBezTo>
                <a:cubicBezTo>
                  <a:pt x="349" y="473"/>
                  <a:pt x="349" y="473"/>
                  <a:pt x="348" y="473"/>
                </a:cubicBezTo>
                <a:cubicBezTo>
                  <a:pt x="348" y="473"/>
                  <a:pt x="347" y="472"/>
                  <a:pt x="348" y="472"/>
                </a:cubicBezTo>
                <a:cubicBezTo>
                  <a:pt x="347" y="472"/>
                  <a:pt x="347" y="472"/>
                  <a:pt x="347" y="472"/>
                </a:cubicBezTo>
                <a:cubicBezTo>
                  <a:pt x="346" y="472"/>
                  <a:pt x="346" y="472"/>
                  <a:pt x="346" y="472"/>
                </a:cubicBezTo>
                <a:cubicBezTo>
                  <a:pt x="346" y="472"/>
                  <a:pt x="346" y="472"/>
                  <a:pt x="346" y="472"/>
                </a:cubicBezTo>
                <a:cubicBezTo>
                  <a:pt x="345" y="471"/>
                  <a:pt x="345" y="472"/>
                  <a:pt x="344" y="472"/>
                </a:cubicBezTo>
                <a:close/>
                <a:moveTo>
                  <a:pt x="352" y="471"/>
                </a:moveTo>
                <a:cubicBezTo>
                  <a:pt x="352" y="471"/>
                  <a:pt x="352" y="471"/>
                  <a:pt x="352" y="471"/>
                </a:cubicBezTo>
                <a:cubicBezTo>
                  <a:pt x="352" y="470"/>
                  <a:pt x="352" y="470"/>
                  <a:pt x="352" y="470"/>
                </a:cubicBezTo>
                <a:cubicBezTo>
                  <a:pt x="351" y="470"/>
                  <a:pt x="351" y="470"/>
                  <a:pt x="351" y="470"/>
                </a:cubicBezTo>
                <a:cubicBezTo>
                  <a:pt x="351" y="470"/>
                  <a:pt x="351" y="470"/>
                  <a:pt x="350" y="471"/>
                </a:cubicBezTo>
                <a:cubicBezTo>
                  <a:pt x="350" y="471"/>
                  <a:pt x="350" y="471"/>
                  <a:pt x="350" y="471"/>
                </a:cubicBezTo>
                <a:cubicBezTo>
                  <a:pt x="350" y="471"/>
                  <a:pt x="350" y="471"/>
                  <a:pt x="350" y="471"/>
                </a:cubicBezTo>
                <a:cubicBezTo>
                  <a:pt x="351" y="471"/>
                  <a:pt x="351" y="471"/>
                  <a:pt x="351" y="471"/>
                </a:cubicBezTo>
                <a:cubicBezTo>
                  <a:pt x="351" y="471"/>
                  <a:pt x="351" y="471"/>
                  <a:pt x="351" y="471"/>
                </a:cubicBezTo>
                <a:cubicBezTo>
                  <a:pt x="351" y="471"/>
                  <a:pt x="352" y="471"/>
                  <a:pt x="352" y="471"/>
                </a:cubicBezTo>
                <a:close/>
                <a:moveTo>
                  <a:pt x="356" y="476"/>
                </a:moveTo>
                <a:cubicBezTo>
                  <a:pt x="356" y="476"/>
                  <a:pt x="356" y="476"/>
                  <a:pt x="356" y="475"/>
                </a:cubicBezTo>
                <a:cubicBezTo>
                  <a:pt x="356" y="475"/>
                  <a:pt x="356" y="475"/>
                  <a:pt x="356" y="474"/>
                </a:cubicBezTo>
                <a:cubicBezTo>
                  <a:pt x="356" y="474"/>
                  <a:pt x="356" y="474"/>
                  <a:pt x="355" y="474"/>
                </a:cubicBezTo>
                <a:cubicBezTo>
                  <a:pt x="355" y="474"/>
                  <a:pt x="355" y="474"/>
                  <a:pt x="355" y="475"/>
                </a:cubicBezTo>
                <a:cubicBezTo>
                  <a:pt x="355" y="475"/>
                  <a:pt x="355" y="476"/>
                  <a:pt x="354" y="477"/>
                </a:cubicBezTo>
                <a:cubicBezTo>
                  <a:pt x="354" y="477"/>
                  <a:pt x="354" y="477"/>
                  <a:pt x="353" y="477"/>
                </a:cubicBezTo>
                <a:cubicBezTo>
                  <a:pt x="353" y="477"/>
                  <a:pt x="353" y="477"/>
                  <a:pt x="353" y="478"/>
                </a:cubicBezTo>
                <a:cubicBezTo>
                  <a:pt x="353" y="478"/>
                  <a:pt x="353" y="478"/>
                  <a:pt x="353" y="478"/>
                </a:cubicBezTo>
                <a:cubicBezTo>
                  <a:pt x="353" y="478"/>
                  <a:pt x="353" y="478"/>
                  <a:pt x="353" y="478"/>
                </a:cubicBezTo>
                <a:cubicBezTo>
                  <a:pt x="353" y="479"/>
                  <a:pt x="352" y="479"/>
                  <a:pt x="352" y="479"/>
                </a:cubicBezTo>
                <a:cubicBezTo>
                  <a:pt x="352" y="479"/>
                  <a:pt x="353" y="479"/>
                  <a:pt x="353" y="480"/>
                </a:cubicBezTo>
                <a:cubicBezTo>
                  <a:pt x="353" y="480"/>
                  <a:pt x="353" y="480"/>
                  <a:pt x="353" y="480"/>
                </a:cubicBezTo>
                <a:cubicBezTo>
                  <a:pt x="352" y="480"/>
                  <a:pt x="352" y="481"/>
                  <a:pt x="352" y="481"/>
                </a:cubicBezTo>
                <a:cubicBezTo>
                  <a:pt x="353" y="481"/>
                  <a:pt x="353" y="481"/>
                  <a:pt x="354" y="481"/>
                </a:cubicBezTo>
                <a:cubicBezTo>
                  <a:pt x="354" y="480"/>
                  <a:pt x="354" y="480"/>
                  <a:pt x="355" y="479"/>
                </a:cubicBezTo>
                <a:cubicBezTo>
                  <a:pt x="355" y="479"/>
                  <a:pt x="355" y="478"/>
                  <a:pt x="356" y="478"/>
                </a:cubicBezTo>
                <a:cubicBezTo>
                  <a:pt x="356" y="478"/>
                  <a:pt x="356" y="478"/>
                  <a:pt x="356" y="477"/>
                </a:cubicBezTo>
                <a:cubicBezTo>
                  <a:pt x="356" y="477"/>
                  <a:pt x="356" y="477"/>
                  <a:pt x="356" y="477"/>
                </a:cubicBezTo>
                <a:cubicBezTo>
                  <a:pt x="356" y="477"/>
                  <a:pt x="356" y="477"/>
                  <a:pt x="356" y="476"/>
                </a:cubicBezTo>
                <a:close/>
                <a:moveTo>
                  <a:pt x="360" y="478"/>
                </a:moveTo>
                <a:cubicBezTo>
                  <a:pt x="359" y="478"/>
                  <a:pt x="359" y="478"/>
                  <a:pt x="359" y="479"/>
                </a:cubicBezTo>
                <a:cubicBezTo>
                  <a:pt x="359" y="479"/>
                  <a:pt x="360" y="479"/>
                  <a:pt x="360" y="479"/>
                </a:cubicBezTo>
                <a:cubicBezTo>
                  <a:pt x="360" y="479"/>
                  <a:pt x="360" y="479"/>
                  <a:pt x="360" y="479"/>
                </a:cubicBezTo>
                <a:cubicBezTo>
                  <a:pt x="360" y="479"/>
                  <a:pt x="360" y="478"/>
                  <a:pt x="360" y="478"/>
                </a:cubicBezTo>
                <a:cubicBezTo>
                  <a:pt x="360" y="478"/>
                  <a:pt x="360" y="477"/>
                  <a:pt x="360" y="477"/>
                </a:cubicBezTo>
                <a:cubicBezTo>
                  <a:pt x="361" y="476"/>
                  <a:pt x="361" y="476"/>
                  <a:pt x="361" y="476"/>
                </a:cubicBezTo>
                <a:cubicBezTo>
                  <a:pt x="360" y="476"/>
                  <a:pt x="360" y="476"/>
                  <a:pt x="360" y="476"/>
                </a:cubicBezTo>
                <a:cubicBezTo>
                  <a:pt x="360" y="477"/>
                  <a:pt x="360" y="477"/>
                  <a:pt x="360" y="477"/>
                </a:cubicBezTo>
                <a:cubicBezTo>
                  <a:pt x="360" y="477"/>
                  <a:pt x="360" y="477"/>
                  <a:pt x="360" y="478"/>
                </a:cubicBezTo>
                <a:close/>
                <a:moveTo>
                  <a:pt x="362" y="481"/>
                </a:moveTo>
                <a:cubicBezTo>
                  <a:pt x="362" y="481"/>
                  <a:pt x="362" y="481"/>
                  <a:pt x="362" y="481"/>
                </a:cubicBezTo>
                <a:cubicBezTo>
                  <a:pt x="362" y="481"/>
                  <a:pt x="362" y="481"/>
                  <a:pt x="362" y="481"/>
                </a:cubicBezTo>
                <a:cubicBezTo>
                  <a:pt x="362" y="481"/>
                  <a:pt x="362" y="481"/>
                  <a:pt x="363" y="481"/>
                </a:cubicBezTo>
                <a:cubicBezTo>
                  <a:pt x="363" y="481"/>
                  <a:pt x="363" y="481"/>
                  <a:pt x="363" y="481"/>
                </a:cubicBezTo>
                <a:cubicBezTo>
                  <a:pt x="363" y="481"/>
                  <a:pt x="363" y="481"/>
                  <a:pt x="362" y="481"/>
                </a:cubicBezTo>
                <a:cubicBezTo>
                  <a:pt x="362" y="480"/>
                  <a:pt x="362" y="480"/>
                  <a:pt x="362" y="480"/>
                </a:cubicBezTo>
                <a:cubicBezTo>
                  <a:pt x="362" y="480"/>
                  <a:pt x="362" y="480"/>
                  <a:pt x="362" y="479"/>
                </a:cubicBezTo>
                <a:cubicBezTo>
                  <a:pt x="362" y="479"/>
                  <a:pt x="362" y="479"/>
                  <a:pt x="362" y="479"/>
                </a:cubicBezTo>
                <a:cubicBezTo>
                  <a:pt x="362" y="480"/>
                  <a:pt x="362" y="480"/>
                  <a:pt x="362" y="480"/>
                </a:cubicBezTo>
                <a:moveTo>
                  <a:pt x="275" y="350"/>
                </a:moveTo>
                <a:cubicBezTo>
                  <a:pt x="275" y="350"/>
                  <a:pt x="274" y="350"/>
                  <a:pt x="274" y="350"/>
                </a:cubicBezTo>
                <a:cubicBezTo>
                  <a:pt x="274" y="350"/>
                  <a:pt x="273" y="350"/>
                  <a:pt x="273" y="351"/>
                </a:cubicBezTo>
                <a:cubicBezTo>
                  <a:pt x="272" y="351"/>
                  <a:pt x="272" y="351"/>
                  <a:pt x="272" y="351"/>
                </a:cubicBezTo>
                <a:cubicBezTo>
                  <a:pt x="271" y="351"/>
                  <a:pt x="271" y="350"/>
                  <a:pt x="271" y="350"/>
                </a:cubicBezTo>
                <a:cubicBezTo>
                  <a:pt x="271" y="350"/>
                  <a:pt x="271" y="351"/>
                  <a:pt x="271" y="351"/>
                </a:cubicBezTo>
                <a:cubicBezTo>
                  <a:pt x="270" y="352"/>
                  <a:pt x="269" y="352"/>
                  <a:pt x="268" y="352"/>
                </a:cubicBezTo>
                <a:cubicBezTo>
                  <a:pt x="267" y="353"/>
                  <a:pt x="267" y="353"/>
                  <a:pt x="267" y="354"/>
                </a:cubicBezTo>
                <a:cubicBezTo>
                  <a:pt x="267" y="354"/>
                  <a:pt x="267" y="354"/>
                  <a:pt x="267" y="354"/>
                </a:cubicBezTo>
                <a:cubicBezTo>
                  <a:pt x="267" y="354"/>
                  <a:pt x="267" y="354"/>
                  <a:pt x="267" y="354"/>
                </a:cubicBezTo>
                <a:cubicBezTo>
                  <a:pt x="266" y="355"/>
                  <a:pt x="265" y="355"/>
                  <a:pt x="265" y="355"/>
                </a:cubicBezTo>
                <a:cubicBezTo>
                  <a:pt x="265" y="354"/>
                  <a:pt x="264" y="354"/>
                  <a:pt x="264" y="354"/>
                </a:cubicBezTo>
                <a:cubicBezTo>
                  <a:pt x="264" y="354"/>
                  <a:pt x="264" y="354"/>
                  <a:pt x="263" y="354"/>
                </a:cubicBezTo>
                <a:cubicBezTo>
                  <a:pt x="263" y="355"/>
                  <a:pt x="262" y="355"/>
                  <a:pt x="261" y="355"/>
                </a:cubicBezTo>
                <a:cubicBezTo>
                  <a:pt x="260" y="355"/>
                  <a:pt x="260" y="355"/>
                  <a:pt x="260" y="355"/>
                </a:cubicBezTo>
                <a:cubicBezTo>
                  <a:pt x="259" y="355"/>
                  <a:pt x="259" y="355"/>
                  <a:pt x="259" y="355"/>
                </a:cubicBezTo>
                <a:cubicBezTo>
                  <a:pt x="259" y="356"/>
                  <a:pt x="259" y="356"/>
                  <a:pt x="259" y="356"/>
                </a:cubicBezTo>
                <a:cubicBezTo>
                  <a:pt x="260" y="357"/>
                  <a:pt x="260" y="358"/>
                  <a:pt x="260" y="358"/>
                </a:cubicBezTo>
                <a:cubicBezTo>
                  <a:pt x="261" y="359"/>
                  <a:pt x="261" y="359"/>
                  <a:pt x="261" y="360"/>
                </a:cubicBezTo>
                <a:cubicBezTo>
                  <a:pt x="262" y="360"/>
                  <a:pt x="262" y="360"/>
                  <a:pt x="262" y="361"/>
                </a:cubicBezTo>
                <a:cubicBezTo>
                  <a:pt x="262" y="361"/>
                  <a:pt x="263" y="361"/>
                  <a:pt x="263" y="361"/>
                </a:cubicBezTo>
                <a:cubicBezTo>
                  <a:pt x="265" y="361"/>
                  <a:pt x="266" y="362"/>
                  <a:pt x="268" y="363"/>
                </a:cubicBezTo>
                <a:cubicBezTo>
                  <a:pt x="268" y="363"/>
                  <a:pt x="268" y="363"/>
                  <a:pt x="268" y="363"/>
                </a:cubicBezTo>
                <a:cubicBezTo>
                  <a:pt x="269" y="364"/>
                  <a:pt x="271" y="364"/>
                  <a:pt x="272" y="364"/>
                </a:cubicBezTo>
                <a:cubicBezTo>
                  <a:pt x="272" y="364"/>
                  <a:pt x="273" y="364"/>
                  <a:pt x="273" y="364"/>
                </a:cubicBezTo>
                <a:cubicBezTo>
                  <a:pt x="273" y="365"/>
                  <a:pt x="274" y="365"/>
                  <a:pt x="274" y="366"/>
                </a:cubicBezTo>
                <a:cubicBezTo>
                  <a:pt x="274" y="366"/>
                  <a:pt x="274" y="366"/>
                  <a:pt x="274" y="366"/>
                </a:cubicBezTo>
                <a:cubicBezTo>
                  <a:pt x="274" y="366"/>
                  <a:pt x="274" y="366"/>
                  <a:pt x="275" y="366"/>
                </a:cubicBezTo>
                <a:cubicBezTo>
                  <a:pt x="275" y="366"/>
                  <a:pt x="275" y="366"/>
                  <a:pt x="275" y="366"/>
                </a:cubicBezTo>
                <a:cubicBezTo>
                  <a:pt x="275" y="365"/>
                  <a:pt x="275" y="365"/>
                  <a:pt x="274" y="365"/>
                </a:cubicBezTo>
                <a:cubicBezTo>
                  <a:pt x="274" y="365"/>
                  <a:pt x="274" y="365"/>
                  <a:pt x="274" y="364"/>
                </a:cubicBezTo>
                <a:cubicBezTo>
                  <a:pt x="274" y="364"/>
                  <a:pt x="274" y="364"/>
                  <a:pt x="274" y="364"/>
                </a:cubicBezTo>
                <a:cubicBezTo>
                  <a:pt x="274" y="364"/>
                  <a:pt x="275" y="365"/>
                  <a:pt x="276" y="364"/>
                </a:cubicBezTo>
                <a:cubicBezTo>
                  <a:pt x="276" y="364"/>
                  <a:pt x="277" y="364"/>
                  <a:pt x="277" y="364"/>
                </a:cubicBezTo>
                <a:cubicBezTo>
                  <a:pt x="278" y="363"/>
                  <a:pt x="278" y="363"/>
                  <a:pt x="279" y="363"/>
                </a:cubicBezTo>
                <a:cubicBezTo>
                  <a:pt x="279" y="363"/>
                  <a:pt x="279" y="363"/>
                  <a:pt x="279" y="363"/>
                </a:cubicBezTo>
                <a:cubicBezTo>
                  <a:pt x="279" y="362"/>
                  <a:pt x="280" y="363"/>
                  <a:pt x="280" y="363"/>
                </a:cubicBezTo>
                <a:cubicBezTo>
                  <a:pt x="280" y="363"/>
                  <a:pt x="281" y="363"/>
                  <a:pt x="282" y="362"/>
                </a:cubicBezTo>
                <a:cubicBezTo>
                  <a:pt x="282" y="362"/>
                  <a:pt x="282" y="362"/>
                  <a:pt x="283" y="362"/>
                </a:cubicBezTo>
                <a:cubicBezTo>
                  <a:pt x="283" y="361"/>
                  <a:pt x="283" y="361"/>
                  <a:pt x="282" y="361"/>
                </a:cubicBezTo>
                <a:cubicBezTo>
                  <a:pt x="282" y="361"/>
                  <a:pt x="282" y="361"/>
                  <a:pt x="282" y="361"/>
                </a:cubicBezTo>
                <a:cubicBezTo>
                  <a:pt x="282" y="360"/>
                  <a:pt x="282" y="360"/>
                  <a:pt x="282" y="360"/>
                </a:cubicBezTo>
                <a:cubicBezTo>
                  <a:pt x="282" y="360"/>
                  <a:pt x="281" y="360"/>
                  <a:pt x="281" y="359"/>
                </a:cubicBezTo>
                <a:cubicBezTo>
                  <a:pt x="281" y="359"/>
                  <a:pt x="281" y="358"/>
                  <a:pt x="281" y="358"/>
                </a:cubicBezTo>
                <a:cubicBezTo>
                  <a:pt x="281" y="357"/>
                  <a:pt x="281" y="357"/>
                  <a:pt x="281" y="357"/>
                </a:cubicBezTo>
                <a:cubicBezTo>
                  <a:pt x="281" y="357"/>
                  <a:pt x="281" y="356"/>
                  <a:pt x="281" y="356"/>
                </a:cubicBezTo>
                <a:cubicBezTo>
                  <a:pt x="281" y="356"/>
                  <a:pt x="281" y="355"/>
                  <a:pt x="281" y="355"/>
                </a:cubicBezTo>
                <a:cubicBezTo>
                  <a:pt x="281" y="354"/>
                  <a:pt x="281" y="354"/>
                  <a:pt x="281" y="354"/>
                </a:cubicBezTo>
                <a:cubicBezTo>
                  <a:pt x="281" y="353"/>
                  <a:pt x="280" y="353"/>
                  <a:pt x="280" y="353"/>
                </a:cubicBezTo>
                <a:cubicBezTo>
                  <a:pt x="280" y="352"/>
                  <a:pt x="280" y="352"/>
                  <a:pt x="280" y="352"/>
                </a:cubicBezTo>
                <a:cubicBezTo>
                  <a:pt x="280" y="352"/>
                  <a:pt x="279" y="351"/>
                  <a:pt x="279" y="351"/>
                </a:cubicBezTo>
                <a:cubicBezTo>
                  <a:pt x="278" y="351"/>
                  <a:pt x="278" y="352"/>
                  <a:pt x="277" y="352"/>
                </a:cubicBezTo>
                <a:cubicBezTo>
                  <a:pt x="276" y="352"/>
                  <a:pt x="276" y="351"/>
                  <a:pt x="275" y="351"/>
                </a:cubicBezTo>
                <a:cubicBezTo>
                  <a:pt x="275" y="351"/>
                  <a:pt x="275" y="350"/>
                  <a:pt x="275" y="350"/>
                </a:cubicBezTo>
                <a:close/>
                <a:moveTo>
                  <a:pt x="512" y="362"/>
                </a:moveTo>
                <a:cubicBezTo>
                  <a:pt x="512" y="363"/>
                  <a:pt x="512" y="363"/>
                  <a:pt x="512" y="363"/>
                </a:cubicBezTo>
                <a:cubicBezTo>
                  <a:pt x="512" y="363"/>
                  <a:pt x="512" y="363"/>
                  <a:pt x="512" y="363"/>
                </a:cubicBezTo>
                <a:cubicBezTo>
                  <a:pt x="511" y="364"/>
                  <a:pt x="510" y="365"/>
                  <a:pt x="511" y="366"/>
                </a:cubicBezTo>
                <a:cubicBezTo>
                  <a:pt x="512" y="366"/>
                  <a:pt x="513" y="364"/>
                  <a:pt x="514" y="364"/>
                </a:cubicBezTo>
                <a:cubicBezTo>
                  <a:pt x="515" y="364"/>
                  <a:pt x="515" y="364"/>
                  <a:pt x="515" y="364"/>
                </a:cubicBezTo>
                <a:cubicBezTo>
                  <a:pt x="515" y="364"/>
                  <a:pt x="516" y="364"/>
                  <a:pt x="516" y="363"/>
                </a:cubicBezTo>
                <a:cubicBezTo>
                  <a:pt x="516" y="363"/>
                  <a:pt x="515" y="362"/>
                  <a:pt x="515" y="362"/>
                </a:cubicBezTo>
                <a:cubicBezTo>
                  <a:pt x="516" y="361"/>
                  <a:pt x="516" y="361"/>
                  <a:pt x="517" y="361"/>
                </a:cubicBezTo>
                <a:cubicBezTo>
                  <a:pt x="517" y="361"/>
                  <a:pt x="517" y="360"/>
                  <a:pt x="517" y="360"/>
                </a:cubicBezTo>
                <a:cubicBezTo>
                  <a:pt x="517" y="359"/>
                  <a:pt x="517" y="359"/>
                  <a:pt x="518" y="358"/>
                </a:cubicBezTo>
                <a:cubicBezTo>
                  <a:pt x="519" y="357"/>
                  <a:pt x="520" y="355"/>
                  <a:pt x="522" y="354"/>
                </a:cubicBezTo>
                <a:cubicBezTo>
                  <a:pt x="522" y="354"/>
                  <a:pt x="523" y="353"/>
                  <a:pt x="523" y="353"/>
                </a:cubicBezTo>
                <a:cubicBezTo>
                  <a:pt x="523" y="353"/>
                  <a:pt x="522" y="352"/>
                  <a:pt x="522" y="352"/>
                </a:cubicBezTo>
                <a:cubicBezTo>
                  <a:pt x="522" y="353"/>
                  <a:pt x="522" y="353"/>
                  <a:pt x="522" y="353"/>
                </a:cubicBezTo>
                <a:cubicBezTo>
                  <a:pt x="521" y="353"/>
                  <a:pt x="521" y="353"/>
                  <a:pt x="521" y="352"/>
                </a:cubicBezTo>
                <a:cubicBezTo>
                  <a:pt x="521" y="352"/>
                  <a:pt x="521" y="352"/>
                  <a:pt x="521" y="352"/>
                </a:cubicBezTo>
                <a:cubicBezTo>
                  <a:pt x="521" y="352"/>
                  <a:pt x="520" y="351"/>
                  <a:pt x="520" y="351"/>
                </a:cubicBezTo>
                <a:cubicBezTo>
                  <a:pt x="519" y="351"/>
                  <a:pt x="520" y="352"/>
                  <a:pt x="519" y="352"/>
                </a:cubicBezTo>
                <a:cubicBezTo>
                  <a:pt x="519" y="353"/>
                  <a:pt x="519" y="353"/>
                  <a:pt x="519" y="354"/>
                </a:cubicBezTo>
                <a:cubicBezTo>
                  <a:pt x="519" y="354"/>
                  <a:pt x="519" y="354"/>
                  <a:pt x="519" y="354"/>
                </a:cubicBezTo>
                <a:cubicBezTo>
                  <a:pt x="519" y="355"/>
                  <a:pt x="518" y="355"/>
                  <a:pt x="518" y="355"/>
                </a:cubicBezTo>
                <a:cubicBezTo>
                  <a:pt x="517" y="356"/>
                  <a:pt x="516" y="357"/>
                  <a:pt x="515" y="358"/>
                </a:cubicBezTo>
                <a:cubicBezTo>
                  <a:pt x="515" y="359"/>
                  <a:pt x="514" y="360"/>
                  <a:pt x="513" y="361"/>
                </a:cubicBezTo>
                <a:cubicBezTo>
                  <a:pt x="513" y="361"/>
                  <a:pt x="512" y="361"/>
                  <a:pt x="512" y="361"/>
                </a:cubicBezTo>
                <a:cubicBezTo>
                  <a:pt x="512" y="362"/>
                  <a:pt x="512" y="362"/>
                  <a:pt x="512" y="362"/>
                </a:cubicBezTo>
                <a:cubicBezTo>
                  <a:pt x="512" y="362"/>
                  <a:pt x="512" y="362"/>
                  <a:pt x="512" y="362"/>
                </a:cubicBezTo>
                <a:close/>
                <a:moveTo>
                  <a:pt x="510" y="361"/>
                </a:moveTo>
                <a:cubicBezTo>
                  <a:pt x="510" y="361"/>
                  <a:pt x="510" y="361"/>
                  <a:pt x="510" y="361"/>
                </a:cubicBezTo>
                <a:cubicBezTo>
                  <a:pt x="511" y="360"/>
                  <a:pt x="511" y="360"/>
                  <a:pt x="511" y="360"/>
                </a:cubicBezTo>
                <a:cubicBezTo>
                  <a:pt x="511" y="360"/>
                  <a:pt x="511" y="359"/>
                  <a:pt x="511" y="359"/>
                </a:cubicBezTo>
                <a:cubicBezTo>
                  <a:pt x="511" y="359"/>
                  <a:pt x="511" y="359"/>
                  <a:pt x="511" y="359"/>
                </a:cubicBezTo>
                <a:cubicBezTo>
                  <a:pt x="511" y="358"/>
                  <a:pt x="510" y="358"/>
                  <a:pt x="510" y="358"/>
                </a:cubicBezTo>
                <a:cubicBezTo>
                  <a:pt x="510" y="358"/>
                  <a:pt x="510" y="359"/>
                  <a:pt x="510" y="359"/>
                </a:cubicBezTo>
                <a:cubicBezTo>
                  <a:pt x="510" y="359"/>
                  <a:pt x="510" y="359"/>
                  <a:pt x="510" y="360"/>
                </a:cubicBezTo>
                <a:cubicBezTo>
                  <a:pt x="509" y="360"/>
                  <a:pt x="509" y="360"/>
                  <a:pt x="509" y="360"/>
                </a:cubicBezTo>
                <a:cubicBezTo>
                  <a:pt x="509" y="361"/>
                  <a:pt x="508" y="361"/>
                  <a:pt x="508" y="361"/>
                </a:cubicBezTo>
                <a:cubicBezTo>
                  <a:pt x="509" y="361"/>
                  <a:pt x="509" y="362"/>
                  <a:pt x="510" y="361"/>
                </a:cubicBezTo>
                <a:cubicBezTo>
                  <a:pt x="510" y="361"/>
                  <a:pt x="510" y="361"/>
                  <a:pt x="510" y="361"/>
                </a:cubicBezTo>
                <a:close/>
                <a:moveTo>
                  <a:pt x="510" y="354"/>
                </a:moveTo>
                <a:cubicBezTo>
                  <a:pt x="511" y="355"/>
                  <a:pt x="512" y="354"/>
                  <a:pt x="512" y="355"/>
                </a:cubicBezTo>
                <a:cubicBezTo>
                  <a:pt x="512" y="355"/>
                  <a:pt x="512" y="355"/>
                  <a:pt x="512" y="354"/>
                </a:cubicBezTo>
                <a:cubicBezTo>
                  <a:pt x="512" y="354"/>
                  <a:pt x="512" y="353"/>
                  <a:pt x="512" y="353"/>
                </a:cubicBezTo>
                <a:cubicBezTo>
                  <a:pt x="512" y="353"/>
                  <a:pt x="512" y="353"/>
                  <a:pt x="513" y="352"/>
                </a:cubicBezTo>
                <a:cubicBezTo>
                  <a:pt x="513" y="352"/>
                  <a:pt x="513" y="352"/>
                  <a:pt x="513" y="352"/>
                </a:cubicBezTo>
                <a:cubicBezTo>
                  <a:pt x="513" y="351"/>
                  <a:pt x="514" y="351"/>
                  <a:pt x="513" y="351"/>
                </a:cubicBezTo>
                <a:cubicBezTo>
                  <a:pt x="513" y="350"/>
                  <a:pt x="513" y="350"/>
                  <a:pt x="513" y="350"/>
                </a:cubicBezTo>
                <a:cubicBezTo>
                  <a:pt x="513" y="350"/>
                  <a:pt x="513" y="350"/>
                  <a:pt x="513" y="350"/>
                </a:cubicBezTo>
                <a:cubicBezTo>
                  <a:pt x="513" y="350"/>
                  <a:pt x="513" y="349"/>
                  <a:pt x="513" y="349"/>
                </a:cubicBezTo>
                <a:cubicBezTo>
                  <a:pt x="513" y="349"/>
                  <a:pt x="513" y="349"/>
                  <a:pt x="513" y="349"/>
                </a:cubicBezTo>
                <a:cubicBezTo>
                  <a:pt x="513" y="349"/>
                  <a:pt x="513" y="348"/>
                  <a:pt x="513" y="348"/>
                </a:cubicBezTo>
                <a:cubicBezTo>
                  <a:pt x="513" y="348"/>
                  <a:pt x="513" y="348"/>
                  <a:pt x="513" y="348"/>
                </a:cubicBezTo>
                <a:cubicBezTo>
                  <a:pt x="513" y="348"/>
                  <a:pt x="513" y="348"/>
                  <a:pt x="512" y="348"/>
                </a:cubicBezTo>
                <a:cubicBezTo>
                  <a:pt x="512" y="349"/>
                  <a:pt x="511" y="349"/>
                  <a:pt x="511" y="350"/>
                </a:cubicBezTo>
                <a:cubicBezTo>
                  <a:pt x="511" y="350"/>
                  <a:pt x="511" y="350"/>
                  <a:pt x="511" y="350"/>
                </a:cubicBezTo>
                <a:cubicBezTo>
                  <a:pt x="511" y="351"/>
                  <a:pt x="511" y="352"/>
                  <a:pt x="510" y="353"/>
                </a:cubicBezTo>
                <a:cubicBezTo>
                  <a:pt x="510" y="353"/>
                  <a:pt x="510" y="354"/>
                  <a:pt x="510" y="354"/>
                </a:cubicBezTo>
                <a:close/>
                <a:moveTo>
                  <a:pt x="533" y="350"/>
                </a:moveTo>
                <a:cubicBezTo>
                  <a:pt x="534" y="350"/>
                  <a:pt x="533" y="350"/>
                  <a:pt x="533" y="349"/>
                </a:cubicBezTo>
                <a:cubicBezTo>
                  <a:pt x="533" y="349"/>
                  <a:pt x="532" y="349"/>
                  <a:pt x="532" y="349"/>
                </a:cubicBezTo>
                <a:cubicBezTo>
                  <a:pt x="532" y="349"/>
                  <a:pt x="531" y="349"/>
                  <a:pt x="531" y="349"/>
                </a:cubicBezTo>
                <a:cubicBezTo>
                  <a:pt x="531" y="350"/>
                  <a:pt x="530" y="349"/>
                  <a:pt x="530" y="349"/>
                </a:cubicBezTo>
                <a:cubicBezTo>
                  <a:pt x="530" y="349"/>
                  <a:pt x="530" y="349"/>
                  <a:pt x="530" y="348"/>
                </a:cubicBezTo>
                <a:cubicBezTo>
                  <a:pt x="530" y="348"/>
                  <a:pt x="530" y="348"/>
                  <a:pt x="529" y="348"/>
                </a:cubicBezTo>
                <a:cubicBezTo>
                  <a:pt x="529" y="348"/>
                  <a:pt x="529" y="348"/>
                  <a:pt x="528" y="348"/>
                </a:cubicBezTo>
                <a:cubicBezTo>
                  <a:pt x="528" y="348"/>
                  <a:pt x="528" y="348"/>
                  <a:pt x="528" y="348"/>
                </a:cubicBezTo>
                <a:cubicBezTo>
                  <a:pt x="527" y="347"/>
                  <a:pt x="527" y="347"/>
                  <a:pt x="527" y="347"/>
                </a:cubicBezTo>
                <a:cubicBezTo>
                  <a:pt x="526" y="348"/>
                  <a:pt x="526" y="348"/>
                  <a:pt x="526" y="349"/>
                </a:cubicBezTo>
                <a:cubicBezTo>
                  <a:pt x="526" y="349"/>
                  <a:pt x="526" y="350"/>
                  <a:pt x="526" y="350"/>
                </a:cubicBezTo>
                <a:cubicBezTo>
                  <a:pt x="525" y="350"/>
                  <a:pt x="525" y="351"/>
                  <a:pt x="525" y="351"/>
                </a:cubicBezTo>
                <a:cubicBezTo>
                  <a:pt x="526" y="351"/>
                  <a:pt x="526" y="351"/>
                  <a:pt x="526" y="351"/>
                </a:cubicBezTo>
                <a:cubicBezTo>
                  <a:pt x="526" y="351"/>
                  <a:pt x="526" y="351"/>
                  <a:pt x="526" y="351"/>
                </a:cubicBezTo>
                <a:cubicBezTo>
                  <a:pt x="526" y="351"/>
                  <a:pt x="527" y="350"/>
                  <a:pt x="527" y="351"/>
                </a:cubicBezTo>
                <a:cubicBezTo>
                  <a:pt x="527" y="351"/>
                  <a:pt x="528" y="351"/>
                  <a:pt x="528" y="351"/>
                </a:cubicBezTo>
                <a:cubicBezTo>
                  <a:pt x="528" y="351"/>
                  <a:pt x="528" y="351"/>
                  <a:pt x="528" y="351"/>
                </a:cubicBezTo>
                <a:cubicBezTo>
                  <a:pt x="528" y="351"/>
                  <a:pt x="527" y="352"/>
                  <a:pt x="527" y="352"/>
                </a:cubicBezTo>
                <a:cubicBezTo>
                  <a:pt x="527" y="352"/>
                  <a:pt x="527" y="353"/>
                  <a:pt x="526" y="353"/>
                </a:cubicBezTo>
                <a:cubicBezTo>
                  <a:pt x="526" y="353"/>
                  <a:pt x="526" y="353"/>
                  <a:pt x="526" y="353"/>
                </a:cubicBezTo>
                <a:cubicBezTo>
                  <a:pt x="526" y="354"/>
                  <a:pt x="527" y="354"/>
                  <a:pt x="527" y="354"/>
                </a:cubicBezTo>
                <a:cubicBezTo>
                  <a:pt x="528" y="354"/>
                  <a:pt x="529" y="352"/>
                  <a:pt x="530" y="351"/>
                </a:cubicBezTo>
                <a:cubicBezTo>
                  <a:pt x="531" y="351"/>
                  <a:pt x="532" y="351"/>
                  <a:pt x="532" y="351"/>
                </a:cubicBezTo>
                <a:cubicBezTo>
                  <a:pt x="533" y="351"/>
                  <a:pt x="533" y="351"/>
                  <a:pt x="533" y="350"/>
                </a:cubicBezTo>
                <a:close/>
                <a:moveTo>
                  <a:pt x="531" y="348"/>
                </a:moveTo>
                <a:cubicBezTo>
                  <a:pt x="531" y="348"/>
                  <a:pt x="531" y="348"/>
                  <a:pt x="531" y="348"/>
                </a:cubicBezTo>
                <a:cubicBezTo>
                  <a:pt x="532" y="348"/>
                  <a:pt x="534" y="348"/>
                  <a:pt x="534" y="347"/>
                </a:cubicBezTo>
                <a:cubicBezTo>
                  <a:pt x="535" y="346"/>
                  <a:pt x="536" y="346"/>
                  <a:pt x="537" y="345"/>
                </a:cubicBezTo>
                <a:cubicBezTo>
                  <a:pt x="537" y="345"/>
                  <a:pt x="537" y="345"/>
                  <a:pt x="537" y="345"/>
                </a:cubicBezTo>
                <a:cubicBezTo>
                  <a:pt x="537" y="345"/>
                  <a:pt x="536" y="345"/>
                  <a:pt x="536" y="345"/>
                </a:cubicBezTo>
                <a:cubicBezTo>
                  <a:pt x="535" y="345"/>
                  <a:pt x="534" y="346"/>
                  <a:pt x="533" y="346"/>
                </a:cubicBezTo>
                <a:cubicBezTo>
                  <a:pt x="533" y="347"/>
                  <a:pt x="532" y="347"/>
                  <a:pt x="532" y="347"/>
                </a:cubicBezTo>
                <a:cubicBezTo>
                  <a:pt x="532" y="347"/>
                  <a:pt x="531" y="347"/>
                  <a:pt x="531" y="347"/>
                </a:cubicBezTo>
                <a:cubicBezTo>
                  <a:pt x="531" y="347"/>
                  <a:pt x="531" y="347"/>
                  <a:pt x="531" y="348"/>
                </a:cubicBezTo>
                <a:close/>
                <a:moveTo>
                  <a:pt x="690" y="436"/>
                </a:moveTo>
                <a:cubicBezTo>
                  <a:pt x="691" y="436"/>
                  <a:pt x="691" y="437"/>
                  <a:pt x="692" y="437"/>
                </a:cubicBezTo>
                <a:cubicBezTo>
                  <a:pt x="692" y="437"/>
                  <a:pt x="691" y="437"/>
                  <a:pt x="691" y="437"/>
                </a:cubicBezTo>
                <a:cubicBezTo>
                  <a:pt x="690" y="437"/>
                  <a:pt x="690" y="437"/>
                  <a:pt x="690" y="437"/>
                </a:cubicBezTo>
                <a:cubicBezTo>
                  <a:pt x="690" y="437"/>
                  <a:pt x="690" y="437"/>
                  <a:pt x="690" y="437"/>
                </a:cubicBezTo>
                <a:cubicBezTo>
                  <a:pt x="691" y="437"/>
                  <a:pt x="691" y="438"/>
                  <a:pt x="691" y="438"/>
                </a:cubicBezTo>
                <a:cubicBezTo>
                  <a:pt x="691" y="439"/>
                  <a:pt x="692" y="439"/>
                  <a:pt x="693" y="438"/>
                </a:cubicBezTo>
                <a:cubicBezTo>
                  <a:pt x="693" y="439"/>
                  <a:pt x="693" y="439"/>
                  <a:pt x="693" y="439"/>
                </a:cubicBezTo>
                <a:cubicBezTo>
                  <a:pt x="693" y="440"/>
                  <a:pt x="693" y="440"/>
                  <a:pt x="693" y="440"/>
                </a:cubicBezTo>
                <a:cubicBezTo>
                  <a:pt x="693" y="440"/>
                  <a:pt x="693" y="441"/>
                  <a:pt x="692" y="441"/>
                </a:cubicBezTo>
                <a:cubicBezTo>
                  <a:pt x="692" y="442"/>
                  <a:pt x="692" y="442"/>
                  <a:pt x="693" y="443"/>
                </a:cubicBezTo>
                <a:cubicBezTo>
                  <a:pt x="693" y="443"/>
                  <a:pt x="693" y="444"/>
                  <a:pt x="693" y="445"/>
                </a:cubicBezTo>
                <a:cubicBezTo>
                  <a:pt x="693" y="445"/>
                  <a:pt x="693" y="446"/>
                  <a:pt x="693" y="447"/>
                </a:cubicBezTo>
                <a:cubicBezTo>
                  <a:pt x="693" y="447"/>
                  <a:pt x="693" y="447"/>
                  <a:pt x="694" y="447"/>
                </a:cubicBezTo>
                <a:cubicBezTo>
                  <a:pt x="694" y="447"/>
                  <a:pt x="695" y="447"/>
                  <a:pt x="695" y="447"/>
                </a:cubicBezTo>
                <a:cubicBezTo>
                  <a:pt x="696" y="447"/>
                  <a:pt x="696" y="447"/>
                  <a:pt x="696" y="447"/>
                </a:cubicBezTo>
                <a:cubicBezTo>
                  <a:pt x="696" y="446"/>
                  <a:pt x="696" y="446"/>
                  <a:pt x="696" y="446"/>
                </a:cubicBezTo>
                <a:cubicBezTo>
                  <a:pt x="696" y="446"/>
                  <a:pt x="697" y="446"/>
                  <a:pt x="697" y="446"/>
                </a:cubicBezTo>
                <a:cubicBezTo>
                  <a:pt x="697" y="446"/>
                  <a:pt x="697" y="447"/>
                  <a:pt x="697" y="447"/>
                </a:cubicBezTo>
                <a:cubicBezTo>
                  <a:pt x="698" y="446"/>
                  <a:pt x="698" y="447"/>
                  <a:pt x="699" y="447"/>
                </a:cubicBezTo>
                <a:cubicBezTo>
                  <a:pt x="699" y="447"/>
                  <a:pt x="700" y="447"/>
                  <a:pt x="700" y="446"/>
                </a:cubicBezTo>
                <a:cubicBezTo>
                  <a:pt x="700" y="446"/>
                  <a:pt x="700" y="445"/>
                  <a:pt x="700" y="445"/>
                </a:cubicBezTo>
                <a:cubicBezTo>
                  <a:pt x="700" y="445"/>
                  <a:pt x="700" y="445"/>
                  <a:pt x="700" y="445"/>
                </a:cubicBezTo>
                <a:cubicBezTo>
                  <a:pt x="700" y="445"/>
                  <a:pt x="700" y="444"/>
                  <a:pt x="700" y="444"/>
                </a:cubicBezTo>
                <a:cubicBezTo>
                  <a:pt x="700" y="444"/>
                  <a:pt x="700" y="444"/>
                  <a:pt x="700" y="444"/>
                </a:cubicBezTo>
                <a:cubicBezTo>
                  <a:pt x="700" y="443"/>
                  <a:pt x="700" y="443"/>
                  <a:pt x="700" y="443"/>
                </a:cubicBezTo>
                <a:cubicBezTo>
                  <a:pt x="700" y="443"/>
                  <a:pt x="699" y="443"/>
                  <a:pt x="699" y="443"/>
                </a:cubicBezTo>
                <a:cubicBezTo>
                  <a:pt x="699" y="442"/>
                  <a:pt x="699" y="442"/>
                  <a:pt x="698" y="443"/>
                </a:cubicBezTo>
                <a:cubicBezTo>
                  <a:pt x="698" y="442"/>
                  <a:pt x="698" y="442"/>
                  <a:pt x="698" y="442"/>
                </a:cubicBezTo>
                <a:cubicBezTo>
                  <a:pt x="698" y="442"/>
                  <a:pt x="699" y="442"/>
                  <a:pt x="699" y="441"/>
                </a:cubicBezTo>
                <a:cubicBezTo>
                  <a:pt x="699" y="441"/>
                  <a:pt x="699" y="440"/>
                  <a:pt x="698" y="440"/>
                </a:cubicBezTo>
                <a:cubicBezTo>
                  <a:pt x="697" y="440"/>
                  <a:pt x="697" y="440"/>
                  <a:pt x="697" y="440"/>
                </a:cubicBezTo>
                <a:cubicBezTo>
                  <a:pt x="697" y="439"/>
                  <a:pt x="697" y="439"/>
                  <a:pt x="697" y="439"/>
                </a:cubicBezTo>
                <a:cubicBezTo>
                  <a:pt x="697" y="439"/>
                  <a:pt x="697" y="438"/>
                  <a:pt x="697" y="438"/>
                </a:cubicBezTo>
                <a:cubicBezTo>
                  <a:pt x="697" y="439"/>
                  <a:pt x="698" y="438"/>
                  <a:pt x="698" y="439"/>
                </a:cubicBezTo>
                <a:cubicBezTo>
                  <a:pt x="698" y="439"/>
                  <a:pt x="698" y="439"/>
                  <a:pt x="698" y="439"/>
                </a:cubicBezTo>
                <a:cubicBezTo>
                  <a:pt x="698" y="440"/>
                  <a:pt x="699" y="440"/>
                  <a:pt x="699" y="441"/>
                </a:cubicBezTo>
                <a:cubicBezTo>
                  <a:pt x="699" y="441"/>
                  <a:pt x="699" y="441"/>
                  <a:pt x="699" y="441"/>
                </a:cubicBezTo>
                <a:cubicBezTo>
                  <a:pt x="700" y="442"/>
                  <a:pt x="701" y="442"/>
                  <a:pt x="701" y="443"/>
                </a:cubicBezTo>
                <a:cubicBezTo>
                  <a:pt x="701" y="443"/>
                  <a:pt x="701" y="444"/>
                  <a:pt x="702" y="443"/>
                </a:cubicBezTo>
                <a:cubicBezTo>
                  <a:pt x="702" y="443"/>
                  <a:pt x="702" y="442"/>
                  <a:pt x="702" y="442"/>
                </a:cubicBezTo>
                <a:cubicBezTo>
                  <a:pt x="702" y="441"/>
                  <a:pt x="702" y="441"/>
                  <a:pt x="702" y="441"/>
                </a:cubicBezTo>
                <a:cubicBezTo>
                  <a:pt x="702" y="441"/>
                  <a:pt x="702" y="441"/>
                  <a:pt x="702" y="441"/>
                </a:cubicBezTo>
                <a:cubicBezTo>
                  <a:pt x="702" y="440"/>
                  <a:pt x="702" y="440"/>
                  <a:pt x="702" y="440"/>
                </a:cubicBezTo>
                <a:cubicBezTo>
                  <a:pt x="702" y="440"/>
                  <a:pt x="703" y="441"/>
                  <a:pt x="702" y="441"/>
                </a:cubicBezTo>
                <a:cubicBezTo>
                  <a:pt x="702" y="442"/>
                  <a:pt x="703" y="442"/>
                  <a:pt x="703" y="443"/>
                </a:cubicBezTo>
                <a:cubicBezTo>
                  <a:pt x="702" y="443"/>
                  <a:pt x="702" y="443"/>
                  <a:pt x="702" y="444"/>
                </a:cubicBezTo>
                <a:cubicBezTo>
                  <a:pt x="702" y="444"/>
                  <a:pt x="702" y="444"/>
                  <a:pt x="701" y="444"/>
                </a:cubicBezTo>
                <a:cubicBezTo>
                  <a:pt x="701" y="444"/>
                  <a:pt x="701" y="444"/>
                  <a:pt x="701" y="444"/>
                </a:cubicBezTo>
                <a:cubicBezTo>
                  <a:pt x="701" y="444"/>
                  <a:pt x="701" y="445"/>
                  <a:pt x="701" y="446"/>
                </a:cubicBezTo>
                <a:cubicBezTo>
                  <a:pt x="701" y="446"/>
                  <a:pt x="702" y="446"/>
                  <a:pt x="702" y="445"/>
                </a:cubicBezTo>
                <a:cubicBezTo>
                  <a:pt x="702" y="445"/>
                  <a:pt x="702" y="445"/>
                  <a:pt x="702" y="444"/>
                </a:cubicBezTo>
                <a:cubicBezTo>
                  <a:pt x="702" y="445"/>
                  <a:pt x="702" y="445"/>
                  <a:pt x="702" y="445"/>
                </a:cubicBezTo>
                <a:cubicBezTo>
                  <a:pt x="702" y="446"/>
                  <a:pt x="702" y="446"/>
                  <a:pt x="703" y="446"/>
                </a:cubicBezTo>
                <a:cubicBezTo>
                  <a:pt x="703" y="446"/>
                  <a:pt x="704" y="446"/>
                  <a:pt x="704" y="446"/>
                </a:cubicBezTo>
                <a:cubicBezTo>
                  <a:pt x="704" y="446"/>
                  <a:pt x="705" y="446"/>
                  <a:pt x="705" y="446"/>
                </a:cubicBezTo>
                <a:cubicBezTo>
                  <a:pt x="705" y="445"/>
                  <a:pt x="705" y="445"/>
                  <a:pt x="705" y="445"/>
                </a:cubicBezTo>
                <a:cubicBezTo>
                  <a:pt x="705" y="445"/>
                  <a:pt x="705" y="445"/>
                  <a:pt x="705" y="445"/>
                </a:cubicBezTo>
                <a:cubicBezTo>
                  <a:pt x="705" y="444"/>
                  <a:pt x="705" y="445"/>
                  <a:pt x="705" y="445"/>
                </a:cubicBezTo>
                <a:cubicBezTo>
                  <a:pt x="705" y="445"/>
                  <a:pt x="705" y="445"/>
                  <a:pt x="706" y="445"/>
                </a:cubicBezTo>
                <a:cubicBezTo>
                  <a:pt x="706" y="445"/>
                  <a:pt x="707" y="445"/>
                  <a:pt x="707" y="444"/>
                </a:cubicBezTo>
                <a:cubicBezTo>
                  <a:pt x="707" y="444"/>
                  <a:pt x="708" y="444"/>
                  <a:pt x="707" y="443"/>
                </a:cubicBezTo>
                <a:cubicBezTo>
                  <a:pt x="707" y="443"/>
                  <a:pt x="706" y="443"/>
                  <a:pt x="706" y="442"/>
                </a:cubicBezTo>
                <a:cubicBezTo>
                  <a:pt x="706" y="442"/>
                  <a:pt x="706" y="442"/>
                  <a:pt x="706" y="442"/>
                </a:cubicBezTo>
                <a:cubicBezTo>
                  <a:pt x="705" y="442"/>
                  <a:pt x="705" y="441"/>
                  <a:pt x="705" y="440"/>
                </a:cubicBezTo>
                <a:cubicBezTo>
                  <a:pt x="704" y="440"/>
                  <a:pt x="704" y="439"/>
                  <a:pt x="703" y="439"/>
                </a:cubicBezTo>
                <a:cubicBezTo>
                  <a:pt x="702" y="439"/>
                  <a:pt x="702" y="439"/>
                  <a:pt x="702" y="440"/>
                </a:cubicBezTo>
                <a:cubicBezTo>
                  <a:pt x="702" y="439"/>
                  <a:pt x="702" y="439"/>
                  <a:pt x="702" y="439"/>
                </a:cubicBezTo>
                <a:cubicBezTo>
                  <a:pt x="701" y="439"/>
                  <a:pt x="702" y="438"/>
                  <a:pt x="702" y="438"/>
                </a:cubicBezTo>
                <a:cubicBezTo>
                  <a:pt x="703" y="438"/>
                  <a:pt x="702" y="438"/>
                  <a:pt x="702" y="437"/>
                </a:cubicBezTo>
                <a:cubicBezTo>
                  <a:pt x="702" y="437"/>
                  <a:pt x="702" y="437"/>
                  <a:pt x="702" y="436"/>
                </a:cubicBezTo>
                <a:cubicBezTo>
                  <a:pt x="702" y="436"/>
                  <a:pt x="702" y="436"/>
                  <a:pt x="702" y="436"/>
                </a:cubicBezTo>
                <a:cubicBezTo>
                  <a:pt x="701" y="435"/>
                  <a:pt x="701" y="435"/>
                  <a:pt x="700" y="434"/>
                </a:cubicBezTo>
                <a:cubicBezTo>
                  <a:pt x="700" y="434"/>
                  <a:pt x="700" y="434"/>
                  <a:pt x="700" y="434"/>
                </a:cubicBezTo>
                <a:cubicBezTo>
                  <a:pt x="699" y="434"/>
                  <a:pt x="699" y="434"/>
                  <a:pt x="698" y="434"/>
                </a:cubicBezTo>
                <a:cubicBezTo>
                  <a:pt x="697" y="434"/>
                  <a:pt x="697" y="434"/>
                  <a:pt x="698" y="435"/>
                </a:cubicBezTo>
                <a:cubicBezTo>
                  <a:pt x="698" y="435"/>
                  <a:pt x="698" y="435"/>
                  <a:pt x="698" y="436"/>
                </a:cubicBezTo>
                <a:cubicBezTo>
                  <a:pt x="697" y="435"/>
                  <a:pt x="697" y="434"/>
                  <a:pt x="696" y="434"/>
                </a:cubicBezTo>
                <a:cubicBezTo>
                  <a:pt x="696" y="434"/>
                  <a:pt x="696" y="434"/>
                  <a:pt x="696" y="434"/>
                </a:cubicBezTo>
                <a:cubicBezTo>
                  <a:pt x="696" y="434"/>
                  <a:pt x="695" y="433"/>
                  <a:pt x="695" y="433"/>
                </a:cubicBezTo>
                <a:cubicBezTo>
                  <a:pt x="694" y="433"/>
                  <a:pt x="694" y="433"/>
                  <a:pt x="693" y="433"/>
                </a:cubicBezTo>
                <a:cubicBezTo>
                  <a:pt x="692" y="433"/>
                  <a:pt x="692" y="433"/>
                  <a:pt x="692" y="432"/>
                </a:cubicBezTo>
                <a:cubicBezTo>
                  <a:pt x="691" y="432"/>
                  <a:pt x="690" y="432"/>
                  <a:pt x="689" y="433"/>
                </a:cubicBezTo>
                <a:cubicBezTo>
                  <a:pt x="688" y="433"/>
                  <a:pt x="688" y="433"/>
                  <a:pt x="689" y="434"/>
                </a:cubicBezTo>
                <a:cubicBezTo>
                  <a:pt x="689" y="435"/>
                  <a:pt x="690" y="435"/>
                  <a:pt x="690" y="436"/>
                </a:cubicBezTo>
                <a:close/>
                <a:moveTo>
                  <a:pt x="690" y="449"/>
                </a:moveTo>
                <a:cubicBezTo>
                  <a:pt x="690" y="449"/>
                  <a:pt x="690" y="449"/>
                  <a:pt x="690" y="448"/>
                </a:cubicBezTo>
                <a:cubicBezTo>
                  <a:pt x="690" y="448"/>
                  <a:pt x="690" y="448"/>
                  <a:pt x="690" y="448"/>
                </a:cubicBezTo>
                <a:cubicBezTo>
                  <a:pt x="690" y="448"/>
                  <a:pt x="690" y="448"/>
                  <a:pt x="689" y="447"/>
                </a:cubicBezTo>
                <a:cubicBezTo>
                  <a:pt x="690" y="447"/>
                  <a:pt x="690" y="447"/>
                  <a:pt x="690" y="447"/>
                </a:cubicBezTo>
                <a:cubicBezTo>
                  <a:pt x="691" y="447"/>
                  <a:pt x="691" y="447"/>
                  <a:pt x="690" y="447"/>
                </a:cubicBezTo>
                <a:cubicBezTo>
                  <a:pt x="690" y="446"/>
                  <a:pt x="690" y="446"/>
                  <a:pt x="690" y="446"/>
                </a:cubicBezTo>
                <a:cubicBezTo>
                  <a:pt x="690" y="446"/>
                  <a:pt x="689" y="446"/>
                  <a:pt x="689" y="446"/>
                </a:cubicBezTo>
                <a:cubicBezTo>
                  <a:pt x="690" y="446"/>
                  <a:pt x="690" y="445"/>
                  <a:pt x="690" y="445"/>
                </a:cubicBezTo>
                <a:cubicBezTo>
                  <a:pt x="691" y="444"/>
                  <a:pt x="691" y="444"/>
                  <a:pt x="690" y="444"/>
                </a:cubicBezTo>
                <a:cubicBezTo>
                  <a:pt x="690" y="444"/>
                  <a:pt x="690" y="444"/>
                  <a:pt x="690" y="443"/>
                </a:cubicBezTo>
                <a:cubicBezTo>
                  <a:pt x="691" y="443"/>
                  <a:pt x="691" y="443"/>
                  <a:pt x="692" y="444"/>
                </a:cubicBezTo>
                <a:cubicBezTo>
                  <a:pt x="692" y="444"/>
                  <a:pt x="692" y="445"/>
                  <a:pt x="692" y="444"/>
                </a:cubicBezTo>
                <a:cubicBezTo>
                  <a:pt x="692" y="444"/>
                  <a:pt x="693" y="444"/>
                  <a:pt x="692" y="443"/>
                </a:cubicBezTo>
                <a:cubicBezTo>
                  <a:pt x="692" y="443"/>
                  <a:pt x="693" y="442"/>
                  <a:pt x="692" y="442"/>
                </a:cubicBezTo>
                <a:cubicBezTo>
                  <a:pt x="692" y="442"/>
                  <a:pt x="692" y="442"/>
                  <a:pt x="692" y="442"/>
                </a:cubicBezTo>
                <a:cubicBezTo>
                  <a:pt x="692" y="441"/>
                  <a:pt x="692" y="441"/>
                  <a:pt x="692" y="440"/>
                </a:cubicBezTo>
                <a:cubicBezTo>
                  <a:pt x="692" y="440"/>
                  <a:pt x="692" y="439"/>
                  <a:pt x="692" y="439"/>
                </a:cubicBezTo>
                <a:cubicBezTo>
                  <a:pt x="692" y="439"/>
                  <a:pt x="691" y="439"/>
                  <a:pt x="691" y="439"/>
                </a:cubicBezTo>
                <a:cubicBezTo>
                  <a:pt x="691" y="439"/>
                  <a:pt x="691" y="439"/>
                  <a:pt x="690" y="439"/>
                </a:cubicBezTo>
                <a:cubicBezTo>
                  <a:pt x="690" y="439"/>
                  <a:pt x="690" y="439"/>
                  <a:pt x="690" y="440"/>
                </a:cubicBezTo>
                <a:cubicBezTo>
                  <a:pt x="691" y="440"/>
                  <a:pt x="690" y="441"/>
                  <a:pt x="690" y="441"/>
                </a:cubicBezTo>
                <a:cubicBezTo>
                  <a:pt x="690" y="441"/>
                  <a:pt x="690" y="441"/>
                  <a:pt x="690" y="441"/>
                </a:cubicBezTo>
                <a:cubicBezTo>
                  <a:pt x="690" y="442"/>
                  <a:pt x="690" y="442"/>
                  <a:pt x="689" y="442"/>
                </a:cubicBezTo>
                <a:cubicBezTo>
                  <a:pt x="689" y="443"/>
                  <a:pt x="689" y="443"/>
                  <a:pt x="689" y="442"/>
                </a:cubicBezTo>
                <a:cubicBezTo>
                  <a:pt x="689" y="442"/>
                  <a:pt x="689" y="442"/>
                  <a:pt x="689" y="442"/>
                </a:cubicBezTo>
                <a:cubicBezTo>
                  <a:pt x="689" y="442"/>
                  <a:pt x="690" y="440"/>
                  <a:pt x="690" y="440"/>
                </a:cubicBezTo>
                <a:cubicBezTo>
                  <a:pt x="689" y="439"/>
                  <a:pt x="689" y="439"/>
                  <a:pt x="689" y="438"/>
                </a:cubicBezTo>
                <a:cubicBezTo>
                  <a:pt x="689" y="438"/>
                  <a:pt x="689" y="438"/>
                  <a:pt x="689" y="438"/>
                </a:cubicBezTo>
                <a:cubicBezTo>
                  <a:pt x="688" y="438"/>
                  <a:pt x="689" y="438"/>
                  <a:pt x="689" y="437"/>
                </a:cubicBezTo>
                <a:cubicBezTo>
                  <a:pt x="689" y="437"/>
                  <a:pt x="688" y="437"/>
                  <a:pt x="688" y="437"/>
                </a:cubicBezTo>
                <a:cubicBezTo>
                  <a:pt x="688" y="437"/>
                  <a:pt x="687" y="437"/>
                  <a:pt x="687" y="436"/>
                </a:cubicBezTo>
                <a:cubicBezTo>
                  <a:pt x="687" y="436"/>
                  <a:pt x="686" y="436"/>
                  <a:pt x="686" y="436"/>
                </a:cubicBezTo>
                <a:cubicBezTo>
                  <a:pt x="686" y="437"/>
                  <a:pt x="687" y="437"/>
                  <a:pt x="687" y="438"/>
                </a:cubicBezTo>
                <a:cubicBezTo>
                  <a:pt x="686" y="438"/>
                  <a:pt x="686" y="437"/>
                  <a:pt x="686" y="437"/>
                </a:cubicBezTo>
                <a:cubicBezTo>
                  <a:pt x="685" y="437"/>
                  <a:pt x="685" y="436"/>
                  <a:pt x="685" y="437"/>
                </a:cubicBezTo>
                <a:cubicBezTo>
                  <a:pt x="684" y="437"/>
                  <a:pt x="685" y="438"/>
                  <a:pt x="685" y="438"/>
                </a:cubicBezTo>
                <a:cubicBezTo>
                  <a:pt x="685" y="438"/>
                  <a:pt x="685" y="438"/>
                  <a:pt x="685" y="439"/>
                </a:cubicBezTo>
                <a:cubicBezTo>
                  <a:pt x="685" y="439"/>
                  <a:pt x="685" y="438"/>
                  <a:pt x="685" y="438"/>
                </a:cubicBezTo>
                <a:cubicBezTo>
                  <a:pt x="685" y="438"/>
                  <a:pt x="684" y="438"/>
                  <a:pt x="684" y="438"/>
                </a:cubicBezTo>
                <a:cubicBezTo>
                  <a:pt x="684" y="438"/>
                  <a:pt x="685" y="438"/>
                  <a:pt x="685" y="438"/>
                </a:cubicBezTo>
                <a:cubicBezTo>
                  <a:pt x="684" y="438"/>
                  <a:pt x="684" y="438"/>
                  <a:pt x="684" y="438"/>
                </a:cubicBezTo>
                <a:cubicBezTo>
                  <a:pt x="684" y="438"/>
                  <a:pt x="684" y="438"/>
                  <a:pt x="684" y="438"/>
                </a:cubicBezTo>
                <a:cubicBezTo>
                  <a:pt x="683" y="438"/>
                  <a:pt x="683" y="438"/>
                  <a:pt x="683" y="438"/>
                </a:cubicBezTo>
                <a:cubicBezTo>
                  <a:pt x="683" y="438"/>
                  <a:pt x="683" y="439"/>
                  <a:pt x="684" y="439"/>
                </a:cubicBezTo>
                <a:cubicBezTo>
                  <a:pt x="684" y="439"/>
                  <a:pt x="684" y="439"/>
                  <a:pt x="684" y="439"/>
                </a:cubicBezTo>
                <a:cubicBezTo>
                  <a:pt x="684" y="440"/>
                  <a:pt x="684" y="440"/>
                  <a:pt x="684" y="441"/>
                </a:cubicBezTo>
                <a:cubicBezTo>
                  <a:pt x="684" y="441"/>
                  <a:pt x="684" y="442"/>
                  <a:pt x="684" y="442"/>
                </a:cubicBezTo>
                <a:cubicBezTo>
                  <a:pt x="685" y="443"/>
                  <a:pt x="685" y="443"/>
                  <a:pt x="685" y="442"/>
                </a:cubicBezTo>
                <a:cubicBezTo>
                  <a:pt x="686" y="442"/>
                  <a:pt x="686" y="442"/>
                  <a:pt x="686" y="442"/>
                </a:cubicBezTo>
                <a:cubicBezTo>
                  <a:pt x="686" y="442"/>
                  <a:pt x="686" y="442"/>
                  <a:pt x="685" y="443"/>
                </a:cubicBezTo>
                <a:cubicBezTo>
                  <a:pt x="685" y="443"/>
                  <a:pt x="685" y="443"/>
                  <a:pt x="685" y="443"/>
                </a:cubicBezTo>
                <a:cubicBezTo>
                  <a:pt x="685" y="443"/>
                  <a:pt x="686" y="443"/>
                  <a:pt x="686" y="443"/>
                </a:cubicBezTo>
                <a:cubicBezTo>
                  <a:pt x="686" y="443"/>
                  <a:pt x="686" y="443"/>
                  <a:pt x="686" y="443"/>
                </a:cubicBezTo>
                <a:cubicBezTo>
                  <a:pt x="686" y="443"/>
                  <a:pt x="686" y="443"/>
                  <a:pt x="686" y="444"/>
                </a:cubicBezTo>
                <a:cubicBezTo>
                  <a:pt x="685" y="444"/>
                  <a:pt x="685" y="444"/>
                  <a:pt x="685" y="445"/>
                </a:cubicBezTo>
                <a:cubicBezTo>
                  <a:pt x="686" y="444"/>
                  <a:pt x="686" y="445"/>
                  <a:pt x="686" y="445"/>
                </a:cubicBezTo>
                <a:cubicBezTo>
                  <a:pt x="686" y="445"/>
                  <a:pt x="686" y="445"/>
                  <a:pt x="686" y="445"/>
                </a:cubicBezTo>
                <a:cubicBezTo>
                  <a:pt x="687" y="446"/>
                  <a:pt x="687" y="446"/>
                  <a:pt x="687" y="446"/>
                </a:cubicBezTo>
                <a:cubicBezTo>
                  <a:pt x="687" y="446"/>
                  <a:pt x="687" y="445"/>
                  <a:pt x="687" y="445"/>
                </a:cubicBezTo>
                <a:cubicBezTo>
                  <a:pt x="688" y="445"/>
                  <a:pt x="688" y="445"/>
                  <a:pt x="688" y="445"/>
                </a:cubicBezTo>
                <a:cubicBezTo>
                  <a:pt x="688" y="445"/>
                  <a:pt x="688" y="445"/>
                  <a:pt x="688" y="445"/>
                </a:cubicBezTo>
                <a:cubicBezTo>
                  <a:pt x="688" y="446"/>
                  <a:pt x="688" y="446"/>
                  <a:pt x="688" y="447"/>
                </a:cubicBezTo>
                <a:cubicBezTo>
                  <a:pt x="688" y="447"/>
                  <a:pt x="688" y="447"/>
                  <a:pt x="688" y="447"/>
                </a:cubicBezTo>
                <a:cubicBezTo>
                  <a:pt x="688" y="448"/>
                  <a:pt x="688" y="448"/>
                  <a:pt x="688" y="449"/>
                </a:cubicBezTo>
                <a:cubicBezTo>
                  <a:pt x="688" y="449"/>
                  <a:pt x="688" y="448"/>
                  <a:pt x="687" y="448"/>
                </a:cubicBezTo>
                <a:cubicBezTo>
                  <a:pt x="687" y="448"/>
                  <a:pt x="686" y="448"/>
                  <a:pt x="686" y="448"/>
                </a:cubicBezTo>
                <a:cubicBezTo>
                  <a:pt x="686" y="448"/>
                  <a:pt x="686" y="448"/>
                  <a:pt x="686" y="449"/>
                </a:cubicBezTo>
                <a:cubicBezTo>
                  <a:pt x="685" y="449"/>
                  <a:pt x="685" y="449"/>
                  <a:pt x="685" y="450"/>
                </a:cubicBezTo>
                <a:cubicBezTo>
                  <a:pt x="685" y="450"/>
                  <a:pt x="685" y="450"/>
                  <a:pt x="685" y="450"/>
                </a:cubicBezTo>
                <a:cubicBezTo>
                  <a:pt x="685" y="451"/>
                  <a:pt x="685" y="451"/>
                  <a:pt x="685" y="451"/>
                </a:cubicBezTo>
                <a:cubicBezTo>
                  <a:pt x="685" y="451"/>
                  <a:pt x="686" y="451"/>
                  <a:pt x="686" y="451"/>
                </a:cubicBezTo>
                <a:cubicBezTo>
                  <a:pt x="686" y="450"/>
                  <a:pt x="686" y="450"/>
                  <a:pt x="686" y="450"/>
                </a:cubicBezTo>
                <a:cubicBezTo>
                  <a:pt x="686" y="450"/>
                  <a:pt x="686" y="450"/>
                  <a:pt x="686" y="450"/>
                </a:cubicBezTo>
                <a:cubicBezTo>
                  <a:pt x="686" y="451"/>
                  <a:pt x="685" y="452"/>
                  <a:pt x="686" y="453"/>
                </a:cubicBezTo>
                <a:cubicBezTo>
                  <a:pt x="686" y="453"/>
                  <a:pt x="686" y="453"/>
                  <a:pt x="686" y="453"/>
                </a:cubicBezTo>
                <a:cubicBezTo>
                  <a:pt x="685" y="453"/>
                  <a:pt x="686" y="454"/>
                  <a:pt x="686" y="454"/>
                </a:cubicBezTo>
                <a:cubicBezTo>
                  <a:pt x="686" y="454"/>
                  <a:pt x="686" y="454"/>
                  <a:pt x="686" y="454"/>
                </a:cubicBezTo>
                <a:cubicBezTo>
                  <a:pt x="685" y="455"/>
                  <a:pt x="686" y="455"/>
                  <a:pt x="686" y="455"/>
                </a:cubicBezTo>
                <a:cubicBezTo>
                  <a:pt x="686" y="455"/>
                  <a:pt x="686" y="456"/>
                  <a:pt x="686" y="456"/>
                </a:cubicBezTo>
                <a:cubicBezTo>
                  <a:pt x="686" y="456"/>
                  <a:pt x="687" y="456"/>
                  <a:pt x="687" y="457"/>
                </a:cubicBezTo>
                <a:cubicBezTo>
                  <a:pt x="687" y="457"/>
                  <a:pt x="687" y="457"/>
                  <a:pt x="687" y="457"/>
                </a:cubicBezTo>
                <a:cubicBezTo>
                  <a:pt x="687" y="457"/>
                  <a:pt x="687" y="457"/>
                  <a:pt x="687" y="457"/>
                </a:cubicBezTo>
                <a:cubicBezTo>
                  <a:pt x="687" y="456"/>
                  <a:pt x="687" y="456"/>
                  <a:pt x="688" y="455"/>
                </a:cubicBezTo>
                <a:cubicBezTo>
                  <a:pt x="688" y="455"/>
                  <a:pt x="688" y="454"/>
                  <a:pt x="687" y="454"/>
                </a:cubicBezTo>
                <a:cubicBezTo>
                  <a:pt x="687" y="454"/>
                  <a:pt x="686" y="454"/>
                  <a:pt x="686" y="454"/>
                </a:cubicBezTo>
                <a:cubicBezTo>
                  <a:pt x="686" y="453"/>
                  <a:pt x="687" y="453"/>
                  <a:pt x="687" y="454"/>
                </a:cubicBezTo>
                <a:cubicBezTo>
                  <a:pt x="687" y="454"/>
                  <a:pt x="688" y="453"/>
                  <a:pt x="688" y="453"/>
                </a:cubicBezTo>
                <a:cubicBezTo>
                  <a:pt x="688" y="453"/>
                  <a:pt x="687" y="452"/>
                  <a:pt x="688" y="452"/>
                </a:cubicBezTo>
                <a:cubicBezTo>
                  <a:pt x="688" y="452"/>
                  <a:pt x="688" y="451"/>
                  <a:pt x="688" y="451"/>
                </a:cubicBezTo>
                <a:cubicBezTo>
                  <a:pt x="688" y="451"/>
                  <a:pt x="688" y="450"/>
                  <a:pt x="688" y="450"/>
                </a:cubicBezTo>
                <a:cubicBezTo>
                  <a:pt x="688" y="450"/>
                  <a:pt x="688" y="451"/>
                  <a:pt x="688" y="451"/>
                </a:cubicBezTo>
                <a:cubicBezTo>
                  <a:pt x="688" y="451"/>
                  <a:pt x="688" y="451"/>
                  <a:pt x="688" y="451"/>
                </a:cubicBezTo>
                <a:cubicBezTo>
                  <a:pt x="688" y="452"/>
                  <a:pt x="688" y="453"/>
                  <a:pt x="688" y="455"/>
                </a:cubicBezTo>
                <a:cubicBezTo>
                  <a:pt x="688" y="455"/>
                  <a:pt x="689" y="455"/>
                  <a:pt x="689" y="455"/>
                </a:cubicBezTo>
                <a:cubicBezTo>
                  <a:pt x="689" y="456"/>
                  <a:pt x="689" y="455"/>
                  <a:pt x="689" y="455"/>
                </a:cubicBezTo>
                <a:cubicBezTo>
                  <a:pt x="690" y="454"/>
                  <a:pt x="690" y="454"/>
                  <a:pt x="689" y="453"/>
                </a:cubicBezTo>
                <a:cubicBezTo>
                  <a:pt x="689" y="453"/>
                  <a:pt x="689" y="453"/>
                  <a:pt x="690" y="452"/>
                </a:cubicBezTo>
                <a:cubicBezTo>
                  <a:pt x="690" y="452"/>
                  <a:pt x="690" y="452"/>
                  <a:pt x="690" y="452"/>
                </a:cubicBezTo>
                <a:cubicBezTo>
                  <a:pt x="690" y="452"/>
                  <a:pt x="690" y="451"/>
                  <a:pt x="690" y="451"/>
                </a:cubicBezTo>
                <a:cubicBezTo>
                  <a:pt x="689" y="451"/>
                  <a:pt x="689" y="451"/>
                  <a:pt x="689" y="451"/>
                </a:cubicBezTo>
                <a:cubicBezTo>
                  <a:pt x="689" y="451"/>
                  <a:pt x="689" y="451"/>
                  <a:pt x="689" y="451"/>
                </a:cubicBezTo>
                <a:cubicBezTo>
                  <a:pt x="689" y="450"/>
                  <a:pt x="689" y="450"/>
                  <a:pt x="689" y="450"/>
                </a:cubicBezTo>
                <a:cubicBezTo>
                  <a:pt x="689" y="450"/>
                  <a:pt x="689" y="450"/>
                  <a:pt x="689" y="450"/>
                </a:cubicBezTo>
                <a:cubicBezTo>
                  <a:pt x="689" y="450"/>
                  <a:pt x="690" y="450"/>
                  <a:pt x="690" y="450"/>
                </a:cubicBezTo>
                <a:cubicBezTo>
                  <a:pt x="690" y="450"/>
                  <a:pt x="690" y="451"/>
                  <a:pt x="690" y="451"/>
                </a:cubicBezTo>
                <a:cubicBezTo>
                  <a:pt x="690" y="451"/>
                  <a:pt x="690" y="451"/>
                  <a:pt x="691" y="450"/>
                </a:cubicBezTo>
                <a:cubicBezTo>
                  <a:pt x="691" y="450"/>
                  <a:pt x="691" y="450"/>
                  <a:pt x="690" y="449"/>
                </a:cubicBezTo>
                <a:close/>
                <a:moveTo>
                  <a:pt x="705" y="487"/>
                </a:moveTo>
                <a:cubicBezTo>
                  <a:pt x="705" y="486"/>
                  <a:pt x="705" y="486"/>
                  <a:pt x="705" y="486"/>
                </a:cubicBezTo>
                <a:cubicBezTo>
                  <a:pt x="705" y="486"/>
                  <a:pt x="705" y="485"/>
                  <a:pt x="705" y="485"/>
                </a:cubicBezTo>
                <a:cubicBezTo>
                  <a:pt x="705" y="485"/>
                  <a:pt x="705" y="484"/>
                  <a:pt x="705" y="484"/>
                </a:cubicBezTo>
                <a:cubicBezTo>
                  <a:pt x="704" y="484"/>
                  <a:pt x="704" y="483"/>
                  <a:pt x="704" y="484"/>
                </a:cubicBezTo>
                <a:cubicBezTo>
                  <a:pt x="704" y="483"/>
                  <a:pt x="704" y="482"/>
                  <a:pt x="703" y="482"/>
                </a:cubicBezTo>
                <a:cubicBezTo>
                  <a:pt x="703" y="482"/>
                  <a:pt x="703" y="481"/>
                  <a:pt x="702" y="481"/>
                </a:cubicBezTo>
                <a:cubicBezTo>
                  <a:pt x="702" y="481"/>
                  <a:pt x="702" y="481"/>
                  <a:pt x="702" y="481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2" y="479"/>
                  <a:pt x="701" y="479"/>
                  <a:pt x="701" y="479"/>
                </a:cubicBezTo>
                <a:cubicBezTo>
                  <a:pt x="701" y="479"/>
                  <a:pt x="701" y="479"/>
                  <a:pt x="701" y="479"/>
                </a:cubicBezTo>
                <a:cubicBezTo>
                  <a:pt x="701" y="478"/>
                  <a:pt x="701" y="478"/>
                  <a:pt x="701" y="478"/>
                </a:cubicBezTo>
                <a:cubicBezTo>
                  <a:pt x="701" y="478"/>
                  <a:pt x="700" y="478"/>
                  <a:pt x="700" y="478"/>
                </a:cubicBezTo>
                <a:cubicBezTo>
                  <a:pt x="701" y="478"/>
                  <a:pt x="701" y="478"/>
                  <a:pt x="701" y="478"/>
                </a:cubicBezTo>
                <a:cubicBezTo>
                  <a:pt x="701" y="478"/>
                  <a:pt x="701" y="478"/>
                  <a:pt x="701" y="478"/>
                </a:cubicBezTo>
                <a:cubicBezTo>
                  <a:pt x="702" y="478"/>
                  <a:pt x="701" y="477"/>
                  <a:pt x="701" y="477"/>
                </a:cubicBezTo>
                <a:cubicBezTo>
                  <a:pt x="701" y="477"/>
                  <a:pt x="701" y="477"/>
                  <a:pt x="701" y="477"/>
                </a:cubicBezTo>
                <a:cubicBezTo>
                  <a:pt x="701" y="477"/>
                  <a:pt x="700" y="476"/>
                  <a:pt x="700" y="476"/>
                </a:cubicBezTo>
                <a:cubicBezTo>
                  <a:pt x="701" y="476"/>
                  <a:pt x="700" y="476"/>
                  <a:pt x="700" y="476"/>
                </a:cubicBezTo>
                <a:cubicBezTo>
                  <a:pt x="700" y="475"/>
                  <a:pt x="700" y="475"/>
                  <a:pt x="700" y="475"/>
                </a:cubicBezTo>
                <a:cubicBezTo>
                  <a:pt x="700" y="475"/>
                  <a:pt x="700" y="474"/>
                  <a:pt x="700" y="474"/>
                </a:cubicBezTo>
                <a:cubicBezTo>
                  <a:pt x="699" y="474"/>
                  <a:pt x="699" y="474"/>
                  <a:pt x="699" y="475"/>
                </a:cubicBezTo>
                <a:cubicBezTo>
                  <a:pt x="699" y="475"/>
                  <a:pt x="699" y="475"/>
                  <a:pt x="699" y="475"/>
                </a:cubicBezTo>
                <a:cubicBezTo>
                  <a:pt x="699" y="476"/>
                  <a:pt x="699" y="476"/>
                  <a:pt x="699" y="476"/>
                </a:cubicBezTo>
                <a:cubicBezTo>
                  <a:pt x="699" y="476"/>
                  <a:pt x="699" y="477"/>
                  <a:pt x="699" y="477"/>
                </a:cubicBezTo>
                <a:cubicBezTo>
                  <a:pt x="699" y="477"/>
                  <a:pt x="699" y="477"/>
                  <a:pt x="700" y="478"/>
                </a:cubicBezTo>
                <a:cubicBezTo>
                  <a:pt x="699" y="478"/>
                  <a:pt x="699" y="478"/>
                  <a:pt x="699" y="478"/>
                </a:cubicBezTo>
                <a:cubicBezTo>
                  <a:pt x="699" y="478"/>
                  <a:pt x="699" y="478"/>
                  <a:pt x="699" y="478"/>
                </a:cubicBezTo>
                <a:cubicBezTo>
                  <a:pt x="699" y="478"/>
                  <a:pt x="699" y="479"/>
                  <a:pt x="699" y="479"/>
                </a:cubicBezTo>
                <a:cubicBezTo>
                  <a:pt x="698" y="479"/>
                  <a:pt x="699" y="479"/>
                  <a:pt x="699" y="480"/>
                </a:cubicBezTo>
                <a:cubicBezTo>
                  <a:pt x="699" y="480"/>
                  <a:pt x="700" y="480"/>
                  <a:pt x="700" y="480"/>
                </a:cubicBezTo>
                <a:cubicBezTo>
                  <a:pt x="699" y="481"/>
                  <a:pt x="700" y="481"/>
                  <a:pt x="701" y="481"/>
                </a:cubicBezTo>
                <a:cubicBezTo>
                  <a:pt x="701" y="481"/>
                  <a:pt x="701" y="481"/>
                  <a:pt x="701" y="481"/>
                </a:cubicBezTo>
                <a:cubicBezTo>
                  <a:pt x="701" y="482"/>
                  <a:pt x="700" y="481"/>
                  <a:pt x="700" y="482"/>
                </a:cubicBezTo>
                <a:cubicBezTo>
                  <a:pt x="700" y="482"/>
                  <a:pt x="701" y="482"/>
                  <a:pt x="701" y="482"/>
                </a:cubicBezTo>
                <a:cubicBezTo>
                  <a:pt x="701" y="482"/>
                  <a:pt x="701" y="482"/>
                  <a:pt x="701" y="482"/>
                </a:cubicBezTo>
                <a:cubicBezTo>
                  <a:pt x="701" y="483"/>
                  <a:pt x="701" y="483"/>
                  <a:pt x="701" y="483"/>
                </a:cubicBezTo>
                <a:cubicBezTo>
                  <a:pt x="701" y="484"/>
                  <a:pt x="702" y="484"/>
                  <a:pt x="702" y="484"/>
                </a:cubicBezTo>
                <a:cubicBezTo>
                  <a:pt x="702" y="484"/>
                  <a:pt x="702" y="483"/>
                  <a:pt x="703" y="483"/>
                </a:cubicBezTo>
                <a:cubicBezTo>
                  <a:pt x="703" y="484"/>
                  <a:pt x="702" y="484"/>
                  <a:pt x="702" y="484"/>
                </a:cubicBezTo>
                <a:cubicBezTo>
                  <a:pt x="702" y="485"/>
                  <a:pt x="703" y="485"/>
                  <a:pt x="703" y="485"/>
                </a:cubicBezTo>
                <a:cubicBezTo>
                  <a:pt x="703" y="485"/>
                  <a:pt x="703" y="486"/>
                  <a:pt x="704" y="486"/>
                </a:cubicBezTo>
                <a:cubicBezTo>
                  <a:pt x="704" y="486"/>
                  <a:pt x="703" y="486"/>
                  <a:pt x="703" y="486"/>
                </a:cubicBezTo>
                <a:cubicBezTo>
                  <a:pt x="703" y="486"/>
                  <a:pt x="703" y="487"/>
                  <a:pt x="704" y="487"/>
                </a:cubicBezTo>
                <a:cubicBezTo>
                  <a:pt x="704" y="487"/>
                  <a:pt x="704" y="486"/>
                  <a:pt x="704" y="487"/>
                </a:cubicBezTo>
                <a:cubicBezTo>
                  <a:pt x="704" y="487"/>
                  <a:pt x="705" y="487"/>
                  <a:pt x="706" y="487"/>
                </a:cubicBezTo>
                <a:cubicBezTo>
                  <a:pt x="705" y="487"/>
                  <a:pt x="705" y="487"/>
                  <a:pt x="705" y="487"/>
                </a:cubicBezTo>
                <a:close/>
                <a:moveTo>
                  <a:pt x="704" y="452"/>
                </a:moveTo>
                <a:cubicBezTo>
                  <a:pt x="704" y="452"/>
                  <a:pt x="705" y="452"/>
                  <a:pt x="705" y="451"/>
                </a:cubicBezTo>
                <a:cubicBezTo>
                  <a:pt x="706" y="451"/>
                  <a:pt x="706" y="451"/>
                  <a:pt x="706" y="450"/>
                </a:cubicBezTo>
                <a:cubicBezTo>
                  <a:pt x="706" y="450"/>
                  <a:pt x="706" y="449"/>
                  <a:pt x="706" y="449"/>
                </a:cubicBezTo>
                <a:cubicBezTo>
                  <a:pt x="707" y="448"/>
                  <a:pt x="706" y="448"/>
                  <a:pt x="706" y="447"/>
                </a:cubicBezTo>
                <a:cubicBezTo>
                  <a:pt x="706" y="447"/>
                  <a:pt x="705" y="447"/>
                  <a:pt x="705" y="447"/>
                </a:cubicBezTo>
                <a:cubicBezTo>
                  <a:pt x="704" y="447"/>
                  <a:pt x="704" y="447"/>
                  <a:pt x="703" y="447"/>
                </a:cubicBezTo>
                <a:cubicBezTo>
                  <a:pt x="702" y="447"/>
                  <a:pt x="702" y="447"/>
                  <a:pt x="701" y="448"/>
                </a:cubicBezTo>
                <a:cubicBezTo>
                  <a:pt x="701" y="448"/>
                  <a:pt x="701" y="449"/>
                  <a:pt x="701" y="449"/>
                </a:cubicBezTo>
                <a:cubicBezTo>
                  <a:pt x="701" y="449"/>
                  <a:pt x="701" y="450"/>
                  <a:pt x="701" y="450"/>
                </a:cubicBezTo>
                <a:cubicBezTo>
                  <a:pt x="702" y="451"/>
                  <a:pt x="702" y="451"/>
                  <a:pt x="703" y="452"/>
                </a:cubicBezTo>
                <a:cubicBezTo>
                  <a:pt x="703" y="452"/>
                  <a:pt x="703" y="452"/>
                  <a:pt x="704" y="452"/>
                </a:cubicBezTo>
                <a:close/>
                <a:moveTo>
                  <a:pt x="697" y="462"/>
                </a:moveTo>
                <a:cubicBezTo>
                  <a:pt x="696" y="462"/>
                  <a:pt x="695" y="462"/>
                  <a:pt x="695" y="462"/>
                </a:cubicBezTo>
                <a:cubicBezTo>
                  <a:pt x="695" y="461"/>
                  <a:pt x="695" y="461"/>
                  <a:pt x="694" y="461"/>
                </a:cubicBezTo>
                <a:cubicBezTo>
                  <a:pt x="694" y="461"/>
                  <a:pt x="694" y="462"/>
                  <a:pt x="694" y="462"/>
                </a:cubicBezTo>
                <a:cubicBezTo>
                  <a:pt x="694" y="462"/>
                  <a:pt x="694" y="461"/>
                  <a:pt x="693" y="461"/>
                </a:cubicBezTo>
                <a:cubicBezTo>
                  <a:pt x="693" y="462"/>
                  <a:pt x="693" y="462"/>
                  <a:pt x="693" y="463"/>
                </a:cubicBezTo>
                <a:cubicBezTo>
                  <a:pt x="693" y="463"/>
                  <a:pt x="693" y="463"/>
                  <a:pt x="693" y="463"/>
                </a:cubicBezTo>
                <a:cubicBezTo>
                  <a:pt x="693" y="464"/>
                  <a:pt x="694" y="464"/>
                  <a:pt x="694" y="464"/>
                </a:cubicBezTo>
                <a:cubicBezTo>
                  <a:pt x="695" y="464"/>
                  <a:pt x="695" y="464"/>
                  <a:pt x="695" y="464"/>
                </a:cubicBezTo>
                <a:cubicBezTo>
                  <a:pt x="695" y="464"/>
                  <a:pt x="695" y="464"/>
                  <a:pt x="695" y="463"/>
                </a:cubicBezTo>
                <a:cubicBezTo>
                  <a:pt x="695" y="463"/>
                  <a:pt x="695" y="463"/>
                  <a:pt x="695" y="463"/>
                </a:cubicBezTo>
                <a:cubicBezTo>
                  <a:pt x="696" y="463"/>
                  <a:pt x="696" y="464"/>
                  <a:pt x="697" y="463"/>
                </a:cubicBezTo>
                <a:cubicBezTo>
                  <a:pt x="697" y="463"/>
                  <a:pt x="697" y="463"/>
                  <a:pt x="697" y="462"/>
                </a:cubicBezTo>
                <a:cubicBezTo>
                  <a:pt x="697" y="462"/>
                  <a:pt x="697" y="462"/>
                  <a:pt x="697" y="462"/>
                </a:cubicBezTo>
                <a:close/>
                <a:moveTo>
                  <a:pt x="705" y="477"/>
                </a:moveTo>
                <a:cubicBezTo>
                  <a:pt x="705" y="477"/>
                  <a:pt x="704" y="476"/>
                  <a:pt x="704" y="476"/>
                </a:cubicBezTo>
                <a:cubicBezTo>
                  <a:pt x="704" y="476"/>
                  <a:pt x="704" y="476"/>
                  <a:pt x="704" y="476"/>
                </a:cubicBezTo>
                <a:cubicBezTo>
                  <a:pt x="703" y="476"/>
                  <a:pt x="703" y="476"/>
                  <a:pt x="703" y="477"/>
                </a:cubicBezTo>
                <a:cubicBezTo>
                  <a:pt x="703" y="477"/>
                  <a:pt x="703" y="478"/>
                  <a:pt x="703" y="478"/>
                </a:cubicBezTo>
                <a:cubicBezTo>
                  <a:pt x="704" y="478"/>
                  <a:pt x="704" y="478"/>
                  <a:pt x="703" y="479"/>
                </a:cubicBezTo>
                <a:cubicBezTo>
                  <a:pt x="703" y="479"/>
                  <a:pt x="703" y="479"/>
                  <a:pt x="703" y="479"/>
                </a:cubicBezTo>
                <a:cubicBezTo>
                  <a:pt x="703" y="479"/>
                  <a:pt x="704" y="480"/>
                  <a:pt x="704" y="480"/>
                </a:cubicBezTo>
                <a:cubicBezTo>
                  <a:pt x="704" y="479"/>
                  <a:pt x="704" y="480"/>
                  <a:pt x="704" y="480"/>
                </a:cubicBezTo>
                <a:cubicBezTo>
                  <a:pt x="704" y="480"/>
                  <a:pt x="705" y="480"/>
                  <a:pt x="705" y="480"/>
                </a:cubicBezTo>
                <a:cubicBezTo>
                  <a:pt x="705" y="480"/>
                  <a:pt x="705" y="480"/>
                  <a:pt x="705" y="480"/>
                </a:cubicBezTo>
                <a:cubicBezTo>
                  <a:pt x="706" y="479"/>
                  <a:pt x="706" y="479"/>
                  <a:pt x="705" y="479"/>
                </a:cubicBezTo>
                <a:cubicBezTo>
                  <a:pt x="705" y="478"/>
                  <a:pt x="705" y="478"/>
                  <a:pt x="705" y="478"/>
                </a:cubicBezTo>
                <a:cubicBezTo>
                  <a:pt x="706" y="477"/>
                  <a:pt x="705" y="477"/>
                  <a:pt x="705" y="477"/>
                </a:cubicBezTo>
                <a:close/>
                <a:moveTo>
                  <a:pt x="681" y="444"/>
                </a:moveTo>
                <a:cubicBezTo>
                  <a:pt x="681" y="444"/>
                  <a:pt x="681" y="444"/>
                  <a:pt x="681" y="445"/>
                </a:cubicBezTo>
                <a:cubicBezTo>
                  <a:pt x="680" y="444"/>
                  <a:pt x="680" y="444"/>
                  <a:pt x="680" y="444"/>
                </a:cubicBezTo>
                <a:cubicBezTo>
                  <a:pt x="680" y="444"/>
                  <a:pt x="680" y="444"/>
                  <a:pt x="680" y="444"/>
                </a:cubicBezTo>
                <a:cubicBezTo>
                  <a:pt x="680" y="445"/>
                  <a:pt x="680" y="445"/>
                  <a:pt x="680" y="445"/>
                </a:cubicBezTo>
                <a:cubicBezTo>
                  <a:pt x="679" y="445"/>
                  <a:pt x="680" y="445"/>
                  <a:pt x="680" y="445"/>
                </a:cubicBezTo>
                <a:cubicBezTo>
                  <a:pt x="680" y="445"/>
                  <a:pt x="680" y="445"/>
                  <a:pt x="680" y="445"/>
                </a:cubicBezTo>
                <a:cubicBezTo>
                  <a:pt x="680" y="445"/>
                  <a:pt x="680" y="445"/>
                  <a:pt x="680" y="445"/>
                </a:cubicBezTo>
                <a:cubicBezTo>
                  <a:pt x="680" y="446"/>
                  <a:pt x="681" y="446"/>
                  <a:pt x="680" y="447"/>
                </a:cubicBezTo>
                <a:cubicBezTo>
                  <a:pt x="681" y="447"/>
                  <a:pt x="680" y="447"/>
                  <a:pt x="680" y="448"/>
                </a:cubicBezTo>
                <a:cubicBezTo>
                  <a:pt x="681" y="448"/>
                  <a:pt x="681" y="448"/>
                  <a:pt x="680" y="449"/>
                </a:cubicBezTo>
                <a:cubicBezTo>
                  <a:pt x="680" y="449"/>
                  <a:pt x="681" y="449"/>
                  <a:pt x="681" y="449"/>
                </a:cubicBezTo>
                <a:cubicBezTo>
                  <a:pt x="681" y="449"/>
                  <a:pt x="681" y="450"/>
                  <a:pt x="680" y="450"/>
                </a:cubicBezTo>
                <a:cubicBezTo>
                  <a:pt x="680" y="450"/>
                  <a:pt x="680" y="450"/>
                  <a:pt x="680" y="450"/>
                </a:cubicBezTo>
                <a:cubicBezTo>
                  <a:pt x="680" y="450"/>
                  <a:pt x="680" y="450"/>
                  <a:pt x="680" y="450"/>
                </a:cubicBezTo>
                <a:cubicBezTo>
                  <a:pt x="680" y="451"/>
                  <a:pt x="680" y="451"/>
                  <a:pt x="680" y="452"/>
                </a:cubicBezTo>
                <a:cubicBezTo>
                  <a:pt x="681" y="452"/>
                  <a:pt x="680" y="453"/>
                  <a:pt x="680" y="454"/>
                </a:cubicBezTo>
                <a:cubicBezTo>
                  <a:pt x="680" y="453"/>
                  <a:pt x="679" y="454"/>
                  <a:pt x="680" y="453"/>
                </a:cubicBezTo>
                <a:cubicBezTo>
                  <a:pt x="680" y="453"/>
                  <a:pt x="680" y="453"/>
                  <a:pt x="680" y="452"/>
                </a:cubicBezTo>
                <a:cubicBezTo>
                  <a:pt x="680" y="452"/>
                  <a:pt x="680" y="452"/>
                  <a:pt x="679" y="452"/>
                </a:cubicBezTo>
                <a:cubicBezTo>
                  <a:pt x="679" y="453"/>
                  <a:pt x="679" y="452"/>
                  <a:pt x="679" y="452"/>
                </a:cubicBezTo>
                <a:cubicBezTo>
                  <a:pt x="679" y="452"/>
                  <a:pt x="678" y="451"/>
                  <a:pt x="678" y="450"/>
                </a:cubicBezTo>
                <a:cubicBezTo>
                  <a:pt x="678" y="450"/>
                  <a:pt x="678" y="450"/>
                  <a:pt x="678" y="450"/>
                </a:cubicBezTo>
                <a:cubicBezTo>
                  <a:pt x="678" y="450"/>
                  <a:pt x="678" y="450"/>
                  <a:pt x="678" y="450"/>
                </a:cubicBezTo>
                <a:cubicBezTo>
                  <a:pt x="677" y="450"/>
                  <a:pt x="677" y="450"/>
                  <a:pt x="677" y="449"/>
                </a:cubicBezTo>
                <a:cubicBezTo>
                  <a:pt x="677" y="449"/>
                  <a:pt x="677" y="448"/>
                  <a:pt x="676" y="447"/>
                </a:cubicBezTo>
                <a:cubicBezTo>
                  <a:pt x="676" y="447"/>
                  <a:pt x="676" y="447"/>
                  <a:pt x="677" y="447"/>
                </a:cubicBezTo>
                <a:cubicBezTo>
                  <a:pt x="676" y="446"/>
                  <a:pt x="676" y="447"/>
                  <a:pt x="676" y="446"/>
                </a:cubicBezTo>
                <a:cubicBezTo>
                  <a:pt x="676" y="446"/>
                  <a:pt x="676" y="445"/>
                  <a:pt x="675" y="445"/>
                </a:cubicBezTo>
                <a:cubicBezTo>
                  <a:pt x="675" y="445"/>
                  <a:pt x="676" y="445"/>
                  <a:pt x="675" y="444"/>
                </a:cubicBezTo>
                <a:cubicBezTo>
                  <a:pt x="675" y="444"/>
                  <a:pt x="676" y="444"/>
                  <a:pt x="676" y="444"/>
                </a:cubicBezTo>
                <a:cubicBezTo>
                  <a:pt x="677" y="443"/>
                  <a:pt x="677" y="443"/>
                  <a:pt x="677" y="443"/>
                </a:cubicBezTo>
                <a:cubicBezTo>
                  <a:pt x="676" y="443"/>
                  <a:pt x="676" y="443"/>
                  <a:pt x="676" y="442"/>
                </a:cubicBezTo>
                <a:cubicBezTo>
                  <a:pt x="676" y="442"/>
                  <a:pt x="676" y="442"/>
                  <a:pt x="676" y="442"/>
                </a:cubicBezTo>
                <a:cubicBezTo>
                  <a:pt x="676" y="442"/>
                  <a:pt x="676" y="442"/>
                  <a:pt x="676" y="442"/>
                </a:cubicBezTo>
                <a:cubicBezTo>
                  <a:pt x="676" y="442"/>
                  <a:pt x="676" y="442"/>
                  <a:pt x="676" y="442"/>
                </a:cubicBezTo>
                <a:cubicBezTo>
                  <a:pt x="676" y="442"/>
                  <a:pt x="676" y="443"/>
                  <a:pt x="675" y="443"/>
                </a:cubicBezTo>
                <a:cubicBezTo>
                  <a:pt x="675" y="444"/>
                  <a:pt x="675" y="444"/>
                  <a:pt x="674" y="444"/>
                </a:cubicBezTo>
                <a:cubicBezTo>
                  <a:pt x="674" y="443"/>
                  <a:pt x="674" y="443"/>
                  <a:pt x="674" y="443"/>
                </a:cubicBezTo>
                <a:cubicBezTo>
                  <a:pt x="674" y="443"/>
                  <a:pt x="674" y="443"/>
                  <a:pt x="674" y="443"/>
                </a:cubicBezTo>
                <a:cubicBezTo>
                  <a:pt x="674" y="442"/>
                  <a:pt x="674" y="441"/>
                  <a:pt x="675" y="441"/>
                </a:cubicBezTo>
                <a:cubicBezTo>
                  <a:pt x="675" y="441"/>
                  <a:pt x="675" y="440"/>
                  <a:pt x="676" y="440"/>
                </a:cubicBezTo>
                <a:cubicBezTo>
                  <a:pt x="675" y="440"/>
                  <a:pt x="675" y="440"/>
                  <a:pt x="675" y="440"/>
                </a:cubicBezTo>
                <a:cubicBezTo>
                  <a:pt x="675" y="440"/>
                  <a:pt x="675" y="441"/>
                  <a:pt x="674" y="441"/>
                </a:cubicBezTo>
                <a:cubicBezTo>
                  <a:pt x="674" y="441"/>
                  <a:pt x="674" y="442"/>
                  <a:pt x="674" y="442"/>
                </a:cubicBezTo>
                <a:cubicBezTo>
                  <a:pt x="674" y="442"/>
                  <a:pt x="673" y="442"/>
                  <a:pt x="673" y="442"/>
                </a:cubicBezTo>
                <a:cubicBezTo>
                  <a:pt x="673" y="442"/>
                  <a:pt x="673" y="441"/>
                  <a:pt x="673" y="441"/>
                </a:cubicBezTo>
                <a:cubicBezTo>
                  <a:pt x="673" y="441"/>
                  <a:pt x="674" y="441"/>
                  <a:pt x="674" y="441"/>
                </a:cubicBezTo>
                <a:cubicBezTo>
                  <a:pt x="673" y="441"/>
                  <a:pt x="674" y="440"/>
                  <a:pt x="674" y="439"/>
                </a:cubicBezTo>
                <a:cubicBezTo>
                  <a:pt x="673" y="440"/>
                  <a:pt x="673" y="440"/>
                  <a:pt x="673" y="441"/>
                </a:cubicBezTo>
                <a:cubicBezTo>
                  <a:pt x="673" y="441"/>
                  <a:pt x="673" y="441"/>
                  <a:pt x="673" y="441"/>
                </a:cubicBezTo>
                <a:cubicBezTo>
                  <a:pt x="673" y="441"/>
                  <a:pt x="673" y="441"/>
                  <a:pt x="673" y="441"/>
                </a:cubicBezTo>
                <a:cubicBezTo>
                  <a:pt x="672" y="441"/>
                  <a:pt x="673" y="441"/>
                  <a:pt x="673" y="441"/>
                </a:cubicBezTo>
                <a:cubicBezTo>
                  <a:pt x="673" y="441"/>
                  <a:pt x="673" y="440"/>
                  <a:pt x="673" y="440"/>
                </a:cubicBezTo>
                <a:cubicBezTo>
                  <a:pt x="672" y="440"/>
                  <a:pt x="673" y="440"/>
                  <a:pt x="673" y="439"/>
                </a:cubicBezTo>
                <a:cubicBezTo>
                  <a:pt x="673" y="439"/>
                  <a:pt x="673" y="439"/>
                  <a:pt x="673" y="439"/>
                </a:cubicBezTo>
                <a:cubicBezTo>
                  <a:pt x="672" y="439"/>
                  <a:pt x="672" y="439"/>
                  <a:pt x="671" y="439"/>
                </a:cubicBezTo>
                <a:cubicBezTo>
                  <a:pt x="671" y="438"/>
                  <a:pt x="671" y="438"/>
                  <a:pt x="671" y="437"/>
                </a:cubicBezTo>
                <a:cubicBezTo>
                  <a:pt x="671" y="437"/>
                  <a:pt x="671" y="437"/>
                  <a:pt x="671" y="437"/>
                </a:cubicBezTo>
                <a:cubicBezTo>
                  <a:pt x="672" y="437"/>
                  <a:pt x="672" y="437"/>
                  <a:pt x="672" y="437"/>
                </a:cubicBezTo>
                <a:cubicBezTo>
                  <a:pt x="672" y="436"/>
                  <a:pt x="672" y="436"/>
                  <a:pt x="671" y="435"/>
                </a:cubicBezTo>
                <a:cubicBezTo>
                  <a:pt x="671" y="435"/>
                  <a:pt x="671" y="435"/>
                  <a:pt x="671" y="435"/>
                </a:cubicBezTo>
                <a:cubicBezTo>
                  <a:pt x="672" y="435"/>
                  <a:pt x="672" y="434"/>
                  <a:pt x="673" y="434"/>
                </a:cubicBezTo>
                <a:cubicBezTo>
                  <a:pt x="673" y="434"/>
                  <a:pt x="673" y="434"/>
                  <a:pt x="673" y="434"/>
                </a:cubicBezTo>
                <a:cubicBezTo>
                  <a:pt x="673" y="434"/>
                  <a:pt x="674" y="434"/>
                  <a:pt x="674" y="433"/>
                </a:cubicBezTo>
                <a:cubicBezTo>
                  <a:pt x="674" y="433"/>
                  <a:pt x="674" y="433"/>
                  <a:pt x="674" y="433"/>
                </a:cubicBezTo>
                <a:cubicBezTo>
                  <a:pt x="674" y="433"/>
                  <a:pt x="673" y="433"/>
                  <a:pt x="673" y="433"/>
                </a:cubicBezTo>
                <a:cubicBezTo>
                  <a:pt x="672" y="434"/>
                  <a:pt x="671" y="433"/>
                  <a:pt x="671" y="432"/>
                </a:cubicBezTo>
                <a:cubicBezTo>
                  <a:pt x="671" y="432"/>
                  <a:pt x="671" y="431"/>
                  <a:pt x="672" y="431"/>
                </a:cubicBezTo>
                <a:cubicBezTo>
                  <a:pt x="672" y="431"/>
                  <a:pt x="672" y="430"/>
                  <a:pt x="672" y="430"/>
                </a:cubicBezTo>
                <a:cubicBezTo>
                  <a:pt x="672" y="430"/>
                  <a:pt x="672" y="430"/>
                  <a:pt x="672" y="430"/>
                </a:cubicBezTo>
                <a:cubicBezTo>
                  <a:pt x="672" y="430"/>
                  <a:pt x="672" y="430"/>
                  <a:pt x="672" y="430"/>
                </a:cubicBezTo>
                <a:cubicBezTo>
                  <a:pt x="672" y="430"/>
                  <a:pt x="672" y="430"/>
                  <a:pt x="671" y="430"/>
                </a:cubicBezTo>
                <a:cubicBezTo>
                  <a:pt x="671" y="430"/>
                  <a:pt x="671" y="431"/>
                  <a:pt x="671" y="431"/>
                </a:cubicBezTo>
                <a:cubicBezTo>
                  <a:pt x="671" y="431"/>
                  <a:pt x="671" y="430"/>
                  <a:pt x="671" y="430"/>
                </a:cubicBezTo>
                <a:cubicBezTo>
                  <a:pt x="672" y="430"/>
                  <a:pt x="671" y="429"/>
                  <a:pt x="672" y="428"/>
                </a:cubicBezTo>
                <a:cubicBezTo>
                  <a:pt x="671" y="428"/>
                  <a:pt x="670" y="428"/>
                  <a:pt x="669" y="429"/>
                </a:cubicBezTo>
                <a:cubicBezTo>
                  <a:pt x="669" y="429"/>
                  <a:pt x="669" y="428"/>
                  <a:pt x="669" y="428"/>
                </a:cubicBezTo>
                <a:cubicBezTo>
                  <a:pt x="669" y="428"/>
                  <a:pt x="669" y="428"/>
                  <a:pt x="669" y="428"/>
                </a:cubicBezTo>
                <a:cubicBezTo>
                  <a:pt x="669" y="429"/>
                  <a:pt x="668" y="428"/>
                  <a:pt x="668" y="429"/>
                </a:cubicBezTo>
                <a:cubicBezTo>
                  <a:pt x="668" y="429"/>
                  <a:pt x="668" y="430"/>
                  <a:pt x="668" y="430"/>
                </a:cubicBezTo>
                <a:cubicBezTo>
                  <a:pt x="668" y="431"/>
                  <a:pt x="669" y="431"/>
                  <a:pt x="669" y="431"/>
                </a:cubicBezTo>
                <a:cubicBezTo>
                  <a:pt x="669" y="432"/>
                  <a:pt x="668" y="433"/>
                  <a:pt x="668" y="434"/>
                </a:cubicBezTo>
                <a:cubicBezTo>
                  <a:pt x="668" y="434"/>
                  <a:pt x="667" y="434"/>
                  <a:pt x="666" y="434"/>
                </a:cubicBezTo>
                <a:cubicBezTo>
                  <a:pt x="666" y="434"/>
                  <a:pt x="666" y="435"/>
                  <a:pt x="665" y="434"/>
                </a:cubicBezTo>
                <a:cubicBezTo>
                  <a:pt x="665" y="434"/>
                  <a:pt x="665" y="434"/>
                  <a:pt x="665" y="433"/>
                </a:cubicBezTo>
                <a:cubicBezTo>
                  <a:pt x="665" y="432"/>
                  <a:pt x="665" y="432"/>
                  <a:pt x="666" y="432"/>
                </a:cubicBezTo>
                <a:cubicBezTo>
                  <a:pt x="667" y="431"/>
                  <a:pt x="666" y="431"/>
                  <a:pt x="666" y="430"/>
                </a:cubicBezTo>
                <a:cubicBezTo>
                  <a:pt x="666" y="430"/>
                  <a:pt x="666" y="430"/>
                  <a:pt x="666" y="430"/>
                </a:cubicBezTo>
                <a:cubicBezTo>
                  <a:pt x="665" y="430"/>
                  <a:pt x="665" y="430"/>
                  <a:pt x="665" y="430"/>
                </a:cubicBezTo>
                <a:cubicBezTo>
                  <a:pt x="666" y="430"/>
                  <a:pt x="665" y="429"/>
                  <a:pt x="666" y="429"/>
                </a:cubicBezTo>
                <a:cubicBezTo>
                  <a:pt x="665" y="429"/>
                  <a:pt x="665" y="428"/>
                  <a:pt x="665" y="428"/>
                </a:cubicBezTo>
                <a:cubicBezTo>
                  <a:pt x="665" y="428"/>
                  <a:pt x="665" y="428"/>
                  <a:pt x="665" y="428"/>
                </a:cubicBezTo>
                <a:cubicBezTo>
                  <a:pt x="665" y="427"/>
                  <a:pt x="666" y="427"/>
                  <a:pt x="665" y="427"/>
                </a:cubicBezTo>
                <a:cubicBezTo>
                  <a:pt x="665" y="427"/>
                  <a:pt x="665" y="426"/>
                  <a:pt x="665" y="426"/>
                </a:cubicBezTo>
                <a:cubicBezTo>
                  <a:pt x="667" y="426"/>
                  <a:pt x="667" y="426"/>
                  <a:pt x="667" y="428"/>
                </a:cubicBezTo>
                <a:cubicBezTo>
                  <a:pt x="667" y="428"/>
                  <a:pt x="667" y="428"/>
                  <a:pt x="667" y="428"/>
                </a:cubicBezTo>
                <a:cubicBezTo>
                  <a:pt x="668" y="428"/>
                  <a:pt x="667" y="427"/>
                  <a:pt x="668" y="427"/>
                </a:cubicBezTo>
                <a:cubicBezTo>
                  <a:pt x="668" y="427"/>
                  <a:pt x="668" y="427"/>
                  <a:pt x="668" y="427"/>
                </a:cubicBezTo>
                <a:cubicBezTo>
                  <a:pt x="668" y="427"/>
                  <a:pt x="668" y="427"/>
                  <a:pt x="668" y="427"/>
                </a:cubicBezTo>
                <a:cubicBezTo>
                  <a:pt x="668" y="426"/>
                  <a:pt x="667" y="426"/>
                  <a:pt x="667" y="426"/>
                </a:cubicBezTo>
                <a:cubicBezTo>
                  <a:pt x="667" y="426"/>
                  <a:pt x="667" y="426"/>
                  <a:pt x="668" y="426"/>
                </a:cubicBezTo>
                <a:cubicBezTo>
                  <a:pt x="668" y="426"/>
                  <a:pt x="669" y="426"/>
                  <a:pt x="669" y="426"/>
                </a:cubicBezTo>
                <a:cubicBezTo>
                  <a:pt x="669" y="426"/>
                  <a:pt x="670" y="426"/>
                  <a:pt x="670" y="426"/>
                </a:cubicBezTo>
                <a:cubicBezTo>
                  <a:pt x="669" y="425"/>
                  <a:pt x="669" y="425"/>
                  <a:pt x="669" y="425"/>
                </a:cubicBezTo>
                <a:cubicBezTo>
                  <a:pt x="668" y="425"/>
                  <a:pt x="668" y="425"/>
                  <a:pt x="669" y="425"/>
                </a:cubicBezTo>
                <a:cubicBezTo>
                  <a:pt x="669" y="424"/>
                  <a:pt x="669" y="424"/>
                  <a:pt x="669" y="423"/>
                </a:cubicBezTo>
                <a:cubicBezTo>
                  <a:pt x="669" y="423"/>
                  <a:pt x="669" y="424"/>
                  <a:pt x="668" y="424"/>
                </a:cubicBezTo>
                <a:cubicBezTo>
                  <a:pt x="668" y="424"/>
                  <a:pt x="668" y="424"/>
                  <a:pt x="668" y="424"/>
                </a:cubicBezTo>
                <a:cubicBezTo>
                  <a:pt x="668" y="424"/>
                  <a:pt x="668" y="424"/>
                  <a:pt x="668" y="425"/>
                </a:cubicBezTo>
                <a:cubicBezTo>
                  <a:pt x="667" y="425"/>
                  <a:pt x="667" y="425"/>
                  <a:pt x="667" y="425"/>
                </a:cubicBezTo>
                <a:cubicBezTo>
                  <a:pt x="667" y="425"/>
                  <a:pt x="667" y="426"/>
                  <a:pt x="666" y="425"/>
                </a:cubicBezTo>
                <a:cubicBezTo>
                  <a:pt x="666" y="425"/>
                  <a:pt x="666" y="425"/>
                  <a:pt x="666" y="425"/>
                </a:cubicBezTo>
                <a:cubicBezTo>
                  <a:pt x="665" y="425"/>
                  <a:pt x="665" y="425"/>
                  <a:pt x="665" y="424"/>
                </a:cubicBezTo>
                <a:cubicBezTo>
                  <a:pt x="665" y="424"/>
                  <a:pt x="664" y="424"/>
                  <a:pt x="664" y="423"/>
                </a:cubicBezTo>
                <a:cubicBezTo>
                  <a:pt x="664" y="423"/>
                  <a:pt x="663" y="423"/>
                  <a:pt x="663" y="422"/>
                </a:cubicBezTo>
                <a:cubicBezTo>
                  <a:pt x="663" y="422"/>
                  <a:pt x="663" y="422"/>
                  <a:pt x="663" y="422"/>
                </a:cubicBezTo>
                <a:cubicBezTo>
                  <a:pt x="663" y="422"/>
                  <a:pt x="663" y="422"/>
                  <a:pt x="663" y="422"/>
                </a:cubicBezTo>
                <a:cubicBezTo>
                  <a:pt x="663" y="422"/>
                  <a:pt x="664" y="422"/>
                  <a:pt x="664" y="422"/>
                </a:cubicBezTo>
                <a:cubicBezTo>
                  <a:pt x="664" y="423"/>
                  <a:pt x="665" y="423"/>
                  <a:pt x="665" y="424"/>
                </a:cubicBezTo>
                <a:cubicBezTo>
                  <a:pt x="665" y="423"/>
                  <a:pt x="665" y="423"/>
                  <a:pt x="664" y="422"/>
                </a:cubicBezTo>
                <a:cubicBezTo>
                  <a:pt x="664" y="422"/>
                  <a:pt x="664" y="422"/>
                  <a:pt x="663" y="421"/>
                </a:cubicBezTo>
                <a:cubicBezTo>
                  <a:pt x="663" y="421"/>
                  <a:pt x="663" y="421"/>
                  <a:pt x="663" y="421"/>
                </a:cubicBezTo>
                <a:cubicBezTo>
                  <a:pt x="663" y="421"/>
                  <a:pt x="662" y="421"/>
                  <a:pt x="663" y="419"/>
                </a:cubicBezTo>
                <a:cubicBezTo>
                  <a:pt x="662" y="419"/>
                  <a:pt x="663" y="420"/>
                  <a:pt x="662" y="420"/>
                </a:cubicBezTo>
                <a:cubicBezTo>
                  <a:pt x="662" y="419"/>
                  <a:pt x="662" y="419"/>
                  <a:pt x="662" y="419"/>
                </a:cubicBezTo>
                <a:cubicBezTo>
                  <a:pt x="662" y="419"/>
                  <a:pt x="662" y="420"/>
                  <a:pt x="662" y="419"/>
                </a:cubicBezTo>
                <a:cubicBezTo>
                  <a:pt x="661" y="419"/>
                  <a:pt x="661" y="419"/>
                  <a:pt x="661" y="419"/>
                </a:cubicBezTo>
                <a:cubicBezTo>
                  <a:pt x="661" y="419"/>
                  <a:pt x="661" y="419"/>
                  <a:pt x="661" y="419"/>
                </a:cubicBezTo>
                <a:cubicBezTo>
                  <a:pt x="660" y="419"/>
                  <a:pt x="660" y="418"/>
                  <a:pt x="660" y="418"/>
                </a:cubicBezTo>
                <a:cubicBezTo>
                  <a:pt x="660" y="418"/>
                  <a:pt x="661" y="417"/>
                  <a:pt x="661" y="418"/>
                </a:cubicBezTo>
                <a:cubicBezTo>
                  <a:pt x="661" y="417"/>
                  <a:pt x="660" y="417"/>
                  <a:pt x="661" y="416"/>
                </a:cubicBezTo>
                <a:cubicBezTo>
                  <a:pt x="661" y="416"/>
                  <a:pt x="660" y="416"/>
                  <a:pt x="660" y="416"/>
                </a:cubicBezTo>
                <a:cubicBezTo>
                  <a:pt x="660" y="416"/>
                  <a:pt x="660" y="416"/>
                  <a:pt x="660" y="416"/>
                </a:cubicBezTo>
                <a:cubicBezTo>
                  <a:pt x="660" y="416"/>
                  <a:pt x="660" y="417"/>
                  <a:pt x="660" y="417"/>
                </a:cubicBezTo>
                <a:cubicBezTo>
                  <a:pt x="659" y="417"/>
                  <a:pt x="659" y="416"/>
                  <a:pt x="659" y="416"/>
                </a:cubicBezTo>
                <a:cubicBezTo>
                  <a:pt x="659" y="415"/>
                  <a:pt x="659" y="415"/>
                  <a:pt x="658" y="415"/>
                </a:cubicBezTo>
                <a:cubicBezTo>
                  <a:pt x="658" y="414"/>
                  <a:pt x="658" y="414"/>
                  <a:pt x="658" y="414"/>
                </a:cubicBezTo>
                <a:cubicBezTo>
                  <a:pt x="658" y="414"/>
                  <a:pt x="658" y="414"/>
                  <a:pt x="658" y="414"/>
                </a:cubicBezTo>
                <a:cubicBezTo>
                  <a:pt x="658" y="414"/>
                  <a:pt x="658" y="414"/>
                  <a:pt x="657" y="414"/>
                </a:cubicBezTo>
                <a:cubicBezTo>
                  <a:pt x="657" y="414"/>
                  <a:pt x="657" y="413"/>
                  <a:pt x="657" y="413"/>
                </a:cubicBezTo>
                <a:cubicBezTo>
                  <a:pt x="657" y="413"/>
                  <a:pt x="657" y="413"/>
                  <a:pt x="657" y="413"/>
                </a:cubicBezTo>
                <a:cubicBezTo>
                  <a:pt x="656" y="412"/>
                  <a:pt x="656" y="412"/>
                  <a:pt x="656" y="411"/>
                </a:cubicBezTo>
                <a:cubicBezTo>
                  <a:pt x="656" y="411"/>
                  <a:pt x="657" y="410"/>
                  <a:pt x="656" y="410"/>
                </a:cubicBezTo>
                <a:cubicBezTo>
                  <a:pt x="656" y="410"/>
                  <a:pt x="656" y="408"/>
                  <a:pt x="657" y="408"/>
                </a:cubicBezTo>
                <a:cubicBezTo>
                  <a:pt x="657" y="408"/>
                  <a:pt x="657" y="408"/>
                  <a:pt x="657" y="408"/>
                </a:cubicBezTo>
                <a:cubicBezTo>
                  <a:pt x="658" y="409"/>
                  <a:pt x="658" y="409"/>
                  <a:pt x="658" y="410"/>
                </a:cubicBezTo>
                <a:cubicBezTo>
                  <a:pt x="659" y="410"/>
                  <a:pt x="659" y="410"/>
                  <a:pt x="659" y="410"/>
                </a:cubicBezTo>
                <a:cubicBezTo>
                  <a:pt x="659" y="410"/>
                  <a:pt x="659" y="411"/>
                  <a:pt x="659" y="411"/>
                </a:cubicBezTo>
                <a:cubicBezTo>
                  <a:pt x="660" y="411"/>
                  <a:pt x="661" y="412"/>
                  <a:pt x="662" y="413"/>
                </a:cubicBezTo>
                <a:cubicBezTo>
                  <a:pt x="662" y="414"/>
                  <a:pt x="662" y="414"/>
                  <a:pt x="662" y="414"/>
                </a:cubicBezTo>
                <a:cubicBezTo>
                  <a:pt x="662" y="414"/>
                  <a:pt x="662" y="414"/>
                  <a:pt x="663" y="414"/>
                </a:cubicBezTo>
                <a:cubicBezTo>
                  <a:pt x="663" y="414"/>
                  <a:pt x="663" y="414"/>
                  <a:pt x="663" y="414"/>
                </a:cubicBezTo>
                <a:cubicBezTo>
                  <a:pt x="662" y="414"/>
                  <a:pt x="662" y="414"/>
                  <a:pt x="662" y="414"/>
                </a:cubicBezTo>
                <a:cubicBezTo>
                  <a:pt x="662" y="414"/>
                  <a:pt x="662" y="414"/>
                  <a:pt x="662" y="414"/>
                </a:cubicBezTo>
                <a:cubicBezTo>
                  <a:pt x="662" y="413"/>
                  <a:pt x="661" y="413"/>
                  <a:pt x="661" y="412"/>
                </a:cubicBezTo>
                <a:cubicBezTo>
                  <a:pt x="660" y="412"/>
                  <a:pt x="660" y="411"/>
                  <a:pt x="659" y="410"/>
                </a:cubicBezTo>
                <a:cubicBezTo>
                  <a:pt x="659" y="410"/>
                  <a:pt x="659" y="409"/>
                  <a:pt x="658" y="409"/>
                </a:cubicBezTo>
                <a:cubicBezTo>
                  <a:pt x="658" y="409"/>
                  <a:pt x="658" y="408"/>
                  <a:pt x="658" y="408"/>
                </a:cubicBezTo>
                <a:cubicBezTo>
                  <a:pt x="657" y="407"/>
                  <a:pt x="658" y="407"/>
                  <a:pt x="658" y="407"/>
                </a:cubicBezTo>
                <a:cubicBezTo>
                  <a:pt x="658" y="407"/>
                  <a:pt x="658" y="407"/>
                  <a:pt x="659" y="407"/>
                </a:cubicBezTo>
                <a:cubicBezTo>
                  <a:pt x="659" y="407"/>
                  <a:pt x="659" y="407"/>
                  <a:pt x="659" y="408"/>
                </a:cubicBezTo>
                <a:cubicBezTo>
                  <a:pt x="659" y="408"/>
                  <a:pt x="659" y="408"/>
                  <a:pt x="660" y="408"/>
                </a:cubicBezTo>
                <a:cubicBezTo>
                  <a:pt x="659" y="407"/>
                  <a:pt x="659" y="407"/>
                  <a:pt x="659" y="406"/>
                </a:cubicBezTo>
                <a:cubicBezTo>
                  <a:pt x="659" y="405"/>
                  <a:pt x="659" y="405"/>
                  <a:pt x="659" y="405"/>
                </a:cubicBezTo>
                <a:cubicBezTo>
                  <a:pt x="659" y="405"/>
                  <a:pt x="659" y="405"/>
                  <a:pt x="660" y="405"/>
                </a:cubicBezTo>
                <a:cubicBezTo>
                  <a:pt x="660" y="406"/>
                  <a:pt x="660" y="406"/>
                  <a:pt x="660" y="406"/>
                </a:cubicBezTo>
                <a:cubicBezTo>
                  <a:pt x="660" y="407"/>
                  <a:pt x="661" y="407"/>
                  <a:pt x="661" y="408"/>
                </a:cubicBezTo>
                <a:cubicBezTo>
                  <a:pt x="661" y="408"/>
                  <a:pt x="661" y="409"/>
                  <a:pt x="662" y="409"/>
                </a:cubicBezTo>
                <a:cubicBezTo>
                  <a:pt x="662" y="409"/>
                  <a:pt x="662" y="409"/>
                  <a:pt x="662" y="409"/>
                </a:cubicBezTo>
                <a:cubicBezTo>
                  <a:pt x="662" y="409"/>
                  <a:pt x="662" y="409"/>
                  <a:pt x="662" y="409"/>
                </a:cubicBezTo>
                <a:cubicBezTo>
                  <a:pt x="661" y="408"/>
                  <a:pt x="661" y="408"/>
                  <a:pt x="661" y="407"/>
                </a:cubicBezTo>
                <a:cubicBezTo>
                  <a:pt x="661" y="407"/>
                  <a:pt x="661" y="407"/>
                  <a:pt x="661" y="407"/>
                </a:cubicBezTo>
                <a:cubicBezTo>
                  <a:pt x="661" y="406"/>
                  <a:pt x="661" y="406"/>
                  <a:pt x="661" y="405"/>
                </a:cubicBezTo>
                <a:cubicBezTo>
                  <a:pt x="662" y="405"/>
                  <a:pt x="662" y="405"/>
                  <a:pt x="663" y="405"/>
                </a:cubicBezTo>
                <a:cubicBezTo>
                  <a:pt x="663" y="406"/>
                  <a:pt x="663" y="406"/>
                  <a:pt x="663" y="406"/>
                </a:cubicBezTo>
                <a:cubicBezTo>
                  <a:pt x="663" y="406"/>
                  <a:pt x="664" y="406"/>
                  <a:pt x="664" y="406"/>
                </a:cubicBezTo>
                <a:cubicBezTo>
                  <a:pt x="664" y="405"/>
                  <a:pt x="664" y="405"/>
                  <a:pt x="664" y="405"/>
                </a:cubicBezTo>
                <a:cubicBezTo>
                  <a:pt x="665" y="404"/>
                  <a:pt x="665" y="404"/>
                  <a:pt x="666" y="404"/>
                </a:cubicBezTo>
                <a:cubicBezTo>
                  <a:pt x="666" y="404"/>
                  <a:pt x="666" y="404"/>
                  <a:pt x="666" y="404"/>
                </a:cubicBezTo>
                <a:cubicBezTo>
                  <a:pt x="667" y="404"/>
                  <a:pt x="667" y="405"/>
                  <a:pt x="668" y="405"/>
                </a:cubicBezTo>
                <a:cubicBezTo>
                  <a:pt x="668" y="405"/>
                  <a:pt x="668" y="405"/>
                  <a:pt x="669" y="406"/>
                </a:cubicBezTo>
                <a:cubicBezTo>
                  <a:pt x="669" y="406"/>
                  <a:pt x="669" y="406"/>
                  <a:pt x="669" y="406"/>
                </a:cubicBezTo>
                <a:cubicBezTo>
                  <a:pt x="670" y="407"/>
                  <a:pt x="669" y="407"/>
                  <a:pt x="669" y="407"/>
                </a:cubicBezTo>
                <a:cubicBezTo>
                  <a:pt x="669" y="408"/>
                  <a:pt x="669" y="409"/>
                  <a:pt x="668" y="409"/>
                </a:cubicBezTo>
                <a:cubicBezTo>
                  <a:pt x="668" y="409"/>
                  <a:pt x="667" y="409"/>
                  <a:pt x="667" y="409"/>
                </a:cubicBezTo>
                <a:cubicBezTo>
                  <a:pt x="667" y="409"/>
                  <a:pt x="666" y="409"/>
                  <a:pt x="666" y="409"/>
                </a:cubicBezTo>
                <a:cubicBezTo>
                  <a:pt x="666" y="410"/>
                  <a:pt x="666" y="409"/>
                  <a:pt x="667" y="409"/>
                </a:cubicBezTo>
                <a:cubicBezTo>
                  <a:pt x="667" y="409"/>
                  <a:pt x="667" y="409"/>
                  <a:pt x="667" y="410"/>
                </a:cubicBezTo>
                <a:cubicBezTo>
                  <a:pt x="667" y="410"/>
                  <a:pt x="667" y="410"/>
                  <a:pt x="668" y="410"/>
                </a:cubicBezTo>
                <a:cubicBezTo>
                  <a:pt x="668" y="410"/>
                  <a:pt x="668" y="410"/>
                  <a:pt x="668" y="410"/>
                </a:cubicBezTo>
                <a:cubicBezTo>
                  <a:pt x="668" y="411"/>
                  <a:pt x="667" y="411"/>
                  <a:pt x="667" y="411"/>
                </a:cubicBezTo>
                <a:cubicBezTo>
                  <a:pt x="667" y="410"/>
                  <a:pt x="666" y="410"/>
                  <a:pt x="666" y="411"/>
                </a:cubicBezTo>
                <a:cubicBezTo>
                  <a:pt x="666" y="411"/>
                  <a:pt x="667" y="411"/>
                  <a:pt x="667" y="411"/>
                </a:cubicBezTo>
                <a:cubicBezTo>
                  <a:pt x="667" y="411"/>
                  <a:pt x="668" y="411"/>
                  <a:pt x="668" y="411"/>
                </a:cubicBezTo>
                <a:cubicBezTo>
                  <a:pt x="668" y="411"/>
                  <a:pt x="668" y="411"/>
                  <a:pt x="668" y="411"/>
                </a:cubicBezTo>
                <a:cubicBezTo>
                  <a:pt x="669" y="411"/>
                  <a:pt x="669" y="410"/>
                  <a:pt x="669" y="410"/>
                </a:cubicBezTo>
                <a:cubicBezTo>
                  <a:pt x="669" y="409"/>
                  <a:pt x="670" y="409"/>
                  <a:pt x="670" y="408"/>
                </a:cubicBezTo>
                <a:cubicBezTo>
                  <a:pt x="671" y="408"/>
                  <a:pt x="671" y="408"/>
                  <a:pt x="670" y="408"/>
                </a:cubicBezTo>
                <a:cubicBezTo>
                  <a:pt x="670" y="408"/>
                  <a:pt x="670" y="408"/>
                  <a:pt x="670" y="407"/>
                </a:cubicBezTo>
                <a:cubicBezTo>
                  <a:pt x="670" y="407"/>
                  <a:pt x="671" y="407"/>
                  <a:pt x="671" y="407"/>
                </a:cubicBezTo>
                <a:cubicBezTo>
                  <a:pt x="671" y="407"/>
                  <a:pt x="672" y="407"/>
                  <a:pt x="672" y="408"/>
                </a:cubicBezTo>
                <a:cubicBezTo>
                  <a:pt x="672" y="409"/>
                  <a:pt x="673" y="408"/>
                  <a:pt x="674" y="408"/>
                </a:cubicBezTo>
                <a:cubicBezTo>
                  <a:pt x="674" y="408"/>
                  <a:pt x="674" y="408"/>
                  <a:pt x="674" y="408"/>
                </a:cubicBezTo>
                <a:cubicBezTo>
                  <a:pt x="675" y="408"/>
                  <a:pt x="675" y="408"/>
                  <a:pt x="675" y="409"/>
                </a:cubicBezTo>
                <a:cubicBezTo>
                  <a:pt x="675" y="409"/>
                  <a:pt x="675" y="409"/>
                  <a:pt x="674" y="409"/>
                </a:cubicBezTo>
                <a:cubicBezTo>
                  <a:pt x="675" y="409"/>
                  <a:pt x="676" y="409"/>
                  <a:pt x="677" y="410"/>
                </a:cubicBezTo>
                <a:cubicBezTo>
                  <a:pt x="677" y="410"/>
                  <a:pt x="677" y="411"/>
                  <a:pt x="677" y="411"/>
                </a:cubicBezTo>
                <a:cubicBezTo>
                  <a:pt x="677" y="412"/>
                  <a:pt x="677" y="413"/>
                  <a:pt x="676" y="413"/>
                </a:cubicBezTo>
                <a:cubicBezTo>
                  <a:pt x="676" y="413"/>
                  <a:pt x="676" y="413"/>
                  <a:pt x="676" y="413"/>
                </a:cubicBezTo>
                <a:cubicBezTo>
                  <a:pt x="675" y="413"/>
                  <a:pt x="675" y="413"/>
                  <a:pt x="674" y="412"/>
                </a:cubicBezTo>
                <a:cubicBezTo>
                  <a:pt x="674" y="412"/>
                  <a:pt x="674" y="412"/>
                  <a:pt x="674" y="412"/>
                </a:cubicBezTo>
                <a:cubicBezTo>
                  <a:pt x="673" y="412"/>
                  <a:pt x="673" y="412"/>
                  <a:pt x="673" y="412"/>
                </a:cubicBezTo>
                <a:cubicBezTo>
                  <a:pt x="673" y="412"/>
                  <a:pt x="673" y="412"/>
                  <a:pt x="674" y="412"/>
                </a:cubicBezTo>
                <a:cubicBezTo>
                  <a:pt x="674" y="412"/>
                  <a:pt x="674" y="412"/>
                  <a:pt x="674" y="412"/>
                </a:cubicBezTo>
                <a:cubicBezTo>
                  <a:pt x="674" y="413"/>
                  <a:pt x="674" y="413"/>
                  <a:pt x="675" y="413"/>
                </a:cubicBezTo>
                <a:cubicBezTo>
                  <a:pt x="675" y="414"/>
                  <a:pt x="676" y="414"/>
                  <a:pt x="676" y="414"/>
                </a:cubicBezTo>
                <a:cubicBezTo>
                  <a:pt x="676" y="414"/>
                  <a:pt x="676" y="414"/>
                  <a:pt x="676" y="415"/>
                </a:cubicBezTo>
                <a:cubicBezTo>
                  <a:pt x="676" y="415"/>
                  <a:pt x="677" y="415"/>
                  <a:pt x="676" y="415"/>
                </a:cubicBezTo>
                <a:cubicBezTo>
                  <a:pt x="676" y="415"/>
                  <a:pt x="676" y="416"/>
                  <a:pt x="675" y="416"/>
                </a:cubicBezTo>
                <a:cubicBezTo>
                  <a:pt x="675" y="416"/>
                  <a:pt x="674" y="416"/>
                  <a:pt x="674" y="416"/>
                </a:cubicBezTo>
                <a:cubicBezTo>
                  <a:pt x="673" y="416"/>
                  <a:pt x="673" y="416"/>
                  <a:pt x="672" y="415"/>
                </a:cubicBezTo>
                <a:cubicBezTo>
                  <a:pt x="672" y="415"/>
                  <a:pt x="671" y="414"/>
                  <a:pt x="671" y="414"/>
                </a:cubicBezTo>
                <a:cubicBezTo>
                  <a:pt x="670" y="414"/>
                  <a:pt x="670" y="414"/>
                  <a:pt x="670" y="413"/>
                </a:cubicBezTo>
                <a:cubicBezTo>
                  <a:pt x="668" y="413"/>
                  <a:pt x="667" y="412"/>
                  <a:pt x="666" y="411"/>
                </a:cubicBezTo>
                <a:cubicBezTo>
                  <a:pt x="666" y="411"/>
                  <a:pt x="665" y="411"/>
                  <a:pt x="665" y="411"/>
                </a:cubicBezTo>
                <a:cubicBezTo>
                  <a:pt x="666" y="412"/>
                  <a:pt x="667" y="412"/>
                  <a:pt x="667" y="412"/>
                </a:cubicBezTo>
                <a:cubicBezTo>
                  <a:pt x="668" y="413"/>
                  <a:pt x="668" y="413"/>
                  <a:pt x="668" y="413"/>
                </a:cubicBezTo>
                <a:cubicBezTo>
                  <a:pt x="668" y="414"/>
                  <a:pt x="668" y="414"/>
                  <a:pt x="668" y="414"/>
                </a:cubicBezTo>
                <a:cubicBezTo>
                  <a:pt x="668" y="414"/>
                  <a:pt x="668" y="414"/>
                  <a:pt x="669" y="414"/>
                </a:cubicBezTo>
                <a:cubicBezTo>
                  <a:pt x="669" y="414"/>
                  <a:pt x="669" y="414"/>
                  <a:pt x="669" y="414"/>
                </a:cubicBezTo>
                <a:cubicBezTo>
                  <a:pt x="669" y="414"/>
                  <a:pt x="669" y="414"/>
                  <a:pt x="669" y="415"/>
                </a:cubicBezTo>
                <a:cubicBezTo>
                  <a:pt x="669" y="414"/>
                  <a:pt x="670" y="414"/>
                  <a:pt x="670" y="415"/>
                </a:cubicBezTo>
                <a:cubicBezTo>
                  <a:pt x="671" y="415"/>
                  <a:pt x="671" y="415"/>
                  <a:pt x="671" y="416"/>
                </a:cubicBezTo>
                <a:cubicBezTo>
                  <a:pt x="671" y="416"/>
                  <a:pt x="671" y="416"/>
                  <a:pt x="671" y="416"/>
                </a:cubicBezTo>
                <a:cubicBezTo>
                  <a:pt x="671" y="416"/>
                  <a:pt x="672" y="416"/>
                  <a:pt x="672" y="416"/>
                </a:cubicBezTo>
                <a:cubicBezTo>
                  <a:pt x="671" y="417"/>
                  <a:pt x="671" y="417"/>
                  <a:pt x="671" y="417"/>
                </a:cubicBezTo>
                <a:cubicBezTo>
                  <a:pt x="671" y="417"/>
                  <a:pt x="671" y="417"/>
                  <a:pt x="671" y="417"/>
                </a:cubicBezTo>
                <a:cubicBezTo>
                  <a:pt x="671" y="417"/>
                  <a:pt x="671" y="417"/>
                  <a:pt x="672" y="417"/>
                </a:cubicBezTo>
                <a:cubicBezTo>
                  <a:pt x="672" y="417"/>
                  <a:pt x="673" y="417"/>
                  <a:pt x="673" y="417"/>
                </a:cubicBezTo>
                <a:cubicBezTo>
                  <a:pt x="673" y="417"/>
                  <a:pt x="673" y="417"/>
                  <a:pt x="673" y="417"/>
                </a:cubicBezTo>
                <a:cubicBezTo>
                  <a:pt x="673" y="417"/>
                  <a:pt x="674" y="417"/>
                  <a:pt x="674" y="417"/>
                </a:cubicBezTo>
                <a:cubicBezTo>
                  <a:pt x="674" y="417"/>
                  <a:pt x="674" y="417"/>
                  <a:pt x="675" y="417"/>
                </a:cubicBezTo>
                <a:cubicBezTo>
                  <a:pt x="675" y="416"/>
                  <a:pt x="675" y="416"/>
                  <a:pt x="675" y="416"/>
                </a:cubicBezTo>
                <a:cubicBezTo>
                  <a:pt x="676" y="417"/>
                  <a:pt x="676" y="417"/>
                  <a:pt x="676" y="416"/>
                </a:cubicBezTo>
                <a:cubicBezTo>
                  <a:pt x="677" y="416"/>
                  <a:pt x="677" y="416"/>
                  <a:pt x="677" y="417"/>
                </a:cubicBezTo>
                <a:cubicBezTo>
                  <a:pt x="677" y="417"/>
                  <a:pt x="678" y="418"/>
                  <a:pt x="677" y="418"/>
                </a:cubicBezTo>
                <a:cubicBezTo>
                  <a:pt x="677" y="418"/>
                  <a:pt x="677" y="419"/>
                  <a:pt x="677" y="419"/>
                </a:cubicBezTo>
                <a:cubicBezTo>
                  <a:pt x="677" y="419"/>
                  <a:pt x="677" y="419"/>
                  <a:pt x="677" y="419"/>
                </a:cubicBezTo>
                <a:cubicBezTo>
                  <a:pt x="677" y="419"/>
                  <a:pt x="677" y="419"/>
                  <a:pt x="677" y="419"/>
                </a:cubicBezTo>
                <a:cubicBezTo>
                  <a:pt x="678" y="419"/>
                  <a:pt x="678" y="420"/>
                  <a:pt x="678" y="420"/>
                </a:cubicBezTo>
                <a:cubicBezTo>
                  <a:pt x="678" y="420"/>
                  <a:pt x="678" y="421"/>
                  <a:pt x="678" y="421"/>
                </a:cubicBezTo>
                <a:cubicBezTo>
                  <a:pt x="678" y="421"/>
                  <a:pt x="678" y="421"/>
                  <a:pt x="678" y="421"/>
                </a:cubicBezTo>
                <a:cubicBezTo>
                  <a:pt x="678" y="421"/>
                  <a:pt x="678" y="421"/>
                  <a:pt x="678" y="422"/>
                </a:cubicBezTo>
                <a:cubicBezTo>
                  <a:pt x="678" y="422"/>
                  <a:pt x="678" y="422"/>
                  <a:pt x="678" y="423"/>
                </a:cubicBezTo>
                <a:cubicBezTo>
                  <a:pt x="678" y="423"/>
                  <a:pt x="677" y="422"/>
                  <a:pt x="677" y="422"/>
                </a:cubicBezTo>
                <a:cubicBezTo>
                  <a:pt x="677" y="422"/>
                  <a:pt x="677" y="422"/>
                  <a:pt x="676" y="421"/>
                </a:cubicBezTo>
                <a:cubicBezTo>
                  <a:pt x="677" y="422"/>
                  <a:pt x="677" y="422"/>
                  <a:pt x="677" y="423"/>
                </a:cubicBezTo>
                <a:cubicBezTo>
                  <a:pt x="678" y="423"/>
                  <a:pt x="677" y="423"/>
                  <a:pt x="677" y="423"/>
                </a:cubicBezTo>
                <a:cubicBezTo>
                  <a:pt x="676" y="423"/>
                  <a:pt x="676" y="424"/>
                  <a:pt x="675" y="423"/>
                </a:cubicBezTo>
                <a:cubicBezTo>
                  <a:pt x="675" y="423"/>
                  <a:pt x="675" y="423"/>
                  <a:pt x="675" y="423"/>
                </a:cubicBezTo>
                <a:cubicBezTo>
                  <a:pt x="674" y="423"/>
                  <a:pt x="674" y="422"/>
                  <a:pt x="674" y="422"/>
                </a:cubicBezTo>
                <a:cubicBezTo>
                  <a:pt x="673" y="422"/>
                  <a:pt x="673" y="421"/>
                  <a:pt x="673" y="421"/>
                </a:cubicBezTo>
                <a:cubicBezTo>
                  <a:pt x="672" y="421"/>
                  <a:pt x="672" y="421"/>
                  <a:pt x="672" y="421"/>
                </a:cubicBezTo>
                <a:cubicBezTo>
                  <a:pt x="671" y="420"/>
                  <a:pt x="670" y="419"/>
                  <a:pt x="669" y="419"/>
                </a:cubicBezTo>
                <a:cubicBezTo>
                  <a:pt x="669" y="418"/>
                  <a:pt x="669" y="418"/>
                  <a:pt x="669" y="418"/>
                </a:cubicBezTo>
                <a:cubicBezTo>
                  <a:pt x="668" y="418"/>
                  <a:pt x="668" y="418"/>
                  <a:pt x="668" y="418"/>
                </a:cubicBezTo>
                <a:cubicBezTo>
                  <a:pt x="668" y="418"/>
                  <a:pt x="667" y="417"/>
                  <a:pt x="667" y="417"/>
                </a:cubicBezTo>
                <a:cubicBezTo>
                  <a:pt x="667" y="417"/>
                  <a:pt x="667" y="417"/>
                  <a:pt x="666" y="417"/>
                </a:cubicBezTo>
                <a:cubicBezTo>
                  <a:pt x="666" y="416"/>
                  <a:pt x="666" y="416"/>
                  <a:pt x="666" y="416"/>
                </a:cubicBezTo>
                <a:cubicBezTo>
                  <a:pt x="666" y="416"/>
                  <a:pt x="666" y="416"/>
                  <a:pt x="666" y="416"/>
                </a:cubicBezTo>
                <a:cubicBezTo>
                  <a:pt x="665" y="416"/>
                  <a:pt x="666" y="416"/>
                  <a:pt x="666" y="417"/>
                </a:cubicBezTo>
                <a:cubicBezTo>
                  <a:pt x="666" y="417"/>
                  <a:pt x="666" y="417"/>
                  <a:pt x="666" y="417"/>
                </a:cubicBezTo>
                <a:cubicBezTo>
                  <a:pt x="667" y="418"/>
                  <a:pt x="667" y="418"/>
                  <a:pt x="666" y="419"/>
                </a:cubicBezTo>
                <a:cubicBezTo>
                  <a:pt x="666" y="419"/>
                  <a:pt x="666" y="419"/>
                  <a:pt x="667" y="419"/>
                </a:cubicBezTo>
                <a:cubicBezTo>
                  <a:pt x="667" y="419"/>
                  <a:pt x="667" y="419"/>
                  <a:pt x="667" y="419"/>
                </a:cubicBezTo>
                <a:cubicBezTo>
                  <a:pt x="668" y="419"/>
                  <a:pt x="668" y="420"/>
                  <a:pt x="668" y="420"/>
                </a:cubicBezTo>
                <a:cubicBezTo>
                  <a:pt x="669" y="420"/>
                  <a:pt x="669" y="420"/>
                  <a:pt x="669" y="420"/>
                </a:cubicBezTo>
                <a:cubicBezTo>
                  <a:pt x="669" y="421"/>
                  <a:pt x="668" y="421"/>
                  <a:pt x="668" y="421"/>
                </a:cubicBezTo>
                <a:cubicBezTo>
                  <a:pt x="668" y="421"/>
                  <a:pt x="668" y="421"/>
                  <a:pt x="668" y="421"/>
                </a:cubicBezTo>
                <a:cubicBezTo>
                  <a:pt x="668" y="421"/>
                  <a:pt x="668" y="421"/>
                  <a:pt x="668" y="421"/>
                </a:cubicBezTo>
                <a:cubicBezTo>
                  <a:pt x="668" y="421"/>
                  <a:pt x="669" y="421"/>
                  <a:pt x="669" y="422"/>
                </a:cubicBezTo>
                <a:cubicBezTo>
                  <a:pt x="669" y="422"/>
                  <a:pt x="669" y="422"/>
                  <a:pt x="669" y="423"/>
                </a:cubicBezTo>
                <a:cubicBezTo>
                  <a:pt x="669" y="422"/>
                  <a:pt x="669" y="422"/>
                  <a:pt x="669" y="422"/>
                </a:cubicBezTo>
                <a:cubicBezTo>
                  <a:pt x="670" y="422"/>
                  <a:pt x="670" y="422"/>
                  <a:pt x="670" y="421"/>
                </a:cubicBezTo>
                <a:cubicBezTo>
                  <a:pt x="670" y="421"/>
                  <a:pt x="671" y="421"/>
                  <a:pt x="671" y="421"/>
                </a:cubicBezTo>
                <a:cubicBezTo>
                  <a:pt x="672" y="421"/>
                  <a:pt x="672" y="422"/>
                  <a:pt x="672" y="422"/>
                </a:cubicBezTo>
                <a:cubicBezTo>
                  <a:pt x="672" y="422"/>
                  <a:pt x="672" y="423"/>
                  <a:pt x="672" y="423"/>
                </a:cubicBezTo>
                <a:cubicBezTo>
                  <a:pt x="672" y="423"/>
                  <a:pt x="671" y="423"/>
                  <a:pt x="671" y="423"/>
                </a:cubicBezTo>
                <a:cubicBezTo>
                  <a:pt x="671" y="424"/>
                  <a:pt x="671" y="424"/>
                  <a:pt x="671" y="424"/>
                </a:cubicBezTo>
                <a:cubicBezTo>
                  <a:pt x="671" y="423"/>
                  <a:pt x="671" y="423"/>
                  <a:pt x="672" y="423"/>
                </a:cubicBezTo>
                <a:cubicBezTo>
                  <a:pt x="672" y="423"/>
                  <a:pt x="672" y="423"/>
                  <a:pt x="672" y="423"/>
                </a:cubicBezTo>
                <a:cubicBezTo>
                  <a:pt x="672" y="423"/>
                  <a:pt x="673" y="423"/>
                  <a:pt x="673" y="423"/>
                </a:cubicBezTo>
                <a:cubicBezTo>
                  <a:pt x="673" y="423"/>
                  <a:pt x="674" y="423"/>
                  <a:pt x="674" y="423"/>
                </a:cubicBezTo>
                <a:cubicBezTo>
                  <a:pt x="674" y="423"/>
                  <a:pt x="674" y="423"/>
                  <a:pt x="674" y="424"/>
                </a:cubicBezTo>
                <a:cubicBezTo>
                  <a:pt x="674" y="424"/>
                  <a:pt x="674" y="424"/>
                  <a:pt x="673" y="424"/>
                </a:cubicBezTo>
                <a:cubicBezTo>
                  <a:pt x="674" y="424"/>
                  <a:pt x="675" y="424"/>
                  <a:pt x="676" y="425"/>
                </a:cubicBezTo>
                <a:cubicBezTo>
                  <a:pt x="676" y="425"/>
                  <a:pt x="676" y="425"/>
                  <a:pt x="676" y="425"/>
                </a:cubicBezTo>
                <a:cubicBezTo>
                  <a:pt x="677" y="424"/>
                  <a:pt x="678" y="424"/>
                  <a:pt x="678" y="425"/>
                </a:cubicBezTo>
                <a:cubicBezTo>
                  <a:pt x="678" y="426"/>
                  <a:pt x="678" y="426"/>
                  <a:pt x="678" y="427"/>
                </a:cubicBezTo>
                <a:cubicBezTo>
                  <a:pt x="678" y="427"/>
                  <a:pt x="678" y="427"/>
                  <a:pt x="678" y="427"/>
                </a:cubicBezTo>
                <a:cubicBezTo>
                  <a:pt x="677" y="426"/>
                  <a:pt x="677" y="426"/>
                  <a:pt x="676" y="426"/>
                </a:cubicBezTo>
                <a:cubicBezTo>
                  <a:pt x="676" y="426"/>
                  <a:pt x="676" y="426"/>
                  <a:pt x="676" y="426"/>
                </a:cubicBezTo>
                <a:cubicBezTo>
                  <a:pt x="676" y="426"/>
                  <a:pt x="677" y="426"/>
                  <a:pt x="676" y="427"/>
                </a:cubicBezTo>
                <a:cubicBezTo>
                  <a:pt x="676" y="427"/>
                  <a:pt x="676" y="427"/>
                  <a:pt x="676" y="427"/>
                </a:cubicBezTo>
                <a:cubicBezTo>
                  <a:pt x="677" y="427"/>
                  <a:pt x="677" y="429"/>
                  <a:pt x="678" y="428"/>
                </a:cubicBezTo>
                <a:cubicBezTo>
                  <a:pt x="678" y="428"/>
                  <a:pt x="678" y="428"/>
                  <a:pt x="678" y="428"/>
                </a:cubicBezTo>
                <a:cubicBezTo>
                  <a:pt x="678" y="428"/>
                  <a:pt x="678" y="429"/>
                  <a:pt x="678" y="429"/>
                </a:cubicBezTo>
                <a:cubicBezTo>
                  <a:pt x="678" y="429"/>
                  <a:pt x="678" y="429"/>
                  <a:pt x="678" y="429"/>
                </a:cubicBezTo>
                <a:cubicBezTo>
                  <a:pt x="678" y="429"/>
                  <a:pt x="678" y="429"/>
                  <a:pt x="678" y="429"/>
                </a:cubicBezTo>
                <a:cubicBezTo>
                  <a:pt x="678" y="430"/>
                  <a:pt x="678" y="430"/>
                  <a:pt x="678" y="430"/>
                </a:cubicBezTo>
                <a:cubicBezTo>
                  <a:pt x="679" y="430"/>
                  <a:pt x="679" y="431"/>
                  <a:pt x="678" y="431"/>
                </a:cubicBezTo>
                <a:cubicBezTo>
                  <a:pt x="678" y="431"/>
                  <a:pt x="678" y="431"/>
                  <a:pt x="678" y="431"/>
                </a:cubicBezTo>
                <a:cubicBezTo>
                  <a:pt x="679" y="431"/>
                  <a:pt x="679" y="432"/>
                  <a:pt x="679" y="432"/>
                </a:cubicBezTo>
                <a:cubicBezTo>
                  <a:pt x="679" y="432"/>
                  <a:pt x="678" y="432"/>
                  <a:pt x="678" y="432"/>
                </a:cubicBezTo>
                <a:cubicBezTo>
                  <a:pt x="679" y="432"/>
                  <a:pt x="679" y="432"/>
                  <a:pt x="679" y="433"/>
                </a:cubicBezTo>
                <a:cubicBezTo>
                  <a:pt x="679" y="433"/>
                  <a:pt x="679" y="433"/>
                  <a:pt x="679" y="433"/>
                </a:cubicBezTo>
                <a:cubicBezTo>
                  <a:pt x="679" y="434"/>
                  <a:pt x="679" y="434"/>
                  <a:pt x="679" y="435"/>
                </a:cubicBezTo>
                <a:cubicBezTo>
                  <a:pt x="679" y="435"/>
                  <a:pt x="679" y="435"/>
                  <a:pt x="679" y="435"/>
                </a:cubicBezTo>
                <a:cubicBezTo>
                  <a:pt x="680" y="436"/>
                  <a:pt x="680" y="437"/>
                  <a:pt x="680" y="438"/>
                </a:cubicBezTo>
                <a:cubicBezTo>
                  <a:pt x="680" y="438"/>
                  <a:pt x="680" y="438"/>
                  <a:pt x="680" y="438"/>
                </a:cubicBezTo>
                <a:cubicBezTo>
                  <a:pt x="680" y="439"/>
                  <a:pt x="680" y="439"/>
                  <a:pt x="680" y="440"/>
                </a:cubicBezTo>
                <a:cubicBezTo>
                  <a:pt x="680" y="440"/>
                  <a:pt x="680" y="440"/>
                  <a:pt x="680" y="440"/>
                </a:cubicBezTo>
                <a:cubicBezTo>
                  <a:pt x="681" y="440"/>
                  <a:pt x="681" y="441"/>
                  <a:pt x="681" y="441"/>
                </a:cubicBezTo>
                <a:cubicBezTo>
                  <a:pt x="681" y="441"/>
                  <a:pt x="681" y="441"/>
                  <a:pt x="681" y="441"/>
                </a:cubicBezTo>
                <a:cubicBezTo>
                  <a:pt x="681" y="441"/>
                  <a:pt x="681" y="441"/>
                  <a:pt x="681" y="441"/>
                </a:cubicBezTo>
                <a:cubicBezTo>
                  <a:pt x="681" y="442"/>
                  <a:pt x="681" y="443"/>
                  <a:pt x="681" y="444"/>
                </a:cubicBezTo>
                <a:close/>
                <a:moveTo>
                  <a:pt x="680" y="447"/>
                </a:moveTo>
                <a:cubicBezTo>
                  <a:pt x="680" y="447"/>
                  <a:pt x="680" y="447"/>
                  <a:pt x="680" y="447"/>
                </a:cubicBezTo>
                <a:close/>
                <a:moveTo>
                  <a:pt x="697" y="474"/>
                </a:moveTo>
                <a:cubicBezTo>
                  <a:pt x="697" y="473"/>
                  <a:pt x="697" y="473"/>
                  <a:pt x="697" y="473"/>
                </a:cubicBezTo>
                <a:cubicBezTo>
                  <a:pt x="698" y="473"/>
                  <a:pt x="698" y="473"/>
                  <a:pt x="697" y="473"/>
                </a:cubicBezTo>
                <a:cubicBezTo>
                  <a:pt x="697" y="472"/>
                  <a:pt x="697" y="472"/>
                  <a:pt x="697" y="473"/>
                </a:cubicBezTo>
                <a:cubicBezTo>
                  <a:pt x="697" y="473"/>
                  <a:pt x="696" y="473"/>
                  <a:pt x="696" y="473"/>
                </a:cubicBezTo>
                <a:cubicBezTo>
                  <a:pt x="696" y="473"/>
                  <a:pt x="696" y="473"/>
                  <a:pt x="696" y="474"/>
                </a:cubicBezTo>
                <a:cubicBezTo>
                  <a:pt x="696" y="474"/>
                  <a:pt x="696" y="474"/>
                  <a:pt x="696" y="474"/>
                </a:cubicBezTo>
                <a:cubicBezTo>
                  <a:pt x="695" y="474"/>
                  <a:pt x="696" y="475"/>
                  <a:pt x="696" y="475"/>
                </a:cubicBezTo>
                <a:cubicBezTo>
                  <a:pt x="696" y="475"/>
                  <a:pt x="696" y="475"/>
                  <a:pt x="696" y="475"/>
                </a:cubicBezTo>
                <a:cubicBezTo>
                  <a:pt x="697" y="475"/>
                  <a:pt x="697" y="475"/>
                  <a:pt x="697" y="475"/>
                </a:cubicBezTo>
                <a:cubicBezTo>
                  <a:pt x="697" y="476"/>
                  <a:pt x="698" y="475"/>
                  <a:pt x="698" y="475"/>
                </a:cubicBezTo>
                <a:cubicBezTo>
                  <a:pt x="698" y="475"/>
                  <a:pt x="699" y="474"/>
                  <a:pt x="698" y="474"/>
                </a:cubicBezTo>
                <a:cubicBezTo>
                  <a:pt x="698" y="473"/>
                  <a:pt x="698" y="473"/>
                  <a:pt x="697" y="474"/>
                </a:cubicBezTo>
                <a:close/>
                <a:moveTo>
                  <a:pt x="694" y="471"/>
                </a:moveTo>
                <a:cubicBezTo>
                  <a:pt x="694" y="470"/>
                  <a:pt x="694" y="471"/>
                  <a:pt x="694" y="471"/>
                </a:cubicBezTo>
                <a:cubicBezTo>
                  <a:pt x="694" y="471"/>
                  <a:pt x="694" y="471"/>
                  <a:pt x="693" y="471"/>
                </a:cubicBezTo>
                <a:cubicBezTo>
                  <a:pt x="693" y="471"/>
                  <a:pt x="693" y="472"/>
                  <a:pt x="693" y="472"/>
                </a:cubicBezTo>
                <a:cubicBezTo>
                  <a:pt x="694" y="472"/>
                  <a:pt x="693" y="473"/>
                  <a:pt x="693" y="473"/>
                </a:cubicBezTo>
                <a:cubicBezTo>
                  <a:pt x="693" y="474"/>
                  <a:pt x="693" y="474"/>
                  <a:pt x="694" y="475"/>
                </a:cubicBezTo>
                <a:cubicBezTo>
                  <a:pt x="694" y="474"/>
                  <a:pt x="694" y="473"/>
                  <a:pt x="694" y="472"/>
                </a:cubicBezTo>
                <a:cubicBezTo>
                  <a:pt x="695" y="472"/>
                  <a:pt x="695" y="472"/>
                  <a:pt x="695" y="471"/>
                </a:cubicBezTo>
                <a:cubicBezTo>
                  <a:pt x="695" y="472"/>
                  <a:pt x="696" y="472"/>
                  <a:pt x="696" y="471"/>
                </a:cubicBezTo>
                <a:cubicBezTo>
                  <a:pt x="695" y="470"/>
                  <a:pt x="695" y="471"/>
                  <a:pt x="694" y="471"/>
                </a:cubicBezTo>
                <a:close/>
                <a:moveTo>
                  <a:pt x="706" y="484"/>
                </a:moveTo>
                <a:cubicBezTo>
                  <a:pt x="706" y="484"/>
                  <a:pt x="705" y="484"/>
                  <a:pt x="706" y="483"/>
                </a:cubicBezTo>
                <a:cubicBezTo>
                  <a:pt x="706" y="483"/>
                  <a:pt x="706" y="483"/>
                  <a:pt x="706" y="483"/>
                </a:cubicBezTo>
                <a:cubicBezTo>
                  <a:pt x="706" y="483"/>
                  <a:pt x="706" y="482"/>
                  <a:pt x="706" y="482"/>
                </a:cubicBezTo>
                <a:cubicBezTo>
                  <a:pt x="706" y="483"/>
                  <a:pt x="706" y="481"/>
                  <a:pt x="705" y="482"/>
                </a:cubicBezTo>
                <a:cubicBezTo>
                  <a:pt x="705" y="482"/>
                  <a:pt x="705" y="482"/>
                  <a:pt x="705" y="482"/>
                </a:cubicBezTo>
                <a:cubicBezTo>
                  <a:pt x="705" y="481"/>
                  <a:pt x="704" y="481"/>
                  <a:pt x="704" y="482"/>
                </a:cubicBezTo>
                <a:cubicBezTo>
                  <a:pt x="704" y="482"/>
                  <a:pt x="704" y="483"/>
                  <a:pt x="704" y="483"/>
                </a:cubicBezTo>
                <a:cubicBezTo>
                  <a:pt x="705" y="484"/>
                  <a:pt x="706" y="484"/>
                  <a:pt x="706" y="485"/>
                </a:cubicBezTo>
                <a:cubicBezTo>
                  <a:pt x="706" y="485"/>
                  <a:pt x="706" y="486"/>
                  <a:pt x="706" y="485"/>
                </a:cubicBezTo>
                <a:cubicBezTo>
                  <a:pt x="706" y="485"/>
                  <a:pt x="707" y="485"/>
                  <a:pt x="706" y="485"/>
                </a:cubicBezTo>
                <a:cubicBezTo>
                  <a:pt x="706" y="484"/>
                  <a:pt x="706" y="484"/>
                  <a:pt x="706" y="484"/>
                </a:cubicBezTo>
                <a:close/>
                <a:moveTo>
                  <a:pt x="694" y="469"/>
                </a:moveTo>
                <a:cubicBezTo>
                  <a:pt x="694" y="469"/>
                  <a:pt x="694" y="469"/>
                  <a:pt x="694" y="469"/>
                </a:cubicBezTo>
                <a:cubicBezTo>
                  <a:pt x="694" y="468"/>
                  <a:pt x="694" y="468"/>
                  <a:pt x="694" y="468"/>
                </a:cubicBezTo>
                <a:cubicBezTo>
                  <a:pt x="693" y="468"/>
                  <a:pt x="693" y="468"/>
                  <a:pt x="692" y="468"/>
                </a:cubicBezTo>
                <a:cubicBezTo>
                  <a:pt x="692" y="468"/>
                  <a:pt x="692" y="468"/>
                  <a:pt x="692" y="468"/>
                </a:cubicBezTo>
                <a:cubicBezTo>
                  <a:pt x="692" y="468"/>
                  <a:pt x="692" y="468"/>
                  <a:pt x="692" y="468"/>
                </a:cubicBezTo>
                <a:cubicBezTo>
                  <a:pt x="692" y="468"/>
                  <a:pt x="692" y="468"/>
                  <a:pt x="692" y="468"/>
                </a:cubicBezTo>
                <a:cubicBezTo>
                  <a:pt x="692" y="469"/>
                  <a:pt x="692" y="469"/>
                  <a:pt x="691" y="470"/>
                </a:cubicBezTo>
                <a:cubicBezTo>
                  <a:pt x="692" y="470"/>
                  <a:pt x="692" y="469"/>
                  <a:pt x="692" y="470"/>
                </a:cubicBezTo>
                <a:cubicBezTo>
                  <a:pt x="693" y="470"/>
                  <a:pt x="693" y="470"/>
                  <a:pt x="694" y="469"/>
                </a:cubicBezTo>
                <a:close/>
                <a:moveTo>
                  <a:pt x="696" y="467"/>
                </a:moveTo>
                <a:cubicBezTo>
                  <a:pt x="696" y="467"/>
                  <a:pt x="696" y="467"/>
                  <a:pt x="696" y="468"/>
                </a:cubicBezTo>
                <a:cubicBezTo>
                  <a:pt x="696" y="468"/>
                  <a:pt x="696" y="468"/>
                  <a:pt x="696" y="468"/>
                </a:cubicBezTo>
                <a:cubicBezTo>
                  <a:pt x="696" y="469"/>
                  <a:pt x="696" y="469"/>
                  <a:pt x="697" y="470"/>
                </a:cubicBezTo>
                <a:cubicBezTo>
                  <a:pt x="697" y="470"/>
                  <a:pt x="697" y="470"/>
                  <a:pt x="697" y="470"/>
                </a:cubicBezTo>
                <a:cubicBezTo>
                  <a:pt x="698" y="469"/>
                  <a:pt x="698" y="469"/>
                  <a:pt x="698" y="468"/>
                </a:cubicBezTo>
                <a:cubicBezTo>
                  <a:pt x="698" y="468"/>
                  <a:pt x="697" y="467"/>
                  <a:pt x="696" y="467"/>
                </a:cubicBezTo>
                <a:close/>
                <a:moveTo>
                  <a:pt x="671" y="429"/>
                </a:moveTo>
                <a:cubicBezTo>
                  <a:pt x="671" y="429"/>
                  <a:pt x="671" y="429"/>
                  <a:pt x="671" y="428"/>
                </a:cubicBezTo>
                <a:cubicBezTo>
                  <a:pt x="670" y="428"/>
                  <a:pt x="670" y="428"/>
                  <a:pt x="670" y="429"/>
                </a:cubicBezTo>
                <a:cubicBezTo>
                  <a:pt x="670" y="429"/>
                  <a:pt x="669" y="429"/>
                  <a:pt x="669" y="429"/>
                </a:cubicBezTo>
                <a:cubicBezTo>
                  <a:pt x="669" y="429"/>
                  <a:pt x="669" y="430"/>
                  <a:pt x="669" y="430"/>
                </a:cubicBezTo>
                <a:cubicBezTo>
                  <a:pt x="669" y="431"/>
                  <a:pt x="669" y="431"/>
                  <a:pt x="669" y="431"/>
                </a:cubicBezTo>
                <a:cubicBezTo>
                  <a:pt x="669" y="431"/>
                  <a:pt x="670" y="431"/>
                  <a:pt x="670" y="431"/>
                </a:cubicBezTo>
                <a:cubicBezTo>
                  <a:pt x="670" y="430"/>
                  <a:pt x="670" y="430"/>
                  <a:pt x="670" y="430"/>
                </a:cubicBezTo>
                <a:cubicBezTo>
                  <a:pt x="670" y="430"/>
                  <a:pt x="670" y="430"/>
                  <a:pt x="671" y="430"/>
                </a:cubicBezTo>
                <a:cubicBezTo>
                  <a:pt x="671" y="430"/>
                  <a:pt x="671" y="429"/>
                  <a:pt x="671" y="429"/>
                </a:cubicBezTo>
                <a:close/>
                <a:moveTo>
                  <a:pt x="698" y="462"/>
                </a:moveTo>
                <a:cubicBezTo>
                  <a:pt x="698" y="462"/>
                  <a:pt x="698" y="462"/>
                  <a:pt x="698" y="462"/>
                </a:cubicBezTo>
                <a:cubicBezTo>
                  <a:pt x="699" y="462"/>
                  <a:pt x="699" y="462"/>
                  <a:pt x="699" y="461"/>
                </a:cubicBezTo>
                <a:cubicBezTo>
                  <a:pt x="699" y="461"/>
                  <a:pt x="699" y="461"/>
                  <a:pt x="699" y="461"/>
                </a:cubicBezTo>
                <a:cubicBezTo>
                  <a:pt x="699" y="460"/>
                  <a:pt x="698" y="460"/>
                  <a:pt x="698" y="460"/>
                </a:cubicBezTo>
                <a:cubicBezTo>
                  <a:pt x="698" y="461"/>
                  <a:pt x="698" y="460"/>
                  <a:pt x="698" y="460"/>
                </a:cubicBezTo>
                <a:cubicBezTo>
                  <a:pt x="698" y="460"/>
                  <a:pt x="698" y="460"/>
                  <a:pt x="698" y="460"/>
                </a:cubicBezTo>
                <a:cubicBezTo>
                  <a:pt x="697" y="460"/>
                  <a:pt x="697" y="461"/>
                  <a:pt x="698" y="462"/>
                </a:cubicBezTo>
                <a:close/>
                <a:moveTo>
                  <a:pt x="687" y="459"/>
                </a:moveTo>
                <a:cubicBezTo>
                  <a:pt x="686" y="459"/>
                  <a:pt x="686" y="460"/>
                  <a:pt x="686" y="460"/>
                </a:cubicBezTo>
                <a:cubicBezTo>
                  <a:pt x="686" y="460"/>
                  <a:pt x="686" y="460"/>
                  <a:pt x="686" y="460"/>
                </a:cubicBezTo>
                <a:cubicBezTo>
                  <a:pt x="685" y="459"/>
                  <a:pt x="685" y="459"/>
                  <a:pt x="685" y="459"/>
                </a:cubicBezTo>
                <a:cubicBezTo>
                  <a:pt x="685" y="460"/>
                  <a:pt x="685" y="459"/>
                  <a:pt x="684" y="459"/>
                </a:cubicBezTo>
                <a:cubicBezTo>
                  <a:pt x="684" y="460"/>
                  <a:pt x="684" y="460"/>
                  <a:pt x="685" y="460"/>
                </a:cubicBezTo>
                <a:cubicBezTo>
                  <a:pt x="685" y="460"/>
                  <a:pt x="685" y="461"/>
                  <a:pt x="684" y="461"/>
                </a:cubicBezTo>
                <a:cubicBezTo>
                  <a:pt x="685" y="461"/>
                  <a:pt x="685" y="461"/>
                  <a:pt x="685" y="461"/>
                </a:cubicBezTo>
                <a:cubicBezTo>
                  <a:pt x="686" y="461"/>
                  <a:pt x="686" y="460"/>
                  <a:pt x="687" y="460"/>
                </a:cubicBezTo>
                <a:cubicBezTo>
                  <a:pt x="687" y="460"/>
                  <a:pt x="687" y="459"/>
                  <a:pt x="687" y="459"/>
                </a:cubicBezTo>
                <a:cubicBezTo>
                  <a:pt x="687" y="459"/>
                  <a:pt x="687" y="459"/>
                  <a:pt x="687" y="459"/>
                </a:cubicBezTo>
                <a:close/>
                <a:moveTo>
                  <a:pt x="694" y="470"/>
                </a:moveTo>
                <a:cubicBezTo>
                  <a:pt x="694" y="470"/>
                  <a:pt x="694" y="470"/>
                  <a:pt x="695" y="470"/>
                </a:cubicBezTo>
                <a:cubicBezTo>
                  <a:pt x="695" y="470"/>
                  <a:pt x="695" y="470"/>
                  <a:pt x="695" y="470"/>
                </a:cubicBezTo>
                <a:cubicBezTo>
                  <a:pt x="696" y="470"/>
                  <a:pt x="696" y="470"/>
                  <a:pt x="696" y="470"/>
                </a:cubicBezTo>
                <a:cubicBezTo>
                  <a:pt x="696" y="469"/>
                  <a:pt x="696" y="468"/>
                  <a:pt x="695" y="468"/>
                </a:cubicBezTo>
                <a:cubicBezTo>
                  <a:pt x="695" y="468"/>
                  <a:pt x="695" y="469"/>
                  <a:pt x="695" y="469"/>
                </a:cubicBezTo>
                <a:cubicBezTo>
                  <a:pt x="694" y="469"/>
                  <a:pt x="694" y="469"/>
                  <a:pt x="694" y="469"/>
                </a:cubicBezTo>
                <a:cubicBezTo>
                  <a:pt x="694" y="470"/>
                  <a:pt x="694" y="470"/>
                  <a:pt x="694" y="470"/>
                </a:cubicBezTo>
                <a:close/>
                <a:moveTo>
                  <a:pt x="690" y="459"/>
                </a:moveTo>
                <a:cubicBezTo>
                  <a:pt x="690" y="459"/>
                  <a:pt x="690" y="459"/>
                  <a:pt x="690" y="460"/>
                </a:cubicBezTo>
                <a:cubicBezTo>
                  <a:pt x="690" y="460"/>
                  <a:pt x="690" y="460"/>
                  <a:pt x="690" y="461"/>
                </a:cubicBezTo>
                <a:cubicBezTo>
                  <a:pt x="690" y="461"/>
                  <a:pt x="690" y="461"/>
                  <a:pt x="690" y="461"/>
                </a:cubicBezTo>
                <a:cubicBezTo>
                  <a:pt x="691" y="461"/>
                  <a:pt x="691" y="461"/>
                  <a:pt x="691" y="461"/>
                </a:cubicBezTo>
                <a:cubicBezTo>
                  <a:pt x="691" y="460"/>
                  <a:pt x="690" y="460"/>
                  <a:pt x="691" y="460"/>
                </a:cubicBezTo>
                <a:cubicBezTo>
                  <a:pt x="691" y="460"/>
                  <a:pt x="691" y="459"/>
                  <a:pt x="691" y="459"/>
                </a:cubicBezTo>
                <a:cubicBezTo>
                  <a:pt x="690" y="459"/>
                  <a:pt x="690" y="459"/>
                  <a:pt x="690" y="459"/>
                </a:cubicBezTo>
                <a:close/>
                <a:moveTo>
                  <a:pt x="662" y="404"/>
                </a:moveTo>
                <a:cubicBezTo>
                  <a:pt x="663" y="404"/>
                  <a:pt x="663" y="404"/>
                  <a:pt x="663" y="403"/>
                </a:cubicBezTo>
                <a:cubicBezTo>
                  <a:pt x="663" y="403"/>
                  <a:pt x="663" y="403"/>
                  <a:pt x="663" y="403"/>
                </a:cubicBezTo>
                <a:cubicBezTo>
                  <a:pt x="662" y="403"/>
                  <a:pt x="661" y="404"/>
                  <a:pt x="661" y="404"/>
                </a:cubicBezTo>
                <a:cubicBezTo>
                  <a:pt x="662" y="404"/>
                  <a:pt x="662" y="404"/>
                  <a:pt x="662" y="404"/>
                </a:cubicBezTo>
                <a:close/>
                <a:moveTo>
                  <a:pt x="701" y="455"/>
                </a:moveTo>
                <a:cubicBezTo>
                  <a:pt x="701" y="455"/>
                  <a:pt x="701" y="455"/>
                  <a:pt x="701" y="455"/>
                </a:cubicBezTo>
                <a:cubicBezTo>
                  <a:pt x="701" y="456"/>
                  <a:pt x="701" y="456"/>
                  <a:pt x="701" y="456"/>
                </a:cubicBezTo>
                <a:cubicBezTo>
                  <a:pt x="702" y="456"/>
                  <a:pt x="702" y="456"/>
                  <a:pt x="702" y="456"/>
                </a:cubicBezTo>
                <a:cubicBezTo>
                  <a:pt x="702" y="455"/>
                  <a:pt x="702" y="455"/>
                  <a:pt x="701" y="455"/>
                </a:cubicBezTo>
                <a:close/>
                <a:moveTo>
                  <a:pt x="667" y="418"/>
                </a:moveTo>
                <a:cubicBezTo>
                  <a:pt x="667" y="418"/>
                  <a:pt x="668" y="419"/>
                  <a:pt x="668" y="419"/>
                </a:cubicBezTo>
                <a:cubicBezTo>
                  <a:pt x="668" y="419"/>
                  <a:pt x="668" y="419"/>
                  <a:pt x="668" y="419"/>
                </a:cubicBezTo>
                <a:cubicBezTo>
                  <a:pt x="668" y="418"/>
                  <a:pt x="667" y="418"/>
                  <a:pt x="667" y="418"/>
                </a:cubicBezTo>
                <a:cubicBezTo>
                  <a:pt x="667" y="418"/>
                  <a:pt x="667" y="418"/>
                  <a:pt x="667" y="418"/>
                </a:cubicBezTo>
                <a:close/>
                <a:moveTo>
                  <a:pt x="714" y="484"/>
                </a:moveTo>
                <a:cubicBezTo>
                  <a:pt x="714" y="484"/>
                  <a:pt x="714" y="484"/>
                  <a:pt x="715" y="483"/>
                </a:cubicBezTo>
                <a:cubicBezTo>
                  <a:pt x="715" y="483"/>
                  <a:pt x="714" y="483"/>
                  <a:pt x="714" y="483"/>
                </a:cubicBezTo>
                <a:cubicBezTo>
                  <a:pt x="713" y="483"/>
                  <a:pt x="713" y="483"/>
                  <a:pt x="713" y="482"/>
                </a:cubicBezTo>
                <a:cubicBezTo>
                  <a:pt x="714" y="482"/>
                  <a:pt x="714" y="482"/>
                  <a:pt x="715" y="481"/>
                </a:cubicBezTo>
                <a:cubicBezTo>
                  <a:pt x="715" y="481"/>
                  <a:pt x="715" y="480"/>
                  <a:pt x="714" y="481"/>
                </a:cubicBezTo>
                <a:cubicBezTo>
                  <a:pt x="714" y="481"/>
                  <a:pt x="714" y="481"/>
                  <a:pt x="714" y="481"/>
                </a:cubicBezTo>
                <a:cubicBezTo>
                  <a:pt x="714" y="481"/>
                  <a:pt x="714" y="480"/>
                  <a:pt x="714" y="480"/>
                </a:cubicBezTo>
                <a:cubicBezTo>
                  <a:pt x="715" y="480"/>
                  <a:pt x="714" y="480"/>
                  <a:pt x="714" y="480"/>
                </a:cubicBezTo>
                <a:cubicBezTo>
                  <a:pt x="714" y="479"/>
                  <a:pt x="714" y="479"/>
                  <a:pt x="714" y="480"/>
                </a:cubicBezTo>
                <a:cubicBezTo>
                  <a:pt x="713" y="480"/>
                  <a:pt x="713" y="480"/>
                  <a:pt x="713" y="480"/>
                </a:cubicBezTo>
                <a:cubicBezTo>
                  <a:pt x="713" y="481"/>
                  <a:pt x="712" y="481"/>
                  <a:pt x="712" y="481"/>
                </a:cubicBezTo>
                <a:cubicBezTo>
                  <a:pt x="712" y="481"/>
                  <a:pt x="712" y="481"/>
                  <a:pt x="712" y="481"/>
                </a:cubicBezTo>
                <a:cubicBezTo>
                  <a:pt x="712" y="480"/>
                  <a:pt x="712" y="480"/>
                  <a:pt x="712" y="480"/>
                </a:cubicBezTo>
                <a:cubicBezTo>
                  <a:pt x="711" y="480"/>
                  <a:pt x="711" y="480"/>
                  <a:pt x="711" y="480"/>
                </a:cubicBezTo>
                <a:cubicBezTo>
                  <a:pt x="712" y="480"/>
                  <a:pt x="712" y="480"/>
                  <a:pt x="713" y="479"/>
                </a:cubicBezTo>
                <a:cubicBezTo>
                  <a:pt x="713" y="479"/>
                  <a:pt x="713" y="479"/>
                  <a:pt x="713" y="478"/>
                </a:cubicBezTo>
                <a:cubicBezTo>
                  <a:pt x="713" y="478"/>
                  <a:pt x="713" y="478"/>
                  <a:pt x="713" y="477"/>
                </a:cubicBezTo>
                <a:cubicBezTo>
                  <a:pt x="713" y="477"/>
                  <a:pt x="713" y="478"/>
                  <a:pt x="713" y="478"/>
                </a:cubicBezTo>
                <a:cubicBezTo>
                  <a:pt x="713" y="478"/>
                  <a:pt x="714" y="478"/>
                  <a:pt x="714" y="478"/>
                </a:cubicBezTo>
                <a:cubicBezTo>
                  <a:pt x="714" y="478"/>
                  <a:pt x="714" y="478"/>
                  <a:pt x="714" y="478"/>
                </a:cubicBezTo>
                <a:cubicBezTo>
                  <a:pt x="714" y="477"/>
                  <a:pt x="714" y="478"/>
                  <a:pt x="714" y="477"/>
                </a:cubicBezTo>
                <a:cubicBezTo>
                  <a:pt x="714" y="477"/>
                  <a:pt x="714" y="477"/>
                  <a:pt x="714" y="477"/>
                </a:cubicBezTo>
                <a:cubicBezTo>
                  <a:pt x="715" y="476"/>
                  <a:pt x="715" y="475"/>
                  <a:pt x="714" y="474"/>
                </a:cubicBezTo>
                <a:cubicBezTo>
                  <a:pt x="714" y="474"/>
                  <a:pt x="714" y="474"/>
                  <a:pt x="714" y="474"/>
                </a:cubicBezTo>
                <a:cubicBezTo>
                  <a:pt x="714" y="474"/>
                  <a:pt x="714" y="474"/>
                  <a:pt x="714" y="474"/>
                </a:cubicBezTo>
                <a:cubicBezTo>
                  <a:pt x="713" y="475"/>
                  <a:pt x="713" y="476"/>
                  <a:pt x="712" y="476"/>
                </a:cubicBezTo>
                <a:cubicBezTo>
                  <a:pt x="712" y="475"/>
                  <a:pt x="712" y="475"/>
                  <a:pt x="711" y="475"/>
                </a:cubicBezTo>
                <a:cubicBezTo>
                  <a:pt x="711" y="475"/>
                  <a:pt x="711" y="475"/>
                  <a:pt x="711" y="475"/>
                </a:cubicBezTo>
                <a:cubicBezTo>
                  <a:pt x="711" y="475"/>
                  <a:pt x="711" y="475"/>
                  <a:pt x="711" y="475"/>
                </a:cubicBezTo>
                <a:cubicBezTo>
                  <a:pt x="710" y="476"/>
                  <a:pt x="710" y="476"/>
                  <a:pt x="710" y="477"/>
                </a:cubicBezTo>
                <a:cubicBezTo>
                  <a:pt x="710" y="476"/>
                  <a:pt x="710" y="476"/>
                  <a:pt x="710" y="476"/>
                </a:cubicBezTo>
                <a:cubicBezTo>
                  <a:pt x="710" y="476"/>
                  <a:pt x="710" y="475"/>
                  <a:pt x="710" y="475"/>
                </a:cubicBezTo>
                <a:cubicBezTo>
                  <a:pt x="711" y="475"/>
                  <a:pt x="711" y="475"/>
                  <a:pt x="710" y="474"/>
                </a:cubicBezTo>
                <a:cubicBezTo>
                  <a:pt x="711" y="474"/>
                  <a:pt x="711" y="474"/>
                  <a:pt x="711" y="474"/>
                </a:cubicBezTo>
                <a:cubicBezTo>
                  <a:pt x="712" y="475"/>
                  <a:pt x="712" y="475"/>
                  <a:pt x="713" y="474"/>
                </a:cubicBezTo>
                <a:cubicBezTo>
                  <a:pt x="713" y="474"/>
                  <a:pt x="713" y="474"/>
                  <a:pt x="713" y="473"/>
                </a:cubicBezTo>
                <a:cubicBezTo>
                  <a:pt x="713" y="473"/>
                  <a:pt x="712" y="474"/>
                  <a:pt x="712" y="473"/>
                </a:cubicBezTo>
                <a:cubicBezTo>
                  <a:pt x="713" y="472"/>
                  <a:pt x="712" y="472"/>
                  <a:pt x="712" y="472"/>
                </a:cubicBezTo>
                <a:cubicBezTo>
                  <a:pt x="711" y="471"/>
                  <a:pt x="711" y="471"/>
                  <a:pt x="711" y="471"/>
                </a:cubicBezTo>
                <a:cubicBezTo>
                  <a:pt x="711" y="471"/>
                  <a:pt x="710" y="471"/>
                  <a:pt x="710" y="471"/>
                </a:cubicBezTo>
                <a:cubicBezTo>
                  <a:pt x="710" y="471"/>
                  <a:pt x="710" y="471"/>
                  <a:pt x="710" y="471"/>
                </a:cubicBezTo>
                <a:cubicBezTo>
                  <a:pt x="710" y="472"/>
                  <a:pt x="710" y="472"/>
                  <a:pt x="710" y="473"/>
                </a:cubicBezTo>
                <a:cubicBezTo>
                  <a:pt x="710" y="472"/>
                  <a:pt x="710" y="472"/>
                  <a:pt x="709" y="471"/>
                </a:cubicBezTo>
                <a:cubicBezTo>
                  <a:pt x="710" y="471"/>
                  <a:pt x="709" y="471"/>
                  <a:pt x="709" y="471"/>
                </a:cubicBezTo>
                <a:cubicBezTo>
                  <a:pt x="709" y="470"/>
                  <a:pt x="709" y="471"/>
                  <a:pt x="709" y="470"/>
                </a:cubicBezTo>
                <a:cubicBezTo>
                  <a:pt x="710" y="470"/>
                  <a:pt x="710" y="470"/>
                  <a:pt x="711" y="470"/>
                </a:cubicBezTo>
                <a:cubicBezTo>
                  <a:pt x="710" y="470"/>
                  <a:pt x="710" y="469"/>
                  <a:pt x="710" y="469"/>
                </a:cubicBezTo>
                <a:cubicBezTo>
                  <a:pt x="709" y="469"/>
                  <a:pt x="709" y="469"/>
                  <a:pt x="709" y="469"/>
                </a:cubicBezTo>
                <a:cubicBezTo>
                  <a:pt x="709" y="469"/>
                  <a:pt x="709" y="468"/>
                  <a:pt x="709" y="469"/>
                </a:cubicBezTo>
                <a:cubicBezTo>
                  <a:pt x="709" y="469"/>
                  <a:pt x="708" y="469"/>
                  <a:pt x="708" y="469"/>
                </a:cubicBezTo>
                <a:cubicBezTo>
                  <a:pt x="708" y="469"/>
                  <a:pt x="707" y="469"/>
                  <a:pt x="707" y="469"/>
                </a:cubicBezTo>
                <a:cubicBezTo>
                  <a:pt x="707" y="470"/>
                  <a:pt x="706" y="470"/>
                  <a:pt x="706" y="470"/>
                </a:cubicBezTo>
                <a:cubicBezTo>
                  <a:pt x="706" y="470"/>
                  <a:pt x="706" y="469"/>
                  <a:pt x="706" y="469"/>
                </a:cubicBezTo>
                <a:cubicBezTo>
                  <a:pt x="707" y="469"/>
                  <a:pt x="707" y="469"/>
                  <a:pt x="707" y="469"/>
                </a:cubicBezTo>
                <a:cubicBezTo>
                  <a:pt x="707" y="469"/>
                  <a:pt x="707" y="468"/>
                  <a:pt x="707" y="468"/>
                </a:cubicBezTo>
                <a:cubicBezTo>
                  <a:pt x="707" y="468"/>
                  <a:pt x="708" y="468"/>
                  <a:pt x="707" y="467"/>
                </a:cubicBezTo>
                <a:cubicBezTo>
                  <a:pt x="707" y="467"/>
                  <a:pt x="707" y="467"/>
                  <a:pt x="707" y="467"/>
                </a:cubicBezTo>
                <a:cubicBezTo>
                  <a:pt x="707" y="466"/>
                  <a:pt x="708" y="466"/>
                  <a:pt x="708" y="467"/>
                </a:cubicBezTo>
                <a:cubicBezTo>
                  <a:pt x="708" y="467"/>
                  <a:pt x="708" y="467"/>
                  <a:pt x="708" y="467"/>
                </a:cubicBezTo>
                <a:cubicBezTo>
                  <a:pt x="708" y="467"/>
                  <a:pt x="709" y="468"/>
                  <a:pt x="709" y="468"/>
                </a:cubicBezTo>
                <a:cubicBezTo>
                  <a:pt x="710" y="468"/>
                  <a:pt x="711" y="469"/>
                  <a:pt x="712" y="470"/>
                </a:cubicBezTo>
                <a:cubicBezTo>
                  <a:pt x="712" y="470"/>
                  <a:pt x="712" y="470"/>
                  <a:pt x="712" y="470"/>
                </a:cubicBezTo>
                <a:cubicBezTo>
                  <a:pt x="712" y="470"/>
                  <a:pt x="712" y="469"/>
                  <a:pt x="712" y="469"/>
                </a:cubicBezTo>
                <a:cubicBezTo>
                  <a:pt x="712" y="469"/>
                  <a:pt x="712" y="469"/>
                  <a:pt x="712" y="468"/>
                </a:cubicBezTo>
                <a:cubicBezTo>
                  <a:pt x="711" y="468"/>
                  <a:pt x="710" y="467"/>
                  <a:pt x="710" y="467"/>
                </a:cubicBezTo>
                <a:cubicBezTo>
                  <a:pt x="710" y="466"/>
                  <a:pt x="710" y="466"/>
                  <a:pt x="710" y="466"/>
                </a:cubicBezTo>
                <a:cubicBezTo>
                  <a:pt x="710" y="465"/>
                  <a:pt x="710" y="465"/>
                  <a:pt x="709" y="465"/>
                </a:cubicBezTo>
                <a:cubicBezTo>
                  <a:pt x="709" y="465"/>
                  <a:pt x="709" y="465"/>
                  <a:pt x="709" y="466"/>
                </a:cubicBezTo>
                <a:cubicBezTo>
                  <a:pt x="709" y="466"/>
                  <a:pt x="709" y="466"/>
                  <a:pt x="708" y="466"/>
                </a:cubicBezTo>
                <a:cubicBezTo>
                  <a:pt x="709" y="465"/>
                  <a:pt x="708" y="465"/>
                  <a:pt x="708" y="465"/>
                </a:cubicBezTo>
                <a:cubicBezTo>
                  <a:pt x="708" y="465"/>
                  <a:pt x="709" y="465"/>
                  <a:pt x="708" y="464"/>
                </a:cubicBezTo>
                <a:cubicBezTo>
                  <a:pt x="708" y="464"/>
                  <a:pt x="708" y="464"/>
                  <a:pt x="708" y="464"/>
                </a:cubicBezTo>
                <a:cubicBezTo>
                  <a:pt x="709" y="464"/>
                  <a:pt x="708" y="464"/>
                  <a:pt x="708" y="463"/>
                </a:cubicBezTo>
                <a:cubicBezTo>
                  <a:pt x="708" y="463"/>
                  <a:pt x="708" y="463"/>
                  <a:pt x="708" y="463"/>
                </a:cubicBezTo>
                <a:cubicBezTo>
                  <a:pt x="709" y="462"/>
                  <a:pt x="708" y="462"/>
                  <a:pt x="708" y="462"/>
                </a:cubicBezTo>
                <a:cubicBezTo>
                  <a:pt x="707" y="461"/>
                  <a:pt x="707" y="460"/>
                  <a:pt x="707" y="460"/>
                </a:cubicBezTo>
                <a:cubicBezTo>
                  <a:pt x="706" y="460"/>
                  <a:pt x="706" y="460"/>
                  <a:pt x="706" y="460"/>
                </a:cubicBezTo>
                <a:cubicBezTo>
                  <a:pt x="707" y="459"/>
                  <a:pt x="706" y="459"/>
                  <a:pt x="706" y="459"/>
                </a:cubicBezTo>
                <a:cubicBezTo>
                  <a:pt x="706" y="459"/>
                  <a:pt x="705" y="459"/>
                  <a:pt x="705" y="458"/>
                </a:cubicBezTo>
                <a:cubicBezTo>
                  <a:pt x="705" y="458"/>
                  <a:pt x="704" y="457"/>
                  <a:pt x="704" y="457"/>
                </a:cubicBezTo>
                <a:cubicBezTo>
                  <a:pt x="703" y="457"/>
                  <a:pt x="702" y="457"/>
                  <a:pt x="702" y="456"/>
                </a:cubicBezTo>
                <a:cubicBezTo>
                  <a:pt x="702" y="457"/>
                  <a:pt x="701" y="456"/>
                  <a:pt x="701" y="457"/>
                </a:cubicBezTo>
                <a:cubicBezTo>
                  <a:pt x="701" y="457"/>
                  <a:pt x="700" y="457"/>
                  <a:pt x="700" y="456"/>
                </a:cubicBezTo>
                <a:cubicBezTo>
                  <a:pt x="700" y="456"/>
                  <a:pt x="700" y="455"/>
                  <a:pt x="700" y="454"/>
                </a:cubicBezTo>
                <a:cubicBezTo>
                  <a:pt x="700" y="455"/>
                  <a:pt x="700" y="455"/>
                  <a:pt x="701" y="454"/>
                </a:cubicBezTo>
                <a:cubicBezTo>
                  <a:pt x="701" y="454"/>
                  <a:pt x="701" y="453"/>
                  <a:pt x="701" y="453"/>
                </a:cubicBezTo>
                <a:cubicBezTo>
                  <a:pt x="700" y="453"/>
                  <a:pt x="701" y="453"/>
                  <a:pt x="701" y="453"/>
                </a:cubicBezTo>
                <a:cubicBezTo>
                  <a:pt x="701" y="452"/>
                  <a:pt x="701" y="452"/>
                  <a:pt x="700" y="452"/>
                </a:cubicBezTo>
                <a:cubicBezTo>
                  <a:pt x="700" y="452"/>
                  <a:pt x="700" y="451"/>
                  <a:pt x="700" y="450"/>
                </a:cubicBezTo>
                <a:cubicBezTo>
                  <a:pt x="700" y="450"/>
                  <a:pt x="699" y="450"/>
                  <a:pt x="699" y="450"/>
                </a:cubicBezTo>
                <a:cubicBezTo>
                  <a:pt x="699" y="450"/>
                  <a:pt x="699" y="450"/>
                  <a:pt x="698" y="450"/>
                </a:cubicBezTo>
                <a:cubicBezTo>
                  <a:pt x="698" y="450"/>
                  <a:pt x="698" y="450"/>
                  <a:pt x="698" y="450"/>
                </a:cubicBezTo>
                <a:cubicBezTo>
                  <a:pt x="698" y="450"/>
                  <a:pt x="697" y="451"/>
                  <a:pt x="698" y="451"/>
                </a:cubicBezTo>
                <a:cubicBezTo>
                  <a:pt x="698" y="451"/>
                  <a:pt x="697" y="451"/>
                  <a:pt x="697" y="451"/>
                </a:cubicBezTo>
                <a:cubicBezTo>
                  <a:pt x="697" y="451"/>
                  <a:pt x="697" y="451"/>
                  <a:pt x="697" y="451"/>
                </a:cubicBezTo>
                <a:cubicBezTo>
                  <a:pt x="697" y="451"/>
                  <a:pt x="697" y="451"/>
                  <a:pt x="697" y="450"/>
                </a:cubicBezTo>
                <a:cubicBezTo>
                  <a:pt x="698" y="450"/>
                  <a:pt x="697" y="450"/>
                  <a:pt x="697" y="450"/>
                </a:cubicBezTo>
                <a:cubicBezTo>
                  <a:pt x="697" y="450"/>
                  <a:pt x="696" y="450"/>
                  <a:pt x="696" y="450"/>
                </a:cubicBezTo>
                <a:cubicBezTo>
                  <a:pt x="695" y="449"/>
                  <a:pt x="695" y="450"/>
                  <a:pt x="694" y="449"/>
                </a:cubicBezTo>
                <a:cubicBezTo>
                  <a:pt x="694" y="449"/>
                  <a:pt x="694" y="449"/>
                  <a:pt x="694" y="449"/>
                </a:cubicBezTo>
                <a:cubicBezTo>
                  <a:pt x="693" y="450"/>
                  <a:pt x="694" y="450"/>
                  <a:pt x="694" y="450"/>
                </a:cubicBezTo>
                <a:cubicBezTo>
                  <a:pt x="694" y="450"/>
                  <a:pt x="693" y="450"/>
                  <a:pt x="693" y="450"/>
                </a:cubicBezTo>
                <a:cubicBezTo>
                  <a:pt x="693" y="450"/>
                  <a:pt x="693" y="450"/>
                  <a:pt x="693" y="451"/>
                </a:cubicBezTo>
                <a:cubicBezTo>
                  <a:pt x="693" y="451"/>
                  <a:pt x="693" y="451"/>
                  <a:pt x="693" y="451"/>
                </a:cubicBezTo>
                <a:cubicBezTo>
                  <a:pt x="693" y="451"/>
                  <a:pt x="693" y="452"/>
                  <a:pt x="693" y="452"/>
                </a:cubicBezTo>
                <a:cubicBezTo>
                  <a:pt x="693" y="453"/>
                  <a:pt x="694" y="453"/>
                  <a:pt x="695" y="453"/>
                </a:cubicBezTo>
                <a:cubicBezTo>
                  <a:pt x="695" y="453"/>
                  <a:pt x="695" y="453"/>
                  <a:pt x="695" y="453"/>
                </a:cubicBezTo>
                <a:cubicBezTo>
                  <a:pt x="695" y="454"/>
                  <a:pt x="696" y="454"/>
                  <a:pt x="696" y="454"/>
                </a:cubicBezTo>
                <a:cubicBezTo>
                  <a:pt x="696" y="454"/>
                  <a:pt x="696" y="454"/>
                  <a:pt x="695" y="454"/>
                </a:cubicBezTo>
                <a:cubicBezTo>
                  <a:pt x="695" y="455"/>
                  <a:pt x="695" y="455"/>
                  <a:pt x="694" y="454"/>
                </a:cubicBezTo>
                <a:cubicBezTo>
                  <a:pt x="694" y="454"/>
                  <a:pt x="694" y="454"/>
                  <a:pt x="694" y="455"/>
                </a:cubicBezTo>
                <a:cubicBezTo>
                  <a:pt x="694" y="455"/>
                  <a:pt x="694" y="455"/>
                  <a:pt x="694" y="455"/>
                </a:cubicBezTo>
                <a:cubicBezTo>
                  <a:pt x="694" y="455"/>
                  <a:pt x="694" y="455"/>
                  <a:pt x="695" y="455"/>
                </a:cubicBezTo>
                <a:cubicBezTo>
                  <a:pt x="695" y="455"/>
                  <a:pt x="695" y="455"/>
                  <a:pt x="695" y="456"/>
                </a:cubicBezTo>
                <a:cubicBezTo>
                  <a:pt x="695" y="456"/>
                  <a:pt x="695" y="456"/>
                  <a:pt x="695" y="456"/>
                </a:cubicBezTo>
                <a:cubicBezTo>
                  <a:pt x="694" y="456"/>
                  <a:pt x="694" y="456"/>
                  <a:pt x="694" y="456"/>
                </a:cubicBezTo>
                <a:cubicBezTo>
                  <a:pt x="693" y="456"/>
                  <a:pt x="693" y="455"/>
                  <a:pt x="693" y="456"/>
                </a:cubicBezTo>
                <a:cubicBezTo>
                  <a:pt x="692" y="457"/>
                  <a:pt x="692" y="457"/>
                  <a:pt x="692" y="457"/>
                </a:cubicBezTo>
                <a:cubicBezTo>
                  <a:pt x="692" y="458"/>
                  <a:pt x="691" y="458"/>
                  <a:pt x="691" y="459"/>
                </a:cubicBezTo>
                <a:cubicBezTo>
                  <a:pt x="691" y="459"/>
                  <a:pt x="692" y="459"/>
                  <a:pt x="692" y="459"/>
                </a:cubicBezTo>
                <a:cubicBezTo>
                  <a:pt x="693" y="460"/>
                  <a:pt x="693" y="459"/>
                  <a:pt x="693" y="459"/>
                </a:cubicBezTo>
                <a:cubicBezTo>
                  <a:pt x="693" y="458"/>
                  <a:pt x="694" y="458"/>
                  <a:pt x="694" y="458"/>
                </a:cubicBezTo>
                <a:cubicBezTo>
                  <a:pt x="694" y="458"/>
                  <a:pt x="695" y="458"/>
                  <a:pt x="695" y="457"/>
                </a:cubicBezTo>
                <a:cubicBezTo>
                  <a:pt x="695" y="457"/>
                  <a:pt x="695" y="457"/>
                  <a:pt x="695" y="457"/>
                </a:cubicBezTo>
                <a:cubicBezTo>
                  <a:pt x="696" y="457"/>
                  <a:pt x="696" y="457"/>
                  <a:pt x="696" y="457"/>
                </a:cubicBezTo>
                <a:cubicBezTo>
                  <a:pt x="697" y="457"/>
                  <a:pt x="697" y="457"/>
                  <a:pt x="697" y="457"/>
                </a:cubicBezTo>
                <a:cubicBezTo>
                  <a:pt x="697" y="458"/>
                  <a:pt x="696" y="458"/>
                  <a:pt x="696" y="458"/>
                </a:cubicBezTo>
                <a:cubicBezTo>
                  <a:pt x="696" y="458"/>
                  <a:pt x="696" y="458"/>
                  <a:pt x="696" y="458"/>
                </a:cubicBezTo>
                <a:cubicBezTo>
                  <a:pt x="696" y="458"/>
                  <a:pt x="695" y="458"/>
                  <a:pt x="696" y="458"/>
                </a:cubicBezTo>
                <a:cubicBezTo>
                  <a:pt x="696" y="458"/>
                  <a:pt x="695" y="459"/>
                  <a:pt x="696" y="459"/>
                </a:cubicBezTo>
                <a:cubicBezTo>
                  <a:pt x="696" y="459"/>
                  <a:pt x="696" y="459"/>
                  <a:pt x="696" y="459"/>
                </a:cubicBezTo>
                <a:cubicBezTo>
                  <a:pt x="696" y="459"/>
                  <a:pt x="696" y="459"/>
                  <a:pt x="697" y="460"/>
                </a:cubicBezTo>
                <a:cubicBezTo>
                  <a:pt x="697" y="459"/>
                  <a:pt x="696" y="459"/>
                  <a:pt x="697" y="458"/>
                </a:cubicBezTo>
                <a:cubicBezTo>
                  <a:pt x="698" y="458"/>
                  <a:pt x="698" y="457"/>
                  <a:pt x="698" y="456"/>
                </a:cubicBezTo>
                <a:cubicBezTo>
                  <a:pt x="698" y="456"/>
                  <a:pt x="698" y="455"/>
                  <a:pt x="698" y="455"/>
                </a:cubicBezTo>
                <a:cubicBezTo>
                  <a:pt x="698" y="454"/>
                  <a:pt x="698" y="454"/>
                  <a:pt x="697" y="454"/>
                </a:cubicBezTo>
                <a:cubicBezTo>
                  <a:pt x="697" y="454"/>
                  <a:pt x="697" y="454"/>
                  <a:pt x="697" y="454"/>
                </a:cubicBezTo>
                <a:cubicBezTo>
                  <a:pt x="698" y="454"/>
                  <a:pt x="698" y="454"/>
                  <a:pt x="698" y="454"/>
                </a:cubicBezTo>
                <a:cubicBezTo>
                  <a:pt x="698" y="455"/>
                  <a:pt x="698" y="456"/>
                  <a:pt x="698" y="457"/>
                </a:cubicBezTo>
                <a:cubicBezTo>
                  <a:pt x="698" y="457"/>
                  <a:pt x="698" y="457"/>
                  <a:pt x="698" y="457"/>
                </a:cubicBezTo>
                <a:cubicBezTo>
                  <a:pt x="698" y="458"/>
                  <a:pt x="698" y="459"/>
                  <a:pt x="698" y="460"/>
                </a:cubicBezTo>
                <a:cubicBezTo>
                  <a:pt x="698" y="460"/>
                  <a:pt x="699" y="460"/>
                  <a:pt x="699" y="461"/>
                </a:cubicBezTo>
                <a:cubicBezTo>
                  <a:pt x="699" y="461"/>
                  <a:pt x="699" y="460"/>
                  <a:pt x="699" y="460"/>
                </a:cubicBezTo>
                <a:cubicBezTo>
                  <a:pt x="699" y="460"/>
                  <a:pt x="699" y="460"/>
                  <a:pt x="700" y="460"/>
                </a:cubicBezTo>
                <a:cubicBezTo>
                  <a:pt x="700" y="460"/>
                  <a:pt x="700" y="460"/>
                  <a:pt x="700" y="460"/>
                </a:cubicBezTo>
                <a:cubicBezTo>
                  <a:pt x="700" y="461"/>
                  <a:pt x="699" y="461"/>
                  <a:pt x="699" y="461"/>
                </a:cubicBezTo>
                <a:cubicBezTo>
                  <a:pt x="700" y="461"/>
                  <a:pt x="699" y="462"/>
                  <a:pt x="699" y="462"/>
                </a:cubicBezTo>
                <a:cubicBezTo>
                  <a:pt x="699" y="462"/>
                  <a:pt x="699" y="462"/>
                  <a:pt x="699" y="462"/>
                </a:cubicBezTo>
                <a:cubicBezTo>
                  <a:pt x="699" y="463"/>
                  <a:pt x="698" y="463"/>
                  <a:pt x="698" y="463"/>
                </a:cubicBezTo>
                <a:cubicBezTo>
                  <a:pt x="698" y="463"/>
                  <a:pt x="697" y="464"/>
                  <a:pt x="697" y="464"/>
                </a:cubicBezTo>
                <a:cubicBezTo>
                  <a:pt x="697" y="464"/>
                  <a:pt x="697" y="464"/>
                  <a:pt x="697" y="464"/>
                </a:cubicBezTo>
                <a:cubicBezTo>
                  <a:pt x="696" y="465"/>
                  <a:pt x="697" y="466"/>
                  <a:pt x="698" y="467"/>
                </a:cubicBezTo>
                <a:cubicBezTo>
                  <a:pt x="698" y="467"/>
                  <a:pt x="698" y="467"/>
                  <a:pt x="698" y="467"/>
                </a:cubicBezTo>
                <a:cubicBezTo>
                  <a:pt x="699" y="467"/>
                  <a:pt x="699" y="467"/>
                  <a:pt x="700" y="466"/>
                </a:cubicBezTo>
                <a:cubicBezTo>
                  <a:pt x="700" y="466"/>
                  <a:pt x="700" y="466"/>
                  <a:pt x="701" y="466"/>
                </a:cubicBezTo>
                <a:cubicBezTo>
                  <a:pt x="701" y="466"/>
                  <a:pt x="701" y="466"/>
                  <a:pt x="701" y="466"/>
                </a:cubicBezTo>
                <a:cubicBezTo>
                  <a:pt x="701" y="466"/>
                  <a:pt x="701" y="466"/>
                  <a:pt x="701" y="466"/>
                </a:cubicBezTo>
                <a:cubicBezTo>
                  <a:pt x="700" y="467"/>
                  <a:pt x="701" y="467"/>
                  <a:pt x="700" y="468"/>
                </a:cubicBezTo>
                <a:cubicBezTo>
                  <a:pt x="700" y="468"/>
                  <a:pt x="700" y="469"/>
                  <a:pt x="700" y="469"/>
                </a:cubicBezTo>
                <a:cubicBezTo>
                  <a:pt x="700" y="470"/>
                  <a:pt x="700" y="470"/>
                  <a:pt x="701" y="470"/>
                </a:cubicBezTo>
                <a:cubicBezTo>
                  <a:pt x="701" y="470"/>
                  <a:pt x="701" y="470"/>
                  <a:pt x="702" y="470"/>
                </a:cubicBezTo>
                <a:cubicBezTo>
                  <a:pt x="701" y="470"/>
                  <a:pt x="701" y="470"/>
                  <a:pt x="701" y="470"/>
                </a:cubicBezTo>
                <a:cubicBezTo>
                  <a:pt x="701" y="471"/>
                  <a:pt x="701" y="471"/>
                  <a:pt x="701" y="471"/>
                </a:cubicBezTo>
                <a:cubicBezTo>
                  <a:pt x="701" y="471"/>
                  <a:pt x="702" y="472"/>
                  <a:pt x="702" y="472"/>
                </a:cubicBezTo>
                <a:cubicBezTo>
                  <a:pt x="702" y="472"/>
                  <a:pt x="703" y="472"/>
                  <a:pt x="703" y="472"/>
                </a:cubicBezTo>
                <a:cubicBezTo>
                  <a:pt x="702" y="472"/>
                  <a:pt x="701" y="472"/>
                  <a:pt x="701" y="472"/>
                </a:cubicBezTo>
                <a:cubicBezTo>
                  <a:pt x="700" y="472"/>
                  <a:pt x="700" y="471"/>
                  <a:pt x="700" y="472"/>
                </a:cubicBezTo>
                <a:cubicBezTo>
                  <a:pt x="700" y="472"/>
                  <a:pt x="700" y="472"/>
                  <a:pt x="699" y="472"/>
                </a:cubicBezTo>
                <a:cubicBezTo>
                  <a:pt x="699" y="471"/>
                  <a:pt x="698" y="472"/>
                  <a:pt x="698" y="472"/>
                </a:cubicBezTo>
                <a:cubicBezTo>
                  <a:pt x="698" y="473"/>
                  <a:pt x="699" y="474"/>
                  <a:pt x="699" y="474"/>
                </a:cubicBezTo>
                <a:cubicBezTo>
                  <a:pt x="700" y="474"/>
                  <a:pt x="701" y="474"/>
                  <a:pt x="702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4"/>
                  <a:pt x="701" y="475"/>
                  <a:pt x="701" y="475"/>
                </a:cubicBezTo>
                <a:cubicBezTo>
                  <a:pt x="701" y="475"/>
                  <a:pt x="701" y="475"/>
                  <a:pt x="701" y="475"/>
                </a:cubicBezTo>
                <a:cubicBezTo>
                  <a:pt x="701" y="475"/>
                  <a:pt x="701" y="475"/>
                  <a:pt x="702" y="475"/>
                </a:cubicBezTo>
                <a:cubicBezTo>
                  <a:pt x="702" y="475"/>
                  <a:pt x="702" y="475"/>
                  <a:pt x="702" y="476"/>
                </a:cubicBezTo>
                <a:cubicBezTo>
                  <a:pt x="702" y="476"/>
                  <a:pt x="702" y="476"/>
                  <a:pt x="703" y="476"/>
                </a:cubicBezTo>
                <a:cubicBezTo>
                  <a:pt x="703" y="476"/>
                  <a:pt x="703" y="476"/>
                  <a:pt x="703" y="476"/>
                </a:cubicBezTo>
                <a:cubicBezTo>
                  <a:pt x="703" y="475"/>
                  <a:pt x="703" y="475"/>
                  <a:pt x="703" y="475"/>
                </a:cubicBezTo>
                <a:cubicBezTo>
                  <a:pt x="703" y="475"/>
                  <a:pt x="703" y="475"/>
                  <a:pt x="703" y="475"/>
                </a:cubicBezTo>
                <a:cubicBezTo>
                  <a:pt x="703" y="475"/>
                  <a:pt x="703" y="474"/>
                  <a:pt x="703" y="474"/>
                </a:cubicBezTo>
                <a:cubicBezTo>
                  <a:pt x="704" y="474"/>
                  <a:pt x="704" y="475"/>
                  <a:pt x="704" y="475"/>
                </a:cubicBezTo>
                <a:cubicBezTo>
                  <a:pt x="704" y="475"/>
                  <a:pt x="704" y="475"/>
                  <a:pt x="704" y="475"/>
                </a:cubicBezTo>
                <a:cubicBezTo>
                  <a:pt x="704" y="476"/>
                  <a:pt x="705" y="476"/>
                  <a:pt x="705" y="476"/>
                </a:cubicBezTo>
                <a:cubicBezTo>
                  <a:pt x="705" y="477"/>
                  <a:pt x="706" y="477"/>
                  <a:pt x="706" y="477"/>
                </a:cubicBezTo>
                <a:cubicBezTo>
                  <a:pt x="706" y="476"/>
                  <a:pt x="706" y="476"/>
                  <a:pt x="706" y="476"/>
                </a:cubicBezTo>
                <a:cubicBezTo>
                  <a:pt x="706" y="475"/>
                  <a:pt x="706" y="475"/>
                  <a:pt x="706" y="474"/>
                </a:cubicBezTo>
                <a:cubicBezTo>
                  <a:pt x="706" y="474"/>
                  <a:pt x="706" y="474"/>
                  <a:pt x="706" y="474"/>
                </a:cubicBezTo>
                <a:cubicBezTo>
                  <a:pt x="706" y="474"/>
                  <a:pt x="706" y="475"/>
                  <a:pt x="706" y="475"/>
                </a:cubicBezTo>
                <a:cubicBezTo>
                  <a:pt x="707" y="476"/>
                  <a:pt x="707" y="476"/>
                  <a:pt x="707" y="477"/>
                </a:cubicBezTo>
                <a:cubicBezTo>
                  <a:pt x="706" y="477"/>
                  <a:pt x="706" y="478"/>
                  <a:pt x="706" y="478"/>
                </a:cubicBezTo>
                <a:cubicBezTo>
                  <a:pt x="707" y="478"/>
                  <a:pt x="707" y="478"/>
                  <a:pt x="707" y="477"/>
                </a:cubicBezTo>
                <a:cubicBezTo>
                  <a:pt x="707" y="478"/>
                  <a:pt x="707" y="478"/>
                  <a:pt x="707" y="478"/>
                </a:cubicBezTo>
                <a:cubicBezTo>
                  <a:pt x="707" y="478"/>
                  <a:pt x="707" y="479"/>
                  <a:pt x="707" y="479"/>
                </a:cubicBezTo>
                <a:cubicBezTo>
                  <a:pt x="708" y="479"/>
                  <a:pt x="708" y="479"/>
                  <a:pt x="708" y="479"/>
                </a:cubicBezTo>
                <a:cubicBezTo>
                  <a:pt x="708" y="479"/>
                  <a:pt x="708" y="479"/>
                  <a:pt x="707" y="479"/>
                </a:cubicBezTo>
                <a:cubicBezTo>
                  <a:pt x="707" y="479"/>
                  <a:pt x="707" y="479"/>
                  <a:pt x="707" y="479"/>
                </a:cubicBezTo>
                <a:cubicBezTo>
                  <a:pt x="707" y="480"/>
                  <a:pt x="707" y="480"/>
                  <a:pt x="707" y="480"/>
                </a:cubicBezTo>
                <a:cubicBezTo>
                  <a:pt x="707" y="480"/>
                  <a:pt x="707" y="480"/>
                  <a:pt x="707" y="480"/>
                </a:cubicBezTo>
                <a:cubicBezTo>
                  <a:pt x="707" y="481"/>
                  <a:pt x="707" y="481"/>
                  <a:pt x="707" y="481"/>
                </a:cubicBezTo>
                <a:cubicBezTo>
                  <a:pt x="707" y="481"/>
                  <a:pt x="707" y="481"/>
                  <a:pt x="707" y="481"/>
                </a:cubicBezTo>
                <a:cubicBezTo>
                  <a:pt x="708" y="481"/>
                  <a:pt x="708" y="481"/>
                  <a:pt x="708" y="480"/>
                </a:cubicBezTo>
                <a:cubicBezTo>
                  <a:pt x="709" y="481"/>
                  <a:pt x="709" y="481"/>
                  <a:pt x="708" y="482"/>
                </a:cubicBezTo>
                <a:cubicBezTo>
                  <a:pt x="708" y="482"/>
                  <a:pt x="708" y="482"/>
                  <a:pt x="708" y="482"/>
                </a:cubicBezTo>
                <a:cubicBezTo>
                  <a:pt x="708" y="482"/>
                  <a:pt x="708" y="482"/>
                  <a:pt x="708" y="482"/>
                </a:cubicBezTo>
                <a:cubicBezTo>
                  <a:pt x="709" y="482"/>
                  <a:pt x="709" y="482"/>
                  <a:pt x="709" y="481"/>
                </a:cubicBezTo>
                <a:cubicBezTo>
                  <a:pt x="709" y="481"/>
                  <a:pt x="709" y="479"/>
                  <a:pt x="709" y="479"/>
                </a:cubicBezTo>
                <a:cubicBezTo>
                  <a:pt x="709" y="479"/>
                  <a:pt x="709" y="479"/>
                  <a:pt x="709" y="479"/>
                </a:cubicBezTo>
                <a:cubicBezTo>
                  <a:pt x="709" y="480"/>
                  <a:pt x="709" y="481"/>
                  <a:pt x="710" y="481"/>
                </a:cubicBezTo>
                <a:cubicBezTo>
                  <a:pt x="710" y="481"/>
                  <a:pt x="710" y="481"/>
                  <a:pt x="710" y="482"/>
                </a:cubicBezTo>
                <a:cubicBezTo>
                  <a:pt x="710" y="481"/>
                  <a:pt x="709" y="481"/>
                  <a:pt x="709" y="481"/>
                </a:cubicBezTo>
                <a:cubicBezTo>
                  <a:pt x="709" y="482"/>
                  <a:pt x="709" y="482"/>
                  <a:pt x="709" y="482"/>
                </a:cubicBezTo>
                <a:cubicBezTo>
                  <a:pt x="710" y="482"/>
                  <a:pt x="710" y="482"/>
                  <a:pt x="710" y="483"/>
                </a:cubicBezTo>
                <a:cubicBezTo>
                  <a:pt x="710" y="483"/>
                  <a:pt x="710" y="484"/>
                  <a:pt x="710" y="484"/>
                </a:cubicBezTo>
                <a:cubicBezTo>
                  <a:pt x="710" y="484"/>
                  <a:pt x="711" y="485"/>
                  <a:pt x="710" y="486"/>
                </a:cubicBezTo>
                <a:cubicBezTo>
                  <a:pt x="710" y="486"/>
                  <a:pt x="710" y="486"/>
                  <a:pt x="711" y="486"/>
                </a:cubicBezTo>
                <a:cubicBezTo>
                  <a:pt x="711" y="486"/>
                  <a:pt x="711" y="486"/>
                  <a:pt x="711" y="486"/>
                </a:cubicBezTo>
                <a:cubicBezTo>
                  <a:pt x="711" y="486"/>
                  <a:pt x="712" y="486"/>
                  <a:pt x="712" y="487"/>
                </a:cubicBezTo>
                <a:cubicBezTo>
                  <a:pt x="712" y="487"/>
                  <a:pt x="712" y="487"/>
                  <a:pt x="712" y="487"/>
                </a:cubicBezTo>
                <a:cubicBezTo>
                  <a:pt x="713" y="487"/>
                  <a:pt x="713" y="486"/>
                  <a:pt x="712" y="486"/>
                </a:cubicBezTo>
                <a:cubicBezTo>
                  <a:pt x="713" y="486"/>
                  <a:pt x="713" y="486"/>
                  <a:pt x="713" y="486"/>
                </a:cubicBezTo>
                <a:cubicBezTo>
                  <a:pt x="713" y="487"/>
                  <a:pt x="714" y="487"/>
                  <a:pt x="714" y="487"/>
                </a:cubicBezTo>
                <a:cubicBezTo>
                  <a:pt x="714" y="486"/>
                  <a:pt x="714" y="486"/>
                  <a:pt x="714" y="486"/>
                </a:cubicBezTo>
                <a:cubicBezTo>
                  <a:pt x="714" y="485"/>
                  <a:pt x="714" y="485"/>
                  <a:pt x="714" y="485"/>
                </a:cubicBezTo>
                <a:cubicBezTo>
                  <a:pt x="714" y="485"/>
                  <a:pt x="714" y="485"/>
                  <a:pt x="714" y="485"/>
                </a:cubicBezTo>
                <a:cubicBezTo>
                  <a:pt x="714" y="484"/>
                  <a:pt x="714" y="484"/>
                  <a:pt x="714" y="484"/>
                </a:cubicBezTo>
                <a:cubicBezTo>
                  <a:pt x="714" y="485"/>
                  <a:pt x="714" y="484"/>
                  <a:pt x="715" y="484"/>
                </a:cubicBezTo>
                <a:cubicBezTo>
                  <a:pt x="715" y="484"/>
                  <a:pt x="715" y="484"/>
                  <a:pt x="714" y="484"/>
                </a:cubicBezTo>
                <a:close/>
                <a:moveTo>
                  <a:pt x="698" y="471"/>
                </a:moveTo>
                <a:cubicBezTo>
                  <a:pt x="698" y="471"/>
                  <a:pt x="698" y="471"/>
                  <a:pt x="699" y="470"/>
                </a:cubicBezTo>
                <a:cubicBezTo>
                  <a:pt x="699" y="470"/>
                  <a:pt x="698" y="470"/>
                  <a:pt x="698" y="470"/>
                </a:cubicBezTo>
                <a:cubicBezTo>
                  <a:pt x="698" y="470"/>
                  <a:pt x="698" y="470"/>
                  <a:pt x="698" y="471"/>
                </a:cubicBezTo>
                <a:cubicBezTo>
                  <a:pt x="698" y="471"/>
                  <a:pt x="697" y="471"/>
                  <a:pt x="698" y="471"/>
                </a:cubicBezTo>
                <a:close/>
                <a:moveTo>
                  <a:pt x="659" y="405"/>
                </a:moveTo>
                <a:cubicBezTo>
                  <a:pt x="659" y="405"/>
                  <a:pt x="660" y="405"/>
                  <a:pt x="659" y="405"/>
                </a:cubicBezTo>
                <a:cubicBezTo>
                  <a:pt x="659" y="404"/>
                  <a:pt x="659" y="404"/>
                  <a:pt x="659" y="404"/>
                </a:cubicBezTo>
                <a:cubicBezTo>
                  <a:pt x="659" y="404"/>
                  <a:pt x="659" y="404"/>
                  <a:pt x="659" y="404"/>
                </a:cubicBezTo>
                <a:cubicBezTo>
                  <a:pt x="659" y="405"/>
                  <a:pt x="659" y="405"/>
                  <a:pt x="659" y="405"/>
                </a:cubicBezTo>
                <a:close/>
                <a:moveTo>
                  <a:pt x="702" y="453"/>
                </a:moveTo>
                <a:cubicBezTo>
                  <a:pt x="702" y="453"/>
                  <a:pt x="703" y="453"/>
                  <a:pt x="703" y="452"/>
                </a:cubicBezTo>
                <a:cubicBezTo>
                  <a:pt x="702" y="452"/>
                  <a:pt x="702" y="452"/>
                  <a:pt x="702" y="452"/>
                </a:cubicBezTo>
                <a:cubicBezTo>
                  <a:pt x="702" y="452"/>
                  <a:pt x="702" y="452"/>
                  <a:pt x="702" y="452"/>
                </a:cubicBezTo>
                <a:cubicBezTo>
                  <a:pt x="702" y="453"/>
                  <a:pt x="702" y="453"/>
                  <a:pt x="702" y="453"/>
                </a:cubicBezTo>
                <a:close/>
                <a:moveTo>
                  <a:pt x="703" y="454"/>
                </a:moveTo>
                <a:cubicBezTo>
                  <a:pt x="703" y="455"/>
                  <a:pt x="703" y="455"/>
                  <a:pt x="703" y="455"/>
                </a:cubicBezTo>
                <a:cubicBezTo>
                  <a:pt x="703" y="455"/>
                  <a:pt x="703" y="455"/>
                  <a:pt x="703" y="455"/>
                </a:cubicBezTo>
                <a:cubicBezTo>
                  <a:pt x="703" y="454"/>
                  <a:pt x="703" y="454"/>
                  <a:pt x="703" y="454"/>
                </a:cubicBezTo>
                <a:cubicBezTo>
                  <a:pt x="703" y="454"/>
                  <a:pt x="703" y="454"/>
                  <a:pt x="703" y="454"/>
                </a:cubicBezTo>
                <a:close/>
                <a:moveTo>
                  <a:pt x="694" y="466"/>
                </a:moveTo>
                <a:cubicBezTo>
                  <a:pt x="694" y="466"/>
                  <a:pt x="694" y="466"/>
                  <a:pt x="694" y="466"/>
                </a:cubicBezTo>
                <a:cubicBezTo>
                  <a:pt x="694" y="466"/>
                  <a:pt x="694" y="466"/>
                  <a:pt x="694" y="466"/>
                </a:cubicBezTo>
                <a:cubicBezTo>
                  <a:pt x="695" y="466"/>
                  <a:pt x="695" y="465"/>
                  <a:pt x="695" y="465"/>
                </a:cubicBezTo>
                <a:cubicBezTo>
                  <a:pt x="695" y="465"/>
                  <a:pt x="694" y="465"/>
                  <a:pt x="694" y="465"/>
                </a:cubicBezTo>
                <a:cubicBezTo>
                  <a:pt x="694" y="465"/>
                  <a:pt x="695" y="465"/>
                  <a:pt x="694" y="466"/>
                </a:cubicBezTo>
                <a:close/>
                <a:moveTo>
                  <a:pt x="692" y="447"/>
                </a:moveTo>
                <a:cubicBezTo>
                  <a:pt x="692" y="446"/>
                  <a:pt x="691" y="446"/>
                  <a:pt x="691" y="446"/>
                </a:cubicBezTo>
                <a:cubicBezTo>
                  <a:pt x="691" y="446"/>
                  <a:pt x="691" y="447"/>
                  <a:pt x="691" y="447"/>
                </a:cubicBezTo>
                <a:cubicBezTo>
                  <a:pt x="692" y="447"/>
                  <a:pt x="692" y="447"/>
                  <a:pt x="692" y="447"/>
                </a:cubicBezTo>
                <a:close/>
                <a:moveTo>
                  <a:pt x="696" y="471"/>
                </a:moveTo>
                <a:cubicBezTo>
                  <a:pt x="696" y="471"/>
                  <a:pt x="696" y="471"/>
                  <a:pt x="696" y="471"/>
                </a:cubicBezTo>
                <a:cubicBezTo>
                  <a:pt x="696" y="471"/>
                  <a:pt x="696" y="471"/>
                  <a:pt x="696" y="471"/>
                </a:cubicBezTo>
                <a:cubicBezTo>
                  <a:pt x="696" y="471"/>
                  <a:pt x="696" y="470"/>
                  <a:pt x="696" y="471"/>
                </a:cubicBezTo>
                <a:cubicBezTo>
                  <a:pt x="696" y="471"/>
                  <a:pt x="696" y="471"/>
                  <a:pt x="696" y="471"/>
                </a:cubicBezTo>
                <a:cubicBezTo>
                  <a:pt x="696" y="471"/>
                  <a:pt x="696" y="471"/>
                  <a:pt x="696" y="471"/>
                </a:cubicBezTo>
                <a:close/>
                <a:moveTo>
                  <a:pt x="706" y="446"/>
                </a:moveTo>
                <a:cubicBezTo>
                  <a:pt x="706" y="447"/>
                  <a:pt x="706" y="447"/>
                  <a:pt x="707" y="447"/>
                </a:cubicBezTo>
                <a:cubicBezTo>
                  <a:pt x="707" y="447"/>
                  <a:pt x="707" y="447"/>
                  <a:pt x="707" y="447"/>
                </a:cubicBezTo>
                <a:cubicBezTo>
                  <a:pt x="707" y="447"/>
                  <a:pt x="707" y="446"/>
                  <a:pt x="706" y="446"/>
                </a:cubicBezTo>
                <a:cubicBezTo>
                  <a:pt x="706" y="446"/>
                  <a:pt x="706" y="446"/>
                  <a:pt x="706" y="446"/>
                </a:cubicBezTo>
                <a:close/>
                <a:moveTo>
                  <a:pt x="708" y="445"/>
                </a:moveTo>
                <a:cubicBezTo>
                  <a:pt x="708" y="445"/>
                  <a:pt x="708" y="445"/>
                  <a:pt x="707" y="445"/>
                </a:cubicBezTo>
                <a:cubicBezTo>
                  <a:pt x="707" y="445"/>
                  <a:pt x="707" y="445"/>
                  <a:pt x="707" y="445"/>
                </a:cubicBezTo>
                <a:cubicBezTo>
                  <a:pt x="707" y="445"/>
                  <a:pt x="708" y="445"/>
                  <a:pt x="708" y="445"/>
                </a:cubicBezTo>
                <a:close/>
                <a:moveTo>
                  <a:pt x="695" y="454"/>
                </a:moveTo>
                <a:cubicBezTo>
                  <a:pt x="695" y="454"/>
                  <a:pt x="695" y="454"/>
                  <a:pt x="695" y="454"/>
                </a:cubicBezTo>
                <a:cubicBezTo>
                  <a:pt x="695" y="454"/>
                  <a:pt x="695" y="454"/>
                  <a:pt x="694" y="454"/>
                </a:cubicBezTo>
                <a:cubicBezTo>
                  <a:pt x="695" y="454"/>
                  <a:pt x="695" y="455"/>
                  <a:pt x="695" y="454"/>
                </a:cubicBezTo>
                <a:close/>
                <a:moveTo>
                  <a:pt x="697" y="459"/>
                </a:moveTo>
                <a:cubicBezTo>
                  <a:pt x="698" y="459"/>
                  <a:pt x="698" y="459"/>
                  <a:pt x="697" y="459"/>
                </a:cubicBezTo>
                <a:cubicBezTo>
                  <a:pt x="697" y="459"/>
                  <a:pt x="697" y="459"/>
                  <a:pt x="697" y="459"/>
                </a:cubicBezTo>
                <a:close/>
                <a:moveTo>
                  <a:pt x="707" y="446"/>
                </a:moveTo>
                <a:cubicBezTo>
                  <a:pt x="707" y="446"/>
                  <a:pt x="707" y="446"/>
                  <a:pt x="707" y="446"/>
                </a:cubicBezTo>
                <a:cubicBezTo>
                  <a:pt x="707" y="446"/>
                  <a:pt x="707" y="446"/>
                  <a:pt x="707" y="446"/>
                </a:cubicBezTo>
                <a:cubicBezTo>
                  <a:pt x="707" y="446"/>
                  <a:pt x="707" y="446"/>
                  <a:pt x="707" y="446"/>
                </a:cubicBezTo>
                <a:cubicBezTo>
                  <a:pt x="707" y="446"/>
                  <a:pt x="707" y="446"/>
                  <a:pt x="707" y="446"/>
                </a:cubicBezTo>
                <a:close/>
                <a:moveTo>
                  <a:pt x="702" y="451"/>
                </a:moveTo>
                <a:cubicBezTo>
                  <a:pt x="702" y="451"/>
                  <a:pt x="702" y="451"/>
                  <a:pt x="702" y="451"/>
                </a:cubicBezTo>
                <a:cubicBezTo>
                  <a:pt x="702" y="451"/>
                  <a:pt x="702" y="451"/>
                  <a:pt x="702" y="452"/>
                </a:cubicBezTo>
                <a:cubicBezTo>
                  <a:pt x="702" y="452"/>
                  <a:pt x="702" y="452"/>
                  <a:pt x="702" y="451"/>
                </a:cubicBezTo>
                <a:close/>
                <a:moveTo>
                  <a:pt x="709" y="445"/>
                </a:moveTo>
                <a:cubicBezTo>
                  <a:pt x="709" y="445"/>
                  <a:pt x="709" y="445"/>
                  <a:pt x="709" y="445"/>
                </a:cubicBezTo>
                <a:cubicBezTo>
                  <a:pt x="709" y="445"/>
                  <a:pt x="708" y="445"/>
                  <a:pt x="708" y="445"/>
                </a:cubicBezTo>
                <a:cubicBezTo>
                  <a:pt x="708" y="445"/>
                  <a:pt x="708" y="445"/>
                  <a:pt x="709" y="445"/>
                </a:cubicBezTo>
                <a:close/>
                <a:moveTo>
                  <a:pt x="701" y="474"/>
                </a:moveTo>
                <a:cubicBezTo>
                  <a:pt x="701" y="474"/>
                  <a:pt x="701" y="474"/>
                  <a:pt x="701" y="474"/>
                </a:cubicBezTo>
                <a:cubicBezTo>
                  <a:pt x="701" y="474"/>
                  <a:pt x="701" y="474"/>
                  <a:pt x="701" y="474"/>
                </a:cubicBezTo>
                <a:cubicBezTo>
                  <a:pt x="701" y="474"/>
                  <a:pt x="701" y="474"/>
                  <a:pt x="701" y="474"/>
                </a:cubicBezTo>
                <a:cubicBezTo>
                  <a:pt x="701" y="474"/>
                  <a:pt x="701" y="474"/>
                  <a:pt x="701" y="474"/>
                </a:cubicBezTo>
                <a:close/>
                <a:moveTo>
                  <a:pt x="660" y="417"/>
                </a:moveTo>
                <a:cubicBezTo>
                  <a:pt x="660" y="417"/>
                  <a:pt x="660" y="417"/>
                  <a:pt x="660" y="418"/>
                </a:cubicBezTo>
                <a:cubicBezTo>
                  <a:pt x="660" y="418"/>
                  <a:pt x="660" y="418"/>
                  <a:pt x="660" y="418"/>
                </a:cubicBezTo>
                <a:cubicBezTo>
                  <a:pt x="660" y="418"/>
                  <a:pt x="660" y="418"/>
                  <a:pt x="660" y="418"/>
                </a:cubicBezTo>
                <a:cubicBezTo>
                  <a:pt x="660" y="417"/>
                  <a:pt x="660" y="417"/>
                  <a:pt x="660" y="417"/>
                </a:cubicBezTo>
                <a:close/>
                <a:moveTo>
                  <a:pt x="700" y="467"/>
                </a:moveTo>
                <a:cubicBezTo>
                  <a:pt x="700" y="468"/>
                  <a:pt x="700" y="468"/>
                  <a:pt x="699" y="468"/>
                </a:cubicBezTo>
                <a:cubicBezTo>
                  <a:pt x="700" y="468"/>
                  <a:pt x="700" y="468"/>
                  <a:pt x="700" y="467"/>
                </a:cubicBezTo>
                <a:close/>
                <a:moveTo>
                  <a:pt x="691" y="420"/>
                </a:moveTo>
                <a:cubicBezTo>
                  <a:pt x="691" y="420"/>
                  <a:pt x="691" y="420"/>
                  <a:pt x="691" y="420"/>
                </a:cubicBezTo>
                <a:cubicBezTo>
                  <a:pt x="691" y="420"/>
                  <a:pt x="691" y="420"/>
                  <a:pt x="691" y="420"/>
                </a:cubicBezTo>
                <a:cubicBezTo>
                  <a:pt x="691" y="419"/>
                  <a:pt x="690" y="418"/>
                  <a:pt x="689" y="418"/>
                </a:cubicBezTo>
                <a:cubicBezTo>
                  <a:pt x="689" y="417"/>
                  <a:pt x="689" y="416"/>
                  <a:pt x="689" y="415"/>
                </a:cubicBezTo>
                <a:cubicBezTo>
                  <a:pt x="689" y="415"/>
                  <a:pt x="689" y="415"/>
                  <a:pt x="688" y="414"/>
                </a:cubicBezTo>
                <a:cubicBezTo>
                  <a:pt x="687" y="414"/>
                  <a:pt x="687" y="413"/>
                  <a:pt x="687" y="412"/>
                </a:cubicBezTo>
                <a:cubicBezTo>
                  <a:pt x="687" y="412"/>
                  <a:pt x="687" y="411"/>
                  <a:pt x="687" y="411"/>
                </a:cubicBezTo>
                <a:cubicBezTo>
                  <a:pt x="686" y="411"/>
                  <a:pt x="686" y="410"/>
                  <a:pt x="686" y="410"/>
                </a:cubicBezTo>
                <a:cubicBezTo>
                  <a:pt x="686" y="409"/>
                  <a:pt x="686" y="409"/>
                  <a:pt x="685" y="409"/>
                </a:cubicBezTo>
                <a:cubicBezTo>
                  <a:pt x="685" y="409"/>
                  <a:pt x="686" y="410"/>
                  <a:pt x="685" y="410"/>
                </a:cubicBezTo>
                <a:cubicBezTo>
                  <a:pt x="685" y="410"/>
                  <a:pt x="685" y="410"/>
                  <a:pt x="686" y="410"/>
                </a:cubicBezTo>
                <a:cubicBezTo>
                  <a:pt x="686" y="411"/>
                  <a:pt x="686" y="411"/>
                  <a:pt x="686" y="411"/>
                </a:cubicBezTo>
                <a:cubicBezTo>
                  <a:pt x="686" y="411"/>
                  <a:pt x="685" y="411"/>
                  <a:pt x="685" y="411"/>
                </a:cubicBezTo>
                <a:cubicBezTo>
                  <a:pt x="685" y="411"/>
                  <a:pt x="685" y="411"/>
                  <a:pt x="685" y="412"/>
                </a:cubicBezTo>
                <a:cubicBezTo>
                  <a:pt x="685" y="412"/>
                  <a:pt x="685" y="412"/>
                  <a:pt x="685" y="412"/>
                </a:cubicBezTo>
                <a:cubicBezTo>
                  <a:pt x="686" y="412"/>
                  <a:pt x="686" y="413"/>
                  <a:pt x="685" y="413"/>
                </a:cubicBezTo>
                <a:cubicBezTo>
                  <a:pt x="685" y="414"/>
                  <a:pt x="685" y="414"/>
                  <a:pt x="685" y="414"/>
                </a:cubicBezTo>
                <a:cubicBezTo>
                  <a:pt x="685" y="414"/>
                  <a:pt x="685" y="414"/>
                  <a:pt x="685" y="414"/>
                </a:cubicBezTo>
                <a:cubicBezTo>
                  <a:pt x="686" y="414"/>
                  <a:pt x="686" y="413"/>
                  <a:pt x="686" y="414"/>
                </a:cubicBezTo>
                <a:cubicBezTo>
                  <a:pt x="687" y="415"/>
                  <a:pt x="687" y="416"/>
                  <a:pt x="688" y="418"/>
                </a:cubicBezTo>
                <a:cubicBezTo>
                  <a:pt x="688" y="418"/>
                  <a:pt x="688" y="418"/>
                  <a:pt x="689" y="419"/>
                </a:cubicBezTo>
                <a:cubicBezTo>
                  <a:pt x="689" y="419"/>
                  <a:pt x="689" y="419"/>
                  <a:pt x="689" y="419"/>
                </a:cubicBezTo>
                <a:cubicBezTo>
                  <a:pt x="690" y="419"/>
                  <a:pt x="690" y="419"/>
                  <a:pt x="690" y="420"/>
                </a:cubicBezTo>
                <a:cubicBezTo>
                  <a:pt x="689" y="421"/>
                  <a:pt x="690" y="421"/>
                  <a:pt x="690" y="422"/>
                </a:cubicBezTo>
                <a:cubicBezTo>
                  <a:pt x="690" y="422"/>
                  <a:pt x="690" y="422"/>
                  <a:pt x="690" y="423"/>
                </a:cubicBezTo>
                <a:cubicBezTo>
                  <a:pt x="690" y="422"/>
                  <a:pt x="690" y="422"/>
                  <a:pt x="690" y="422"/>
                </a:cubicBezTo>
                <a:cubicBezTo>
                  <a:pt x="689" y="423"/>
                  <a:pt x="689" y="422"/>
                  <a:pt x="689" y="422"/>
                </a:cubicBezTo>
                <a:cubicBezTo>
                  <a:pt x="688" y="422"/>
                  <a:pt x="688" y="422"/>
                  <a:pt x="688" y="423"/>
                </a:cubicBezTo>
                <a:cubicBezTo>
                  <a:pt x="688" y="423"/>
                  <a:pt x="688" y="423"/>
                  <a:pt x="688" y="423"/>
                </a:cubicBezTo>
                <a:cubicBezTo>
                  <a:pt x="688" y="423"/>
                  <a:pt x="688" y="423"/>
                  <a:pt x="688" y="423"/>
                </a:cubicBezTo>
                <a:cubicBezTo>
                  <a:pt x="689" y="423"/>
                  <a:pt x="689" y="423"/>
                  <a:pt x="689" y="424"/>
                </a:cubicBezTo>
                <a:cubicBezTo>
                  <a:pt x="689" y="424"/>
                  <a:pt x="689" y="424"/>
                  <a:pt x="690" y="424"/>
                </a:cubicBezTo>
                <a:cubicBezTo>
                  <a:pt x="690" y="424"/>
                  <a:pt x="690" y="424"/>
                  <a:pt x="690" y="424"/>
                </a:cubicBezTo>
                <a:cubicBezTo>
                  <a:pt x="691" y="425"/>
                  <a:pt x="691" y="425"/>
                  <a:pt x="690" y="426"/>
                </a:cubicBezTo>
                <a:cubicBezTo>
                  <a:pt x="690" y="426"/>
                  <a:pt x="690" y="426"/>
                  <a:pt x="689" y="426"/>
                </a:cubicBezTo>
                <a:cubicBezTo>
                  <a:pt x="689" y="427"/>
                  <a:pt x="689" y="427"/>
                  <a:pt x="689" y="426"/>
                </a:cubicBezTo>
                <a:cubicBezTo>
                  <a:pt x="689" y="426"/>
                  <a:pt x="688" y="426"/>
                  <a:pt x="688" y="425"/>
                </a:cubicBezTo>
                <a:cubicBezTo>
                  <a:pt x="688" y="425"/>
                  <a:pt x="688" y="426"/>
                  <a:pt x="688" y="426"/>
                </a:cubicBezTo>
                <a:cubicBezTo>
                  <a:pt x="688" y="426"/>
                  <a:pt x="688" y="426"/>
                  <a:pt x="688" y="426"/>
                </a:cubicBezTo>
                <a:cubicBezTo>
                  <a:pt x="687" y="425"/>
                  <a:pt x="687" y="425"/>
                  <a:pt x="687" y="425"/>
                </a:cubicBezTo>
                <a:cubicBezTo>
                  <a:pt x="687" y="425"/>
                  <a:pt x="687" y="425"/>
                  <a:pt x="687" y="425"/>
                </a:cubicBezTo>
                <a:cubicBezTo>
                  <a:pt x="687" y="425"/>
                  <a:pt x="687" y="425"/>
                  <a:pt x="687" y="425"/>
                </a:cubicBezTo>
                <a:cubicBezTo>
                  <a:pt x="687" y="426"/>
                  <a:pt x="687" y="426"/>
                  <a:pt x="687" y="427"/>
                </a:cubicBezTo>
                <a:cubicBezTo>
                  <a:pt x="688" y="427"/>
                  <a:pt x="688" y="427"/>
                  <a:pt x="688" y="428"/>
                </a:cubicBezTo>
                <a:cubicBezTo>
                  <a:pt x="688" y="428"/>
                  <a:pt x="688" y="428"/>
                  <a:pt x="687" y="428"/>
                </a:cubicBezTo>
                <a:cubicBezTo>
                  <a:pt x="687" y="427"/>
                  <a:pt x="687" y="428"/>
                  <a:pt x="687" y="428"/>
                </a:cubicBezTo>
                <a:cubicBezTo>
                  <a:pt x="687" y="428"/>
                  <a:pt x="687" y="429"/>
                  <a:pt x="687" y="429"/>
                </a:cubicBezTo>
                <a:cubicBezTo>
                  <a:pt x="687" y="429"/>
                  <a:pt x="687" y="429"/>
                  <a:pt x="686" y="429"/>
                </a:cubicBezTo>
                <a:cubicBezTo>
                  <a:pt x="686" y="430"/>
                  <a:pt x="686" y="429"/>
                  <a:pt x="686" y="429"/>
                </a:cubicBezTo>
                <a:cubicBezTo>
                  <a:pt x="685" y="430"/>
                  <a:pt x="685" y="429"/>
                  <a:pt x="685" y="429"/>
                </a:cubicBezTo>
                <a:cubicBezTo>
                  <a:pt x="685" y="429"/>
                  <a:pt x="686" y="428"/>
                  <a:pt x="685" y="428"/>
                </a:cubicBezTo>
                <a:cubicBezTo>
                  <a:pt x="685" y="429"/>
                  <a:pt x="685" y="429"/>
                  <a:pt x="685" y="430"/>
                </a:cubicBezTo>
                <a:cubicBezTo>
                  <a:pt x="685" y="430"/>
                  <a:pt x="685" y="430"/>
                  <a:pt x="685" y="430"/>
                </a:cubicBezTo>
                <a:cubicBezTo>
                  <a:pt x="685" y="430"/>
                  <a:pt x="685" y="431"/>
                  <a:pt x="684" y="431"/>
                </a:cubicBezTo>
                <a:cubicBezTo>
                  <a:pt x="684" y="431"/>
                  <a:pt x="684" y="431"/>
                  <a:pt x="684" y="431"/>
                </a:cubicBezTo>
                <a:cubicBezTo>
                  <a:pt x="684" y="432"/>
                  <a:pt x="684" y="432"/>
                  <a:pt x="684" y="432"/>
                </a:cubicBezTo>
                <a:cubicBezTo>
                  <a:pt x="683" y="432"/>
                  <a:pt x="683" y="432"/>
                  <a:pt x="683" y="433"/>
                </a:cubicBezTo>
                <a:cubicBezTo>
                  <a:pt x="683" y="433"/>
                  <a:pt x="683" y="433"/>
                  <a:pt x="683" y="433"/>
                </a:cubicBezTo>
                <a:cubicBezTo>
                  <a:pt x="682" y="433"/>
                  <a:pt x="682" y="433"/>
                  <a:pt x="681" y="433"/>
                </a:cubicBezTo>
                <a:cubicBezTo>
                  <a:pt x="681" y="432"/>
                  <a:pt x="681" y="432"/>
                  <a:pt x="681" y="431"/>
                </a:cubicBezTo>
                <a:cubicBezTo>
                  <a:pt x="681" y="431"/>
                  <a:pt x="681" y="431"/>
                  <a:pt x="681" y="431"/>
                </a:cubicBezTo>
                <a:cubicBezTo>
                  <a:pt x="681" y="430"/>
                  <a:pt x="681" y="430"/>
                  <a:pt x="681" y="429"/>
                </a:cubicBezTo>
                <a:cubicBezTo>
                  <a:pt x="681" y="429"/>
                  <a:pt x="681" y="428"/>
                  <a:pt x="681" y="428"/>
                </a:cubicBezTo>
                <a:cubicBezTo>
                  <a:pt x="681" y="428"/>
                  <a:pt x="681" y="428"/>
                  <a:pt x="681" y="428"/>
                </a:cubicBezTo>
                <a:cubicBezTo>
                  <a:pt x="682" y="428"/>
                  <a:pt x="682" y="428"/>
                  <a:pt x="682" y="428"/>
                </a:cubicBezTo>
                <a:cubicBezTo>
                  <a:pt x="682" y="428"/>
                  <a:pt x="682" y="428"/>
                  <a:pt x="682" y="428"/>
                </a:cubicBezTo>
                <a:cubicBezTo>
                  <a:pt x="681" y="427"/>
                  <a:pt x="681" y="427"/>
                  <a:pt x="682" y="427"/>
                </a:cubicBezTo>
                <a:cubicBezTo>
                  <a:pt x="682" y="427"/>
                  <a:pt x="682" y="427"/>
                  <a:pt x="682" y="426"/>
                </a:cubicBezTo>
                <a:cubicBezTo>
                  <a:pt x="683" y="426"/>
                  <a:pt x="683" y="426"/>
                  <a:pt x="683" y="426"/>
                </a:cubicBezTo>
                <a:cubicBezTo>
                  <a:pt x="683" y="426"/>
                  <a:pt x="683" y="426"/>
                  <a:pt x="682" y="426"/>
                </a:cubicBezTo>
                <a:cubicBezTo>
                  <a:pt x="682" y="426"/>
                  <a:pt x="682" y="425"/>
                  <a:pt x="682" y="425"/>
                </a:cubicBezTo>
                <a:cubicBezTo>
                  <a:pt x="682" y="424"/>
                  <a:pt x="682" y="424"/>
                  <a:pt x="682" y="425"/>
                </a:cubicBezTo>
                <a:cubicBezTo>
                  <a:pt x="683" y="425"/>
                  <a:pt x="683" y="425"/>
                  <a:pt x="684" y="425"/>
                </a:cubicBezTo>
                <a:cubicBezTo>
                  <a:pt x="684" y="425"/>
                  <a:pt x="684" y="425"/>
                  <a:pt x="684" y="426"/>
                </a:cubicBezTo>
                <a:cubicBezTo>
                  <a:pt x="684" y="426"/>
                  <a:pt x="684" y="426"/>
                  <a:pt x="685" y="426"/>
                </a:cubicBezTo>
                <a:cubicBezTo>
                  <a:pt x="685" y="426"/>
                  <a:pt x="685" y="425"/>
                  <a:pt x="684" y="425"/>
                </a:cubicBezTo>
                <a:cubicBezTo>
                  <a:pt x="684" y="425"/>
                  <a:pt x="684" y="425"/>
                  <a:pt x="683" y="425"/>
                </a:cubicBezTo>
                <a:cubicBezTo>
                  <a:pt x="683" y="425"/>
                  <a:pt x="683" y="425"/>
                  <a:pt x="683" y="425"/>
                </a:cubicBezTo>
                <a:cubicBezTo>
                  <a:pt x="683" y="424"/>
                  <a:pt x="683" y="424"/>
                  <a:pt x="683" y="424"/>
                </a:cubicBezTo>
                <a:cubicBezTo>
                  <a:pt x="682" y="424"/>
                  <a:pt x="682" y="423"/>
                  <a:pt x="682" y="423"/>
                </a:cubicBezTo>
                <a:cubicBezTo>
                  <a:pt x="682" y="423"/>
                  <a:pt x="682" y="423"/>
                  <a:pt x="682" y="422"/>
                </a:cubicBezTo>
                <a:cubicBezTo>
                  <a:pt x="682" y="421"/>
                  <a:pt x="681" y="421"/>
                  <a:pt x="681" y="420"/>
                </a:cubicBezTo>
                <a:cubicBezTo>
                  <a:pt x="680" y="419"/>
                  <a:pt x="680" y="419"/>
                  <a:pt x="680" y="418"/>
                </a:cubicBezTo>
                <a:cubicBezTo>
                  <a:pt x="680" y="418"/>
                  <a:pt x="680" y="418"/>
                  <a:pt x="680" y="418"/>
                </a:cubicBezTo>
                <a:cubicBezTo>
                  <a:pt x="679" y="417"/>
                  <a:pt x="681" y="415"/>
                  <a:pt x="680" y="414"/>
                </a:cubicBezTo>
                <a:cubicBezTo>
                  <a:pt x="679" y="412"/>
                  <a:pt x="680" y="411"/>
                  <a:pt x="679" y="410"/>
                </a:cubicBezTo>
                <a:cubicBezTo>
                  <a:pt x="679" y="409"/>
                  <a:pt x="679" y="409"/>
                  <a:pt x="679" y="409"/>
                </a:cubicBezTo>
                <a:cubicBezTo>
                  <a:pt x="679" y="408"/>
                  <a:pt x="679" y="408"/>
                  <a:pt x="679" y="407"/>
                </a:cubicBezTo>
                <a:cubicBezTo>
                  <a:pt x="679" y="408"/>
                  <a:pt x="679" y="408"/>
                  <a:pt x="679" y="408"/>
                </a:cubicBezTo>
                <a:cubicBezTo>
                  <a:pt x="679" y="408"/>
                  <a:pt x="679" y="407"/>
                  <a:pt x="679" y="407"/>
                </a:cubicBezTo>
                <a:cubicBezTo>
                  <a:pt x="678" y="407"/>
                  <a:pt x="678" y="406"/>
                  <a:pt x="678" y="406"/>
                </a:cubicBezTo>
                <a:cubicBezTo>
                  <a:pt x="678" y="405"/>
                  <a:pt x="677" y="405"/>
                  <a:pt x="678" y="405"/>
                </a:cubicBezTo>
                <a:cubicBezTo>
                  <a:pt x="678" y="405"/>
                  <a:pt x="678" y="405"/>
                  <a:pt x="678" y="404"/>
                </a:cubicBezTo>
                <a:cubicBezTo>
                  <a:pt x="678" y="405"/>
                  <a:pt x="677" y="405"/>
                  <a:pt x="677" y="404"/>
                </a:cubicBezTo>
                <a:cubicBezTo>
                  <a:pt x="677" y="403"/>
                  <a:pt x="677" y="402"/>
                  <a:pt x="677" y="401"/>
                </a:cubicBezTo>
                <a:cubicBezTo>
                  <a:pt x="677" y="401"/>
                  <a:pt x="677" y="401"/>
                  <a:pt x="677" y="401"/>
                </a:cubicBezTo>
                <a:cubicBezTo>
                  <a:pt x="677" y="401"/>
                  <a:pt x="677" y="401"/>
                  <a:pt x="677" y="401"/>
                </a:cubicBezTo>
                <a:cubicBezTo>
                  <a:pt x="678" y="402"/>
                  <a:pt x="678" y="402"/>
                  <a:pt x="679" y="403"/>
                </a:cubicBezTo>
                <a:cubicBezTo>
                  <a:pt x="679" y="403"/>
                  <a:pt x="679" y="404"/>
                  <a:pt x="680" y="404"/>
                </a:cubicBezTo>
                <a:cubicBezTo>
                  <a:pt x="680" y="405"/>
                  <a:pt x="680" y="405"/>
                  <a:pt x="680" y="406"/>
                </a:cubicBezTo>
                <a:cubicBezTo>
                  <a:pt x="680" y="407"/>
                  <a:pt x="680" y="407"/>
                  <a:pt x="681" y="407"/>
                </a:cubicBezTo>
                <a:cubicBezTo>
                  <a:pt x="681" y="406"/>
                  <a:pt x="681" y="406"/>
                  <a:pt x="682" y="406"/>
                </a:cubicBezTo>
                <a:cubicBezTo>
                  <a:pt x="682" y="406"/>
                  <a:pt x="682" y="406"/>
                  <a:pt x="682" y="406"/>
                </a:cubicBezTo>
                <a:cubicBezTo>
                  <a:pt x="683" y="407"/>
                  <a:pt x="683" y="406"/>
                  <a:pt x="684" y="407"/>
                </a:cubicBezTo>
                <a:cubicBezTo>
                  <a:pt x="684" y="407"/>
                  <a:pt x="685" y="407"/>
                  <a:pt x="686" y="407"/>
                </a:cubicBezTo>
                <a:cubicBezTo>
                  <a:pt x="686" y="407"/>
                  <a:pt x="686" y="407"/>
                  <a:pt x="687" y="407"/>
                </a:cubicBezTo>
                <a:cubicBezTo>
                  <a:pt x="687" y="407"/>
                  <a:pt x="687" y="407"/>
                  <a:pt x="686" y="408"/>
                </a:cubicBezTo>
                <a:cubicBezTo>
                  <a:pt x="686" y="408"/>
                  <a:pt x="686" y="408"/>
                  <a:pt x="687" y="409"/>
                </a:cubicBezTo>
                <a:cubicBezTo>
                  <a:pt x="687" y="409"/>
                  <a:pt x="688" y="410"/>
                  <a:pt x="688" y="411"/>
                </a:cubicBezTo>
                <a:cubicBezTo>
                  <a:pt x="688" y="411"/>
                  <a:pt x="688" y="411"/>
                  <a:pt x="688" y="411"/>
                </a:cubicBezTo>
                <a:cubicBezTo>
                  <a:pt x="689" y="412"/>
                  <a:pt x="689" y="412"/>
                  <a:pt x="689" y="413"/>
                </a:cubicBezTo>
                <a:cubicBezTo>
                  <a:pt x="689" y="414"/>
                  <a:pt x="690" y="414"/>
                  <a:pt x="690" y="414"/>
                </a:cubicBezTo>
                <a:cubicBezTo>
                  <a:pt x="690" y="415"/>
                  <a:pt x="690" y="415"/>
                  <a:pt x="690" y="415"/>
                </a:cubicBezTo>
                <a:cubicBezTo>
                  <a:pt x="690" y="416"/>
                  <a:pt x="690" y="416"/>
                  <a:pt x="690" y="416"/>
                </a:cubicBezTo>
                <a:cubicBezTo>
                  <a:pt x="690" y="417"/>
                  <a:pt x="690" y="417"/>
                  <a:pt x="690" y="417"/>
                </a:cubicBezTo>
                <a:cubicBezTo>
                  <a:pt x="690" y="418"/>
                  <a:pt x="690" y="418"/>
                  <a:pt x="691" y="419"/>
                </a:cubicBezTo>
                <a:cubicBezTo>
                  <a:pt x="691" y="419"/>
                  <a:pt x="691" y="420"/>
                  <a:pt x="691" y="420"/>
                </a:cubicBezTo>
                <a:close/>
                <a:moveTo>
                  <a:pt x="687" y="415"/>
                </a:moveTo>
                <a:cubicBezTo>
                  <a:pt x="687" y="416"/>
                  <a:pt x="687" y="416"/>
                  <a:pt x="688" y="416"/>
                </a:cubicBezTo>
                <a:cubicBezTo>
                  <a:pt x="688" y="416"/>
                  <a:pt x="688" y="415"/>
                  <a:pt x="688" y="415"/>
                </a:cubicBezTo>
                <a:cubicBezTo>
                  <a:pt x="687" y="415"/>
                  <a:pt x="687" y="414"/>
                  <a:pt x="687" y="414"/>
                </a:cubicBezTo>
                <a:cubicBezTo>
                  <a:pt x="687" y="414"/>
                  <a:pt x="687" y="414"/>
                  <a:pt x="686" y="413"/>
                </a:cubicBezTo>
                <a:cubicBezTo>
                  <a:pt x="687" y="414"/>
                  <a:pt x="687" y="414"/>
                  <a:pt x="687" y="414"/>
                </a:cubicBezTo>
                <a:cubicBezTo>
                  <a:pt x="686" y="415"/>
                  <a:pt x="687" y="415"/>
                  <a:pt x="687" y="415"/>
                </a:cubicBezTo>
                <a:close/>
                <a:moveTo>
                  <a:pt x="686" y="412"/>
                </a:moveTo>
                <a:cubicBezTo>
                  <a:pt x="686" y="412"/>
                  <a:pt x="686" y="412"/>
                  <a:pt x="686" y="412"/>
                </a:cubicBezTo>
                <a:cubicBezTo>
                  <a:pt x="686" y="412"/>
                  <a:pt x="686" y="412"/>
                  <a:pt x="685" y="412"/>
                </a:cubicBezTo>
                <a:cubicBezTo>
                  <a:pt x="686" y="412"/>
                  <a:pt x="686" y="412"/>
                  <a:pt x="686" y="412"/>
                </a:cubicBezTo>
                <a:cubicBezTo>
                  <a:pt x="686" y="412"/>
                  <a:pt x="686" y="412"/>
                  <a:pt x="686" y="413"/>
                </a:cubicBezTo>
                <a:cubicBezTo>
                  <a:pt x="686" y="413"/>
                  <a:pt x="686" y="412"/>
                  <a:pt x="686" y="412"/>
                </a:cubicBezTo>
                <a:close/>
                <a:moveTo>
                  <a:pt x="686" y="413"/>
                </a:moveTo>
                <a:cubicBezTo>
                  <a:pt x="687" y="413"/>
                  <a:pt x="687" y="413"/>
                  <a:pt x="686" y="413"/>
                </a:cubicBezTo>
                <a:cubicBezTo>
                  <a:pt x="686" y="413"/>
                  <a:pt x="686" y="413"/>
                  <a:pt x="686" y="413"/>
                </a:cubicBezTo>
                <a:cubicBezTo>
                  <a:pt x="686" y="413"/>
                  <a:pt x="686" y="413"/>
                  <a:pt x="686" y="413"/>
                </a:cubicBezTo>
                <a:close/>
                <a:moveTo>
                  <a:pt x="721" y="475"/>
                </a:moveTo>
                <a:cubicBezTo>
                  <a:pt x="721" y="475"/>
                  <a:pt x="721" y="475"/>
                  <a:pt x="721" y="475"/>
                </a:cubicBezTo>
                <a:cubicBezTo>
                  <a:pt x="720" y="475"/>
                  <a:pt x="720" y="475"/>
                  <a:pt x="720" y="476"/>
                </a:cubicBezTo>
                <a:cubicBezTo>
                  <a:pt x="720" y="476"/>
                  <a:pt x="720" y="476"/>
                  <a:pt x="720" y="476"/>
                </a:cubicBezTo>
                <a:cubicBezTo>
                  <a:pt x="720" y="477"/>
                  <a:pt x="720" y="477"/>
                  <a:pt x="720" y="478"/>
                </a:cubicBezTo>
                <a:cubicBezTo>
                  <a:pt x="720" y="478"/>
                  <a:pt x="719" y="478"/>
                  <a:pt x="719" y="479"/>
                </a:cubicBezTo>
                <a:cubicBezTo>
                  <a:pt x="719" y="479"/>
                  <a:pt x="719" y="480"/>
                  <a:pt x="720" y="480"/>
                </a:cubicBezTo>
                <a:cubicBezTo>
                  <a:pt x="720" y="480"/>
                  <a:pt x="720" y="480"/>
                  <a:pt x="720" y="480"/>
                </a:cubicBezTo>
                <a:cubicBezTo>
                  <a:pt x="720" y="480"/>
                  <a:pt x="720" y="480"/>
                  <a:pt x="720" y="480"/>
                </a:cubicBezTo>
                <a:cubicBezTo>
                  <a:pt x="720" y="480"/>
                  <a:pt x="720" y="479"/>
                  <a:pt x="721" y="479"/>
                </a:cubicBezTo>
                <a:cubicBezTo>
                  <a:pt x="721" y="479"/>
                  <a:pt x="721" y="479"/>
                  <a:pt x="721" y="479"/>
                </a:cubicBezTo>
                <a:cubicBezTo>
                  <a:pt x="721" y="480"/>
                  <a:pt x="722" y="480"/>
                  <a:pt x="722" y="480"/>
                </a:cubicBezTo>
                <a:cubicBezTo>
                  <a:pt x="722" y="479"/>
                  <a:pt x="723" y="479"/>
                  <a:pt x="723" y="479"/>
                </a:cubicBezTo>
                <a:cubicBezTo>
                  <a:pt x="723" y="479"/>
                  <a:pt x="722" y="479"/>
                  <a:pt x="722" y="479"/>
                </a:cubicBezTo>
                <a:cubicBezTo>
                  <a:pt x="722" y="479"/>
                  <a:pt x="723" y="478"/>
                  <a:pt x="723" y="478"/>
                </a:cubicBezTo>
                <a:cubicBezTo>
                  <a:pt x="723" y="478"/>
                  <a:pt x="722" y="478"/>
                  <a:pt x="722" y="478"/>
                </a:cubicBezTo>
                <a:cubicBezTo>
                  <a:pt x="722" y="477"/>
                  <a:pt x="722" y="477"/>
                  <a:pt x="722" y="477"/>
                </a:cubicBezTo>
                <a:cubicBezTo>
                  <a:pt x="722" y="476"/>
                  <a:pt x="722" y="476"/>
                  <a:pt x="722" y="476"/>
                </a:cubicBezTo>
                <a:cubicBezTo>
                  <a:pt x="722" y="476"/>
                  <a:pt x="722" y="476"/>
                  <a:pt x="722" y="476"/>
                </a:cubicBezTo>
                <a:cubicBezTo>
                  <a:pt x="722" y="476"/>
                  <a:pt x="721" y="476"/>
                  <a:pt x="721" y="475"/>
                </a:cubicBezTo>
                <a:cubicBezTo>
                  <a:pt x="721" y="475"/>
                  <a:pt x="721" y="475"/>
                  <a:pt x="721" y="475"/>
                </a:cubicBezTo>
                <a:close/>
                <a:moveTo>
                  <a:pt x="722" y="483"/>
                </a:moveTo>
                <a:cubicBezTo>
                  <a:pt x="722" y="483"/>
                  <a:pt x="723" y="483"/>
                  <a:pt x="723" y="483"/>
                </a:cubicBezTo>
                <a:cubicBezTo>
                  <a:pt x="723" y="483"/>
                  <a:pt x="723" y="483"/>
                  <a:pt x="723" y="483"/>
                </a:cubicBezTo>
                <a:cubicBezTo>
                  <a:pt x="723" y="483"/>
                  <a:pt x="723" y="483"/>
                  <a:pt x="724" y="483"/>
                </a:cubicBezTo>
                <a:cubicBezTo>
                  <a:pt x="724" y="483"/>
                  <a:pt x="724" y="483"/>
                  <a:pt x="724" y="483"/>
                </a:cubicBezTo>
                <a:cubicBezTo>
                  <a:pt x="724" y="483"/>
                  <a:pt x="724" y="483"/>
                  <a:pt x="724" y="483"/>
                </a:cubicBezTo>
                <a:cubicBezTo>
                  <a:pt x="724" y="483"/>
                  <a:pt x="724" y="483"/>
                  <a:pt x="724" y="483"/>
                </a:cubicBezTo>
                <a:cubicBezTo>
                  <a:pt x="724" y="482"/>
                  <a:pt x="724" y="482"/>
                  <a:pt x="724" y="482"/>
                </a:cubicBezTo>
                <a:cubicBezTo>
                  <a:pt x="724" y="481"/>
                  <a:pt x="724" y="481"/>
                  <a:pt x="724" y="481"/>
                </a:cubicBezTo>
                <a:cubicBezTo>
                  <a:pt x="724" y="481"/>
                  <a:pt x="724" y="481"/>
                  <a:pt x="724" y="481"/>
                </a:cubicBezTo>
                <a:cubicBezTo>
                  <a:pt x="724" y="481"/>
                  <a:pt x="724" y="481"/>
                  <a:pt x="723" y="481"/>
                </a:cubicBezTo>
                <a:cubicBezTo>
                  <a:pt x="723" y="481"/>
                  <a:pt x="723" y="481"/>
                  <a:pt x="723" y="481"/>
                </a:cubicBezTo>
                <a:cubicBezTo>
                  <a:pt x="723" y="481"/>
                  <a:pt x="723" y="481"/>
                  <a:pt x="723" y="481"/>
                </a:cubicBezTo>
                <a:cubicBezTo>
                  <a:pt x="723" y="481"/>
                  <a:pt x="722" y="481"/>
                  <a:pt x="722" y="481"/>
                </a:cubicBezTo>
                <a:cubicBezTo>
                  <a:pt x="722" y="481"/>
                  <a:pt x="722" y="481"/>
                  <a:pt x="722" y="482"/>
                </a:cubicBezTo>
                <a:cubicBezTo>
                  <a:pt x="722" y="482"/>
                  <a:pt x="722" y="482"/>
                  <a:pt x="722" y="482"/>
                </a:cubicBezTo>
                <a:cubicBezTo>
                  <a:pt x="722" y="482"/>
                  <a:pt x="722" y="482"/>
                  <a:pt x="722" y="483"/>
                </a:cubicBezTo>
                <a:close/>
                <a:moveTo>
                  <a:pt x="740" y="458"/>
                </a:moveTo>
                <a:cubicBezTo>
                  <a:pt x="740" y="458"/>
                  <a:pt x="739" y="455"/>
                  <a:pt x="739" y="455"/>
                </a:cubicBezTo>
                <a:cubicBezTo>
                  <a:pt x="738" y="455"/>
                  <a:pt x="738" y="455"/>
                  <a:pt x="738" y="455"/>
                </a:cubicBezTo>
                <a:cubicBezTo>
                  <a:pt x="736" y="455"/>
                  <a:pt x="736" y="455"/>
                  <a:pt x="736" y="455"/>
                </a:cubicBezTo>
                <a:cubicBezTo>
                  <a:pt x="735" y="454"/>
                  <a:pt x="735" y="454"/>
                  <a:pt x="735" y="454"/>
                </a:cubicBezTo>
                <a:cubicBezTo>
                  <a:pt x="734" y="452"/>
                  <a:pt x="734" y="452"/>
                  <a:pt x="734" y="452"/>
                </a:cubicBezTo>
                <a:cubicBezTo>
                  <a:pt x="734" y="452"/>
                  <a:pt x="733" y="451"/>
                  <a:pt x="733" y="451"/>
                </a:cubicBezTo>
                <a:cubicBezTo>
                  <a:pt x="732" y="451"/>
                  <a:pt x="730" y="449"/>
                  <a:pt x="730" y="449"/>
                </a:cubicBezTo>
                <a:cubicBezTo>
                  <a:pt x="728" y="448"/>
                  <a:pt x="728" y="448"/>
                  <a:pt x="728" y="448"/>
                </a:cubicBezTo>
                <a:cubicBezTo>
                  <a:pt x="726" y="448"/>
                  <a:pt x="726" y="448"/>
                  <a:pt x="726" y="448"/>
                </a:cubicBezTo>
                <a:cubicBezTo>
                  <a:pt x="726" y="448"/>
                  <a:pt x="720" y="443"/>
                  <a:pt x="720" y="443"/>
                </a:cubicBezTo>
                <a:cubicBezTo>
                  <a:pt x="720" y="443"/>
                  <a:pt x="716" y="443"/>
                  <a:pt x="716" y="443"/>
                </a:cubicBezTo>
                <a:cubicBezTo>
                  <a:pt x="716" y="439"/>
                  <a:pt x="716" y="439"/>
                  <a:pt x="716" y="439"/>
                </a:cubicBezTo>
                <a:cubicBezTo>
                  <a:pt x="713" y="437"/>
                  <a:pt x="713" y="437"/>
                  <a:pt x="713" y="437"/>
                </a:cubicBezTo>
                <a:cubicBezTo>
                  <a:pt x="713" y="435"/>
                  <a:pt x="713" y="435"/>
                  <a:pt x="713" y="435"/>
                </a:cubicBezTo>
                <a:cubicBezTo>
                  <a:pt x="714" y="434"/>
                  <a:pt x="714" y="434"/>
                  <a:pt x="714" y="434"/>
                </a:cubicBezTo>
                <a:cubicBezTo>
                  <a:pt x="714" y="432"/>
                  <a:pt x="714" y="432"/>
                  <a:pt x="714" y="432"/>
                </a:cubicBezTo>
                <a:cubicBezTo>
                  <a:pt x="710" y="432"/>
                  <a:pt x="710" y="432"/>
                  <a:pt x="710" y="432"/>
                </a:cubicBezTo>
                <a:cubicBezTo>
                  <a:pt x="710" y="432"/>
                  <a:pt x="710" y="430"/>
                  <a:pt x="710" y="430"/>
                </a:cubicBezTo>
                <a:cubicBezTo>
                  <a:pt x="711" y="430"/>
                  <a:pt x="711" y="429"/>
                  <a:pt x="711" y="429"/>
                </a:cubicBezTo>
                <a:cubicBezTo>
                  <a:pt x="696" y="401"/>
                  <a:pt x="696" y="401"/>
                  <a:pt x="696" y="401"/>
                </a:cubicBezTo>
                <a:cubicBezTo>
                  <a:pt x="697" y="399"/>
                  <a:pt x="697" y="399"/>
                  <a:pt x="697" y="399"/>
                </a:cubicBezTo>
                <a:cubicBezTo>
                  <a:pt x="691" y="392"/>
                  <a:pt x="691" y="392"/>
                  <a:pt x="691" y="392"/>
                </a:cubicBezTo>
                <a:cubicBezTo>
                  <a:pt x="686" y="389"/>
                  <a:pt x="686" y="389"/>
                  <a:pt x="686" y="389"/>
                </a:cubicBezTo>
                <a:cubicBezTo>
                  <a:pt x="685" y="388"/>
                  <a:pt x="685" y="388"/>
                  <a:pt x="685" y="388"/>
                </a:cubicBezTo>
                <a:cubicBezTo>
                  <a:pt x="684" y="386"/>
                  <a:pt x="684" y="386"/>
                  <a:pt x="684" y="386"/>
                </a:cubicBezTo>
                <a:cubicBezTo>
                  <a:pt x="684" y="384"/>
                  <a:pt x="684" y="384"/>
                  <a:pt x="684" y="384"/>
                </a:cubicBezTo>
                <a:cubicBezTo>
                  <a:pt x="680" y="380"/>
                  <a:pt x="680" y="380"/>
                  <a:pt x="680" y="380"/>
                </a:cubicBezTo>
                <a:cubicBezTo>
                  <a:pt x="680" y="379"/>
                  <a:pt x="680" y="379"/>
                  <a:pt x="680" y="379"/>
                </a:cubicBezTo>
                <a:cubicBezTo>
                  <a:pt x="676" y="377"/>
                  <a:pt x="676" y="377"/>
                  <a:pt x="676" y="377"/>
                </a:cubicBezTo>
                <a:cubicBezTo>
                  <a:pt x="676" y="375"/>
                  <a:pt x="676" y="375"/>
                  <a:pt x="676" y="375"/>
                </a:cubicBezTo>
                <a:cubicBezTo>
                  <a:pt x="675" y="375"/>
                  <a:pt x="675" y="375"/>
                  <a:pt x="675" y="375"/>
                </a:cubicBezTo>
                <a:cubicBezTo>
                  <a:pt x="675" y="373"/>
                  <a:pt x="675" y="373"/>
                  <a:pt x="675" y="373"/>
                </a:cubicBezTo>
                <a:cubicBezTo>
                  <a:pt x="675" y="373"/>
                  <a:pt x="675" y="373"/>
                  <a:pt x="675" y="373"/>
                </a:cubicBezTo>
                <a:cubicBezTo>
                  <a:pt x="675" y="371"/>
                  <a:pt x="675" y="371"/>
                  <a:pt x="675" y="371"/>
                </a:cubicBezTo>
                <a:cubicBezTo>
                  <a:pt x="670" y="365"/>
                  <a:pt x="670" y="365"/>
                  <a:pt x="670" y="365"/>
                </a:cubicBezTo>
                <a:cubicBezTo>
                  <a:pt x="669" y="365"/>
                  <a:pt x="669" y="365"/>
                  <a:pt x="669" y="365"/>
                </a:cubicBezTo>
                <a:cubicBezTo>
                  <a:pt x="662" y="369"/>
                  <a:pt x="662" y="369"/>
                  <a:pt x="662" y="369"/>
                </a:cubicBezTo>
                <a:cubicBezTo>
                  <a:pt x="658" y="370"/>
                  <a:pt x="658" y="370"/>
                  <a:pt x="658" y="370"/>
                </a:cubicBezTo>
                <a:cubicBezTo>
                  <a:pt x="659" y="370"/>
                  <a:pt x="659" y="370"/>
                  <a:pt x="659" y="370"/>
                </a:cubicBezTo>
                <a:cubicBezTo>
                  <a:pt x="660" y="371"/>
                  <a:pt x="660" y="371"/>
                  <a:pt x="660" y="371"/>
                </a:cubicBezTo>
                <a:cubicBezTo>
                  <a:pt x="660" y="371"/>
                  <a:pt x="660" y="372"/>
                  <a:pt x="660" y="372"/>
                </a:cubicBezTo>
                <a:cubicBezTo>
                  <a:pt x="660" y="372"/>
                  <a:pt x="659" y="374"/>
                  <a:pt x="659" y="374"/>
                </a:cubicBezTo>
                <a:cubicBezTo>
                  <a:pt x="657" y="374"/>
                  <a:pt x="657" y="374"/>
                  <a:pt x="657" y="374"/>
                </a:cubicBezTo>
                <a:cubicBezTo>
                  <a:pt x="657" y="378"/>
                  <a:pt x="657" y="378"/>
                  <a:pt x="657" y="378"/>
                </a:cubicBezTo>
                <a:cubicBezTo>
                  <a:pt x="656" y="381"/>
                  <a:pt x="656" y="381"/>
                  <a:pt x="656" y="381"/>
                </a:cubicBezTo>
                <a:cubicBezTo>
                  <a:pt x="652" y="381"/>
                  <a:pt x="652" y="381"/>
                  <a:pt x="652" y="381"/>
                </a:cubicBezTo>
                <a:cubicBezTo>
                  <a:pt x="643" y="388"/>
                  <a:pt x="643" y="388"/>
                  <a:pt x="643" y="388"/>
                </a:cubicBezTo>
                <a:cubicBezTo>
                  <a:pt x="642" y="379"/>
                  <a:pt x="642" y="379"/>
                  <a:pt x="642" y="379"/>
                </a:cubicBezTo>
                <a:cubicBezTo>
                  <a:pt x="629" y="365"/>
                  <a:pt x="629" y="365"/>
                  <a:pt x="629" y="365"/>
                </a:cubicBezTo>
                <a:cubicBezTo>
                  <a:pt x="629" y="364"/>
                  <a:pt x="629" y="364"/>
                  <a:pt x="629" y="364"/>
                </a:cubicBezTo>
                <a:cubicBezTo>
                  <a:pt x="628" y="362"/>
                  <a:pt x="628" y="362"/>
                  <a:pt x="628" y="362"/>
                </a:cubicBezTo>
                <a:cubicBezTo>
                  <a:pt x="624" y="360"/>
                  <a:pt x="624" y="360"/>
                  <a:pt x="624" y="360"/>
                </a:cubicBezTo>
                <a:cubicBezTo>
                  <a:pt x="622" y="358"/>
                  <a:pt x="622" y="358"/>
                  <a:pt x="622" y="358"/>
                </a:cubicBezTo>
                <a:cubicBezTo>
                  <a:pt x="622" y="358"/>
                  <a:pt x="622" y="356"/>
                  <a:pt x="622" y="356"/>
                </a:cubicBezTo>
                <a:cubicBezTo>
                  <a:pt x="622" y="356"/>
                  <a:pt x="623" y="353"/>
                  <a:pt x="623" y="353"/>
                </a:cubicBezTo>
                <a:cubicBezTo>
                  <a:pt x="623" y="353"/>
                  <a:pt x="623" y="351"/>
                  <a:pt x="623" y="351"/>
                </a:cubicBezTo>
                <a:cubicBezTo>
                  <a:pt x="615" y="351"/>
                  <a:pt x="615" y="351"/>
                  <a:pt x="615" y="351"/>
                </a:cubicBezTo>
                <a:cubicBezTo>
                  <a:pt x="612" y="355"/>
                  <a:pt x="612" y="355"/>
                  <a:pt x="612" y="355"/>
                </a:cubicBezTo>
                <a:cubicBezTo>
                  <a:pt x="612" y="355"/>
                  <a:pt x="606" y="351"/>
                  <a:pt x="606" y="352"/>
                </a:cubicBezTo>
                <a:cubicBezTo>
                  <a:pt x="606" y="352"/>
                  <a:pt x="605" y="354"/>
                  <a:pt x="605" y="354"/>
                </a:cubicBezTo>
                <a:cubicBezTo>
                  <a:pt x="599" y="352"/>
                  <a:pt x="599" y="352"/>
                  <a:pt x="599" y="352"/>
                </a:cubicBezTo>
                <a:cubicBezTo>
                  <a:pt x="599" y="64"/>
                  <a:pt x="599" y="64"/>
                  <a:pt x="599" y="64"/>
                </a:cubicBezTo>
                <a:cubicBezTo>
                  <a:pt x="598" y="64"/>
                  <a:pt x="598" y="64"/>
                  <a:pt x="598" y="64"/>
                </a:cubicBezTo>
                <a:cubicBezTo>
                  <a:pt x="597" y="64"/>
                  <a:pt x="597" y="63"/>
                  <a:pt x="597" y="64"/>
                </a:cubicBezTo>
                <a:cubicBezTo>
                  <a:pt x="596" y="64"/>
                  <a:pt x="596" y="65"/>
                  <a:pt x="595" y="65"/>
                </a:cubicBezTo>
                <a:cubicBezTo>
                  <a:pt x="595" y="65"/>
                  <a:pt x="594" y="65"/>
                  <a:pt x="594" y="64"/>
                </a:cubicBezTo>
                <a:cubicBezTo>
                  <a:pt x="593" y="63"/>
                  <a:pt x="592" y="63"/>
                  <a:pt x="591" y="62"/>
                </a:cubicBezTo>
                <a:cubicBezTo>
                  <a:pt x="591" y="62"/>
                  <a:pt x="591" y="61"/>
                  <a:pt x="590" y="60"/>
                </a:cubicBezTo>
                <a:cubicBezTo>
                  <a:pt x="590" y="61"/>
                  <a:pt x="589" y="61"/>
                  <a:pt x="588" y="61"/>
                </a:cubicBezTo>
                <a:cubicBezTo>
                  <a:pt x="589" y="61"/>
                  <a:pt x="589" y="60"/>
                  <a:pt x="590" y="60"/>
                </a:cubicBezTo>
                <a:cubicBezTo>
                  <a:pt x="588" y="60"/>
                  <a:pt x="587" y="59"/>
                  <a:pt x="586" y="59"/>
                </a:cubicBezTo>
                <a:cubicBezTo>
                  <a:pt x="586" y="59"/>
                  <a:pt x="585" y="59"/>
                  <a:pt x="585" y="59"/>
                </a:cubicBezTo>
                <a:cubicBezTo>
                  <a:pt x="585" y="58"/>
                  <a:pt x="585" y="58"/>
                  <a:pt x="585" y="58"/>
                </a:cubicBezTo>
                <a:cubicBezTo>
                  <a:pt x="586" y="58"/>
                  <a:pt x="585" y="57"/>
                  <a:pt x="584" y="57"/>
                </a:cubicBezTo>
                <a:cubicBezTo>
                  <a:pt x="584" y="57"/>
                  <a:pt x="583" y="57"/>
                  <a:pt x="583" y="57"/>
                </a:cubicBezTo>
                <a:cubicBezTo>
                  <a:pt x="583" y="57"/>
                  <a:pt x="583" y="56"/>
                  <a:pt x="583" y="56"/>
                </a:cubicBezTo>
                <a:cubicBezTo>
                  <a:pt x="583" y="56"/>
                  <a:pt x="582" y="56"/>
                  <a:pt x="582" y="55"/>
                </a:cubicBezTo>
                <a:cubicBezTo>
                  <a:pt x="581" y="55"/>
                  <a:pt x="581" y="54"/>
                  <a:pt x="581" y="54"/>
                </a:cubicBezTo>
                <a:cubicBezTo>
                  <a:pt x="581" y="54"/>
                  <a:pt x="580" y="54"/>
                  <a:pt x="580" y="54"/>
                </a:cubicBezTo>
                <a:cubicBezTo>
                  <a:pt x="579" y="53"/>
                  <a:pt x="579" y="53"/>
                  <a:pt x="579" y="53"/>
                </a:cubicBezTo>
                <a:cubicBezTo>
                  <a:pt x="579" y="52"/>
                  <a:pt x="579" y="52"/>
                  <a:pt x="579" y="51"/>
                </a:cubicBezTo>
                <a:cubicBezTo>
                  <a:pt x="579" y="51"/>
                  <a:pt x="579" y="51"/>
                  <a:pt x="578" y="51"/>
                </a:cubicBezTo>
                <a:cubicBezTo>
                  <a:pt x="578" y="51"/>
                  <a:pt x="577" y="50"/>
                  <a:pt x="576" y="50"/>
                </a:cubicBezTo>
                <a:cubicBezTo>
                  <a:pt x="576" y="49"/>
                  <a:pt x="576" y="49"/>
                  <a:pt x="575" y="49"/>
                </a:cubicBezTo>
                <a:cubicBezTo>
                  <a:pt x="574" y="49"/>
                  <a:pt x="573" y="49"/>
                  <a:pt x="573" y="48"/>
                </a:cubicBezTo>
                <a:cubicBezTo>
                  <a:pt x="572" y="48"/>
                  <a:pt x="572" y="48"/>
                  <a:pt x="572" y="48"/>
                </a:cubicBezTo>
                <a:cubicBezTo>
                  <a:pt x="571" y="48"/>
                  <a:pt x="571" y="48"/>
                  <a:pt x="571" y="48"/>
                </a:cubicBezTo>
                <a:cubicBezTo>
                  <a:pt x="570" y="48"/>
                  <a:pt x="570" y="48"/>
                  <a:pt x="570" y="48"/>
                </a:cubicBezTo>
                <a:cubicBezTo>
                  <a:pt x="569" y="49"/>
                  <a:pt x="568" y="48"/>
                  <a:pt x="568" y="48"/>
                </a:cubicBezTo>
                <a:cubicBezTo>
                  <a:pt x="567" y="48"/>
                  <a:pt x="566" y="49"/>
                  <a:pt x="565" y="48"/>
                </a:cubicBezTo>
                <a:cubicBezTo>
                  <a:pt x="565" y="48"/>
                  <a:pt x="565" y="47"/>
                  <a:pt x="565" y="46"/>
                </a:cubicBezTo>
                <a:cubicBezTo>
                  <a:pt x="565" y="46"/>
                  <a:pt x="564" y="46"/>
                  <a:pt x="564" y="47"/>
                </a:cubicBezTo>
                <a:cubicBezTo>
                  <a:pt x="564" y="47"/>
                  <a:pt x="564" y="48"/>
                  <a:pt x="564" y="48"/>
                </a:cubicBezTo>
                <a:cubicBezTo>
                  <a:pt x="564" y="48"/>
                  <a:pt x="563" y="48"/>
                  <a:pt x="563" y="49"/>
                </a:cubicBezTo>
                <a:cubicBezTo>
                  <a:pt x="562" y="49"/>
                  <a:pt x="561" y="49"/>
                  <a:pt x="561" y="49"/>
                </a:cubicBezTo>
                <a:cubicBezTo>
                  <a:pt x="560" y="49"/>
                  <a:pt x="560" y="50"/>
                  <a:pt x="559" y="50"/>
                </a:cubicBezTo>
                <a:cubicBezTo>
                  <a:pt x="558" y="50"/>
                  <a:pt x="557" y="50"/>
                  <a:pt x="557" y="51"/>
                </a:cubicBezTo>
                <a:cubicBezTo>
                  <a:pt x="556" y="51"/>
                  <a:pt x="556" y="52"/>
                  <a:pt x="555" y="52"/>
                </a:cubicBezTo>
                <a:cubicBezTo>
                  <a:pt x="555" y="52"/>
                  <a:pt x="555" y="51"/>
                  <a:pt x="555" y="51"/>
                </a:cubicBezTo>
                <a:cubicBezTo>
                  <a:pt x="554" y="51"/>
                  <a:pt x="554" y="51"/>
                  <a:pt x="554" y="52"/>
                </a:cubicBezTo>
                <a:cubicBezTo>
                  <a:pt x="552" y="52"/>
                  <a:pt x="551" y="52"/>
                  <a:pt x="549" y="53"/>
                </a:cubicBezTo>
                <a:cubicBezTo>
                  <a:pt x="549" y="53"/>
                  <a:pt x="548" y="53"/>
                  <a:pt x="548" y="53"/>
                </a:cubicBezTo>
                <a:cubicBezTo>
                  <a:pt x="548" y="53"/>
                  <a:pt x="548" y="52"/>
                  <a:pt x="548" y="52"/>
                </a:cubicBezTo>
                <a:cubicBezTo>
                  <a:pt x="546" y="52"/>
                  <a:pt x="545" y="52"/>
                  <a:pt x="543" y="51"/>
                </a:cubicBezTo>
                <a:cubicBezTo>
                  <a:pt x="543" y="51"/>
                  <a:pt x="543" y="50"/>
                  <a:pt x="542" y="50"/>
                </a:cubicBezTo>
                <a:cubicBezTo>
                  <a:pt x="541" y="50"/>
                  <a:pt x="541" y="50"/>
                  <a:pt x="540" y="50"/>
                </a:cubicBezTo>
                <a:cubicBezTo>
                  <a:pt x="540" y="49"/>
                  <a:pt x="540" y="49"/>
                  <a:pt x="540" y="49"/>
                </a:cubicBezTo>
                <a:cubicBezTo>
                  <a:pt x="539" y="48"/>
                  <a:pt x="539" y="48"/>
                  <a:pt x="538" y="47"/>
                </a:cubicBezTo>
                <a:cubicBezTo>
                  <a:pt x="538" y="47"/>
                  <a:pt x="538" y="47"/>
                  <a:pt x="538" y="47"/>
                </a:cubicBezTo>
                <a:cubicBezTo>
                  <a:pt x="538" y="47"/>
                  <a:pt x="538" y="47"/>
                  <a:pt x="537" y="47"/>
                </a:cubicBezTo>
                <a:cubicBezTo>
                  <a:pt x="536" y="48"/>
                  <a:pt x="535" y="48"/>
                  <a:pt x="534" y="49"/>
                </a:cubicBezTo>
                <a:cubicBezTo>
                  <a:pt x="534" y="48"/>
                  <a:pt x="535" y="48"/>
                  <a:pt x="535" y="48"/>
                </a:cubicBezTo>
                <a:cubicBezTo>
                  <a:pt x="535" y="48"/>
                  <a:pt x="535" y="48"/>
                  <a:pt x="536" y="47"/>
                </a:cubicBezTo>
                <a:cubicBezTo>
                  <a:pt x="536" y="47"/>
                  <a:pt x="535" y="47"/>
                  <a:pt x="535" y="47"/>
                </a:cubicBezTo>
                <a:cubicBezTo>
                  <a:pt x="533" y="45"/>
                  <a:pt x="532" y="45"/>
                  <a:pt x="530" y="45"/>
                </a:cubicBezTo>
                <a:cubicBezTo>
                  <a:pt x="528" y="45"/>
                  <a:pt x="526" y="45"/>
                  <a:pt x="523" y="45"/>
                </a:cubicBezTo>
                <a:cubicBezTo>
                  <a:pt x="522" y="46"/>
                  <a:pt x="521" y="46"/>
                  <a:pt x="520" y="46"/>
                </a:cubicBezTo>
                <a:cubicBezTo>
                  <a:pt x="519" y="46"/>
                  <a:pt x="519" y="45"/>
                  <a:pt x="518" y="45"/>
                </a:cubicBezTo>
                <a:cubicBezTo>
                  <a:pt x="518" y="46"/>
                  <a:pt x="518" y="47"/>
                  <a:pt x="518" y="48"/>
                </a:cubicBezTo>
                <a:cubicBezTo>
                  <a:pt x="518" y="48"/>
                  <a:pt x="518" y="47"/>
                  <a:pt x="518" y="46"/>
                </a:cubicBezTo>
                <a:cubicBezTo>
                  <a:pt x="518" y="45"/>
                  <a:pt x="517" y="45"/>
                  <a:pt x="516" y="45"/>
                </a:cubicBezTo>
                <a:cubicBezTo>
                  <a:pt x="515" y="45"/>
                  <a:pt x="514" y="45"/>
                  <a:pt x="514" y="44"/>
                </a:cubicBezTo>
                <a:cubicBezTo>
                  <a:pt x="513" y="44"/>
                  <a:pt x="512" y="43"/>
                  <a:pt x="510" y="43"/>
                </a:cubicBezTo>
                <a:cubicBezTo>
                  <a:pt x="510" y="43"/>
                  <a:pt x="509" y="44"/>
                  <a:pt x="509" y="44"/>
                </a:cubicBezTo>
                <a:cubicBezTo>
                  <a:pt x="508" y="46"/>
                  <a:pt x="507" y="47"/>
                  <a:pt x="505" y="49"/>
                </a:cubicBezTo>
                <a:cubicBezTo>
                  <a:pt x="504" y="50"/>
                  <a:pt x="503" y="51"/>
                  <a:pt x="502" y="52"/>
                </a:cubicBezTo>
                <a:cubicBezTo>
                  <a:pt x="502" y="52"/>
                  <a:pt x="501" y="53"/>
                  <a:pt x="500" y="54"/>
                </a:cubicBezTo>
                <a:cubicBezTo>
                  <a:pt x="499" y="55"/>
                  <a:pt x="500" y="57"/>
                  <a:pt x="500" y="59"/>
                </a:cubicBezTo>
                <a:cubicBezTo>
                  <a:pt x="500" y="60"/>
                  <a:pt x="500" y="61"/>
                  <a:pt x="501" y="62"/>
                </a:cubicBezTo>
                <a:cubicBezTo>
                  <a:pt x="501" y="65"/>
                  <a:pt x="502" y="67"/>
                  <a:pt x="503" y="70"/>
                </a:cubicBezTo>
                <a:cubicBezTo>
                  <a:pt x="503" y="70"/>
                  <a:pt x="504" y="71"/>
                  <a:pt x="504" y="72"/>
                </a:cubicBezTo>
                <a:cubicBezTo>
                  <a:pt x="504" y="72"/>
                  <a:pt x="504" y="72"/>
                  <a:pt x="504" y="73"/>
                </a:cubicBezTo>
                <a:cubicBezTo>
                  <a:pt x="504" y="73"/>
                  <a:pt x="505" y="73"/>
                  <a:pt x="505" y="74"/>
                </a:cubicBezTo>
                <a:cubicBezTo>
                  <a:pt x="505" y="74"/>
                  <a:pt x="505" y="74"/>
                  <a:pt x="504" y="73"/>
                </a:cubicBezTo>
                <a:cubicBezTo>
                  <a:pt x="504" y="73"/>
                  <a:pt x="504" y="73"/>
                  <a:pt x="504" y="72"/>
                </a:cubicBezTo>
                <a:cubicBezTo>
                  <a:pt x="504" y="72"/>
                  <a:pt x="503" y="71"/>
                  <a:pt x="503" y="71"/>
                </a:cubicBezTo>
                <a:cubicBezTo>
                  <a:pt x="502" y="70"/>
                  <a:pt x="502" y="70"/>
                  <a:pt x="502" y="69"/>
                </a:cubicBezTo>
                <a:cubicBezTo>
                  <a:pt x="502" y="68"/>
                  <a:pt x="501" y="68"/>
                  <a:pt x="501" y="67"/>
                </a:cubicBezTo>
                <a:cubicBezTo>
                  <a:pt x="500" y="63"/>
                  <a:pt x="499" y="60"/>
                  <a:pt x="499" y="56"/>
                </a:cubicBezTo>
                <a:cubicBezTo>
                  <a:pt x="499" y="55"/>
                  <a:pt x="500" y="53"/>
                  <a:pt x="500" y="51"/>
                </a:cubicBezTo>
                <a:cubicBezTo>
                  <a:pt x="501" y="50"/>
                  <a:pt x="502" y="48"/>
                  <a:pt x="502" y="47"/>
                </a:cubicBezTo>
                <a:cubicBezTo>
                  <a:pt x="503" y="46"/>
                  <a:pt x="503" y="44"/>
                  <a:pt x="504" y="44"/>
                </a:cubicBezTo>
                <a:cubicBezTo>
                  <a:pt x="504" y="43"/>
                  <a:pt x="505" y="43"/>
                  <a:pt x="505" y="43"/>
                </a:cubicBezTo>
                <a:cubicBezTo>
                  <a:pt x="505" y="42"/>
                  <a:pt x="506" y="41"/>
                  <a:pt x="506" y="40"/>
                </a:cubicBezTo>
                <a:cubicBezTo>
                  <a:pt x="506" y="40"/>
                  <a:pt x="506" y="39"/>
                  <a:pt x="505" y="39"/>
                </a:cubicBezTo>
                <a:cubicBezTo>
                  <a:pt x="505" y="40"/>
                  <a:pt x="505" y="40"/>
                  <a:pt x="504" y="40"/>
                </a:cubicBezTo>
                <a:cubicBezTo>
                  <a:pt x="504" y="40"/>
                  <a:pt x="504" y="40"/>
                  <a:pt x="503" y="40"/>
                </a:cubicBezTo>
                <a:cubicBezTo>
                  <a:pt x="503" y="40"/>
                  <a:pt x="502" y="40"/>
                  <a:pt x="502" y="40"/>
                </a:cubicBezTo>
                <a:cubicBezTo>
                  <a:pt x="502" y="40"/>
                  <a:pt x="503" y="39"/>
                  <a:pt x="503" y="39"/>
                </a:cubicBezTo>
                <a:cubicBezTo>
                  <a:pt x="503" y="38"/>
                  <a:pt x="503" y="38"/>
                  <a:pt x="503" y="38"/>
                </a:cubicBezTo>
                <a:cubicBezTo>
                  <a:pt x="503" y="37"/>
                  <a:pt x="503" y="37"/>
                  <a:pt x="502" y="37"/>
                </a:cubicBezTo>
                <a:cubicBezTo>
                  <a:pt x="502" y="37"/>
                  <a:pt x="502" y="37"/>
                  <a:pt x="501" y="37"/>
                </a:cubicBezTo>
                <a:cubicBezTo>
                  <a:pt x="501" y="36"/>
                  <a:pt x="500" y="36"/>
                  <a:pt x="500" y="36"/>
                </a:cubicBezTo>
                <a:cubicBezTo>
                  <a:pt x="499" y="36"/>
                  <a:pt x="499" y="36"/>
                  <a:pt x="498" y="37"/>
                </a:cubicBezTo>
                <a:cubicBezTo>
                  <a:pt x="498" y="37"/>
                  <a:pt x="498" y="37"/>
                  <a:pt x="497" y="37"/>
                </a:cubicBezTo>
                <a:cubicBezTo>
                  <a:pt x="497" y="38"/>
                  <a:pt x="497" y="39"/>
                  <a:pt x="497" y="41"/>
                </a:cubicBezTo>
                <a:cubicBezTo>
                  <a:pt x="497" y="42"/>
                  <a:pt x="496" y="43"/>
                  <a:pt x="496" y="44"/>
                </a:cubicBezTo>
                <a:cubicBezTo>
                  <a:pt x="496" y="45"/>
                  <a:pt x="496" y="46"/>
                  <a:pt x="495" y="47"/>
                </a:cubicBezTo>
                <a:cubicBezTo>
                  <a:pt x="494" y="48"/>
                  <a:pt x="494" y="48"/>
                  <a:pt x="493" y="49"/>
                </a:cubicBezTo>
                <a:cubicBezTo>
                  <a:pt x="493" y="49"/>
                  <a:pt x="493" y="50"/>
                  <a:pt x="492" y="50"/>
                </a:cubicBezTo>
                <a:cubicBezTo>
                  <a:pt x="492" y="50"/>
                  <a:pt x="491" y="50"/>
                  <a:pt x="491" y="50"/>
                </a:cubicBezTo>
                <a:cubicBezTo>
                  <a:pt x="491" y="50"/>
                  <a:pt x="491" y="50"/>
                  <a:pt x="491" y="50"/>
                </a:cubicBezTo>
                <a:cubicBezTo>
                  <a:pt x="492" y="49"/>
                  <a:pt x="493" y="48"/>
                  <a:pt x="493" y="47"/>
                </a:cubicBezTo>
                <a:cubicBezTo>
                  <a:pt x="494" y="46"/>
                  <a:pt x="495" y="45"/>
                  <a:pt x="495" y="44"/>
                </a:cubicBezTo>
                <a:cubicBezTo>
                  <a:pt x="495" y="43"/>
                  <a:pt x="496" y="42"/>
                  <a:pt x="496" y="41"/>
                </a:cubicBezTo>
                <a:cubicBezTo>
                  <a:pt x="496" y="40"/>
                  <a:pt x="495" y="39"/>
                  <a:pt x="496" y="39"/>
                </a:cubicBezTo>
                <a:cubicBezTo>
                  <a:pt x="496" y="38"/>
                  <a:pt x="496" y="38"/>
                  <a:pt x="496" y="38"/>
                </a:cubicBezTo>
                <a:cubicBezTo>
                  <a:pt x="496" y="37"/>
                  <a:pt x="496" y="36"/>
                  <a:pt x="496" y="36"/>
                </a:cubicBezTo>
                <a:cubicBezTo>
                  <a:pt x="496" y="35"/>
                  <a:pt x="496" y="35"/>
                  <a:pt x="496" y="35"/>
                </a:cubicBezTo>
                <a:cubicBezTo>
                  <a:pt x="496" y="35"/>
                  <a:pt x="496" y="35"/>
                  <a:pt x="496" y="35"/>
                </a:cubicBezTo>
                <a:cubicBezTo>
                  <a:pt x="495" y="34"/>
                  <a:pt x="495" y="34"/>
                  <a:pt x="494" y="33"/>
                </a:cubicBezTo>
                <a:cubicBezTo>
                  <a:pt x="492" y="33"/>
                  <a:pt x="489" y="32"/>
                  <a:pt x="487" y="33"/>
                </a:cubicBezTo>
                <a:cubicBezTo>
                  <a:pt x="486" y="33"/>
                  <a:pt x="486" y="33"/>
                  <a:pt x="485" y="32"/>
                </a:cubicBezTo>
                <a:cubicBezTo>
                  <a:pt x="485" y="32"/>
                  <a:pt x="485" y="32"/>
                  <a:pt x="485" y="32"/>
                </a:cubicBezTo>
                <a:cubicBezTo>
                  <a:pt x="485" y="32"/>
                  <a:pt x="485" y="32"/>
                  <a:pt x="484" y="32"/>
                </a:cubicBezTo>
                <a:cubicBezTo>
                  <a:pt x="484" y="33"/>
                  <a:pt x="483" y="33"/>
                  <a:pt x="483" y="34"/>
                </a:cubicBezTo>
                <a:cubicBezTo>
                  <a:pt x="483" y="34"/>
                  <a:pt x="482" y="35"/>
                  <a:pt x="482" y="35"/>
                </a:cubicBezTo>
                <a:cubicBezTo>
                  <a:pt x="481" y="35"/>
                  <a:pt x="481" y="35"/>
                  <a:pt x="480" y="35"/>
                </a:cubicBezTo>
                <a:cubicBezTo>
                  <a:pt x="479" y="36"/>
                  <a:pt x="478" y="37"/>
                  <a:pt x="477" y="37"/>
                </a:cubicBezTo>
                <a:cubicBezTo>
                  <a:pt x="476" y="38"/>
                  <a:pt x="475" y="38"/>
                  <a:pt x="475" y="39"/>
                </a:cubicBezTo>
                <a:cubicBezTo>
                  <a:pt x="474" y="39"/>
                  <a:pt x="474" y="40"/>
                  <a:pt x="474" y="40"/>
                </a:cubicBezTo>
                <a:cubicBezTo>
                  <a:pt x="474" y="41"/>
                  <a:pt x="474" y="41"/>
                  <a:pt x="473" y="42"/>
                </a:cubicBezTo>
                <a:cubicBezTo>
                  <a:pt x="473" y="42"/>
                  <a:pt x="472" y="42"/>
                  <a:pt x="472" y="41"/>
                </a:cubicBezTo>
                <a:cubicBezTo>
                  <a:pt x="472" y="41"/>
                  <a:pt x="472" y="40"/>
                  <a:pt x="472" y="40"/>
                </a:cubicBezTo>
                <a:cubicBezTo>
                  <a:pt x="472" y="40"/>
                  <a:pt x="473" y="39"/>
                  <a:pt x="473" y="39"/>
                </a:cubicBezTo>
                <a:cubicBezTo>
                  <a:pt x="473" y="38"/>
                  <a:pt x="473" y="38"/>
                  <a:pt x="473" y="37"/>
                </a:cubicBezTo>
                <a:cubicBezTo>
                  <a:pt x="473" y="37"/>
                  <a:pt x="474" y="36"/>
                  <a:pt x="474" y="36"/>
                </a:cubicBezTo>
                <a:cubicBezTo>
                  <a:pt x="475" y="35"/>
                  <a:pt x="474" y="34"/>
                  <a:pt x="474" y="34"/>
                </a:cubicBezTo>
                <a:cubicBezTo>
                  <a:pt x="475" y="34"/>
                  <a:pt x="475" y="34"/>
                  <a:pt x="476" y="33"/>
                </a:cubicBezTo>
                <a:cubicBezTo>
                  <a:pt x="476" y="33"/>
                  <a:pt x="476" y="33"/>
                  <a:pt x="475" y="32"/>
                </a:cubicBezTo>
                <a:cubicBezTo>
                  <a:pt x="475" y="32"/>
                  <a:pt x="475" y="32"/>
                  <a:pt x="475" y="32"/>
                </a:cubicBezTo>
                <a:cubicBezTo>
                  <a:pt x="474" y="33"/>
                  <a:pt x="474" y="33"/>
                  <a:pt x="473" y="33"/>
                </a:cubicBezTo>
                <a:cubicBezTo>
                  <a:pt x="473" y="34"/>
                  <a:pt x="472" y="34"/>
                  <a:pt x="472" y="34"/>
                </a:cubicBezTo>
                <a:cubicBezTo>
                  <a:pt x="471" y="34"/>
                  <a:pt x="470" y="35"/>
                  <a:pt x="470" y="36"/>
                </a:cubicBezTo>
                <a:cubicBezTo>
                  <a:pt x="470" y="36"/>
                  <a:pt x="470" y="36"/>
                  <a:pt x="470" y="37"/>
                </a:cubicBezTo>
                <a:cubicBezTo>
                  <a:pt x="469" y="37"/>
                  <a:pt x="469" y="37"/>
                  <a:pt x="468" y="37"/>
                </a:cubicBezTo>
                <a:cubicBezTo>
                  <a:pt x="468" y="37"/>
                  <a:pt x="468" y="37"/>
                  <a:pt x="468" y="37"/>
                </a:cubicBezTo>
                <a:cubicBezTo>
                  <a:pt x="468" y="37"/>
                  <a:pt x="467" y="37"/>
                  <a:pt x="467" y="37"/>
                </a:cubicBezTo>
                <a:cubicBezTo>
                  <a:pt x="466" y="36"/>
                  <a:pt x="466" y="36"/>
                  <a:pt x="465" y="36"/>
                </a:cubicBezTo>
                <a:cubicBezTo>
                  <a:pt x="464" y="35"/>
                  <a:pt x="463" y="35"/>
                  <a:pt x="462" y="35"/>
                </a:cubicBezTo>
                <a:cubicBezTo>
                  <a:pt x="461" y="35"/>
                  <a:pt x="460" y="35"/>
                  <a:pt x="458" y="35"/>
                </a:cubicBezTo>
                <a:cubicBezTo>
                  <a:pt x="458" y="34"/>
                  <a:pt x="459" y="34"/>
                  <a:pt x="459" y="34"/>
                </a:cubicBezTo>
                <a:cubicBezTo>
                  <a:pt x="460" y="33"/>
                  <a:pt x="461" y="32"/>
                  <a:pt x="460" y="31"/>
                </a:cubicBezTo>
                <a:cubicBezTo>
                  <a:pt x="460" y="30"/>
                  <a:pt x="459" y="30"/>
                  <a:pt x="458" y="30"/>
                </a:cubicBezTo>
                <a:cubicBezTo>
                  <a:pt x="457" y="30"/>
                  <a:pt x="456" y="31"/>
                  <a:pt x="455" y="31"/>
                </a:cubicBezTo>
                <a:cubicBezTo>
                  <a:pt x="453" y="31"/>
                  <a:pt x="452" y="31"/>
                  <a:pt x="450" y="30"/>
                </a:cubicBezTo>
                <a:cubicBezTo>
                  <a:pt x="451" y="30"/>
                  <a:pt x="452" y="30"/>
                  <a:pt x="453" y="30"/>
                </a:cubicBezTo>
                <a:cubicBezTo>
                  <a:pt x="454" y="30"/>
                  <a:pt x="454" y="30"/>
                  <a:pt x="455" y="30"/>
                </a:cubicBezTo>
                <a:cubicBezTo>
                  <a:pt x="456" y="30"/>
                  <a:pt x="456" y="30"/>
                  <a:pt x="456" y="29"/>
                </a:cubicBezTo>
                <a:cubicBezTo>
                  <a:pt x="455" y="29"/>
                  <a:pt x="455" y="29"/>
                  <a:pt x="454" y="29"/>
                </a:cubicBezTo>
                <a:cubicBezTo>
                  <a:pt x="454" y="28"/>
                  <a:pt x="454" y="28"/>
                  <a:pt x="453" y="28"/>
                </a:cubicBezTo>
                <a:cubicBezTo>
                  <a:pt x="452" y="28"/>
                  <a:pt x="451" y="27"/>
                  <a:pt x="451" y="26"/>
                </a:cubicBezTo>
                <a:cubicBezTo>
                  <a:pt x="451" y="26"/>
                  <a:pt x="452" y="25"/>
                  <a:pt x="452" y="24"/>
                </a:cubicBezTo>
                <a:cubicBezTo>
                  <a:pt x="453" y="23"/>
                  <a:pt x="453" y="22"/>
                  <a:pt x="454" y="21"/>
                </a:cubicBezTo>
                <a:cubicBezTo>
                  <a:pt x="454" y="21"/>
                  <a:pt x="455" y="20"/>
                  <a:pt x="454" y="20"/>
                </a:cubicBezTo>
                <a:cubicBezTo>
                  <a:pt x="454" y="20"/>
                  <a:pt x="454" y="20"/>
                  <a:pt x="454" y="20"/>
                </a:cubicBezTo>
                <a:cubicBezTo>
                  <a:pt x="452" y="19"/>
                  <a:pt x="450" y="18"/>
                  <a:pt x="448" y="18"/>
                </a:cubicBezTo>
                <a:cubicBezTo>
                  <a:pt x="449" y="18"/>
                  <a:pt x="449" y="19"/>
                  <a:pt x="448" y="20"/>
                </a:cubicBezTo>
                <a:cubicBezTo>
                  <a:pt x="448" y="20"/>
                  <a:pt x="447" y="19"/>
                  <a:pt x="448" y="18"/>
                </a:cubicBezTo>
                <a:cubicBezTo>
                  <a:pt x="447" y="19"/>
                  <a:pt x="446" y="18"/>
                  <a:pt x="445" y="17"/>
                </a:cubicBezTo>
                <a:cubicBezTo>
                  <a:pt x="444" y="16"/>
                  <a:pt x="443" y="16"/>
                  <a:pt x="441" y="16"/>
                </a:cubicBezTo>
                <a:cubicBezTo>
                  <a:pt x="441" y="16"/>
                  <a:pt x="440" y="17"/>
                  <a:pt x="439" y="17"/>
                </a:cubicBezTo>
                <a:cubicBezTo>
                  <a:pt x="437" y="18"/>
                  <a:pt x="434" y="17"/>
                  <a:pt x="432" y="18"/>
                </a:cubicBezTo>
                <a:cubicBezTo>
                  <a:pt x="433" y="19"/>
                  <a:pt x="432" y="20"/>
                  <a:pt x="431" y="21"/>
                </a:cubicBezTo>
                <a:cubicBezTo>
                  <a:pt x="430" y="21"/>
                  <a:pt x="430" y="21"/>
                  <a:pt x="430" y="22"/>
                </a:cubicBezTo>
                <a:cubicBezTo>
                  <a:pt x="429" y="22"/>
                  <a:pt x="429" y="22"/>
                  <a:pt x="429" y="22"/>
                </a:cubicBezTo>
                <a:cubicBezTo>
                  <a:pt x="429" y="22"/>
                  <a:pt x="429" y="22"/>
                  <a:pt x="429" y="22"/>
                </a:cubicBezTo>
                <a:cubicBezTo>
                  <a:pt x="429" y="21"/>
                  <a:pt x="428" y="21"/>
                  <a:pt x="427" y="22"/>
                </a:cubicBezTo>
                <a:cubicBezTo>
                  <a:pt x="427" y="22"/>
                  <a:pt x="427" y="23"/>
                  <a:pt x="426" y="24"/>
                </a:cubicBezTo>
                <a:cubicBezTo>
                  <a:pt x="426" y="24"/>
                  <a:pt x="425" y="24"/>
                  <a:pt x="425" y="24"/>
                </a:cubicBezTo>
                <a:cubicBezTo>
                  <a:pt x="424" y="24"/>
                  <a:pt x="424" y="23"/>
                  <a:pt x="425" y="23"/>
                </a:cubicBezTo>
                <a:cubicBezTo>
                  <a:pt x="424" y="23"/>
                  <a:pt x="424" y="23"/>
                  <a:pt x="423" y="22"/>
                </a:cubicBezTo>
                <a:cubicBezTo>
                  <a:pt x="423" y="22"/>
                  <a:pt x="424" y="22"/>
                  <a:pt x="424" y="21"/>
                </a:cubicBezTo>
                <a:cubicBezTo>
                  <a:pt x="424" y="21"/>
                  <a:pt x="425" y="21"/>
                  <a:pt x="424" y="20"/>
                </a:cubicBezTo>
                <a:cubicBezTo>
                  <a:pt x="424" y="20"/>
                  <a:pt x="424" y="20"/>
                  <a:pt x="424" y="20"/>
                </a:cubicBezTo>
                <a:cubicBezTo>
                  <a:pt x="423" y="19"/>
                  <a:pt x="423" y="18"/>
                  <a:pt x="424" y="18"/>
                </a:cubicBezTo>
                <a:cubicBezTo>
                  <a:pt x="423" y="18"/>
                  <a:pt x="423" y="18"/>
                  <a:pt x="423" y="17"/>
                </a:cubicBezTo>
                <a:cubicBezTo>
                  <a:pt x="423" y="17"/>
                  <a:pt x="424" y="16"/>
                  <a:pt x="424" y="15"/>
                </a:cubicBezTo>
                <a:cubicBezTo>
                  <a:pt x="424" y="14"/>
                  <a:pt x="424" y="12"/>
                  <a:pt x="423" y="12"/>
                </a:cubicBezTo>
                <a:cubicBezTo>
                  <a:pt x="423" y="12"/>
                  <a:pt x="423" y="12"/>
                  <a:pt x="423" y="11"/>
                </a:cubicBezTo>
                <a:cubicBezTo>
                  <a:pt x="422" y="11"/>
                  <a:pt x="422" y="11"/>
                  <a:pt x="422" y="11"/>
                </a:cubicBezTo>
                <a:cubicBezTo>
                  <a:pt x="422" y="10"/>
                  <a:pt x="421" y="10"/>
                  <a:pt x="420" y="9"/>
                </a:cubicBezTo>
                <a:cubicBezTo>
                  <a:pt x="419" y="9"/>
                  <a:pt x="418" y="8"/>
                  <a:pt x="418" y="8"/>
                </a:cubicBezTo>
                <a:cubicBezTo>
                  <a:pt x="418" y="7"/>
                  <a:pt x="417" y="8"/>
                  <a:pt x="418" y="8"/>
                </a:cubicBezTo>
                <a:cubicBezTo>
                  <a:pt x="418" y="9"/>
                  <a:pt x="418" y="9"/>
                  <a:pt x="418" y="9"/>
                </a:cubicBezTo>
                <a:cubicBezTo>
                  <a:pt x="419" y="10"/>
                  <a:pt x="419" y="10"/>
                  <a:pt x="418" y="11"/>
                </a:cubicBezTo>
                <a:cubicBezTo>
                  <a:pt x="418" y="11"/>
                  <a:pt x="417" y="10"/>
                  <a:pt x="417" y="10"/>
                </a:cubicBezTo>
                <a:cubicBezTo>
                  <a:pt x="417" y="9"/>
                  <a:pt x="416" y="9"/>
                  <a:pt x="416" y="9"/>
                </a:cubicBezTo>
                <a:cubicBezTo>
                  <a:pt x="416" y="9"/>
                  <a:pt x="415" y="9"/>
                  <a:pt x="415" y="10"/>
                </a:cubicBezTo>
                <a:cubicBezTo>
                  <a:pt x="416" y="10"/>
                  <a:pt x="416" y="10"/>
                  <a:pt x="416" y="11"/>
                </a:cubicBezTo>
                <a:cubicBezTo>
                  <a:pt x="416" y="11"/>
                  <a:pt x="417" y="12"/>
                  <a:pt x="417" y="12"/>
                </a:cubicBezTo>
                <a:cubicBezTo>
                  <a:pt x="417" y="13"/>
                  <a:pt x="416" y="14"/>
                  <a:pt x="415" y="14"/>
                </a:cubicBezTo>
                <a:cubicBezTo>
                  <a:pt x="416" y="13"/>
                  <a:pt x="415" y="13"/>
                  <a:pt x="415" y="12"/>
                </a:cubicBezTo>
                <a:cubicBezTo>
                  <a:pt x="414" y="13"/>
                  <a:pt x="413" y="14"/>
                  <a:pt x="413" y="16"/>
                </a:cubicBezTo>
                <a:cubicBezTo>
                  <a:pt x="412" y="17"/>
                  <a:pt x="412" y="17"/>
                  <a:pt x="412" y="18"/>
                </a:cubicBezTo>
                <a:cubicBezTo>
                  <a:pt x="412" y="19"/>
                  <a:pt x="411" y="19"/>
                  <a:pt x="411" y="20"/>
                </a:cubicBezTo>
                <a:cubicBezTo>
                  <a:pt x="410" y="20"/>
                  <a:pt x="410" y="20"/>
                  <a:pt x="409" y="19"/>
                </a:cubicBezTo>
                <a:cubicBezTo>
                  <a:pt x="408" y="19"/>
                  <a:pt x="408" y="20"/>
                  <a:pt x="407" y="20"/>
                </a:cubicBezTo>
                <a:cubicBezTo>
                  <a:pt x="407" y="20"/>
                  <a:pt x="406" y="21"/>
                  <a:pt x="406" y="20"/>
                </a:cubicBezTo>
                <a:cubicBezTo>
                  <a:pt x="406" y="20"/>
                  <a:pt x="406" y="20"/>
                  <a:pt x="406" y="20"/>
                </a:cubicBezTo>
                <a:cubicBezTo>
                  <a:pt x="406" y="19"/>
                  <a:pt x="407" y="19"/>
                  <a:pt x="407" y="19"/>
                </a:cubicBezTo>
                <a:cubicBezTo>
                  <a:pt x="406" y="19"/>
                  <a:pt x="406" y="19"/>
                  <a:pt x="406" y="19"/>
                </a:cubicBezTo>
                <a:cubicBezTo>
                  <a:pt x="405" y="19"/>
                  <a:pt x="404" y="19"/>
                  <a:pt x="404" y="18"/>
                </a:cubicBezTo>
                <a:cubicBezTo>
                  <a:pt x="404" y="18"/>
                  <a:pt x="404" y="18"/>
                  <a:pt x="404" y="18"/>
                </a:cubicBezTo>
                <a:cubicBezTo>
                  <a:pt x="404" y="18"/>
                  <a:pt x="404" y="18"/>
                  <a:pt x="404" y="18"/>
                </a:cubicBezTo>
                <a:cubicBezTo>
                  <a:pt x="404" y="18"/>
                  <a:pt x="404" y="18"/>
                  <a:pt x="405" y="18"/>
                </a:cubicBezTo>
                <a:cubicBezTo>
                  <a:pt x="405" y="18"/>
                  <a:pt x="406" y="18"/>
                  <a:pt x="406" y="17"/>
                </a:cubicBezTo>
                <a:cubicBezTo>
                  <a:pt x="406" y="17"/>
                  <a:pt x="406" y="17"/>
                  <a:pt x="406" y="17"/>
                </a:cubicBezTo>
                <a:cubicBezTo>
                  <a:pt x="406" y="17"/>
                  <a:pt x="406" y="17"/>
                  <a:pt x="406" y="17"/>
                </a:cubicBezTo>
                <a:cubicBezTo>
                  <a:pt x="406" y="16"/>
                  <a:pt x="405" y="17"/>
                  <a:pt x="405" y="17"/>
                </a:cubicBezTo>
                <a:cubicBezTo>
                  <a:pt x="405" y="17"/>
                  <a:pt x="404" y="16"/>
                  <a:pt x="404" y="16"/>
                </a:cubicBezTo>
                <a:cubicBezTo>
                  <a:pt x="404" y="16"/>
                  <a:pt x="404" y="16"/>
                  <a:pt x="404" y="16"/>
                </a:cubicBezTo>
                <a:cubicBezTo>
                  <a:pt x="405" y="16"/>
                  <a:pt x="405" y="16"/>
                  <a:pt x="405" y="16"/>
                </a:cubicBezTo>
                <a:cubicBezTo>
                  <a:pt x="406" y="16"/>
                  <a:pt x="406" y="15"/>
                  <a:pt x="406" y="15"/>
                </a:cubicBezTo>
                <a:cubicBezTo>
                  <a:pt x="406" y="15"/>
                  <a:pt x="407" y="15"/>
                  <a:pt x="408" y="14"/>
                </a:cubicBezTo>
                <a:cubicBezTo>
                  <a:pt x="408" y="14"/>
                  <a:pt x="409" y="14"/>
                  <a:pt x="409" y="14"/>
                </a:cubicBezTo>
                <a:cubicBezTo>
                  <a:pt x="409" y="13"/>
                  <a:pt x="409" y="13"/>
                  <a:pt x="409" y="13"/>
                </a:cubicBezTo>
                <a:cubicBezTo>
                  <a:pt x="410" y="12"/>
                  <a:pt x="410" y="12"/>
                  <a:pt x="410" y="12"/>
                </a:cubicBezTo>
                <a:cubicBezTo>
                  <a:pt x="410" y="12"/>
                  <a:pt x="411" y="11"/>
                  <a:pt x="411" y="11"/>
                </a:cubicBezTo>
                <a:cubicBezTo>
                  <a:pt x="411" y="10"/>
                  <a:pt x="412" y="10"/>
                  <a:pt x="412" y="10"/>
                </a:cubicBezTo>
                <a:cubicBezTo>
                  <a:pt x="412" y="10"/>
                  <a:pt x="412" y="10"/>
                  <a:pt x="412" y="9"/>
                </a:cubicBezTo>
                <a:cubicBezTo>
                  <a:pt x="412" y="9"/>
                  <a:pt x="412" y="9"/>
                  <a:pt x="412" y="9"/>
                </a:cubicBezTo>
                <a:cubicBezTo>
                  <a:pt x="412" y="9"/>
                  <a:pt x="411" y="8"/>
                  <a:pt x="411" y="7"/>
                </a:cubicBezTo>
                <a:cubicBezTo>
                  <a:pt x="411" y="7"/>
                  <a:pt x="411" y="7"/>
                  <a:pt x="411" y="7"/>
                </a:cubicBezTo>
                <a:cubicBezTo>
                  <a:pt x="411" y="6"/>
                  <a:pt x="411" y="6"/>
                  <a:pt x="411" y="6"/>
                </a:cubicBezTo>
                <a:cubicBezTo>
                  <a:pt x="410" y="6"/>
                  <a:pt x="410" y="6"/>
                  <a:pt x="410" y="6"/>
                </a:cubicBezTo>
                <a:cubicBezTo>
                  <a:pt x="409" y="5"/>
                  <a:pt x="408" y="5"/>
                  <a:pt x="407" y="5"/>
                </a:cubicBezTo>
                <a:cubicBezTo>
                  <a:pt x="407" y="5"/>
                  <a:pt x="407" y="5"/>
                  <a:pt x="406" y="6"/>
                </a:cubicBezTo>
                <a:cubicBezTo>
                  <a:pt x="406" y="6"/>
                  <a:pt x="405" y="6"/>
                  <a:pt x="405" y="6"/>
                </a:cubicBezTo>
                <a:cubicBezTo>
                  <a:pt x="405" y="5"/>
                  <a:pt x="405" y="5"/>
                  <a:pt x="405" y="5"/>
                </a:cubicBezTo>
                <a:cubicBezTo>
                  <a:pt x="406" y="5"/>
                  <a:pt x="405" y="4"/>
                  <a:pt x="405" y="4"/>
                </a:cubicBezTo>
                <a:cubicBezTo>
                  <a:pt x="405" y="4"/>
                  <a:pt x="404" y="3"/>
                  <a:pt x="404" y="3"/>
                </a:cubicBezTo>
                <a:cubicBezTo>
                  <a:pt x="404" y="3"/>
                  <a:pt x="404" y="3"/>
                  <a:pt x="404" y="3"/>
                </a:cubicBezTo>
                <a:cubicBezTo>
                  <a:pt x="403" y="2"/>
                  <a:pt x="403" y="2"/>
                  <a:pt x="403" y="2"/>
                </a:cubicBezTo>
                <a:cubicBezTo>
                  <a:pt x="402" y="2"/>
                  <a:pt x="401" y="2"/>
                  <a:pt x="400" y="2"/>
                </a:cubicBezTo>
                <a:cubicBezTo>
                  <a:pt x="399" y="2"/>
                  <a:pt x="399" y="1"/>
                  <a:pt x="398" y="1"/>
                </a:cubicBezTo>
                <a:cubicBezTo>
                  <a:pt x="398" y="1"/>
                  <a:pt x="397" y="0"/>
                  <a:pt x="398" y="0"/>
                </a:cubicBezTo>
                <a:cubicBezTo>
                  <a:pt x="394" y="3"/>
                  <a:pt x="393" y="7"/>
                  <a:pt x="390" y="11"/>
                </a:cubicBezTo>
                <a:cubicBezTo>
                  <a:pt x="388" y="14"/>
                  <a:pt x="385" y="18"/>
                  <a:pt x="380" y="19"/>
                </a:cubicBezTo>
                <a:cubicBezTo>
                  <a:pt x="379" y="19"/>
                  <a:pt x="378" y="19"/>
                  <a:pt x="376" y="20"/>
                </a:cubicBezTo>
                <a:cubicBezTo>
                  <a:pt x="376" y="20"/>
                  <a:pt x="375" y="21"/>
                  <a:pt x="375" y="21"/>
                </a:cubicBezTo>
                <a:cubicBezTo>
                  <a:pt x="375" y="21"/>
                  <a:pt x="374" y="21"/>
                  <a:pt x="374" y="21"/>
                </a:cubicBezTo>
                <a:cubicBezTo>
                  <a:pt x="373" y="20"/>
                  <a:pt x="372" y="22"/>
                  <a:pt x="371" y="22"/>
                </a:cubicBezTo>
                <a:cubicBezTo>
                  <a:pt x="370" y="22"/>
                  <a:pt x="369" y="21"/>
                  <a:pt x="368" y="21"/>
                </a:cubicBezTo>
                <a:cubicBezTo>
                  <a:pt x="368" y="21"/>
                  <a:pt x="368" y="22"/>
                  <a:pt x="367" y="22"/>
                </a:cubicBezTo>
                <a:cubicBezTo>
                  <a:pt x="367" y="22"/>
                  <a:pt x="366" y="22"/>
                  <a:pt x="366" y="22"/>
                </a:cubicBezTo>
                <a:cubicBezTo>
                  <a:pt x="365" y="22"/>
                  <a:pt x="364" y="22"/>
                  <a:pt x="364" y="23"/>
                </a:cubicBezTo>
                <a:cubicBezTo>
                  <a:pt x="364" y="23"/>
                  <a:pt x="364" y="24"/>
                  <a:pt x="365" y="24"/>
                </a:cubicBezTo>
                <a:cubicBezTo>
                  <a:pt x="365" y="25"/>
                  <a:pt x="365" y="25"/>
                  <a:pt x="365" y="26"/>
                </a:cubicBezTo>
                <a:cubicBezTo>
                  <a:pt x="364" y="25"/>
                  <a:pt x="363" y="24"/>
                  <a:pt x="363" y="23"/>
                </a:cubicBezTo>
                <a:cubicBezTo>
                  <a:pt x="363" y="22"/>
                  <a:pt x="363" y="21"/>
                  <a:pt x="362" y="21"/>
                </a:cubicBezTo>
                <a:cubicBezTo>
                  <a:pt x="364" y="21"/>
                  <a:pt x="365" y="20"/>
                  <a:pt x="365" y="19"/>
                </a:cubicBezTo>
                <a:cubicBezTo>
                  <a:pt x="364" y="19"/>
                  <a:pt x="362" y="19"/>
                  <a:pt x="360" y="20"/>
                </a:cubicBezTo>
                <a:cubicBezTo>
                  <a:pt x="359" y="21"/>
                  <a:pt x="358" y="23"/>
                  <a:pt x="356" y="24"/>
                </a:cubicBezTo>
                <a:cubicBezTo>
                  <a:pt x="356" y="24"/>
                  <a:pt x="355" y="25"/>
                  <a:pt x="355" y="26"/>
                </a:cubicBezTo>
                <a:cubicBezTo>
                  <a:pt x="354" y="26"/>
                  <a:pt x="354" y="26"/>
                  <a:pt x="354" y="27"/>
                </a:cubicBezTo>
                <a:cubicBezTo>
                  <a:pt x="354" y="27"/>
                  <a:pt x="354" y="28"/>
                  <a:pt x="354" y="28"/>
                </a:cubicBezTo>
                <a:cubicBezTo>
                  <a:pt x="354" y="28"/>
                  <a:pt x="355" y="28"/>
                  <a:pt x="356" y="29"/>
                </a:cubicBezTo>
                <a:cubicBezTo>
                  <a:pt x="356" y="30"/>
                  <a:pt x="356" y="31"/>
                  <a:pt x="357" y="32"/>
                </a:cubicBezTo>
                <a:cubicBezTo>
                  <a:pt x="357" y="32"/>
                  <a:pt x="358" y="33"/>
                  <a:pt x="359" y="33"/>
                </a:cubicBezTo>
                <a:cubicBezTo>
                  <a:pt x="359" y="33"/>
                  <a:pt x="360" y="33"/>
                  <a:pt x="360" y="32"/>
                </a:cubicBezTo>
                <a:cubicBezTo>
                  <a:pt x="361" y="32"/>
                  <a:pt x="362" y="32"/>
                  <a:pt x="364" y="32"/>
                </a:cubicBezTo>
                <a:cubicBezTo>
                  <a:pt x="363" y="33"/>
                  <a:pt x="362" y="33"/>
                  <a:pt x="361" y="33"/>
                </a:cubicBezTo>
                <a:cubicBezTo>
                  <a:pt x="360" y="33"/>
                  <a:pt x="360" y="33"/>
                  <a:pt x="359" y="34"/>
                </a:cubicBezTo>
                <a:cubicBezTo>
                  <a:pt x="359" y="34"/>
                  <a:pt x="358" y="34"/>
                  <a:pt x="357" y="34"/>
                </a:cubicBezTo>
                <a:cubicBezTo>
                  <a:pt x="357" y="34"/>
                  <a:pt x="356" y="35"/>
                  <a:pt x="356" y="36"/>
                </a:cubicBezTo>
                <a:cubicBezTo>
                  <a:pt x="356" y="37"/>
                  <a:pt x="356" y="38"/>
                  <a:pt x="356" y="39"/>
                </a:cubicBezTo>
                <a:cubicBezTo>
                  <a:pt x="357" y="40"/>
                  <a:pt x="357" y="41"/>
                  <a:pt x="356" y="42"/>
                </a:cubicBezTo>
                <a:cubicBezTo>
                  <a:pt x="355" y="41"/>
                  <a:pt x="355" y="39"/>
                  <a:pt x="355" y="37"/>
                </a:cubicBezTo>
                <a:cubicBezTo>
                  <a:pt x="354" y="38"/>
                  <a:pt x="353" y="39"/>
                  <a:pt x="352" y="39"/>
                </a:cubicBezTo>
                <a:cubicBezTo>
                  <a:pt x="354" y="37"/>
                  <a:pt x="355" y="35"/>
                  <a:pt x="355" y="33"/>
                </a:cubicBezTo>
                <a:cubicBezTo>
                  <a:pt x="355" y="33"/>
                  <a:pt x="354" y="34"/>
                  <a:pt x="353" y="33"/>
                </a:cubicBezTo>
                <a:cubicBezTo>
                  <a:pt x="354" y="33"/>
                  <a:pt x="354" y="33"/>
                  <a:pt x="355" y="32"/>
                </a:cubicBezTo>
                <a:cubicBezTo>
                  <a:pt x="356" y="31"/>
                  <a:pt x="356" y="30"/>
                  <a:pt x="355" y="30"/>
                </a:cubicBezTo>
                <a:cubicBezTo>
                  <a:pt x="354" y="30"/>
                  <a:pt x="354" y="30"/>
                  <a:pt x="354" y="30"/>
                </a:cubicBezTo>
                <a:cubicBezTo>
                  <a:pt x="353" y="30"/>
                  <a:pt x="353" y="30"/>
                  <a:pt x="352" y="30"/>
                </a:cubicBezTo>
                <a:cubicBezTo>
                  <a:pt x="352" y="30"/>
                  <a:pt x="352" y="30"/>
                  <a:pt x="351" y="30"/>
                </a:cubicBezTo>
                <a:cubicBezTo>
                  <a:pt x="349" y="32"/>
                  <a:pt x="347" y="36"/>
                  <a:pt x="345" y="38"/>
                </a:cubicBezTo>
                <a:cubicBezTo>
                  <a:pt x="343" y="39"/>
                  <a:pt x="342" y="39"/>
                  <a:pt x="340" y="40"/>
                </a:cubicBezTo>
                <a:cubicBezTo>
                  <a:pt x="339" y="41"/>
                  <a:pt x="338" y="42"/>
                  <a:pt x="336" y="43"/>
                </a:cubicBezTo>
                <a:cubicBezTo>
                  <a:pt x="335" y="43"/>
                  <a:pt x="333" y="42"/>
                  <a:pt x="333" y="43"/>
                </a:cubicBezTo>
                <a:cubicBezTo>
                  <a:pt x="332" y="44"/>
                  <a:pt x="332" y="45"/>
                  <a:pt x="331" y="44"/>
                </a:cubicBezTo>
                <a:cubicBezTo>
                  <a:pt x="330" y="44"/>
                  <a:pt x="330" y="44"/>
                  <a:pt x="330" y="43"/>
                </a:cubicBezTo>
                <a:cubicBezTo>
                  <a:pt x="331" y="43"/>
                  <a:pt x="331" y="42"/>
                  <a:pt x="332" y="42"/>
                </a:cubicBezTo>
                <a:cubicBezTo>
                  <a:pt x="332" y="42"/>
                  <a:pt x="332" y="42"/>
                  <a:pt x="332" y="42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2" y="42"/>
                  <a:pt x="330" y="41"/>
                  <a:pt x="330" y="40"/>
                </a:cubicBezTo>
                <a:cubicBezTo>
                  <a:pt x="329" y="43"/>
                  <a:pt x="327" y="45"/>
                  <a:pt x="325" y="46"/>
                </a:cubicBezTo>
                <a:cubicBezTo>
                  <a:pt x="325" y="47"/>
                  <a:pt x="324" y="48"/>
                  <a:pt x="324" y="49"/>
                </a:cubicBezTo>
                <a:cubicBezTo>
                  <a:pt x="324" y="49"/>
                  <a:pt x="325" y="49"/>
                  <a:pt x="325" y="50"/>
                </a:cubicBezTo>
                <a:cubicBezTo>
                  <a:pt x="327" y="51"/>
                  <a:pt x="328" y="52"/>
                  <a:pt x="329" y="54"/>
                </a:cubicBezTo>
                <a:cubicBezTo>
                  <a:pt x="327" y="53"/>
                  <a:pt x="326" y="51"/>
                  <a:pt x="324" y="50"/>
                </a:cubicBezTo>
                <a:cubicBezTo>
                  <a:pt x="324" y="50"/>
                  <a:pt x="324" y="50"/>
                  <a:pt x="324" y="50"/>
                </a:cubicBezTo>
                <a:cubicBezTo>
                  <a:pt x="323" y="50"/>
                  <a:pt x="323" y="50"/>
                  <a:pt x="323" y="50"/>
                </a:cubicBezTo>
                <a:cubicBezTo>
                  <a:pt x="323" y="52"/>
                  <a:pt x="321" y="54"/>
                  <a:pt x="320" y="56"/>
                </a:cubicBezTo>
                <a:cubicBezTo>
                  <a:pt x="320" y="56"/>
                  <a:pt x="320" y="56"/>
                  <a:pt x="319" y="57"/>
                </a:cubicBezTo>
                <a:cubicBezTo>
                  <a:pt x="319" y="57"/>
                  <a:pt x="319" y="58"/>
                  <a:pt x="318" y="58"/>
                </a:cubicBezTo>
                <a:cubicBezTo>
                  <a:pt x="318" y="59"/>
                  <a:pt x="317" y="60"/>
                  <a:pt x="316" y="60"/>
                </a:cubicBezTo>
                <a:cubicBezTo>
                  <a:pt x="316" y="61"/>
                  <a:pt x="316" y="61"/>
                  <a:pt x="315" y="61"/>
                </a:cubicBezTo>
                <a:cubicBezTo>
                  <a:pt x="315" y="61"/>
                  <a:pt x="315" y="61"/>
                  <a:pt x="316" y="62"/>
                </a:cubicBezTo>
                <a:cubicBezTo>
                  <a:pt x="316" y="62"/>
                  <a:pt x="316" y="62"/>
                  <a:pt x="316" y="62"/>
                </a:cubicBezTo>
                <a:cubicBezTo>
                  <a:pt x="316" y="62"/>
                  <a:pt x="316" y="62"/>
                  <a:pt x="317" y="63"/>
                </a:cubicBezTo>
                <a:cubicBezTo>
                  <a:pt x="317" y="63"/>
                  <a:pt x="316" y="64"/>
                  <a:pt x="316" y="64"/>
                </a:cubicBezTo>
                <a:cubicBezTo>
                  <a:pt x="316" y="64"/>
                  <a:pt x="316" y="64"/>
                  <a:pt x="316" y="64"/>
                </a:cubicBezTo>
                <a:cubicBezTo>
                  <a:pt x="316" y="64"/>
                  <a:pt x="316" y="64"/>
                  <a:pt x="316" y="64"/>
                </a:cubicBezTo>
                <a:cubicBezTo>
                  <a:pt x="316" y="64"/>
                  <a:pt x="316" y="64"/>
                  <a:pt x="316" y="65"/>
                </a:cubicBezTo>
                <a:cubicBezTo>
                  <a:pt x="316" y="65"/>
                  <a:pt x="316" y="65"/>
                  <a:pt x="316" y="65"/>
                </a:cubicBezTo>
                <a:cubicBezTo>
                  <a:pt x="316" y="65"/>
                  <a:pt x="315" y="65"/>
                  <a:pt x="315" y="65"/>
                </a:cubicBezTo>
                <a:cubicBezTo>
                  <a:pt x="315" y="65"/>
                  <a:pt x="315" y="65"/>
                  <a:pt x="315" y="66"/>
                </a:cubicBezTo>
                <a:cubicBezTo>
                  <a:pt x="315" y="66"/>
                  <a:pt x="315" y="66"/>
                  <a:pt x="315" y="67"/>
                </a:cubicBezTo>
                <a:cubicBezTo>
                  <a:pt x="315" y="67"/>
                  <a:pt x="315" y="67"/>
                  <a:pt x="315" y="67"/>
                </a:cubicBezTo>
                <a:cubicBezTo>
                  <a:pt x="315" y="67"/>
                  <a:pt x="315" y="67"/>
                  <a:pt x="315" y="68"/>
                </a:cubicBezTo>
                <a:cubicBezTo>
                  <a:pt x="316" y="68"/>
                  <a:pt x="315" y="69"/>
                  <a:pt x="315" y="69"/>
                </a:cubicBezTo>
                <a:cubicBezTo>
                  <a:pt x="316" y="70"/>
                  <a:pt x="316" y="70"/>
                  <a:pt x="316" y="70"/>
                </a:cubicBezTo>
                <a:cubicBezTo>
                  <a:pt x="315" y="70"/>
                  <a:pt x="315" y="70"/>
                  <a:pt x="315" y="71"/>
                </a:cubicBezTo>
                <a:cubicBezTo>
                  <a:pt x="315" y="71"/>
                  <a:pt x="315" y="71"/>
                  <a:pt x="315" y="71"/>
                </a:cubicBezTo>
                <a:cubicBezTo>
                  <a:pt x="315" y="71"/>
                  <a:pt x="315" y="71"/>
                  <a:pt x="315" y="71"/>
                </a:cubicBezTo>
                <a:cubicBezTo>
                  <a:pt x="315" y="71"/>
                  <a:pt x="315" y="71"/>
                  <a:pt x="315" y="71"/>
                </a:cubicBezTo>
                <a:cubicBezTo>
                  <a:pt x="315" y="71"/>
                  <a:pt x="315" y="72"/>
                  <a:pt x="315" y="72"/>
                </a:cubicBezTo>
                <a:cubicBezTo>
                  <a:pt x="315" y="73"/>
                  <a:pt x="314" y="75"/>
                  <a:pt x="314" y="76"/>
                </a:cubicBezTo>
                <a:cubicBezTo>
                  <a:pt x="313" y="77"/>
                  <a:pt x="313" y="78"/>
                  <a:pt x="312" y="79"/>
                </a:cubicBezTo>
                <a:cubicBezTo>
                  <a:pt x="310" y="82"/>
                  <a:pt x="308" y="85"/>
                  <a:pt x="305" y="87"/>
                </a:cubicBezTo>
                <a:cubicBezTo>
                  <a:pt x="302" y="89"/>
                  <a:pt x="299" y="91"/>
                  <a:pt x="295" y="91"/>
                </a:cubicBezTo>
                <a:cubicBezTo>
                  <a:pt x="296" y="92"/>
                  <a:pt x="296" y="92"/>
                  <a:pt x="296" y="93"/>
                </a:cubicBezTo>
                <a:cubicBezTo>
                  <a:pt x="293" y="91"/>
                  <a:pt x="290" y="92"/>
                  <a:pt x="287" y="93"/>
                </a:cubicBezTo>
                <a:cubicBezTo>
                  <a:pt x="283" y="94"/>
                  <a:pt x="279" y="94"/>
                  <a:pt x="275" y="93"/>
                </a:cubicBezTo>
                <a:cubicBezTo>
                  <a:pt x="275" y="92"/>
                  <a:pt x="274" y="92"/>
                  <a:pt x="274" y="93"/>
                </a:cubicBezTo>
                <a:cubicBezTo>
                  <a:pt x="274" y="93"/>
                  <a:pt x="274" y="93"/>
                  <a:pt x="274" y="94"/>
                </a:cubicBezTo>
                <a:cubicBezTo>
                  <a:pt x="275" y="97"/>
                  <a:pt x="275" y="100"/>
                  <a:pt x="274" y="103"/>
                </a:cubicBezTo>
                <a:cubicBezTo>
                  <a:pt x="273" y="106"/>
                  <a:pt x="272" y="109"/>
                  <a:pt x="270" y="111"/>
                </a:cubicBezTo>
                <a:cubicBezTo>
                  <a:pt x="270" y="111"/>
                  <a:pt x="269" y="111"/>
                  <a:pt x="268" y="112"/>
                </a:cubicBezTo>
                <a:cubicBezTo>
                  <a:pt x="271" y="111"/>
                  <a:pt x="273" y="112"/>
                  <a:pt x="275" y="114"/>
                </a:cubicBezTo>
                <a:cubicBezTo>
                  <a:pt x="276" y="116"/>
                  <a:pt x="277" y="119"/>
                  <a:pt x="279" y="120"/>
                </a:cubicBezTo>
                <a:cubicBezTo>
                  <a:pt x="280" y="121"/>
                  <a:pt x="281" y="121"/>
                  <a:pt x="283" y="121"/>
                </a:cubicBezTo>
                <a:cubicBezTo>
                  <a:pt x="285" y="122"/>
                  <a:pt x="287" y="124"/>
                  <a:pt x="289" y="126"/>
                </a:cubicBezTo>
                <a:cubicBezTo>
                  <a:pt x="290" y="127"/>
                  <a:pt x="292" y="129"/>
                  <a:pt x="294" y="130"/>
                </a:cubicBezTo>
                <a:cubicBezTo>
                  <a:pt x="294" y="131"/>
                  <a:pt x="295" y="131"/>
                  <a:pt x="295" y="131"/>
                </a:cubicBezTo>
                <a:cubicBezTo>
                  <a:pt x="296" y="132"/>
                  <a:pt x="296" y="132"/>
                  <a:pt x="296" y="133"/>
                </a:cubicBezTo>
                <a:cubicBezTo>
                  <a:pt x="297" y="134"/>
                  <a:pt x="300" y="134"/>
                  <a:pt x="301" y="136"/>
                </a:cubicBezTo>
                <a:cubicBezTo>
                  <a:pt x="302" y="137"/>
                  <a:pt x="302" y="139"/>
                  <a:pt x="303" y="140"/>
                </a:cubicBezTo>
                <a:cubicBezTo>
                  <a:pt x="304" y="140"/>
                  <a:pt x="304" y="140"/>
                  <a:pt x="304" y="140"/>
                </a:cubicBezTo>
                <a:cubicBezTo>
                  <a:pt x="304" y="141"/>
                  <a:pt x="303" y="141"/>
                  <a:pt x="303" y="142"/>
                </a:cubicBezTo>
                <a:cubicBezTo>
                  <a:pt x="303" y="142"/>
                  <a:pt x="304" y="143"/>
                  <a:pt x="304" y="143"/>
                </a:cubicBezTo>
                <a:cubicBezTo>
                  <a:pt x="305" y="143"/>
                  <a:pt x="306" y="143"/>
                  <a:pt x="306" y="144"/>
                </a:cubicBezTo>
                <a:cubicBezTo>
                  <a:pt x="306" y="144"/>
                  <a:pt x="306" y="144"/>
                  <a:pt x="305" y="145"/>
                </a:cubicBezTo>
                <a:cubicBezTo>
                  <a:pt x="305" y="146"/>
                  <a:pt x="306" y="148"/>
                  <a:pt x="306" y="149"/>
                </a:cubicBezTo>
                <a:cubicBezTo>
                  <a:pt x="306" y="149"/>
                  <a:pt x="306" y="150"/>
                  <a:pt x="306" y="150"/>
                </a:cubicBezTo>
                <a:cubicBezTo>
                  <a:pt x="306" y="151"/>
                  <a:pt x="306" y="151"/>
                  <a:pt x="306" y="151"/>
                </a:cubicBezTo>
                <a:cubicBezTo>
                  <a:pt x="306" y="151"/>
                  <a:pt x="306" y="151"/>
                  <a:pt x="307" y="151"/>
                </a:cubicBezTo>
                <a:cubicBezTo>
                  <a:pt x="307" y="151"/>
                  <a:pt x="308" y="152"/>
                  <a:pt x="308" y="152"/>
                </a:cubicBezTo>
                <a:cubicBezTo>
                  <a:pt x="309" y="152"/>
                  <a:pt x="309" y="152"/>
                  <a:pt x="309" y="152"/>
                </a:cubicBezTo>
                <a:cubicBezTo>
                  <a:pt x="310" y="153"/>
                  <a:pt x="309" y="153"/>
                  <a:pt x="309" y="153"/>
                </a:cubicBezTo>
                <a:cubicBezTo>
                  <a:pt x="309" y="153"/>
                  <a:pt x="309" y="153"/>
                  <a:pt x="308" y="153"/>
                </a:cubicBezTo>
                <a:cubicBezTo>
                  <a:pt x="308" y="153"/>
                  <a:pt x="307" y="153"/>
                  <a:pt x="307" y="153"/>
                </a:cubicBezTo>
                <a:cubicBezTo>
                  <a:pt x="307" y="153"/>
                  <a:pt x="307" y="154"/>
                  <a:pt x="307" y="154"/>
                </a:cubicBezTo>
                <a:cubicBezTo>
                  <a:pt x="308" y="154"/>
                  <a:pt x="308" y="154"/>
                  <a:pt x="309" y="154"/>
                </a:cubicBezTo>
                <a:cubicBezTo>
                  <a:pt x="309" y="155"/>
                  <a:pt x="310" y="154"/>
                  <a:pt x="311" y="155"/>
                </a:cubicBezTo>
                <a:cubicBezTo>
                  <a:pt x="312" y="155"/>
                  <a:pt x="313" y="156"/>
                  <a:pt x="313" y="156"/>
                </a:cubicBezTo>
                <a:cubicBezTo>
                  <a:pt x="314" y="156"/>
                  <a:pt x="314" y="156"/>
                  <a:pt x="315" y="156"/>
                </a:cubicBezTo>
                <a:cubicBezTo>
                  <a:pt x="315" y="156"/>
                  <a:pt x="315" y="156"/>
                  <a:pt x="316" y="156"/>
                </a:cubicBezTo>
                <a:cubicBezTo>
                  <a:pt x="316" y="156"/>
                  <a:pt x="317" y="156"/>
                  <a:pt x="317" y="156"/>
                </a:cubicBezTo>
                <a:cubicBezTo>
                  <a:pt x="318" y="155"/>
                  <a:pt x="319" y="155"/>
                  <a:pt x="319" y="156"/>
                </a:cubicBezTo>
                <a:cubicBezTo>
                  <a:pt x="320" y="156"/>
                  <a:pt x="320" y="157"/>
                  <a:pt x="321" y="157"/>
                </a:cubicBezTo>
                <a:cubicBezTo>
                  <a:pt x="321" y="156"/>
                  <a:pt x="322" y="156"/>
                  <a:pt x="322" y="155"/>
                </a:cubicBezTo>
                <a:cubicBezTo>
                  <a:pt x="323" y="155"/>
                  <a:pt x="323" y="154"/>
                  <a:pt x="323" y="153"/>
                </a:cubicBezTo>
                <a:cubicBezTo>
                  <a:pt x="322" y="152"/>
                  <a:pt x="321" y="153"/>
                  <a:pt x="320" y="152"/>
                </a:cubicBezTo>
                <a:cubicBezTo>
                  <a:pt x="320" y="151"/>
                  <a:pt x="321" y="151"/>
                  <a:pt x="322" y="150"/>
                </a:cubicBezTo>
                <a:cubicBezTo>
                  <a:pt x="322" y="151"/>
                  <a:pt x="321" y="151"/>
                  <a:pt x="321" y="152"/>
                </a:cubicBezTo>
                <a:cubicBezTo>
                  <a:pt x="321" y="152"/>
                  <a:pt x="321" y="152"/>
                  <a:pt x="322" y="152"/>
                </a:cubicBezTo>
                <a:cubicBezTo>
                  <a:pt x="322" y="152"/>
                  <a:pt x="323" y="152"/>
                  <a:pt x="324" y="153"/>
                </a:cubicBezTo>
                <a:cubicBezTo>
                  <a:pt x="324" y="154"/>
                  <a:pt x="323" y="154"/>
                  <a:pt x="323" y="155"/>
                </a:cubicBezTo>
                <a:cubicBezTo>
                  <a:pt x="322" y="156"/>
                  <a:pt x="322" y="157"/>
                  <a:pt x="323" y="158"/>
                </a:cubicBezTo>
                <a:cubicBezTo>
                  <a:pt x="325" y="158"/>
                  <a:pt x="328" y="156"/>
                  <a:pt x="330" y="156"/>
                </a:cubicBezTo>
                <a:cubicBezTo>
                  <a:pt x="331" y="156"/>
                  <a:pt x="332" y="156"/>
                  <a:pt x="332" y="157"/>
                </a:cubicBezTo>
                <a:cubicBezTo>
                  <a:pt x="333" y="157"/>
                  <a:pt x="334" y="157"/>
                  <a:pt x="334" y="158"/>
                </a:cubicBezTo>
                <a:cubicBezTo>
                  <a:pt x="335" y="159"/>
                  <a:pt x="335" y="160"/>
                  <a:pt x="334" y="160"/>
                </a:cubicBezTo>
                <a:cubicBezTo>
                  <a:pt x="333" y="160"/>
                  <a:pt x="333" y="159"/>
                  <a:pt x="333" y="159"/>
                </a:cubicBezTo>
                <a:cubicBezTo>
                  <a:pt x="332" y="160"/>
                  <a:pt x="332" y="161"/>
                  <a:pt x="331" y="162"/>
                </a:cubicBezTo>
                <a:cubicBezTo>
                  <a:pt x="331" y="163"/>
                  <a:pt x="331" y="164"/>
                  <a:pt x="331" y="165"/>
                </a:cubicBezTo>
                <a:cubicBezTo>
                  <a:pt x="330" y="165"/>
                  <a:pt x="330" y="166"/>
                  <a:pt x="330" y="166"/>
                </a:cubicBezTo>
                <a:cubicBezTo>
                  <a:pt x="330" y="166"/>
                  <a:pt x="331" y="167"/>
                  <a:pt x="331" y="167"/>
                </a:cubicBezTo>
                <a:cubicBezTo>
                  <a:pt x="332" y="169"/>
                  <a:pt x="333" y="170"/>
                  <a:pt x="335" y="170"/>
                </a:cubicBezTo>
                <a:cubicBezTo>
                  <a:pt x="335" y="170"/>
                  <a:pt x="334" y="170"/>
                  <a:pt x="334" y="171"/>
                </a:cubicBezTo>
                <a:cubicBezTo>
                  <a:pt x="335" y="171"/>
                  <a:pt x="335" y="171"/>
                  <a:pt x="336" y="171"/>
                </a:cubicBezTo>
                <a:cubicBezTo>
                  <a:pt x="336" y="172"/>
                  <a:pt x="336" y="172"/>
                  <a:pt x="335" y="173"/>
                </a:cubicBezTo>
                <a:cubicBezTo>
                  <a:pt x="336" y="173"/>
                  <a:pt x="336" y="173"/>
                  <a:pt x="337" y="173"/>
                </a:cubicBezTo>
                <a:cubicBezTo>
                  <a:pt x="337" y="173"/>
                  <a:pt x="338" y="172"/>
                  <a:pt x="338" y="171"/>
                </a:cubicBezTo>
                <a:cubicBezTo>
                  <a:pt x="338" y="170"/>
                  <a:pt x="339" y="169"/>
                  <a:pt x="341" y="169"/>
                </a:cubicBezTo>
                <a:cubicBezTo>
                  <a:pt x="341" y="169"/>
                  <a:pt x="342" y="169"/>
                  <a:pt x="342" y="168"/>
                </a:cubicBezTo>
                <a:cubicBezTo>
                  <a:pt x="343" y="168"/>
                  <a:pt x="343" y="168"/>
                  <a:pt x="343" y="168"/>
                </a:cubicBezTo>
                <a:cubicBezTo>
                  <a:pt x="343" y="168"/>
                  <a:pt x="344" y="169"/>
                  <a:pt x="344" y="169"/>
                </a:cubicBezTo>
                <a:cubicBezTo>
                  <a:pt x="345" y="170"/>
                  <a:pt x="347" y="170"/>
                  <a:pt x="348" y="170"/>
                </a:cubicBezTo>
                <a:cubicBezTo>
                  <a:pt x="349" y="170"/>
                  <a:pt x="351" y="169"/>
                  <a:pt x="352" y="168"/>
                </a:cubicBezTo>
                <a:cubicBezTo>
                  <a:pt x="353" y="168"/>
                  <a:pt x="355" y="168"/>
                  <a:pt x="355" y="169"/>
                </a:cubicBezTo>
                <a:cubicBezTo>
                  <a:pt x="355" y="169"/>
                  <a:pt x="356" y="168"/>
                  <a:pt x="356" y="168"/>
                </a:cubicBezTo>
                <a:cubicBezTo>
                  <a:pt x="357" y="168"/>
                  <a:pt x="358" y="168"/>
                  <a:pt x="358" y="168"/>
                </a:cubicBezTo>
                <a:cubicBezTo>
                  <a:pt x="358" y="169"/>
                  <a:pt x="358" y="170"/>
                  <a:pt x="357" y="169"/>
                </a:cubicBezTo>
                <a:cubicBezTo>
                  <a:pt x="357" y="169"/>
                  <a:pt x="357" y="169"/>
                  <a:pt x="357" y="169"/>
                </a:cubicBezTo>
                <a:cubicBezTo>
                  <a:pt x="356" y="169"/>
                  <a:pt x="356" y="170"/>
                  <a:pt x="356" y="170"/>
                </a:cubicBezTo>
                <a:cubicBezTo>
                  <a:pt x="355" y="171"/>
                  <a:pt x="355" y="171"/>
                  <a:pt x="354" y="170"/>
                </a:cubicBezTo>
                <a:cubicBezTo>
                  <a:pt x="354" y="170"/>
                  <a:pt x="354" y="169"/>
                  <a:pt x="354" y="169"/>
                </a:cubicBezTo>
                <a:cubicBezTo>
                  <a:pt x="352" y="169"/>
                  <a:pt x="351" y="170"/>
                  <a:pt x="351" y="171"/>
                </a:cubicBezTo>
                <a:cubicBezTo>
                  <a:pt x="352" y="172"/>
                  <a:pt x="352" y="173"/>
                  <a:pt x="352" y="174"/>
                </a:cubicBezTo>
                <a:cubicBezTo>
                  <a:pt x="352" y="175"/>
                  <a:pt x="351" y="176"/>
                  <a:pt x="351" y="177"/>
                </a:cubicBezTo>
                <a:cubicBezTo>
                  <a:pt x="350" y="177"/>
                  <a:pt x="350" y="177"/>
                  <a:pt x="349" y="178"/>
                </a:cubicBezTo>
                <a:cubicBezTo>
                  <a:pt x="347" y="178"/>
                  <a:pt x="344" y="178"/>
                  <a:pt x="343" y="176"/>
                </a:cubicBezTo>
                <a:cubicBezTo>
                  <a:pt x="342" y="175"/>
                  <a:pt x="341" y="173"/>
                  <a:pt x="339" y="173"/>
                </a:cubicBezTo>
                <a:cubicBezTo>
                  <a:pt x="338" y="173"/>
                  <a:pt x="337" y="174"/>
                  <a:pt x="336" y="174"/>
                </a:cubicBezTo>
                <a:cubicBezTo>
                  <a:pt x="336" y="175"/>
                  <a:pt x="335" y="175"/>
                  <a:pt x="334" y="175"/>
                </a:cubicBezTo>
                <a:cubicBezTo>
                  <a:pt x="332" y="175"/>
                  <a:pt x="332" y="174"/>
                  <a:pt x="331" y="173"/>
                </a:cubicBezTo>
                <a:cubicBezTo>
                  <a:pt x="330" y="172"/>
                  <a:pt x="330" y="172"/>
                  <a:pt x="330" y="172"/>
                </a:cubicBezTo>
                <a:cubicBezTo>
                  <a:pt x="330" y="172"/>
                  <a:pt x="330" y="171"/>
                  <a:pt x="330" y="171"/>
                </a:cubicBezTo>
                <a:cubicBezTo>
                  <a:pt x="329" y="170"/>
                  <a:pt x="329" y="170"/>
                  <a:pt x="328" y="169"/>
                </a:cubicBezTo>
                <a:cubicBezTo>
                  <a:pt x="328" y="169"/>
                  <a:pt x="328" y="169"/>
                  <a:pt x="327" y="169"/>
                </a:cubicBezTo>
                <a:cubicBezTo>
                  <a:pt x="327" y="168"/>
                  <a:pt x="327" y="168"/>
                  <a:pt x="327" y="167"/>
                </a:cubicBezTo>
                <a:cubicBezTo>
                  <a:pt x="328" y="167"/>
                  <a:pt x="328" y="166"/>
                  <a:pt x="328" y="166"/>
                </a:cubicBezTo>
                <a:cubicBezTo>
                  <a:pt x="329" y="166"/>
                  <a:pt x="329" y="165"/>
                  <a:pt x="329" y="165"/>
                </a:cubicBezTo>
                <a:cubicBezTo>
                  <a:pt x="328" y="164"/>
                  <a:pt x="328" y="164"/>
                  <a:pt x="327" y="164"/>
                </a:cubicBezTo>
                <a:cubicBezTo>
                  <a:pt x="327" y="164"/>
                  <a:pt x="327" y="163"/>
                  <a:pt x="326" y="163"/>
                </a:cubicBezTo>
                <a:cubicBezTo>
                  <a:pt x="326" y="162"/>
                  <a:pt x="325" y="161"/>
                  <a:pt x="325" y="160"/>
                </a:cubicBezTo>
                <a:cubicBezTo>
                  <a:pt x="325" y="160"/>
                  <a:pt x="325" y="159"/>
                  <a:pt x="324" y="159"/>
                </a:cubicBezTo>
                <a:cubicBezTo>
                  <a:pt x="324" y="159"/>
                  <a:pt x="324" y="159"/>
                  <a:pt x="324" y="159"/>
                </a:cubicBezTo>
                <a:cubicBezTo>
                  <a:pt x="324" y="159"/>
                  <a:pt x="323" y="159"/>
                  <a:pt x="323" y="159"/>
                </a:cubicBezTo>
                <a:cubicBezTo>
                  <a:pt x="322" y="159"/>
                  <a:pt x="322" y="159"/>
                  <a:pt x="322" y="159"/>
                </a:cubicBezTo>
                <a:cubicBezTo>
                  <a:pt x="322" y="159"/>
                  <a:pt x="322" y="160"/>
                  <a:pt x="322" y="160"/>
                </a:cubicBezTo>
                <a:cubicBezTo>
                  <a:pt x="322" y="160"/>
                  <a:pt x="321" y="161"/>
                  <a:pt x="321" y="161"/>
                </a:cubicBezTo>
                <a:cubicBezTo>
                  <a:pt x="321" y="161"/>
                  <a:pt x="321" y="162"/>
                  <a:pt x="321" y="162"/>
                </a:cubicBezTo>
                <a:cubicBezTo>
                  <a:pt x="321" y="162"/>
                  <a:pt x="321" y="162"/>
                  <a:pt x="321" y="163"/>
                </a:cubicBezTo>
                <a:cubicBezTo>
                  <a:pt x="321" y="163"/>
                  <a:pt x="322" y="164"/>
                  <a:pt x="322" y="164"/>
                </a:cubicBezTo>
                <a:cubicBezTo>
                  <a:pt x="322" y="165"/>
                  <a:pt x="322" y="165"/>
                  <a:pt x="322" y="165"/>
                </a:cubicBezTo>
                <a:cubicBezTo>
                  <a:pt x="323" y="165"/>
                  <a:pt x="323" y="166"/>
                  <a:pt x="323" y="166"/>
                </a:cubicBezTo>
                <a:cubicBezTo>
                  <a:pt x="324" y="166"/>
                  <a:pt x="326" y="167"/>
                  <a:pt x="326" y="168"/>
                </a:cubicBezTo>
                <a:cubicBezTo>
                  <a:pt x="327" y="168"/>
                  <a:pt x="327" y="169"/>
                  <a:pt x="328" y="170"/>
                </a:cubicBezTo>
                <a:cubicBezTo>
                  <a:pt x="328" y="170"/>
                  <a:pt x="329" y="171"/>
                  <a:pt x="329" y="171"/>
                </a:cubicBezTo>
                <a:cubicBezTo>
                  <a:pt x="329" y="172"/>
                  <a:pt x="330" y="173"/>
                  <a:pt x="330" y="173"/>
                </a:cubicBezTo>
                <a:cubicBezTo>
                  <a:pt x="330" y="174"/>
                  <a:pt x="330" y="175"/>
                  <a:pt x="330" y="176"/>
                </a:cubicBezTo>
                <a:cubicBezTo>
                  <a:pt x="330" y="176"/>
                  <a:pt x="330" y="178"/>
                  <a:pt x="330" y="178"/>
                </a:cubicBezTo>
                <a:cubicBezTo>
                  <a:pt x="331" y="178"/>
                  <a:pt x="331" y="177"/>
                  <a:pt x="332" y="177"/>
                </a:cubicBezTo>
                <a:cubicBezTo>
                  <a:pt x="332" y="177"/>
                  <a:pt x="333" y="176"/>
                  <a:pt x="334" y="177"/>
                </a:cubicBezTo>
                <a:cubicBezTo>
                  <a:pt x="337" y="177"/>
                  <a:pt x="340" y="179"/>
                  <a:pt x="341" y="181"/>
                </a:cubicBezTo>
                <a:cubicBezTo>
                  <a:pt x="341" y="181"/>
                  <a:pt x="341" y="182"/>
                  <a:pt x="341" y="182"/>
                </a:cubicBezTo>
                <a:cubicBezTo>
                  <a:pt x="341" y="182"/>
                  <a:pt x="341" y="182"/>
                  <a:pt x="341" y="183"/>
                </a:cubicBezTo>
                <a:cubicBezTo>
                  <a:pt x="341" y="183"/>
                  <a:pt x="341" y="184"/>
                  <a:pt x="340" y="185"/>
                </a:cubicBezTo>
                <a:cubicBezTo>
                  <a:pt x="339" y="185"/>
                  <a:pt x="340" y="184"/>
                  <a:pt x="340" y="183"/>
                </a:cubicBezTo>
                <a:cubicBezTo>
                  <a:pt x="340" y="183"/>
                  <a:pt x="340" y="182"/>
                  <a:pt x="340" y="182"/>
                </a:cubicBezTo>
                <a:cubicBezTo>
                  <a:pt x="340" y="183"/>
                  <a:pt x="339" y="183"/>
                  <a:pt x="338" y="183"/>
                </a:cubicBezTo>
                <a:cubicBezTo>
                  <a:pt x="338" y="182"/>
                  <a:pt x="338" y="182"/>
                  <a:pt x="337" y="182"/>
                </a:cubicBezTo>
                <a:cubicBezTo>
                  <a:pt x="337" y="181"/>
                  <a:pt x="336" y="181"/>
                  <a:pt x="336" y="181"/>
                </a:cubicBezTo>
                <a:cubicBezTo>
                  <a:pt x="335" y="181"/>
                  <a:pt x="335" y="182"/>
                  <a:pt x="335" y="182"/>
                </a:cubicBezTo>
                <a:cubicBezTo>
                  <a:pt x="333" y="185"/>
                  <a:pt x="332" y="187"/>
                  <a:pt x="331" y="190"/>
                </a:cubicBezTo>
                <a:cubicBezTo>
                  <a:pt x="330" y="190"/>
                  <a:pt x="330" y="190"/>
                  <a:pt x="330" y="190"/>
                </a:cubicBezTo>
                <a:cubicBezTo>
                  <a:pt x="330" y="189"/>
                  <a:pt x="330" y="189"/>
                  <a:pt x="330" y="189"/>
                </a:cubicBezTo>
                <a:cubicBezTo>
                  <a:pt x="329" y="189"/>
                  <a:pt x="329" y="187"/>
                  <a:pt x="328" y="187"/>
                </a:cubicBezTo>
                <a:cubicBezTo>
                  <a:pt x="327" y="187"/>
                  <a:pt x="326" y="188"/>
                  <a:pt x="324" y="188"/>
                </a:cubicBezTo>
                <a:cubicBezTo>
                  <a:pt x="323" y="189"/>
                  <a:pt x="321" y="187"/>
                  <a:pt x="320" y="188"/>
                </a:cubicBezTo>
                <a:cubicBezTo>
                  <a:pt x="320" y="188"/>
                  <a:pt x="320" y="187"/>
                  <a:pt x="319" y="187"/>
                </a:cubicBezTo>
                <a:cubicBezTo>
                  <a:pt x="318" y="187"/>
                  <a:pt x="318" y="187"/>
                  <a:pt x="317" y="187"/>
                </a:cubicBezTo>
                <a:cubicBezTo>
                  <a:pt x="316" y="187"/>
                  <a:pt x="315" y="187"/>
                  <a:pt x="313" y="187"/>
                </a:cubicBezTo>
                <a:cubicBezTo>
                  <a:pt x="311" y="187"/>
                  <a:pt x="308" y="187"/>
                  <a:pt x="305" y="188"/>
                </a:cubicBezTo>
                <a:cubicBezTo>
                  <a:pt x="305" y="187"/>
                  <a:pt x="305" y="187"/>
                  <a:pt x="305" y="186"/>
                </a:cubicBezTo>
                <a:cubicBezTo>
                  <a:pt x="305" y="186"/>
                  <a:pt x="305" y="185"/>
                  <a:pt x="305" y="184"/>
                </a:cubicBezTo>
                <a:cubicBezTo>
                  <a:pt x="304" y="184"/>
                  <a:pt x="304" y="183"/>
                  <a:pt x="303" y="183"/>
                </a:cubicBezTo>
                <a:cubicBezTo>
                  <a:pt x="303" y="184"/>
                  <a:pt x="302" y="184"/>
                  <a:pt x="302" y="183"/>
                </a:cubicBezTo>
                <a:cubicBezTo>
                  <a:pt x="302" y="182"/>
                  <a:pt x="304" y="182"/>
                  <a:pt x="304" y="182"/>
                </a:cubicBezTo>
                <a:cubicBezTo>
                  <a:pt x="305" y="181"/>
                  <a:pt x="305" y="179"/>
                  <a:pt x="305" y="178"/>
                </a:cubicBezTo>
                <a:cubicBezTo>
                  <a:pt x="305" y="177"/>
                  <a:pt x="305" y="175"/>
                  <a:pt x="307" y="174"/>
                </a:cubicBezTo>
                <a:cubicBezTo>
                  <a:pt x="306" y="174"/>
                  <a:pt x="306" y="173"/>
                  <a:pt x="306" y="172"/>
                </a:cubicBezTo>
                <a:cubicBezTo>
                  <a:pt x="305" y="171"/>
                  <a:pt x="305" y="171"/>
                  <a:pt x="304" y="171"/>
                </a:cubicBezTo>
                <a:cubicBezTo>
                  <a:pt x="305" y="171"/>
                  <a:pt x="305" y="171"/>
                  <a:pt x="306" y="170"/>
                </a:cubicBezTo>
                <a:cubicBezTo>
                  <a:pt x="304" y="170"/>
                  <a:pt x="302" y="170"/>
                  <a:pt x="300" y="170"/>
                </a:cubicBezTo>
                <a:cubicBezTo>
                  <a:pt x="298" y="170"/>
                  <a:pt x="297" y="171"/>
                  <a:pt x="295" y="171"/>
                </a:cubicBezTo>
                <a:cubicBezTo>
                  <a:pt x="294" y="172"/>
                  <a:pt x="293" y="173"/>
                  <a:pt x="292" y="174"/>
                </a:cubicBezTo>
                <a:cubicBezTo>
                  <a:pt x="291" y="175"/>
                  <a:pt x="291" y="175"/>
                  <a:pt x="291" y="176"/>
                </a:cubicBezTo>
                <a:cubicBezTo>
                  <a:pt x="290" y="176"/>
                  <a:pt x="290" y="176"/>
                  <a:pt x="290" y="177"/>
                </a:cubicBezTo>
                <a:cubicBezTo>
                  <a:pt x="290" y="177"/>
                  <a:pt x="290" y="177"/>
                  <a:pt x="289" y="177"/>
                </a:cubicBezTo>
                <a:cubicBezTo>
                  <a:pt x="289" y="177"/>
                  <a:pt x="289" y="176"/>
                  <a:pt x="289" y="175"/>
                </a:cubicBezTo>
                <a:cubicBezTo>
                  <a:pt x="288" y="176"/>
                  <a:pt x="288" y="176"/>
                  <a:pt x="287" y="176"/>
                </a:cubicBezTo>
                <a:cubicBezTo>
                  <a:pt x="288" y="175"/>
                  <a:pt x="288" y="175"/>
                  <a:pt x="288" y="175"/>
                </a:cubicBezTo>
                <a:cubicBezTo>
                  <a:pt x="288" y="174"/>
                  <a:pt x="287" y="174"/>
                  <a:pt x="287" y="175"/>
                </a:cubicBezTo>
                <a:cubicBezTo>
                  <a:pt x="286" y="175"/>
                  <a:pt x="285" y="177"/>
                  <a:pt x="283" y="177"/>
                </a:cubicBezTo>
                <a:cubicBezTo>
                  <a:pt x="282" y="177"/>
                  <a:pt x="282" y="177"/>
                  <a:pt x="281" y="178"/>
                </a:cubicBezTo>
                <a:cubicBezTo>
                  <a:pt x="281" y="178"/>
                  <a:pt x="281" y="178"/>
                  <a:pt x="281" y="179"/>
                </a:cubicBezTo>
                <a:cubicBezTo>
                  <a:pt x="281" y="179"/>
                  <a:pt x="280" y="179"/>
                  <a:pt x="280" y="180"/>
                </a:cubicBezTo>
                <a:cubicBezTo>
                  <a:pt x="279" y="180"/>
                  <a:pt x="279" y="180"/>
                  <a:pt x="279" y="181"/>
                </a:cubicBezTo>
                <a:cubicBezTo>
                  <a:pt x="279" y="181"/>
                  <a:pt x="279" y="182"/>
                  <a:pt x="279" y="182"/>
                </a:cubicBezTo>
                <a:cubicBezTo>
                  <a:pt x="279" y="182"/>
                  <a:pt x="279" y="182"/>
                  <a:pt x="279" y="182"/>
                </a:cubicBezTo>
                <a:cubicBezTo>
                  <a:pt x="279" y="182"/>
                  <a:pt x="279" y="183"/>
                  <a:pt x="280" y="183"/>
                </a:cubicBezTo>
                <a:cubicBezTo>
                  <a:pt x="280" y="183"/>
                  <a:pt x="280" y="183"/>
                  <a:pt x="280" y="183"/>
                </a:cubicBezTo>
                <a:cubicBezTo>
                  <a:pt x="281" y="183"/>
                  <a:pt x="282" y="184"/>
                  <a:pt x="283" y="184"/>
                </a:cubicBezTo>
                <a:cubicBezTo>
                  <a:pt x="283" y="185"/>
                  <a:pt x="283" y="185"/>
                  <a:pt x="283" y="185"/>
                </a:cubicBezTo>
                <a:cubicBezTo>
                  <a:pt x="283" y="185"/>
                  <a:pt x="283" y="185"/>
                  <a:pt x="283" y="185"/>
                </a:cubicBezTo>
                <a:cubicBezTo>
                  <a:pt x="282" y="186"/>
                  <a:pt x="281" y="186"/>
                  <a:pt x="280" y="186"/>
                </a:cubicBezTo>
                <a:cubicBezTo>
                  <a:pt x="279" y="186"/>
                  <a:pt x="278" y="186"/>
                  <a:pt x="277" y="186"/>
                </a:cubicBezTo>
                <a:cubicBezTo>
                  <a:pt x="276" y="186"/>
                  <a:pt x="276" y="185"/>
                  <a:pt x="275" y="185"/>
                </a:cubicBezTo>
                <a:cubicBezTo>
                  <a:pt x="275" y="185"/>
                  <a:pt x="275" y="184"/>
                  <a:pt x="275" y="184"/>
                </a:cubicBezTo>
                <a:cubicBezTo>
                  <a:pt x="272" y="185"/>
                  <a:pt x="271" y="186"/>
                  <a:pt x="268" y="187"/>
                </a:cubicBezTo>
                <a:cubicBezTo>
                  <a:pt x="268" y="187"/>
                  <a:pt x="268" y="188"/>
                  <a:pt x="267" y="188"/>
                </a:cubicBezTo>
                <a:cubicBezTo>
                  <a:pt x="267" y="188"/>
                  <a:pt x="267" y="188"/>
                  <a:pt x="267" y="189"/>
                </a:cubicBezTo>
                <a:cubicBezTo>
                  <a:pt x="267" y="189"/>
                  <a:pt x="267" y="189"/>
                  <a:pt x="267" y="189"/>
                </a:cubicBezTo>
                <a:cubicBezTo>
                  <a:pt x="267" y="190"/>
                  <a:pt x="266" y="190"/>
                  <a:pt x="266" y="190"/>
                </a:cubicBezTo>
                <a:cubicBezTo>
                  <a:pt x="266" y="190"/>
                  <a:pt x="265" y="190"/>
                  <a:pt x="265" y="190"/>
                </a:cubicBezTo>
                <a:cubicBezTo>
                  <a:pt x="264" y="190"/>
                  <a:pt x="265" y="190"/>
                  <a:pt x="265" y="191"/>
                </a:cubicBezTo>
                <a:cubicBezTo>
                  <a:pt x="265" y="191"/>
                  <a:pt x="265" y="191"/>
                  <a:pt x="265" y="192"/>
                </a:cubicBezTo>
                <a:cubicBezTo>
                  <a:pt x="265" y="192"/>
                  <a:pt x="265" y="192"/>
                  <a:pt x="265" y="192"/>
                </a:cubicBezTo>
                <a:cubicBezTo>
                  <a:pt x="264" y="193"/>
                  <a:pt x="263" y="194"/>
                  <a:pt x="262" y="194"/>
                </a:cubicBezTo>
                <a:cubicBezTo>
                  <a:pt x="261" y="194"/>
                  <a:pt x="261" y="194"/>
                  <a:pt x="261" y="193"/>
                </a:cubicBezTo>
                <a:cubicBezTo>
                  <a:pt x="260" y="194"/>
                  <a:pt x="259" y="194"/>
                  <a:pt x="258" y="195"/>
                </a:cubicBezTo>
                <a:cubicBezTo>
                  <a:pt x="257" y="195"/>
                  <a:pt x="257" y="195"/>
                  <a:pt x="257" y="195"/>
                </a:cubicBezTo>
                <a:cubicBezTo>
                  <a:pt x="257" y="195"/>
                  <a:pt x="258" y="195"/>
                  <a:pt x="258" y="195"/>
                </a:cubicBezTo>
                <a:cubicBezTo>
                  <a:pt x="257" y="196"/>
                  <a:pt x="257" y="196"/>
                  <a:pt x="257" y="196"/>
                </a:cubicBezTo>
                <a:cubicBezTo>
                  <a:pt x="257" y="196"/>
                  <a:pt x="258" y="196"/>
                  <a:pt x="258" y="197"/>
                </a:cubicBezTo>
                <a:cubicBezTo>
                  <a:pt x="258" y="197"/>
                  <a:pt x="258" y="197"/>
                  <a:pt x="258" y="198"/>
                </a:cubicBezTo>
                <a:cubicBezTo>
                  <a:pt x="257" y="198"/>
                  <a:pt x="257" y="198"/>
                  <a:pt x="257" y="198"/>
                </a:cubicBezTo>
                <a:cubicBezTo>
                  <a:pt x="256" y="198"/>
                  <a:pt x="256" y="199"/>
                  <a:pt x="256" y="199"/>
                </a:cubicBezTo>
                <a:cubicBezTo>
                  <a:pt x="255" y="199"/>
                  <a:pt x="255" y="199"/>
                  <a:pt x="254" y="199"/>
                </a:cubicBezTo>
                <a:cubicBezTo>
                  <a:pt x="253" y="199"/>
                  <a:pt x="253" y="201"/>
                  <a:pt x="252" y="201"/>
                </a:cubicBezTo>
                <a:cubicBezTo>
                  <a:pt x="252" y="201"/>
                  <a:pt x="251" y="201"/>
                  <a:pt x="251" y="200"/>
                </a:cubicBezTo>
                <a:cubicBezTo>
                  <a:pt x="251" y="200"/>
                  <a:pt x="251" y="200"/>
                  <a:pt x="251" y="200"/>
                </a:cubicBezTo>
                <a:cubicBezTo>
                  <a:pt x="251" y="200"/>
                  <a:pt x="251" y="199"/>
                  <a:pt x="251" y="199"/>
                </a:cubicBezTo>
                <a:cubicBezTo>
                  <a:pt x="252" y="198"/>
                  <a:pt x="253" y="198"/>
                  <a:pt x="253" y="198"/>
                </a:cubicBezTo>
                <a:cubicBezTo>
                  <a:pt x="254" y="197"/>
                  <a:pt x="255" y="197"/>
                  <a:pt x="255" y="196"/>
                </a:cubicBezTo>
                <a:cubicBezTo>
                  <a:pt x="255" y="196"/>
                  <a:pt x="255" y="196"/>
                  <a:pt x="255" y="196"/>
                </a:cubicBezTo>
                <a:cubicBezTo>
                  <a:pt x="255" y="196"/>
                  <a:pt x="255" y="196"/>
                  <a:pt x="255" y="196"/>
                </a:cubicBezTo>
                <a:cubicBezTo>
                  <a:pt x="254" y="196"/>
                  <a:pt x="253" y="197"/>
                  <a:pt x="252" y="198"/>
                </a:cubicBezTo>
                <a:cubicBezTo>
                  <a:pt x="251" y="198"/>
                  <a:pt x="251" y="198"/>
                  <a:pt x="250" y="199"/>
                </a:cubicBezTo>
                <a:cubicBezTo>
                  <a:pt x="250" y="200"/>
                  <a:pt x="250" y="200"/>
                  <a:pt x="250" y="201"/>
                </a:cubicBezTo>
                <a:cubicBezTo>
                  <a:pt x="250" y="202"/>
                  <a:pt x="251" y="203"/>
                  <a:pt x="252" y="204"/>
                </a:cubicBezTo>
                <a:cubicBezTo>
                  <a:pt x="254" y="205"/>
                  <a:pt x="255" y="206"/>
                  <a:pt x="256" y="207"/>
                </a:cubicBezTo>
                <a:cubicBezTo>
                  <a:pt x="257" y="208"/>
                  <a:pt x="259" y="208"/>
                  <a:pt x="260" y="208"/>
                </a:cubicBezTo>
                <a:cubicBezTo>
                  <a:pt x="262" y="209"/>
                  <a:pt x="263" y="209"/>
                  <a:pt x="265" y="209"/>
                </a:cubicBezTo>
                <a:cubicBezTo>
                  <a:pt x="266" y="209"/>
                  <a:pt x="268" y="209"/>
                  <a:pt x="269" y="210"/>
                </a:cubicBezTo>
                <a:cubicBezTo>
                  <a:pt x="271" y="211"/>
                  <a:pt x="273" y="211"/>
                  <a:pt x="275" y="212"/>
                </a:cubicBezTo>
                <a:cubicBezTo>
                  <a:pt x="275" y="212"/>
                  <a:pt x="276" y="213"/>
                  <a:pt x="277" y="213"/>
                </a:cubicBezTo>
                <a:cubicBezTo>
                  <a:pt x="277" y="214"/>
                  <a:pt x="277" y="214"/>
                  <a:pt x="277" y="215"/>
                </a:cubicBezTo>
                <a:cubicBezTo>
                  <a:pt x="278" y="215"/>
                  <a:pt x="278" y="215"/>
                  <a:pt x="279" y="215"/>
                </a:cubicBezTo>
                <a:cubicBezTo>
                  <a:pt x="280" y="215"/>
                  <a:pt x="280" y="215"/>
                  <a:pt x="280" y="215"/>
                </a:cubicBezTo>
                <a:cubicBezTo>
                  <a:pt x="281" y="215"/>
                  <a:pt x="281" y="214"/>
                  <a:pt x="280" y="214"/>
                </a:cubicBezTo>
                <a:cubicBezTo>
                  <a:pt x="280" y="213"/>
                  <a:pt x="279" y="213"/>
                  <a:pt x="279" y="212"/>
                </a:cubicBezTo>
                <a:cubicBezTo>
                  <a:pt x="279" y="212"/>
                  <a:pt x="280" y="211"/>
                  <a:pt x="280" y="211"/>
                </a:cubicBezTo>
                <a:cubicBezTo>
                  <a:pt x="280" y="212"/>
                  <a:pt x="280" y="213"/>
                  <a:pt x="281" y="213"/>
                </a:cubicBezTo>
                <a:cubicBezTo>
                  <a:pt x="281" y="214"/>
                  <a:pt x="282" y="214"/>
                  <a:pt x="282" y="215"/>
                </a:cubicBezTo>
                <a:cubicBezTo>
                  <a:pt x="283" y="215"/>
                  <a:pt x="284" y="215"/>
                  <a:pt x="284" y="215"/>
                </a:cubicBezTo>
                <a:cubicBezTo>
                  <a:pt x="284" y="215"/>
                  <a:pt x="284" y="214"/>
                  <a:pt x="284" y="214"/>
                </a:cubicBezTo>
                <a:cubicBezTo>
                  <a:pt x="285" y="214"/>
                  <a:pt x="285" y="214"/>
                  <a:pt x="285" y="215"/>
                </a:cubicBezTo>
                <a:cubicBezTo>
                  <a:pt x="285" y="215"/>
                  <a:pt x="285" y="216"/>
                  <a:pt x="285" y="216"/>
                </a:cubicBezTo>
                <a:cubicBezTo>
                  <a:pt x="284" y="217"/>
                  <a:pt x="283" y="218"/>
                  <a:pt x="282" y="219"/>
                </a:cubicBezTo>
                <a:cubicBezTo>
                  <a:pt x="281" y="219"/>
                  <a:pt x="281" y="219"/>
                  <a:pt x="281" y="219"/>
                </a:cubicBezTo>
                <a:cubicBezTo>
                  <a:pt x="281" y="219"/>
                  <a:pt x="281" y="219"/>
                  <a:pt x="281" y="219"/>
                </a:cubicBezTo>
                <a:cubicBezTo>
                  <a:pt x="280" y="218"/>
                  <a:pt x="279" y="217"/>
                  <a:pt x="278" y="217"/>
                </a:cubicBezTo>
                <a:cubicBezTo>
                  <a:pt x="278" y="216"/>
                  <a:pt x="277" y="215"/>
                  <a:pt x="276" y="215"/>
                </a:cubicBezTo>
                <a:cubicBezTo>
                  <a:pt x="276" y="215"/>
                  <a:pt x="276" y="214"/>
                  <a:pt x="276" y="214"/>
                </a:cubicBezTo>
                <a:cubicBezTo>
                  <a:pt x="276" y="213"/>
                  <a:pt x="275" y="213"/>
                  <a:pt x="274" y="213"/>
                </a:cubicBezTo>
                <a:cubicBezTo>
                  <a:pt x="273" y="212"/>
                  <a:pt x="272" y="212"/>
                  <a:pt x="272" y="213"/>
                </a:cubicBezTo>
                <a:cubicBezTo>
                  <a:pt x="271" y="214"/>
                  <a:pt x="271" y="215"/>
                  <a:pt x="270" y="216"/>
                </a:cubicBezTo>
                <a:cubicBezTo>
                  <a:pt x="269" y="217"/>
                  <a:pt x="267" y="217"/>
                  <a:pt x="266" y="216"/>
                </a:cubicBezTo>
                <a:cubicBezTo>
                  <a:pt x="266" y="216"/>
                  <a:pt x="266" y="216"/>
                  <a:pt x="266" y="216"/>
                </a:cubicBezTo>
                <a:cubicBezTo>
                  <a:pt x="266" y="216"/>
                  <a:pt x="265" y="217"/>
                  <a:pt x="266" y="217"/>
                </a:cubicBezTo>
                <a:cubicBezTo>
                  <a:pt x="266" y="217"/>
                  <a:pt x="266" y="218"/>
                  <a:pt x="266" y="218"/>
                </a:cubicBezTo>
                <a:cubicBezTo>
                  <a:pt x="267" y="218"/>
                  <a:pt x="268" y="219"/>
                  <a:pt x="268" y="219"/>
                </a:cubicBezTo>
                <a:cubicBezTo>
                  <a:pt x="268" y="220"/>
                  <a:pt x="268" y="220"/>
                  <a:pt x="268" y="221"/>
                </a:cubicBezTo>
                <a:cubicBezTo>
                  <a:pt x="269" y="222"/>
                  <a:pt x="271" y="222"/>
                  <a:pt x="272" y="224"/>
                </a:cubicBezTo>
                <a:cubicBezTo>
                  <a:pt x="272" y="225"/>
                  <a:pt x="272" y="225"/>
                  <a:pt x="272" y="225"/>
                </a:cubicBezTo>
                <a:cubicBezTo>
                  <a:pt x="272" y="226"/>
                  <a:pt x="272" y="226"/>
                  <a:pt x="273" y="226"/>
                </a:cubicBezTo>
                <a:cubicBezTo>
                  <a:pt x="272" y="227"/>
                  <a:pt x="271" y="226"/>
                  <a:pt x="271" y="227"/>
                </a:cubicBezTo>
                <a:cubicBezTo>
                  <a:pt x="270" y="227"/>
                  <a:pt x="270" y="227"/>
                  <a:pt x="271" y="227"/>
                </a:cubicBezTo>
                <a:cubicBezTo>
                  <a:pt x="271" y="230"/>
                  <a:pt x="272" y="232"/>
                  <a:pt x="274" y="233"/>
                </a:cubicBezTo>
                <a:cubicBezTo>
                  <a:pt x="275" y="233"/>
                  <a:pt x="277" y="234"/>
                  <a:pt x="278" y="234"/>
                </a:cubicBezTo>
                <a:cubicBezTo>
                  <a:pt x="282" y="235"/>
                  <a:pt x="286" y="235"/>
                  <a:pt x="289" y="238"/>
                </a:cubicBezTo>
                <a:cubicBezTo>
                  <a:pt x="290" y="238"/>
                  <a:pt x="291" y="237"/>
                  <a:pt x="291" y="236"/>
                </a:cubicBezTo>
                <a:cubicBezTo>
                  <a:pt x="292" y="236"/>
                  <a:pt x="293" y="235"/>
                  <a:pt x="293" y="235"/>
                </a:cubicBezTo>
                <a:cubicBezTo>
                  <a:pt x="294" y="235"/>
                  <a:pt x="294" y="235"/>
                  <a:pt x="294" y="235"/>
                </a:cubicBezTo>
                <a:cubicBezTo>
                  <a:pt x="295" y="236"/>
                  <a:pt x="296" y="235"/>
                  <a:pt x="297" y="235"/>
                </a:cubicBezTo>
                <a:cubicBezTo>
                  <a:pt x="297" y="234"/>
                  <a:pt x="298" y="233"/>
                  <a:pt x="299" y="233"/>
                </a:cubicBezTo>
                <a:cubicBezTo>
                  <a:pt x="300" y="233"/>
                  <a:pt x="301" y="234"/>
                  <a:pt x="302" y="234"/>
                </a:cubicBezTo>
                <a:cubicBezTo>
                  <a:pt x="304" y="234"/>
                  <a:pt x="305" y="233"/>
                  <a:pt x="307" y="233"/>
                </a:cubicBezTo>
                <a:cubicBezTo>
                  <a:pt x="309" y="233"/>
                  <a:pt x="311" y="235"/>
                  <a:pt x="313" y="237"/>
                </a:cubicBezTo>
                <a:cubicBezTo>
                  <a:pt x="313" y="238"/>
                  <a:pt x="313" y="238"/>
                  <a:pt x="313" y="238"/>
                </a:cubicBezTo>
                <a:cubicBezTo>
                  <a:pt x="314" y="238"/>
                  <a:pt x="315" y="237"/>
                  <a:pt x="315" y="236"/>
                </a:cubicBezTo>
                <a:cubicBezTo>
                  <a:pt x="315" y="236"/>
                  <a:pt x="314" y="235"/>
                  <a:pt x="313" y="235"/>
                </a:cubicBezTo>
                <a:cubicBezTo>
                  <a:pt x="312" y="234"/>
                  <a:pt x="311" y="234"/>
                  <a:pt x="311" y="233"/>
                </a:cubicBezTo>
                <a:cubicBezTo>
                  <a:pt x="311" y="233"/>
                  <a:pt x="311" y="232"/>
                  <a:pt x="311" y="232"/>
                </a:cubicBezTo>
                <a:cubicBezTo>
                  <a:pt x="311" y="231"/>
                  <a:pt x="312" y="231"/>
                  <a:pt x="313" y="231"/>
                </a:cubicBezTo>
                <a:cubicBezTo>
                  <a:pt x="313" y="231"/>
                  <a:pt x="314" y="232"/>
                  <a:pt x="314" y="232"/>
                </a:cubicBezTo>
                <a:cubicBezTo>
                  <a:pt x="315" y="233"/>
                  <a:pt x="316" y="234"/>
                  <a:pt x="317" y="235"/>
                </a:cubicBezTo>
                <a:cubicBezTo>
                  <a:pt x="317" y="237"/>
                  <a:pt x="318" y="238"/>
                  <a:pt x="318" y="239"/>
                </a:cubicBezTo>
                <a:cubicBezTo>
                  <a:pt x="318" y="239"/>
                  <a:pt x="318" y="240"/>
                  <a:pt x="318" y="240"/>
                </a:cubicBezTo>
                <a:cubicBezTo>
                  <a:pt x="319" y="241"/>
                  <a:pt x="320" y="240"/>
                  <a:pt x="320" y="240"/>
                </a:cubicBezTo>
                <a:cubicBezTo>
                  <a:pt x="321" y="239"/>
                  <a:pt x="321" y="239"/>
                  <a:pt x="321" y="238"/>
                </a:cubicBezTo>
                <a:cubicBezTo>
                  <a:pt x="321" y="237"/>
                  <a:pt x="321" y="237"/>
                  <a:pt x="321" y="236"/>
                </a:cubicBezTo>
                <a:cubicBezTo>
                  <a:pt x="321" y="236"/>
                  <a:pt x="322" y="235"/>
                  <a:pt x="322" y="235"/>
                </a:cubicBezTo>
                <a:cubicBezTo>
                  <a:pt x="323" y="234"/>
                  <a:pt x="324" y="233"/>
                  <a:pt x="325" y="232"/>
                </a:cubicBezTo>
                <a:cubicBezTo>
                  <a:pt x="326" y="231"/>
                  <a:pt x="327" y="230"/>
                  <a:pt x="328" y="229"/>
                </a:cubicBezTo>
                <a:cubicBezTo>
                  <a:pt x="327" y="229"/>
                  <a:pt x="327" y="229"/>
                  <a:pt x="327" y="228"/>
                </a:cubicBezTo>
                <a:cubicBezTo>
                  <a:pt x="327" y="228"/>
                  <a:pt x="327" y="227"/>
                  <a:pt x="328" y="228"/>
                </a:cubicBezTo>
                <a:cubicBezTo>
                  <a:pt x="328" y="228"/>
                  <a:pt x="328" y="228"/>
                  <a:pt x="328" y="228"/>
                </a:cubicBezTo>
                <a:cubicBezTo>
                  <a:pt x="328" y="228"/>
                  <a:pt x="328" y="229"/>
                  <a:pt x="329" y="229"/>
                </a:cubicBezTo>
                <a:cubicBezTo>
                  <a:pt x="330" y="229"/>
                  <a:pt x="330" y="228"/>
                  <a:pt x="331" y="228"/>
                </a:cubicBezTo>
                <a:cubicBezTo>
                  <a:pt x="331" y="228"/>
                  <a:pt x="332" y="227"/>
                  <a:pt x="332" y="227"/>
                </a:cubicBezTo>
                <a:cubicBezTo>
                  <a:pt x="332" y="227"/>
                  <a:pt x="332" y="227"/>
                  <a:pt x="331" y="227"/>
                </a:cubicBezTo>
                <a:cubicBezTo>
                  <a:pt x="331" y="226"/>
                  <a:pt x="332" y="226"/>
                  <a:pt x="332" y="226"/>
                </a:cubicBezTo>
                <a:cubicBezTo>
                  <a:pt x="332" y="226"/>
                  <a:pt x="332" y="226"/>
                  <a:pt x="333" y="227"/>
                </a:cubicBezTo>
                <a:cubicBezTo>
                  <a:pt x="333" y="228"/>
                  <a:pt x="335" y="228"/>
                  <a:pt x="336" y="227"/>
                </a:cubicBezTo>
                <a:cubicBezTo>
                  <a:pt x="336" y="227"/>
                  <a:pt x="337" y="226"/>
                  <a:pt x="337" y="226"/>
                </a:cubicBezTo>
                <a:cubicBezTo>
                  <a:pt x="338" y="225"/>
                  <a:pt x="338" y="224"/>
                  <a:pt x="339" y="222"/>
                </a:cubicBezTo>
                <a:cubicBezTo>
                  <a:pt x="340" y="225"/>
                  <a:pt x="342" y="227"/>
                  <a:pt x="344" y="229"/>
                </a:cubicBezTo>
                <a:cubicBezTo>
                  <a:pt x="345" y="230"/>
                  <a:pt x="345" y="231"/>
                  <a:pt x="344" y="232"/>
                </a:cubicBezTo>
                <a:cubicBezTo>
                  <a:pt x="343" y="233"/>
                  <a:pt x="342" y="233"/>
                  <a:pt x="342" y="234"/>
                </a:cubicBezTo>
                <a:cubicBezTo>
                  <a:pt x="342" y="234"/>
                  <a:pt x="342" y="235"/>
                  <a:pt x="342" y="235"/>
                </a:cubicBezTo>
                <a:cubicBezTo>
                  <a:pt x="341" y="235"/>
                  <a:pt x="341" y="235"/>
                  <a:pt x="341" y="235"/>
                </a:cubicBezTo>
                <a:cubicBezTo>
                  <a:pt x="340" y="235"/>
                  <a:pt x="339" y="235"/>
                  <a:pt x="338" y="235"/>
                </a:cubicBezTo>
                <a:cubicBezTo>
                  <a:pt x="338" y="235"/>
                  <a:pt x="337" y="235"/>
                  <a:pt x="337" y="235"/>
                </a:cubicBezTo>
                <a:cubicBezTo>
                  <a:pt x="337" y="235"/>
                  <a:pt x="337" y="234"/>
                  <a:pt x="337" y="234"/>
                </a:cubicBezTo>
                <a:cubicBezTo>
                  <a:pt x="337" y="234"/>
                  <a:pt x="337" y="234"/>
                  <a:pt x="336" y="234"/>
                </a:cubicBezTo>
                <a:cubicBezTo>
                  <a:pt x="336" y="235"/>
                  <a:pt x="336" y="235"/>
                  <a:pt x="335" y="236"/>
                </a:cubicBezTo>
                <a:cubicBezTo>
                  <a:pt x="335" y="236"/>
                  <a:pt x="336" y="237"/>
                  <a:pt x="335" y="238"/>
                </a:cubicBezTo>
                <a:cubicBezTo>
                  <a:pt x="335" y="238"/>
                  <a:pt x="334" y="238"/>
                  <a:pt x="334" y="238"/>
                </a:cubicBezTo>
                <a:cubicBezTo>
                  <a:pt x="335" y="239"/>
                  <a:pt x="335" y="238"/>
                  <a:pt x="336" y="238"/>
                </a:cubicBezTo>
                <a:cubicBezTo>
                  <a:pt x="336" y="238"/>
                  <a:pt x="336" y="237"/>
                  <a:pt x="337" y="237"/>
                </a:cubicBezTo>
                <a:cubicBezTo>
                  <a:pt x="337" y="237"/>
                  <a:pt x="337" y="237"/>
                  <a:pt x="337" y="237"/>
                </a:cubicBezTo>
                <a:cubicBezTo>
                  <a:pt x="337" y="237"/>
                  <a:pt x="337" y="237"/>
                  <a:pt x="337" y="237"/>
                </a:cubicBezTo>
                <a:cubicBezTo>
                  <a:pt x="337" y="238"/>
                  <a:pt x="338" y="239"/>
                  <a:pt x="338" y="239"/>
                </a:cubicBezTo>
                <a:cubicBezTo>
                  <a:pt x="339" y="240"/>
                  <a:pt x="340" y="242"/>
                  <a:pt x="341" y="243"/>
                </a:cubicBezTo>
                <a:cubicBezTo>
                  <a:pt x="341" y="243"/>
                  <a:pt x="342" y="244"/>
                  <a:pt x="342" y="244"/>
                </a:cubicBezTo>
                <a:cubicBezTo>
                  <a:pt x="342" y="245"/>
                  <a:pt x="342" y="246"/>
                  <a:pt x="342" y="247"/>
                </a:cubicBezTo>
                <a:cubicBezTo>
                  <a:pt x="342" y="248"/>
                  <a:pt x="342" y="249"/>
                  <a:pt x="342" y="249"/>
                </a:cubicBezTo>
                <a:cubicBezTo>
                  <a:pt x="343" y="249"/>
                  <a:pt x="343" y="250"/>
                  <a:pt x="343" y="250"/>
                </a:cubicBezTo>
                <a:cubicBezTo>
                  <a:pt x="343" y="251"/>
                  <a:pt x="344" y="252"/>
                  <a:pt x="344" y="253"/>
                </a:cubicBezTo>
                <a:cubicBezTo>
                  <a:pt x="344" y="253"/>
                  <a:pt x="344" y="254"/>
                  <a:pt x="345" y="254"/>
                </a:cubicBezTo>
                <a:cubicBezTo>
                  <a:pt x="345" y="254"/>
                  <a:pt x="345" y="254"/>
                  <a:pt x="345" y="254"/>
                </a:cubicBezTo>
                <a:cubicBezTo>
                  <a:pt x="345" y="255"/>
                  <a:pt x="345" y="255"/>
                  <a:pt x="345" y="255"/>
                </a:cubicBezTo>
                <a:cubicBezTo>
                  <a:pt x="344" y="255"/>
                  <a:pt x="345" y="256"/>
                  <a:pt x="345" y="256"/>
                </a:cubicBezTo>
                <a:cubicBezTo>
                  <a:pt x="345" y="257"/>
                  <a:pt x="344" y="257"/>
                  <a:pt x="344" y="258"/>
                </a:cubicBezTo>
                <a:cubicBezTo>
                  <a:pt x="344" y="259"/>
                  <a:pt x="343" y="260"/>
                  <a:pt x="342" y="261"/>
                </a:cubicBezTo>
                <a:cubicBezTo>
                  <a:pt x="342" y="262"/>
                  <a:pt x="341" y="263"/>
                  <a:pt x="340" y="264"/>
                </a:cubicBezTo>
                <a:cubicBezTo>
                  <a:pt x="339" y="265"/>
                  <a:pt x="338" y="266"/>
                  <a:pt x="336" y="266"/>
                </a:cubicBezTo>
                <a:cubicBezTo>
                  <a:pt x="336" y="266"/>
                  <a:pt x="335" y="266"/>
                  <a:pt x="335" y="266"/>
                </a:cubicBezTo>
                <a:cubicBezTo>
                  <a:pt x="334" y="266"/>
                  <a:pt x="334" y="267"/>
                  <a:pt x="333" y="266"/>
                </a:cubicBezTo>
                <a:cubicBezTo>
                  <a:pt x="333" y="266"/>
                  <a:pt x="333" y="266"/>
                  <a:pt x="333" y="266"/>
                </a:cubicBezTo>
                <a:cubicBezTo>
                  <a:pt x="333" y="266"/>
                  <a:pt x="332" y="266"/>
                  <a:pt x="332" y="266"/>
                </a:cubicBezTo>
                <a:cubicBezTo>
                  <a:pt x="330" y="267"/>
                  <a:pt x="329" y="267"/>
                  <a:pt x="328" y="266"/>
                </a:cubicBezTo>
                <a:cubicBezTo>
                  <a:pt x="328" y="266"/>
                  <a:pt x="328" y="265"/>
                  <a:pt x="329" y="265"/>
                </a:cubicBezTo>
                <a:cubicBezTo>
                  <a:pt x="328" y="265"/>
                  <a:pt x="327" y="265"/>
                  <a:pt x="327" y="265"/>
                </a:cubicBezTo>
                <a:cubicBezTo>
                  <a:pt x="326" y="264"/>
                  <a:pt x="326" y="264"/>
                  <a:pt x="325" y="265"/>
                </a:cubicBezTo>
                <a:cubicBezTo>
                  <a:pt x="325" y="265"/>
                  <a:pt x="325" y="265"/>
                  <a:pt x="325" y="265"/>
                </a:cubicBezTo>
                <a:cubicBezTo>
                  <a:pt x="325" y="266"/>
                  <a:pt x="324" y="267"/>
                  <a:pt x="324" y="267"/>
                </a:cubicBezTo>
                <a:cubicBezTo>
                  <a:pt x="323" y="267"/>
                  <a:pt x="323" y="268"/>
                  <a:pt x="323" y="268"/>
                </a:cubicBezTo>
                <a:cubicBezTo>
                  <a:pt x="323" y="268"/>
                  <a:pt x="323" y="269"/>
                  <a:pt x="323" y="269"/>
                </a:cubicBezTo>
                <a:cubicBezTo>
                  <a:pt x="323" y="269"/>
                  <a:pt x="323" y="269"/>
                  <a:pt x="323" y="269"/>
                </a:cubicBezTo>
                <a:cubicBezTo>
                  <a:pt x="323" y="269"/>
                  <a:pt x="323" y="270"/>
                  <a:pt x="322" y="270"/>
                </a:cubicBezTo>
                <a:cubicBezTo>
                  <a:pt x="322" y="270"/>
                  <a:pt x="322" y="270"/>
                  <a:pt x="321" y="271"/>
                </a:cubicBezTo>
                <a:cubicBezTo>
                  <a:pt x="319" y="273"/>
                  <a:pt x="318" y="275"/>
                  <a:pt x="316" y="276"/>
                </a:cubicBezTo>
                <a:cubicBezTo>
                  <a:pt x="316" y="277"/>
                  <a:pt x="315" y="277"/>
                  <a:pt x="315" y="277"/>
                </a:cubicBezTo>
                <a:cubicBezTo>
                  <a:pt x="315" y="277"/>
                  <a:pt x="314" y="278"/>
                  <a:pt x="314" y="278"/>
                </a:cubicBezTo>
                <a:cubicBezTo>
                  <a:pt x="313" y="278"/>
                  <a:pt x="312" y="278"/>
                  <a:pt x="311" y="278"/>
                </a:cubicBezTo>
                <a:cubicBezTo>
                  <a:pt x="311" y="277"/>
                  <a:pt x="311" y="277"/>
                  <a:pt x="311" y="277"/>
                </a:cubicBezTo>
                <a:cubicBezTo>
                  <a:pt x="310" y="277"/>
                  <a:pt x="310" y="277"/>
                  <a:pt x="310" y="277"/>
                </a:cubicBezTo>
                <a:cubicBezTo>
                  <a:pt x="310" y="278"/>
                  <a:pt x="310" y="278"/>
                  <a:pt x="310" y="278"/>
                </a:cubicBezTo>
                <a:cubicBezTo>
                  <a:pt x="309" y="278"/>
                  <a:pt x="309" y="278"/>
                  <a:pt x="309" y="278"/>
                </a:cubicBezTo>
                <a:cubicBezTo>
                  <a:pt x="309" y="278"/>
                  <a:pt x="308" y="278"/>
                  <a:pt x="307" y="278"/>
                </a:cubicBezTo>
                <a:cubicBezTo>
                  <a:pt x="307" y="278"/>
                  <a:pt x="307" y="278"/>
                  <a:pt x="307" y="278"/>
                </a:cubicBezTo>
                <a:cubicBezTo>
                  <a:pt x="307" y="277"/>
                  <a:pt x="308" y="277"/>
                  <a:pt x="308" y="277"/>
                </a:cubicBezTo>
                <a:cubicBezTo>
                  <a:pt x="308" y="276"/>
                  <a:pt x="309" y="276"/>
                  <a:pt x="309" y="275"/>
                </a:cubicBezTo>
                <a:cubicBezTo>
                  <a:pt x="309" y="275"/>
                  <a:pt x="309" y="275"/>
                  <a:pt x="309" y="275"/>
                </a:cubicBezTo>
                <a:cubicBezTo>
                  <a:pt x="308" y="275"/>
                  <a:pt x="308" y="275"/>
                  <a:pt x="308" y="275"/>
                </a:cubicBezTo>
                <a:cubicBezTo>
                  <a:pt x="308" y="275"/>
                  <a:pt x="307" y="275"/>
                  <a:pt x="307" y="275"/>
                </a:cubicBezTo>
                <a:cubicBezTo>
                  <a:pt x="306" y="275"/>
                  <a:pt x="306" y="274"/>
                  <a:pt x="306" y="274"/>
                </a:cubicBezTo>
                <a:cubicBezTo>
                  <a:pt x="306" y="274"/>
                  <a:pt x="306" y="275"/>
                  <a:pt x="306" y="275"/>
                </a:cubicBezTo>
                <a:cubicBezTo>
                  <a:pt x="306" y="275"/>
                  <a:pt x="306" y="275"/>
                  <a:pt x="306" y="275"/>
                </a:cubicBezTo>
                <a:cubicBezTo>
                  <a:pt x="306" y="276"/>
                  <a:pt x="306" y="276"/>
                  <a:pt x="306" y="276"/>
                </a:cubicBezTo>
                <a:cubicBezTo>
                  <a:pt x="306" y="277"/>
                  <a:pt x="305" y="277"/>
                  <a:pt x="305" y="277"/>
                </a:cubicBezTo>
                <a:cubicBezTo>
                  <a:pt x="304" y="277"/>
                  <a:pt x="304" y="277"/>
                  <a:pt x="304" y="276"/>
                </a:cubicBezTo>
                <a:cubicBezTo>
                  <a:pt x="304" y="276"/>
                  <a:pt x="304" y="276"/>
                  <a:pt x="304" y="276"/>
                </a:cubicBezTo>
                <a:cubicBezTo>
                  <a:pt x="304" y="276"/>
                  <a:pt x="305" y="275"/>
                  <a:pt x="305" y="275"/>
                </a:cubicBezTo>
                <a:cubicBezTo>
                  <a:pt x="305" y="275"/>
                  <a:pt x="305" y="274"/>
                  <a:pt x="305" y="274"/>
                </a:cubicBezTo>
                <a:cubicBezTo>
                  <a:pt x="304" y="273"/>
                  <a:pt x="303" y="272"/>
                  <a:pt x="302" y="272"/>
                </a:cubicBezTo>
                <a:cubicBezTo>
                  <a:pt x="302" y="272"/>
                  <a:pt x="301" y="272"/>
                  <a:pt x="301" y="272"/>
                </a:cubicBezTo>
                <a:cubicBezTo>
                  <a:pt x="299" y="272"/>
                  <a:pt x="297" y="273"/>
                  <a:pt x="295" y="275"/>
                </a:cubicBezTo>
                <a:cubicBezTo>
                  <a:pt x="296" y="275"/>
                  <a:pt x="296" y="275"/>
                  <a:pt x="297" y="275"/>
                </a:cubicBezTo>
                <a:cubicBezTo>
                  <a:pt x="297" y="275"/>
                  <a:pt x="296" y="276"/>
                  <a:pt x="296" y="276"/>
                </a:cubicBezTo>
                <a:cubicBezTo>
                  <a:pt x="296" y="277"/>
                  <a:pt x="297" y="276"/>
                  <a:pt x="297" y="276"/>
                </a:cubicBezTo>
                <a:cubicBezTo>
                  <a:pt x="297" y="277"/>
                  <a:pt x="297" y="277"/>
                  <a:pt x="298" y="277"/>
                </a:cubicBezTo>
                <a:cubicBezTo>
                  <a:pt x="298" y="278"/>
                  <a:pt x="299" y="278"/>
                  <a:pt x="300" y="278"/>
                </a:cubicBezTo>
                <a:cubicBezTo>
                  <a:pt x="301" y="278"/>
                  <a:pt x="302" y="279"/>
                  <a:pt x="302" y="280"/>
                </a:cubicBezTo>
                <a:cubicBezTo>
                  <a:pt x="302" y="281"/>
                  <a:pt x="302" y="281"/>
                  <a:pt x="302" y="281"/>
                </a:cubicBezTo>
                <a:cubicBezTo>
                  <a:pt x="302" y="281"/>
                  <a:pt x="303" y="281"/>
                  <a:pt x="303" y="281"/>
                </a:cubicBezTo>
                <a:cubicBezTo>
                  <a:pt x="304" y="281"/>
                  <a:pt x="304" y="281"/>
                  <a:pt x="305" y="281"/>
                </a:cubicBezTo>
                <a:cubicBezTo>
                  <a:pt x="305" y="282"/>
                  <a:pt x="304" y="283"/>
                  <a:pt x="304" y="283"/>
                </a:cubicBezTo>
                <a:cubicBezTo>
                  <a:pt x="304" y="283"/>
                  <a:pt x="303" y="283"/>
                  <a:pt x="303" y="283"/>
                </a:cubicBezTo>
                <a:cubicBezTo>
                  <a:pt x="303" y="284"/>
                  <a:pt x="302" y="284"/>
                  <a:pt x="302" y="284"/>
                </a:cubicBezTo>
                <a:cubicBezTo>
                  <a:pt x="301" y="284"/>
                  <a:pt x="301" y="283"/>
                  <a:pt x="301" y="283"/>
                </a:cubicBezTo>
                <a:cubicBezTo>
                  <a:pt x="301" y="282"/>
                  <a:pt x="301" y="281"/>
                  <a:pt x="300" y="281"/>
                </a:cubicBezTo>
                <a:cubicBezTo>
                  <a:pt x="300" y="281"/>
                  <a:pt x="300" y="281"/>
                  <a:pt x="299" y="281"/>
                </a:cubicBezTo>
                <a:cubicBezTo>
                  <a:pt x="299" y="281"/>
                  <a:pt x="298" y="281"/>
                  <a:pt x="298" y="280"/>
                </a:cubicBezTo>
                <a:cubicBezTo>
                  <a:pt x="298" y="280"/>
                  <a:pt x="298" y="280"/>
                  <a:pt x="298" y="279"/>
                </a:cubicBezTo>
                <a:cubicBezTo>
                  <a:pt x="297" y="280"/>
                  <a:pt x="296" y="279"/>
                  <a:pt x="295" y="278"/>
                </a:cubicBezTo>
                <a:cubicBezTo>
                  <a:pt x="294" y="278"/>
                  <a:pt x="294" y="279"/>
                  <a:pt x="293" y="280"/>
                </a:cubicBezTo>
                <a:cubicBezTo>
                  <a:pt x="293" y="281"/>
                  <a:pt x="292" y="281"/>
                  <a:pt x="292" y="282"/>
                </a:cubicBezTo>
                <a:cubicBezTo>
                  <a:pt x="292" y="283"/>
                  <a:pt x="293" y="283"/>
                  <a:pt x="293" y="284"/>
                </a:cubicBezTo>
                <a:cubicBezTo>
                  <a:pt x="293" y="285"/>
                  <a:pt x="293" y="286"/>
                  <a:pt x="292" y="286"/>
                </a:cubicBezTo>
                <a:cubicBezTo>
                  <a:pt x="292" y="286"/>
                  <a:pt x="292" y="287"/>
                  <a:pt x="292" y="287"/>
                </a:cubicBezTo>
                <a:cubicBezTo>
                  <a:pt x="291" y="287"/>
                  <a:pt x="291" y="287"/>
                  <a:pt x="291" y="288"/>
                </a:cubicBezTo>
                <a:cubicBezTo>
                  <a:pt x="292" y="288"/>
                  <a:pt x="292" y="288"/>
                  <a:pt x="292" y="288"/>
                </a:cubicBezTo>
                <a:cubicBezTo>
                  <a:pt x="292" y="288"/>
                  <a:pt x="292" y="289"/>
                  <a:pt x="292" y="289"/>
                </a:cubicBezTo>
                <a:cubicBezTo>
                  <a:pt x="291" y="289"/>
                  <a:pt x="291" y="290"/>
                  <a:pt x="291" y="290"/>
                </a:cubicBezTo>
                <a:cubicBezTo>
                  <a:pt x="291" y="290"/>
                  <a:pt x="292" y="290"/>
                  <a:pt x="293" y="290"/>
                </a:cubicBezTo>
                <a:cubicBezTo>
                  <a:pt x="294" y="289"/>
                  <a:pt x="295" y="288"/>
                  <a:pt x="296" y="288"/>
                </a:cubicBezTo>
                <a:cubicBezTo>
                  <a:pt x="296" y="288"/>
                  <a:pt x="295" y="289"/>
                  <a:pt x="294" y="290"/>
                </a:cubicBezTo>
                <a:cubicBezTo>
                  <a:pt x="294" y="290"/>
                  <a:pt x="293" y="290"/>
                  <a:pt x="293" y="291"/>
                </a:cubicBezTo>
                <a:cubicBezTo>
                  <a:pt x="292" y="292"/>
                  <a:pt x="293" y="293"/>
                  <a:pt x="293" y="293"/>
                </a:cubicBezTo>
                <a:cubicBezTo>
                  <a:pt x="293" y="294"/>
                  <a:pt x="293" y="294"/>
                  <a:pt x="293" y="294"/>
                </a:cubicBezTo>
                <a:cubicBezTo>
                  <a:pt x="293" y="294"/>
                  <a:pt x="293" y="294"/>
                  <a:pt x="293" y="294"/>
                </a:cubicBezTo>
                <a:cubicBezTo>
                  <a:pt x="292" y="294"/>
                  <a:pt x="291" y="293"/>
                  <a:pt x="291" y="292"/>
                </a:cubicBezTo>
                <a:cubicBezTo>
                  <a:pt x="290" y="292"/>
                  <a:pt x="289" y="292"/>
                  <a:pt x="288" y="293"/>
                </a:cubicBezTo>
                <a:cubicBezTo>
                  <a:pt x="288" y="294"/>
                  <a:pt x="287" y="294"/>
                  <a:pt x="287" y="295"/>
                </a:cubicBezTo>
                <a:cubicBezTo>
                  <a:pt x="286" y="296"/>
                  <a:pt x="286" y="296"/>
                  <a:pt x="286" y="296"/>
                </a:cubicBezTo>
                <a:cubicBezTo>
                  <a:pt x="286" y="297"/>
                  <a:pt x="286" y="297"/>
                  <a:pt x="286" y="297"/>
                </a:cubicBezTo>
                <a:cubicBezTo>
                  <a:pt x="283" y="300"/>
                  <a:pt x="281" y="303"/>
                  <a:pt x="280" y="306"/>
                </a:cubicBezTo>
                <a:cubicBezTo>
                  <a:pt x="280" y="307"/>
                  <a:pt x="280" y="307"/>
                  <a:pt x="280" y="308"/>
                </a:cubicBezTo>
                <a:cubicBezTo>
                  <a:pt x="281" y="309"/>
                  <a:pt x="281" y="310"/>
                  <a:pt x="282" y="310"/>
                </a:cubicBezTo>
                <a:cubicBezTo>
                  <a:pt x="282" y="311"/>
                  <a:pt x="282" y="311"/>
                  <a:pt x="282" y="311"/>
                </a:cubicBezTo>
                <a:cubicBezTo>
                  <a:pt x="282" y="311"/>
                  <a:pt x="281" y="311"/>
                  <a:pt x="281" y="311"/>
                </a:cubicBezTo>
                <a:cubicBezTo>
                  <a:pt x="281" y="311"/>
                  <a:pt x="280" y="311"/>
                  <a:pt x="280" y="311"/>
                </a:cubicBezTo>
                <a:cubicBezTo>
                  <a:pt x="280" y="312"/>
                  <a:pt x="280" y="312"/>
                  <a:pt x="280" y="312"/>
                </a:cubicBezTo>
                <a:cubicBezTo>
                  <a:pt x="280" y="312"/>
                  <a:pt x="279" y="312"/>
                  <a:pt x="279" y="312"/>
                </a:cubicBezTo>
                <a:cubicBezTo>
                  <a:pt x="278" y="312"/>
                  <a:pt x="277" y="312"/>
                  <a:pt x="276" y="312"/>
                </a:cubicBezTo>
                <a:cubicBezTo>
                  <a:pt x="276" y="312"/>
                  <a:pt x="276" y="313"/>
                  <a:pt x="276" y="313"/>
                </a:cubicBezTo>
                <a:cubicBezTo>
                  <a:pt x="276" y="313"/>
                  <a:pt x="277" y="313"/>
                  <a:pt x="277" y="313"/>
                </a:cubicBezTo>
                <a:cubicBezTo>
                  <a:pt x="277" y="313"/>
                  <a:pt x="277" y="314"/>
                  <a:pt x="277" y="314"/>
                </a:cubicBezTo>
                <a:cubicBezTo>
                  <a:pt x="277" y="314"/>
                  <a:pt x="278" y="315"/>
                  <a:pt x="278" y="315"/>
                </a:cubicBezTo>
                <a:cubicBezTo>
                  <a:pt x="279" y="316"/>
                  <a:pt x="279" y="316"/>
                  <a:pt x="279" y="316"/>
                </a:cubicBezTo>
                <a:cubicBezTo>
                  <a:pt x="279" y="316"/>
                  <a:pt x="279" y="316"/>
                  <a:pt x="278" y="316"/>
                </a:cubicBezTo>
                <a:cubicBezTo>
                  <a:pt x="278" y="316"/>
                  <a:pt x="277" y="317"/>
                  <a:pt x="276" y="317"/>
                </a:cubicBezTo>
                <a:cubicBezTo>
                  <a:pt x="276" y="317"/>
                  <a:pt x="276" y="316"/>
                  <a:pt x="275" y="317"/>
                </a:cubicBezTo>
                <a:cubicBezTo>
                  <a:pt x="275" y="317"/>
                  <a:pt x="275" y="317"/>
                  <a:pt x="275" y="318"/>
                </a:cubicBezTo>
                <a:cubicBezTo>
                  <a:pt x="275" y="318"/>
                  <a:pt x="275" y="318"/>
                  <a:pt x="275" y="319"/>
                </a:cubicBezTo>
                <a:cubicBezTo>
                  <a:pt x="275" y="319"/>
                  <a:pt x="275" y="319"/>
                  <a:pt x="275" y="319"/>
                </a:cubicBezTo>
                <a:cubicBezTo>
                  <a:pt x="275" y="319"/>
                  <a:pt x="275" y="320"/>
                  <a:pt x="275" y="320"/>
                </a:cubicBezTo>
                <a:cubicBezTo>
                  <a:pt x="275" y="320"/>
                  <a:pt x="275" y="320"/>
                  <a:pt x="276" y="320"/>
                </a:cubicBezTo>
                <a:cubicBezTo>
                  <a:pt x="276" y="320"/>
                  <a:pt x="276" y="320"/>
                  <a:pt x="276" y="320"/>
                </a:cubicBezTo>
                <a:cubicBezTo>
                  <a:pt x="276" y="320"/>
                  <a:pt x="277" y="320"/>
                  <a:pt x="277" y="319"/>
                </a:cubicBezTo>
                <a:cubicBezTo>
                  <a:pt x="277" y="319"/>
                  <a:pt x="278" y="319"/>
                  <a:pt x="278" y="319"/>
                </a:cubicBezTo>
                <a:cubicBezTo>
                  <a:pt x="278" y="319"/>
                  <a:pt x="278" y="319"/>
                  <a:pt x="278" y="320"/>
                </a:cubicBezTo>
                <a:cubicBezTo>
                  <a:pt x="278" y="320"/>
                  <a:pt x="279" y="320"/>
                  <a:pt x="279" y="320"/>
                </a:cubicBezTo>
                <a:cubicBezTo>
                  <a:pt x="279" y="320"/>
                  <a:pt x="280" y="320"/>
                  <a:pt x="280" y="320"/>
                </a:cubicBezTo>
                <a:cubicBezTo>
                  <a:pt x="280" y="321"/>
                  <a:pt x="280" y="321"/>
                  <a:pt x="280" y="321"/>
                </a:cubicBezTo>
                <a:cubicBezTo>
                  <a:pt x="280" y="322"/>
                  <a:pt x="279" y="322"/>
                  <a:pt x="279" y="323"/>
                </a:cubicBezTo>
                <a:cubicBezTo>
                  <a:pt x="278" y="323"/>
                  <a:pt x="278" y="323"/>
                  <a:pt x="278" y="324"/>
                </a:cubicBezTo>
                <a:cubicBezTo>
                  <a:pt x="278" y="324"/>
                  <a:pt x="278" y="324"/>
                  <a:pt x="278" y="324"/>
                </a:cubicBezTo>
                <a:cubicBezTo>
                  <a:pt x="278" y="325"/>
                  <a:pt x="278" y="325"/>
                  <a:pt x="278" y="325"/>
                </a:cubicBezTo>
                <a:cubicBezTo>
                  <a:pt x="278" y="325"/>
                  <a:pt x="278" y="325"/>
                  <a:pt x="279" y="325"/>
                </a:cubicBezTo>
                <a:cubicBezTo>
                  <a:pt x="279" y="326"/>
                  <a:pt x="279" y="326"/>
                  <a:pt x="279" y="326"/>
                </a:cubicBezTo>
                <a:cubicBezTo>
                  <a:pt x="279" y="326"/>
                  <a:pt x="280" y="326"/>
                  <a:pt x="280" y="326"/>
                </a:cubicBezTo>
                <a:cubicBezTo>
                  <a:pt x="280" y="326"/>
                  <a:pt x="281" y="326"/>
                  <a:pt x="281" y="327"/>
                </a:cubicBezTo>
                <a:cubicBezTo>
                  <a:pt x="282" y="328"/>
                  <a:pt x="281" y="330"/>
                  <a:pt x="282" y="331"/>
                </a:cubicBezTo>
                <a:cubicBezTo>
                  <a:pt x="283" y="331"/>
                  <a:pt x="283" y="331"/>
                  <a:pt x="283" y="332"/>
                </a:cubicBezTo>
                <a:cubicBezTo>
                  <a:pt x="284" y="332"/>
                  <a:pt x="285" y="332"/>
                  <a:pt x="285" y="331"/>
                </a:cubicBezTo>
                <a:cubicBezTo>
                  <a:pt x="286" y="331"/>
                  <a:pt x="285" y="330"/>
                  <a:pt x="285" y="328"/>
                </a:cubicBezTo>
                <a:cubicBezTo>
                  <a:pt x="284" y="327"/>
                  <a:pt x="286" y="327"/>
                  <a:pt x="287" y="327"/>
                </a:cubicBezTo>
                <a:cubicBezTo>
                  <a:pt x="286" y="328"/>
                  <a:pt x="286" y="328"/>
                  <a:pt x="286" y="328"/>
                </a:cubicBezTo>
                <a:cubicBezTo>
                  <a:pt x="286" y="329"/>
                  <a:pt x="286" y="329"/>
                  <a:pt x="286" y="329"/>
                </a:cubicBezTo>
                <a:cubicBezTo>
                  <a:pt x="286" y="329"/>
                  <a:pt x="286" y="329"/>
                  <a:pt x="286" y="329"/>
                </a:cubicBezTo>
                <a:cubicBezTo>
                  <a:pt x="286" y="329"/>
                  <a:pt x="287" y="330"/>
                  <a:pt x="286" y="330"/>
                </a:cubicBezTo>
                <a:cubicBezTo>
                  <a:pt x="287" y="330"/>
                  <a:pt x="288" y="330"/>
                  <a:pt x="288" y="330"/>
                </a:cubicBezTo>
                <a:cubicBezTo>
                  <a:pt x="288" y="330"/>
                  <a:pt x="288" y="331"/>
                  <a:pt x="288" y="332"/>
                </a:cubicBezTo>
                <a:cubicBezTo>
                  <a:pt x="288" y="332"/>
                  <a:pt x="289" y="333"/>
                  <a:pt x="290" y="332"/>
                </a:cubicBezTo>
                <a:cubicBezTo>
                  <a:pt x="290" y="332"/>
                  <a:pt x="290" y="331"/>
                  <a:pt x="291" y="331"/>
                </a:cubicBezTo>
                <a:cubicBezTo>
                  <a:pt x="291" y="331"/>
                  <a:pt x="291" y="331"/>
                  <a:pt x="291" y="331"/>
                </a:cubicBezTo>
                <a:cubicBezTo>
                  <a:pt x="292" y="331"/>
                  <a:pt x="292" y="331"/>
                  <a:pt x="292" y="331"/>
                </a:cubicBezTo>
                <a:cubicBezTo>
                  <a:pt x="292" y="332"/>
                  <a:pt x="293" y="332"/>
                  <a:pt x="294" y="333"/>
                </a:cubicBezTo>
                <a:cubicBezTo>
                  <a:pt x="293" y="333"/>
                  <a:pt x="293" y="333"/>
                  <a:pt x="292" y="333"/>
                </a:cubicBezTo>
                <a:cubicBezTo>
                  <a:pt x="291" y="333"/>
                  <a:pt x="291" y="333"/>
                  <a:pt x="290" y="333"/>
                </a:cubicBezTo>
                <a:cubicBezTo>
                  <a:pt x="290" y="333"/>
                  <a:pt x="290" y="333"/>
                  <a:pt x="289" y="334"/>
                </a:cubicBezTo>
                <a:cubicBezTo>
                  <a:pt x="289" y="334"/>
                  <a:pt x="290" y="334"/>
                  <a:pt x="290" y="335"/>
                </a:cubicBezTo>
                <a:cubicBezTo>
                  <a:pt x="290" y="335"/>
                  <a:pt x="289" y="335"/>
                  <a:pt x="289" y="335"/>
                </a:cubicBezTo>
                <a:cubicBezTo>
                  <a:pt x="289" y="334"/>
                  <a:pt x="288" y="334"/>
                  <a:pt x="288" y="334"/>
                </a:cubicBezTo>
                <a:cubicBezTo>
                  <a:pt x="287" y="334"/>
                  <a:pt x="288" y="335"/>
                  <a:pt x="288" y="335"/>
                </a:cubicBezTo>
                <a:cubicBezTo>
                  <a:pt x="288" y="335"/>
                  <a:pt x="288" y="336"/>
                  <a:pt x="288" y="336"/>
                </a:cubicBezTo>
                <a:cubicBezTo>
                  <a:pt x="289" y="337"/>
                  <a:pt x="290" y="335"/>
                  <a:pt x="291" y="336"/>
                </a:cubicBezTo>
                <a:cubicBezTo>
                  <a:pt x="292" y="336"/>
                  <a:pt x="292" y="336"/>
                  <a:pt x="292" y="336"/>
                </a:cubicBezTo>
                <a:cubicBezTo>
                  <a:pt x="293" y="336"/>
                  <a:pt x="293" y="336"/>
                  <a:pt x="294" y="336"/>
                </a:cubicBezTo>
                <a:cubicBezTo>
                  <a:pt x="294" y="336"/>
                  <a:pt x="294" y="336"/>
                  <a:pt x="295" y="337"/>
                </a:cubicBezTo>
                <a:cubicBezTo>
                  <a:pt x="295" y="337"/>
                  <a:pt x="295" y="337"/>
                  <a:pt x="295" y="337"/>
                </a:cubicBezTo>
                <a:cubicBezTo>
                  <a:pt x="295" y="338"/>
                  <a:pt x="296" y="338"/>
                  <a:pt x="296" y="338"/>
                </a:cubicBezTo>
                <a:cubicBezTo>
                  <a:pt x="297" y="338"/>
                  <a:pt x="297" y="337"/>
                  <a:pt x="298" y="337"/>
                </a:cubicBezTo>
                <a:cubicBezTo>
                  <a:pt x="298" y="337"/>
                  <a:pt x="299" y="338"/>
                  <a:pt x="299" y="338"/>
                </a:cubicBezTo>
                <a:cubicBezTo>
                  <a:pt x="300" y="338"/>
                  <a:pt x="301" y="338"/>
                  <a:pt x="301" y="337"/>
                </a:cubicBezTo>
                <a:cubicBezTo>
                  <a:pt x="301" y="337"/>
                  <a:pt x="301" y="336"/>
                  <a:pt x="301" y="336"/>
                </a:cubicBezTo>
                <a:cubicBezTo>
                  <a:pt x="301" y="335"/>
                  <a:pt x="302" y="335"/>
                  <a:pt x="302" y="334"/>
                </a:cubicBezTo>
                <a:cubicBezTo>
                  <a:pt x="302" y="334"/>
                  <a:pt x="302" y="334"/>
                  <a:pt x="302" y="333"/>
                </a:cubicBezTo>
                <a:cubicBezTo>
                  <a:pt x="302" y="333"/>
                  <a:pt x="302" y="333"/>
                  <a:pt x="302" y="333"/>
                </a:cubicBezTo>
                <a:cubicBezTo>
                  <a:pt x="303" y="333"/>
                  <a:pt x="303" y="333"/>
                  <a:pt x="303" y="334"/>
                </a:cubicBezTo>
                <a:cubicBezTo>
                  <a:pt x="303" y="334"/>
                  <a:pt x="303" y="334"/>
                  <a:pt x="303" y="335"/>
                </a:cubicBezTo>
                <a:cubicBezTo>
                  <a:pt x="303" y="335"/>
                  <a:pt x="304" y="336"/>
                  <a:pt x="304" y="336"/>
                </a:cubicBezTo>
                <a:cubicBezTo>
                  <a:pt x="303" y="337"/>
                  <a:pt x="302" y="337"/>
                  <a:pt x="302" y="337"/>
                </a:cubicBezTo>
                <a:cubicBezTo>
                  <a:pt x="302" y="338"/>
                  <a:pt x="303" y="338"/>
                  <a:pt x="303" y="338"/>
                </a:cubicBezTo>
                <a:cubicBezTo>
                  <a:pt x="304" y="338"/>
                  <a:pt x="304" y="337"/>
                  <a:pt x="304" y="337"/>
                </a:cubicBezTo>
                <a:cubicBezTo>
                  <a:pt x="305" y="336"/>
                  <a:pt x="306" y="335"/>
                  <a:pt x="307" y="334"/>
                </a:cubicBezTo>
                <a:cubicBezTo>
                  <a:pt x="307" y="335"/>
                  <a:pt x="307" y="335"/>
                  <a:pt x="306" y="336"/>
                </a:cubicBezTo>
                <a:cubicBezTo>
                  <a:pt x="306" y="336"/>
                  <a:pt x="305" y="337"/>
                  <a:pt x="305" y="337"/>
                </a:cubicBezTo>
                <a:cubicBezTo>
                  <a:pt x="306" y="338"/>
                  <a:pt x="306" y="338"/>
                  <a:pt x="307" y="338"/>
                </a:cubicBezTo>
                <a:cubicBezTo>
                  <a:pt x="308" y="339"/>
                  <a:pt x="308" y="339"/>
                  <a:pt x="308" y="339"/>
                </a:cubicBezTo>
                <a:cubicBezTo>
                  <a:pt x="308" y="338"/>
                  <a:pt x="308" y="338"/>
                  <a:pt x="308" y="338"/>
                </a:cubicBezTo>
                <a:cubicBezTo>
                  <a:pt x="309" y="338"/>
                  <a:pt x="309" y="337"/>
                  <a:pt x="309" y="337"/>
                </a:cubicBezTo>
                <a:cubicBezTo>
                  <a:pt x="310" y="337"/>
                  <a:pt x="310" y="337"/>
                  <a:pt x="310" y="338"/>
                </a:cubicBezTo>
                <a:cubicBezTo>
                  <a:pt x="311" y="338"/>
                  <a:pt x="311" y="338"/>
                  <a:pt x="311" y="338"/>
                </a:cubicBezTo>
                <a:cubicBezTo>
                  <a:pt x="311" y="339"/>
                  <a:pt x="310" y="339"/>
                  <a:pt x="310" y="339"/>
                </a:cubicBezTo>
                <a:cubicBezTo>
                  <a:pt x="309" y="339"/>
                  <a:pt x="309" y="340"/>
                  <a:pt x="309" y="340"/>
                </a:cubicBezTo>
                <a:cubicBezTo>
                  <a:pt x="310" y="340"/>
                  <a:pt x="310" y="340"/>
                  <a:pt x="310" y="341"/>
                </a:cubicBezTo>
                <a:cubicBezTo>
                  <a:pt x="310" y="341"/>
                  <a:pt x="310" y="341"/>
                  <a:pt x="310" y="342"/>
                </a:cubicBezTo>
                <a:cubicBezTo>
                  <a:pt x="310" y="342"/>
                  <a:pt x="310" y="343"/>
                  <a:pt x="309" y="343"/>
                </a:cubicBezTo>
                <a:cubicBezTo>
                  <a:pt x="309" y="344"/>
                  <a:pt x="308" y="344"/>
                  <a:pt x="308" y="345"/>
                </a:cubicBezTo>
                <a:cubicBezTo>
                  <a:pt x="307" y="345"/>
                  <a:pt x="307" y="345"/>
                  <a:pt x="307" y="345"/>
                </a:cubicBezTo>
                <a:cubicBezTo>
                  <a:pt x="306" y="345"/>
                  <a:pt x="305" y="345"/>
                  <a:pt x="305" y="344"/>
                </a:cubicBezTo>
                <a:cubicBezTo>
                  <a:pt x="305" y="344"/>
                  <a:pt x="305" y="343"/>
                  <a:pt x="305" y="342"/>
                </a:cubicBezTo>
                <a:cubicBezTo>
                  <a:pt x="306" y="342"/>
                  <a:pt x="306" y="342"/>
                  <a:pt x="306" y="342"/>
                </a:cubicBezTo>
                <a:cubicBezTo>
                  <a:pt x="306" y="342"/>
                  <a:pt x="306" y="341"/>
                  <a:pt x="305" y="341"/>
                </a:cubicBezTo>
                <a:cubicBezTo>
                  <a:pt x="305" y="341"/>
                  <a:pt x="305" y="340"/>
                  <a:pt x="304" y="340"/>
                </a:cubicBezTo>
                <a:cubicBezTo>
                  <a:pt x="303" y="340"/>
                  <a:pt x="302" y="341"/>
                  <a:pt x="302" y="341"/>
                </a:cubicBezTo>
                <a:cubicBezTo>
                  <a:pt x="302" y="342"/>
                  <a:pt x="301" y="342"/>
                  <a:pt x="301" y="342"/>
                </a:cubicBezTo>
                <a:cubicBezTo>
                  <a:pt x="301" y="343"/>
                  <a:pt x="301" y="343"/>
                  <a:pt x="301" y="343"/>
                </a:cubicBezTo>
                <a:cubicBezTo>
                  <a:pt x="300" y="343"/>
                  <a:pt x="300" y="343"/>
                  <a:pt x="300" y="343"/>
                </a:cubicBezTo>
                <a:cubicBezTo>
                  <a:pt x="299" y="344"/>
                  <a:pt x="299" y="345"/>
                  <a:pt x="298" y="345"/>
                </a:cubicBezTo>
                <a:cubicBezTo>
                  <a:pt x="298" y="344"/>
                  <a:pt x="299" y="344"/>
                  <a:pt x="299" y="343"/>
                </a:cubicBezTo>
                <a:cubicBezTo>
                  <a:pt x="300" y="342"/>
                  <a:pt x="300" y="341"/>
                  <a:pt x="299" y="340"/>
                </a:cubicBezTo>
                <a:cubicBezTo>
                  <a:pt x="299" y="340"/>
                  <a:pt x="299" y="340"/>
                  <a:pt x="299" y="340"/>
                </a:cubicBezTo>
                <a:cubicBezTo>
                  <a:pt x="299" y="340"/>
                  <a:pt x="299" y="340"/>
                  <a:pt x="299" y="340"/>
                </a:cubicBezTo>
                <a:cubicBezTo>
                  <a:pt x="297" y="339"/>
                  <a:pt x="295" y="339"/>
                  <a:pt x="294" y="338"/>
                </a:cubicBezTo>
                <a:cubicBezTo>
                  <a:pt x="294" y="338"/>
                  <a:pt x="294" y="337"/>
                  <a:pt x="294" y="337"/>
                </a:cubicBezTo>
                <a:cubicBezTo>
                  <a:pt x="293" y="337"/>
                  <a:pt x="293" y="337"/>
                  <a:pt x="292" y="337"/>
                </a:cubicBezTo>
                <a:cubicBezTo>
                  <a:pt x="292" y="337"/>
                  <a:pt x="292" y="337"/>
                  <a:pt x="291" y="337"/>
                </a:cubicBezTo>
                <a:cubicBezTo>
                  <a:pt x="291" y="338"/>
                  <a:pt x="291" y="338"/>
                  <a:pt x="290" y="339"/>
                </a:cubicBezTo>
                <a:cubicBezTo>
                  <a:pt x="291" y="338"/>
                  <a:pt x="291" y="338"/>
                  <a:pt x="292" y="338"/>
                </a:cubicBezTo>
                <a:cubicBezTo>
                  <a:pt x="292" y="339"/>
                  <a:pt x="290" y="339"/>
                  <a:pt x="290" y="340"/>
                </a:cubicBezTo>
                <a:cubicBezTo>
                  <a:pt x="290" y="341"/>
                  <a:pt x="290" y="341"/>
                  <a:pt x="290" y="342"/>
                </a:cubicBezTo>
                <a:cubicBezTo>
                  <a:pt x="290" y="342"/>
                  <a:pt x="289" y="342"/>
                  <a:pt x="289" y="343"/>
                </a:cubicBezTo>
                <a:cubicBezTo>
                  <a:pt x="288" y="343"/>
                  <a:pt x="288" y="343"/>
                  <a:pt x="287" y="344"/>
                </a:cubicBezTo>
                <a:cubicBezTo>
                  <a:pt x="287" y="344"/>
                  <a:pt x="287" y="345"/>
                  <a:pt x="286" y="345"/>
                </a:cubicBezTo>
                <a:cubicBezTo>
                  <a:pt x="286" y="345"/>
                  <a:pt x="286" y="345"/>
                  <a:pt x="285" y="345"/>
                </a:cubicBezTo>
                <a:cubicBezTo>
                  <a:pt x="285" y="345"/>
                  <a:pt x="285" y="346"/>
                  <a:pt x="285" y="346"/>
                </a:cubicBezTo>
                <a:cubicBezTo>
                  <a:pt x="285" y="347"/>
                  <a:pt x="286" y="347"/>
                  <a:pt x="286" y="347"/>
                </a:cubicBezTo>
                <a:cubicBezTo>
                  <a:pt x="287" y="348"/>
                  <a:pt x="288" y="347"/>
                  <a:pt x="288" y="347"/>
                </a:cubicBezTo>
                <a:cubicBezTo>
                  <a:pt x="289" y="346"/>
                  <a:pt x="290" y="346"/>
                  <a:pt x="290" y="347"/>
                </a:cubicBezTo>
                <a:cubicBezTo>
                  <a:pt x="291" y="347"/>
                  <a:pt x="290" y="347"/>
                  <a:pt x="290" y="348"/>
                </a:cubicBezTo>
                <a:cubicBezTo>
                  <a:pt x="289" y="348"/>
                  <a:pt x="289" y="348"/>
                  <a:pt x="289" y="349"/>
                </a:cubicBezTo>
                <a:cubicBezTo>
                  <a:pt x="289" y="349"/>
                  <a:pt x="289" y="350"/>
                  <a:pt x="289" y="350"/>
                </a:cubicBezTo>
                <a:cubicBezTo>
                  <a:pt x="292" y="353"/>
                  <a:pt x="296" y="354"/>
                  <a:pt x="297" y="357"/>
                </a:cubicBezTo>
                <a:cubicBezTo>
                  <a:pt x="298" y="358"/>
                  <a:pt x="298" y="359"/>
                  <a:pt x="298" y="359"/>
                </a:cubicBezTo>
                <a:cubicBezTo>
                  <a:pt x="299" y="359"/>
                  <a:pt x="299" y="359"/>
                  <a:pt x="299" y="359"/>
                </a:cubicBezTo>
                <a:cubicBezTo>
                  <a:pt x="300" y="359"/>
                  <a:pt x="300" y="360"/>
                  <a:pt x="301" y="360"/>
                </a:cubicBezTo>
                <a:cubicBezTo>
                  <a:pt x="301" y="360"/>
                  <a:pt x="301" y="361"/>
                  <a:pt x="301" y="361"/>
                </a:cubicBezTo>
                <a:cubicBezTo>
                  <a:pt x="301" y="361"/>
                  <a:pt x="301" y="361"/>
                  <a:pt x="300" y="361"/>
                </a:cubicBezTo>
                <a:cubicBezTo>
                  <a:pt x="300" y="361"/>
                  <a:pt x="300" y="362"/>
                  <a:pt x="300" y="362"/>
                </a:cubicBezTo>
                <a:cubicBezTo>
                  <a:pt x="301" y="362"/>
                  <a:pt x="301" y="363"/>
                  <a:pt x="301" y="363"/>
                </a:cubicBezTo>
                <a:cubicBezTo>
                  <a:pt x="301" y="364"/>
                  <a:pt x="301" y="364"/>
                  <a:pt x="301" y="364"/>
                </a:cubicBezTo>
                <a:cubicBezTo>
                  <a:pt x="302" y="364"/>
                  <a:pt x="302" y="365"/>
                  <a:pt x="302" y="365"/>
                </a:cubicBezTo>
                <a:cubicBezTo>
                  <a:pt x="308" y="367"/>
                  <a:pt x="315" y="365"/>
                  <a:pt x="319" y="360"/>
                </a:cubicBezTo>
                <a:cubicBezTo>
                  <a:pt x="319" y="361"/>
                  <a:pt x="320" y="361"/>
                  <a:pt x="321" y="361"/>
                </a:cubicBezTo>
                <a:cubicBezTo>
                  <a:pt x="322" y="360"/>
                  <a:pt x="322" y="359"/>
                  <a:pt x="322" y="359"/>
                </a:cubicBezTo>
                <a:cubicBezTo>
                  <a:pt x="323" y="357"/>
                  <a:pt x="323" y="356"/>
                  <a:pt x="322" y="355"/>
                </a:cubicBezTo>
                <a:cubicBezTo>
                  <a:pt x="321" y="354"/>
                  <a:pt x="320" y="354"/>
                  <a:pt x="320" y="354"/>
                </a:cubicBezTo>
                <a:cubicBezTo>
                  <a:pt x="320" y="352"/>
                  <a:pt x="322" y="351"/>
                  <a:pt x="322" y="350"/>
                </a:cubicBezTo>
                <a:cubicBezTo>
                  <a:pt x="323" y="349"/>
                  <a:pt x="323" y="348"/>
                  <a:pt x="323" y="347"/>
                </a:cubicBezTo>
                <a:cubicBezTo>
                  <a:pt x="324" y="347"/>
                  <a:pt x="324" y="346"/>
                  <a:pt x="324" y="345"/>
                </a:cubicBezTo>
                <a:cubicBezTo>
                  <a:pt x="324" y="345"/>
                  <a:pt x="324" y="344"/>
                  <a:pt x="325" y="344"/>
                </a:cubicBezTo>
                <a:cubicBezTo>
                  <a:pt x="325" y="344"/>
                  <a:pt x="326" y="344"/>
                  <a:pt x="326" y="343"/>
                </a:cubicBezTo>
                <a:cubicBezTo>
                  <a:pt x="326" y="343"/>
                  <a:pt x="327" y="343"/>
                  <a:pt x="327" y="342"/>
                </a:cubicBezTo>
                <a:cubicBezTo>
                  <a:pt x="327" y="342"/>
                  <a:pt x="327" y="342"/>
                  <a:pt x="327" y="342"/>
                </a:cubicBezTo>
                <a:cubicBezTo>
                  <a:pt x="327" y="342"/>
                  <a:pt x="328" y="343"/>
                  <a:pt x="328" y="342"/>
                </a:cubicBezTo>
                <a:cubicBezTo>
                  <a:pt x="329" y="342"/>
                  <a:pt x="329" y="342"/>
                  <a:pt x="330" y="342"/>
                </a:cubicBezTo>
                <a:cubicBezTo>
                  <a:pt x="329" y="344"/>
                  <a:pt x="327" y="345"/>
                  <a:pt x="326" y="346"/>
                </a:cubicBezTo>
                <a:cubicBezTo>
                  <a:pt x="325" y="348"/>
                  <a:pt x="325" y="349"/>
                  <a:pt x="324" y="350"/>
                </a:cubicBezTo>
                <a:cubicBezTo>
                  <a:pt x="324" y="351"/>
                  <a:pt x="323" y="352"/>
                  <a:pt x="323" y="353"/>
                </a:cubicBezTo>
                <a:cubicBezTo>
                  <a:pt x="324" y="354"/>
                  <a:pt x="325" y="354"/>
                  <a:pt x="326" y="355"/>
                </a:cubicBezTo>
                <a:cubicBezTo>
                  <a:pt x="327" y="357"/>
                  <a:pt x="325" y="359"/>
                  <a:pt x="326" y="361"/>
                </a:cubicBezTo>
                <a:cubicBezTo>
                  <a:pt x="326" y="361"/>
                  <a:pt x="327" y="361"/>
                  <a:pt x="327" y="362"/>
                </a:cubicBezTo>
                <a:cubicBezTo>
                  <a:pt x="327" y="362"/>
                  <a:pt x="327" y="362"/>
                  <a:pt x="327" y="363"/>
                </a:cubicBezTo>
                <a:cubicBezTo>
                  <a:pt x="329" y="366"/>
                  <a:pt x="330" y="369"/>
                  <a:pt x="332" y="372"/>
                </a:cubicBezTo>
                <a:cubicBezTo>
                  <a:pt x="332" y="372"/>
                  <a:pt x="332" y="373"/>
                  <a:pt x="332" y="374"/>
                </a:cubicBezTo>
                <a:cubicBezTo>
                  <a:pt x="332" y="374"/>
                  <a:pt x="331" y="374"/>
                  <a:pt x="331" y="374"/>
                </a:cubicBezTo>
                <a:cubicBezTo>
                  <a:pt x="331" y="374"/>
                  <a:pt x="331" y="375"/>
                  <a:pt x="331" y="375"/>
                </a:cubicBezTo>
                <a:cubicBezTo>
                  <a:pt x="330" y="375"/>
                  <a:pt x="330" y="375"/>
                  <a:pt x="329" y="376"/>
                </a:cubicBezTo>
                <a:cubicBezTo>
                  <a:pt x="329" y="376"/>
                  <a:pt x="329" y="377"/>
                  <a:pt x="329" y="377"/>
                </a:cubicBezTo>
                <a:cubicBezTo>
                  <a:pt x="329" y="378"/>
                  <a:pt x="329" y="379"/>
                  <a:pt x="329" y="379"/>
                </a:cubicBezTo>
                <a:cubicBezTo>
                  <a:pt x="329" y="380"/>
                  <a:pt x="329" y="380"/>
                  <a:pt x="328" y="380"/>
                </a:cubicBezTo>
                <a:cubicBezTo>
                  <a:pt x="328" y="381"/>
                  <a:pt x="328" y="381"/>
                  <a:pt x="328" y="381"/>
                </a:cubicBezTo>
                <a:cubicBezTo>
                  <a:pt x="329" y="381"/>
                  <a:pt x="329" y="381"/>
                  <a:pt x="329" y="382"/>
                </a:cubicBezTo>
                <a:cubicBezTo>
                  <a:pt x="329" y="382"/>
                  <a:pt x="329" y="383"/>
                  <a:pt x="329" y="383"/>
                </a:cubicBezTo>
                <a:cubicBezTo>
                  <a:pt x="329" y="384"/>
                  <a:pt x="330" y="383"/>
                  <a:pt x="330" y="383"/>
                </a:cubicBezTo>
                <a:cubicBezTo>
                  <a:pt x="330" y="383"/>
                  <a:pt x="331" y="383"/>
                  <a:pt x="331" y="383"/>
                </a:cubicBezTo>
                <a:cubicBezTo>
                  <a:pt x="331" y="383"/>
                  <a:pt x="332" y="383"/>
                  <a:pt x="332" y="383"/>
                </a:cubicBezTo>
                <a:cubicBezTo>
                  <a:pt x="333" y="383"/>
                  <a:pt x="333" y="383"/>
                  <a:pt x="334" y="383"/>
                </a:cubicBezTo>
                <a:cubicBezTo>
                  <a:pt x="334" y="384"/>
                  <a:pt x="333" y="384"/>
                  <a:pt x="333" y="385"/>
                </a:cubicBezTo>
                <a:cubicBezTo>
                  <a:pt x="332" y="385"/>
                  <a:pt x="332" y="385"/>
                  <a:pt x="332" y="385"/>
                </a:cubicBezTo>
                <a:cubicBezTo>
                  <a:pt x="332" y="385"/>
                  <a:pt x="332" y="385"/>
                  <a:pt x="331" y="385"/>
                </a:cubicBezTo>
                <a:cubicBezTo>
                  <a:pt x="331" y="385"/>
                  <a:pt x="331" y="385"/>
                  <a:pt x="331" y="386"/>
                </a:cubicBezTo>
                <a:cubicBezTo>
                  <a:pt x="331" y="386"/>
                  <a:pt x="331" y="387"/>
                  <a:pt x="331" y="388"/>
                </a:cubicBezTo>
                <a:cubicBezTo>
                  <a:pt x="331" y="388"/>
                  <a:pt x="331" y="389"/>
                  <a:pt x="331" y="389"/>
                </a:cubicBezTo>
                <a:cubicBezTo>
                  <a:pt x="331" y="389"/>
                  <a:pt x="331" y="389"/>
                  <a:pt x="331" y="390"/>
                </a:cubicBezTo>
                <a:cubicBezTo>
                  <a:pt x="331" y="390"/>
                  <a:pt x="332" y="390"/>
                  <a:pt x="332" y="390"/>
                </a:cubicBezTo>
                <a:cubicBezTo>
                  <a:pt x="332" y="390"/>
                  <a:pt x="332" y="390"/>
                  <a:pt x="332" y="390"/>
                </a:cubicBezTo>
                <a:cubicBezTo>
                  <a:pt x="332" y="390"/>
                  <a:pt x="332" y="390"/>
                  <a:pt x="333" y="390"/>
                </a:cubicBezTo>
                <a:cubicBezTo>
                  <a:pt x="333" y="389"/>
                  <a:pt x="333" y="389"/>
                  <a:pt x="334" y="389"/>
                </a:cubicBezTo>
                <a:cubicBezTo>
                  <a:pt x="334" y="389"/>
                  <a:pt x="334" y="389"/>
                  <a:pt x="334" y="390"/>
                </a:cubicBezTo>
                <a:cubicBezTo>
                  <a:pt x="334" y="390"/>
                  <a:pt x="334" y="390"/>
                  <a:pt x="334" y="390"/>
                </a:cubicBezTo>
                <a:cubicBezTo>
                  <a:pt x="333" y="390"/>
                  <a:pt x="333" y="390"/>
                  <a:pt x="333" y="390"/>
                </a:cubicBezTo>
                <a:cubicBezTo>
                  <a:pt x="333" y="391"/>
                  <a:pt x="333" y="391"/>
                  <a:pt x="333" y="391"/>
                </a:cubicBezTo>
                <a:cubicBezTo>
                  <a:pt x="333" y="391"/>
                  <a:pt x="332" y="391"/>
                  <a:pt x="332" y="392"/>
                </a:cubicBezTo>
                <a:cubicBezTo>
                  <a:pt x="332" y="392"/>
                  <a:pt x="332" y="392"/>
                  <a:pt x="332" y="392"/>
                </a:cubicBezTo>
                <a:cubicBezTo>
                  <a:pt x="332" y="392"/>
                  <a:pt x="332" y="392"/>
                  <a:pt x="331" y="392"/>
                </a:cubicBezTo>
                <a:cubicBezTo>
                  <a:pt x="331" y="392"/>
                  <a:pt x="330" y="392"/>
                  <a:pt x="330" y="393"/>
                </a:cubicBezTo>
                <a:cubicBezTo>
                  <a:pt x="331" y="393"/>
                  <a:pt x="331" y="393"/>
                  <a:pt x="331" y="393"/>
                </a:cubicBezTo>
                <a:cubicBezTo>
                  <a:pt x="331" y="394"/>
                  <a:pt x="331" y="394"/>
                  <a:pt x="330" y="394"/>
                </a:cubicBezTo>
                <a:cubicBezTo>
                  <a:pt x="330" y="394"/>
                  <a:pt x="330" y="394"/>
                  <a:pt x="329" y="394"/>
                </a:cubicBezTo>
                <a:cubicBezTo>
                  <a:pt x="329" y="394"/>
                  <a:pt x="329" y="394"/>
                  <a:pt x="329" y="394"/>
                </a:cubicBezTo>
                <a:cubicBezTo>
                  <a:pt x="328" y="394"/>
                  <a:pt x="328" y="394"/>
                  <a:pt x="327" y="394"/>
                </a:cubicBezTo>
                <a:cubicBezTo>
                  <a:pt x="327" y="394"/>
                  <a:pt x="327" y="394"/>
                  <a:pt x="327" y="394"/>
                </a:cubicBezTo>
                <a:cubicBezTo>
                  <a:pt x="327" y="394"/>
                  <a:pt x="327" y="395"/>
                  <a:pt x="328" y="395"/>
                </a:cubicBezTo>
                <a:cubicBezTo>
                  <a:pt x="329" y="395"/>
                  <a:pt x="330" y="395"/>
                  <a:pt x="330" y="395"/>
                </a:cubicBezTo>
                <a:cubicBezTo>
                  <a:pt x="331" y="395"/>
                  <a:pt x="331" y="395"/>
                  <a:pt x="331" y="395"/>
                </a:cubicBezTo>
                <a:cubicBezTo>
                  <a:pt x="331" y="395"/>
                  <a:pt x="331" y="396"/>
                  <a:pt x="331" y="396"/>
                </a:cubicBezTo>
                <a:cubicBezTo>
                  <a:pt x="331" y="396"/>
                  <a:pt x="331" y="396"/>
                  <a:pt x="332" y="397"/>
                </a:cubicBezTo>
                <a:cubicBezTo>
                  <a:pt x="332" y="397"/>
                  <a:pt x="332" y="396"/>
                  <a:pt x="333" y="396"/>
                </a:cubicBezTo>
                <a:cubicBezTo>
                  <a:pt x="334" y="395"/>
                  <a:pt x="336" y="395"/>
                  <a:pt x="336" y="394"/>
                </a:cubicBezTo>
                <a:cubicBezTo>
                  <a:pt x="337" y="393"/>
                  <a:pt x="337" y="393"/>
                  <a:pt x="337" y="392"/>
                </a:cubicBezTo>
                <a:cubicBezTo>
                  <a:pt x="338" y="392"/>
                  <a:pt x="338" y="391"/>
                  <a:pt x="339" y="390"/>
                </a:cubicBezTo>
                <a:cubicBezTo>
                  <a:pt x="339" y="390"/>
                  <a:pt x="339" y="390"/>
                  <a:pt x="339" y="390"/>
                </a:cubicBezTo>
                <a:cubicBezTo>
                  <a:pt x="340" y="390"/>
                  <a:pt x="340" y="390"/>
                  <a:pt x="340" y="390"/>
                </a:cubicBezTo>
                <a:cubicBezTo>
                  <a:pt x="340" y="391"/>
                  <a:pt x="341" y="390"/>
                  <a:pt x="341" y="390"/>
                </a:cubicBezTo>
                <a:cubicBezTo>
                  <a:pt x="342" y="389"/>
                  <a:pt x="342" y="389"/>
                  <a:pt x="343" y="389"/>
                </a:cubicBezTo>
                <a:cubicBezTo>
                  <a:pt x="343" y="389"/>
                  <a:pt x="343" y="389"/>
                  <a:pt x="343" y="389"/>
                </a:cubicBezTo>
                <a:cubicBezTo>
                  <a:pt x="343" y="389"/>
                  <a:pt x="344" y="389"/>
                  <a:pt x="344" y="389"/>
                </a:cubicBezTo>
                <a:cubicBezTo>
                  <a:pt x="346" y="387"/>
                  <a:pt x="348" y="386"/>
                  <a:pt x="350" y="384"/>
                </a:cubicBezTo>
                <a:cubicBezTo>
                  <a:pt x="350" y="385"/>
                  <a:pt x="350" y="385"/>
                  <a:pt x="351" y="386"/>
                </a:cubicBezTo>
                <a:cubicBezTo>
                  <a:pt x="350" y="386"/>
                  <a:pt x="350" y="386"/>
                  <a:pt x="350" y="387"/>
                </a:cubicBezTo>
                <a:cubicBezTo>
                  <a:pt x="350" y="387"/>
                  <a:pt x="350" y="387"/>
                  <a:pt x="351" y="387"/>
                </a:cubicBezTo>
                <a:cubicBezTo>
                  <a:pt x="351" y="387"/>
                  <a:pt x="351" y="388"/>
                  <a:pt x="351" y="388"/>
                </a:cubicBezTo>
                <a:cubicBezTo>
                  <a:pt x="352" y="388"/>
                  <a:pt x="352" y="388"/>
                  <a:pt x="352" y="388"/>
                </a:cubicBezTo>
                <a:cubicBezTo>
                  <a:pt x="352" y="388"/>
                  <a:pt x="353" y="389"/>
                  <a:pt x="353" y="389"/>
                </a:cubicBezTo>
                <a:cubicBezTo>
                  <a:pt x="353" y="389"/>
                  <a:pt x="354" y="389"/>
                  <a:pt x="354" y="389"/>
                </a:cubicBezTo>
                <a:cubicBezTo>
                  <a:pt x="354" y="388"/>
                  <a:pt x="354" y="388"/>
                  <a:pt x="355" y="388"/>
                </a:cubicBezTo>
                <a:cubicBezTo>
                  <a:pt x="355" y="389"/>
                  <a:pt x="355" y="389"/>
                  <a:pt x="355" y="389"/>
                </a:cubicBezTo>
                <a:cubicBezTo>
                  <a:pt x="355" y="389"/>
                  <a:pt x="355" y="390"/>
                  <a:pt x="355" y="390"/>
                </a:cubicBezTo>
                <a:cubicBezTo>
                  <a:pt x="355" y="391"/>
                  <a:pt x="356" y="391"/>
                  <a:pt x="356" y="391"/>
                </a:cubicBezTo>
                <a:cubicBezTo>
                  <a:pt x="356" y="391"/>
                  <a:pt x="356" y="390"/>
                  <a:pt x="356" y="390"/>
                </a:cubicBezTo>
                <a:cubicBezTo>
                  <a:pt x="357" y="389"/>
                  <a:pt x="357" y="389"/>
                  <a:pt x="357" y="388"/>
                </a:cubicBezTo>
                <a:cubicBezTo>
                  <a:pt x="358" y="388"/>
                  <a:pt x="357" y="388"/>
                  <a:pt x="357" y="388"/>
                </a:cubicBezTo>
                <a:cubicBezTo>
                  <a:pt x="357" y="387"/>
                  <a:pt x="358" y="387"/>
                  <a:pt x="359" y="387"/>
                </a:cubicBezTo>
                <a:cubicBezTo>
                  <a:pt x="359" y="387"/>
                  <a:pt x="360" y="388"/>
                  <a:pt x="359" y="388"/>
                </a:cubicBezTo>
                <a:cubicBezTo>
                  <a:pt x="359" y="388"/>
                  <a:pt x="359" y="389"/>
                  <a:pt x="359" y="389"/>
                </a:cubicBezTo>
                <a:cubicBezTo>
                  <a:pt x="359" y="390"/>
                  <a:pt x="360" y="390"/>
                  <a:pt x="360" y="390"/>
                </a:cubicBezTo>
                <a:cubicBezTo>
                  <a:pt x="361" y="390"/>
                  <a:pt x="361" y="390"/>
                  <a:pt x="362" y="391"/>
                </a:cubicBezTo>
                <a:cubicBezTo>
                  <a:pt x="363" y="391"/>
                  <a:pt x="363" y="394"/>
                  <a:pt x="364" y="395"/>
                </a:cubicBezTo>
                <a:cubicBezTo>
                  <a:pt x="365" y="396"/>
                  <a:pt x="365" y="397"/>
                  <a:pt x="366" y="398"/>
                </a:cubicBezTo>
                <a:cubicBezTo>
                  <a:pt x="366" y="399"/>
                  <a:pt x="366" y="399"/>
                  <a:pt x="366" y="399"/>
                </a:cubicBezTo>
                <a:cubicBezTo>
                  <a:pt x="367" y="400"/>
                  <a:pt x="368" y="400"/>
                  <a:pt x="368" y="400"/>
                </a:cubicBezTo>
                <a:cubicBezTo>
                  <a:pt x="369" y="400"/>
                  <a:pt x="370" y="400"/>
                  <a:pt x="370" y="399"/>
                </a:cubicBezTo>
                <a:cubicBezTo>
                  <a:pt x="371" y="399"/>
                  <a:pt x="371" y="399"/>
                  <a:pt x="371" y="399"/>
                </a:cubicBezTo>
                <a:cubicBezTo>
                  <a:pt x="371" y="399"/>
                  <a:pt x="371" y="398"/>
                  <a:pt x="371" y="398"/>
                </a:cubicBezTo>
                <a:cubicBezTo>
                  <a:pt x="370" y="397"/>
                  <a:pt x="370" y="396"/>
                  <a:pt x="370" y="396"/>
                </a:cubicBezTo>
                <a:cubicBezTo>
                  <a:pt x="369" y="395"/>
                  <a:pt x="368" y="394"/>
                  <a:pt x="369" y="393"/>
                </a:cubicBezTo>
                <a:cubicBezTo>
                  <a:pt x="369" y="393"/>
                  <a:pt x="369" y="392"/>
                  <a:pt x="370" y="392"/>
                </a:cubicBezTo>
                <a:cubicBezTo>
                  <a:pt x="370" y="391"/>
                  <a:pt x="370" y="390"/>
                  <a:pt x="370" y="389"/>
                </a:cubicBezTo>
                <a:cubicBezTo>
                  <a:pt x="370" y="389"/>
                  <a:pt x="371" y="389"/>
                  <a:pt x="371" y="389"/>
                </a:cubicBezTo>
                <a:cubicBezTo>
                  <a:pt x="372" y="388"/>
                  <a:pt x="373" y="387"/>
                  <a:pt x="374" y="385"/>
                </a:cubicBezTo>
                <a:cubicBezTo>
                  <a:pt x="374" y="385"/>
                  <a:pt x="374" y="385"/>
                  <a:pt x="374" y="384"/>
                </a:cubicBezTo>
                <a:cubicBezTo>
                  <a:pt x="375" y="384"/>
                  <a:pt x="375" y="384"/>
                  <a:pt x="375" y="384"/>
                </a:cubicBezTo>
                <a:cubicBezTo>
                  <a:pt x="376" y="384"/>
                  <a:pt x="376" y="384"/>
                  <a:pt x="376" y="385"/>
                </a:cubicBezTo>
                <a:cubicBezTo>
                  <a:pt x="377" y="385"/>
                  <a:pt x="377" y="385"/>
                  <a:pt x="378" y="385"/>
                </a:cubicBezTo>
                <a:cubicBezTo>
                  <a:pt x="378" y="385"/>
                  <a:pt x="379" y="386"/>
                  <a:pt x="379" y="386"/>
                </a:cubicBezTo>
                <a:cubicBezTo>
                  <a:pt x="379" y="387"/>
                  <a:pt x="380" y="387"/>
                  <a:pt x="381" y="387"/>
                </a:cubicBezTo>
                <a:cubicBezTo>
                  <a:pt x="381" y="387"/>
                  <a:pt x="381" y="388"/>
                  <a:pt x="380" y="388"/>
                </a:cubicBezTo>
                <a:cubicBezTo>
                  <a:pt x="380" y="388"/>
                  <a:pt x="380" y="388"/>
                  <a:pt x="380" y="388"/>
                </a:cubicBezTo>
                <a:cubicBezTo>
                  <a:pt x="380" y="389"/>
                  <a:pt x="380" y="389"/>
                  <a:pt x="380" y="389"/>
                </a:cubicBezTo>
                <a:cubicBezTo>
                  <a:pt x="380" y="389"/>
                  <a:pt x="380" y="389"/>
                  <a:pt x="380" y="388"/>
                </a:cubicBezTo>
                <a:cubicBezTo>
                  <a:pt x="379" y="388"/>
                  <a:pt x="379" y="387"/>
                  <a:pt x="378" y="386"/>
                </a:cubicBezTo>
                <a:cubicBezTo>
                  <a:pt x="378" y="386"/>
                  <a:pt x="377" y="385"/>
                  <a:pt x="376" y="385"/>
                </a:cubicBezTo>
                <a:cubicBezTo>
                  <a:pt x="376" y="385"/>
                  <a:pt x="375" y="385"/>
                  <a:pt x="374" y="386"/>
                </a:cubicBezTo>
                <a:cubicBezTo>
                  <a:pt x="374" y="386"/>
                  <a:pt x="374" y="387"/>
                  <a:pt x="374" y="388"/>
                </a:cubicBezTo>
                <a:cubicBezTo>
                  <a:pt x="374" y="388"/>
                  <a:pt x="373" y="389"/>
                  <a:pt x="373" y="389"/>
                </a:cubicBezTo>
                <a:cubicBezTo>
                  <a:pt x="373" y="390"/>
                  <a:pt x="373" y="390"/>
                  <a:pt x="373" y="391"/>
                </a:cubicBezTo>
                <a:cubicBezTo>
                  <a:pt x="373" y="391"/>
                  <a:pt x="374" y="391"/>
                  <a:pt x="374" y="391"/>
                </a:cubicBezTo>
                <a:cubicBezTo>
                  <a:pt x="374" y="391"/>
                  <a:pt x="374" y="391"/>
                  <a:pt x="374" y="391"/>
                </a:cubicBezTo>
                <a:cubicBezTo>
                  <a:pt x="375" y="392"/>
                  <a:pt x="376" y="392"/>
                  <a:pt x="376" y="393"/>
                </a:cubicBezTo>
                <a:cubicBezTo>
                  <a:pt x="376" y="393"/>
                  <a:pt x="375" y="394"/>
                  <a:pt x="375" y="394"/>
                </a:cubicBezTo>
                <a:cubicBezTo>
                  <a:pt x="376" y="394"/>
                  <a:pt x="376" y="394"/>
                  <a:pt x="376" y="394"/>
                </a:cubicBezTo>
                <a:cubicBezTo>
                  <a:pt x="376" y="394"/>
                  <a:pt x="376" y="395"/>
                  <a:pt x="377" y="395"/>
                </a:cubicBezTo>
                <a:cubicBezTo>
                  <a:pt x="377" y="395"/>
                  <a:pt x="377" y="395"/>
                  <a:pt x="377" y="395"/>
                </a:cubicBezTo>
                <a:cubicBezTo>
                  <a:pt x="379" y="395"/>
                  <a:pt x="381" y="394"/>
                  <a:pt x="382" y="394"/>
                </a:cubicBezTo>
                <a:cubicBezTo>
                  <a:pt x="384" y="392"/>
                  <a:pt x="386" y="391"/>
                  <a:pt x="388" y="390"/>
                </a:cubicBezTo>
                <a:cubicBezTo>
                  <a:pt x="389" y="390"/>
                  <a:pt x="389" y="390"/>
                  <a:pt x="390" y="390"/>
                </a:cubicBezTo>
                <a:cubicBezTo>
                  <a:pt x="390" y="389"/>
                  <a:pt x="391" y="389"/>
                  <a:pt x="392" y="389"/>
                </a:cubicBezTo>
                <a:cubicBezTo>
                  <a:pt x="392" y="389"/>
                  <a:pt x="392" y="389"/>
                  <a:pt x="392" y="389"/>
                </a:cubicBezTo>
                <a:cubicBezTo>
                  <a:pt x="392" y="388"/>
                  <a:pt x="393" y="388"/>
                  <a:pt x="393" y="388"/>
                </a:cubicBezTo>
                <a:cubicBezTo>
                  <a:pt x="393" y="389"/>
                  <a:pt x="393" y="390"/>
                  <a:pt x="393" y="391"/>
                </a:cubicBezTo>
                <a:cubicBezTo>
                  <a:pt x="392" y="391"/>
                  <a:pt x="392" y="391"/>
                  <a:pt x="392" y="391"/>
                </a:cubicBezTo>
                <a:cubicBezTo>
                  <a:pt x="392" y="391"/>
                  <a:pt x="392" y="392"/>
                  <a:pt x="392" y="392"/>
                </a:cubicBezTo>
                <a:cubicBezTo>
                  <a:pt x="392" y="392"/>
                  <a:pt x="393" y="392"/>
                  <a:pt x="393" y="393"/>
                </a:cubicBezTo>
                <a:cubicBezTo>
                  <a:pt x="392" y="393"/>
                  <a:pt x="391" y="393"/>
                  <a:pt x="391" y="394"/>
                </a:cubicBezTo>
                <a:cubicBezTo>
                  <a:pt x="390" y="395"/>
                  <a:pt x="390" y="396"/>
                  <a:pt x="389" y="396"/>
                </a:cubicBezTo>
                <a:cubicBezTo>
                  <a:pt x="388" y="397"/>
                  <a:pt x="387" y="398"/>
                  <a:pt x="386" y="400"/>
                </a:cubicBezTo>
                <a:cubicBezTo>
                  <a:pt x="386" y="401"/>
                  <a:pt x="387" y="403"/>
                  <a:pt x="386" y="404"/>
                </a:cubicBezTo>
                <a:cubicBezTo>
                  <a:pt x="386" y="404"/>
                  <a:pt x="386" y="404"/>
                  <a:pt x="387" y="404"/>
                </a:cubicBezTo>
                <a:cubicBezTo>
                  <a:pt x="387" y="404"/>
                  <a:pt x="387" y="404"/>
                  <a:pt x="388" y="405"/>
                </a:cubicBezTo>
                <a:cubicBezTo>
                  <a:pt x="388" y="404"/>
                  <a:pt x="389" y="404"/>
                  <a:pt x="390" y="405"/>
                </a:cubicBezTo>
                <a:cubicBezTo>
                  <a:pt x="388" y="405"/>
                  <a:pt x="387" y="406"/>
                  <a:pt x="386" y="407"/>
                </a:cubicBezTo>
                <a:cubicBezTo>
                  <a:pt x="385" y="407"/>
                  <a:pt x="385" y="408"/>
                  <a:pt x="385" y="408"/>
                </a:cubicBezTo>
                <a:cubicBezTo>
                  <a:pt x="385" y="409"/>
                  <a:pt x="386" y="410"/>
                  <a:pt x="385" y="411"/>
                </a:cubicBezTo>
                <a:cubicBezTo>
                  <a:pt x="385" y="411"/>
                  <a:pt x="385" y="411"/>
                  <a:pt x="385" y="411"/>
                </a:cubicBezTo>
                <a:cubicBezTo>
                  <a:pt x="384" y="412"/>
                  <a:pt x="385" y="413"/>
                  <a:pt x="385" y="414"/>
                </a:cubicBezTo>
                <a:cubicBezTo>
                  <a:pt x="385" y="415"/>
                  <a:pt x="384" y="415"/>
                  <a:pt x="384" y="416"/>
                </a:cubicBezTo>
                <a:cubicBezTo>
                  <a:pt x="383" y="417"/>
                  <a:pt x="383" y="418"/>
                  <a:pt x="384" y="419"/>
                </a:cubicBezTo>
                <a:cubicBezTo>
                  <a:pt x="384" y="419"/>
                  <a:pt x="385" y="420"/>
                  <a:pt x="385" y="419"/>
                </a:cubicBezTo>
                <a:cubicBezTo>
                  <a:pt x="385" y="419"/>
                  <a:pt x="385" y="419"/>
                  <a:pt x="385" y="418"/>
                </a:cubicBezTo>
                <a:cubicBezTo>
                  <a:pt x="385" y="418"/>
                  <a:pt x="386" y="418"/>
                  <a:pt x="386" y="418"/>
                </a:cubicBezTo>
                <a:cubicBezTo>
                  <a:pt x="386" y="418"/>
                  <a:pt x="386" y="418"/>
                  <a:pt x="386" y="418"/>
                </a:cubicBezTo>
                <a:cubicBezTo>
                  <a:pt x="386" y="419"/>
                  <a:pt x="386" y="420"/>
                  <a:pt x="386" y="421"/>
                </a:cubicBezTo>
                <a:cubicBezTo>
                  <a:pt x="386" y="422"/>
                  <a:pt x="386" y="422"/>
                  <a:pt x="385" y="422"/>
                </a:cubicBezTo>
                <a:cubicBezTo>
                  <a:pt x="385" y="422"/>
                  <a:pt x="385" y="422"/>
                  <a:pt x="385" y="422"/>
                </a:cubicBezTo>
                <a:cubicBezTo>
                  <a:pt x="384" y="422"/>
                  <a:pt x="383" y="422"/>
                  <a:pt x="383" y="421"/>
                </a:cubicBezTo>
                <a:cubicBezTo>
                  <a:pt x="382" y="422"/>
                  <a:pt x="381" y="423"/>
                  <a:pt x="380" y="425"/>
                </a:cubicBezTo>
                <a:cubicBezTo>
                  <a:pt x="380" y="425"/>
                  <a:pt x="380" y="426"/>
                  <a:pt x="379" y="426"/>
                </a:cubicBezTo>
                <a:cubicBezTo>
                  <a:pt x="379" y="427"/>
                  <a:pt x="378" y="427"/>
                  <a:pt x="378" y="427"/>
                </a:cubicBezTo>
                <a:cubicBezTo>
                  <a:pt x="378" y="427"/>
                  <a:pt x="378" y="427"/>
                  <a:pt x="377" y="427"/>
                </a:cubicBezTo>
                <a:cubicBezTo>
                  <a:pt x="377" y="427"/>
                  <a:pt x="377" y="427"/>
                  <a:pt x="377" y="427"/>
                </a:cubicBezTo>
                <a:cubicBezTo>
                  <a:pt x="377" y="428"/>
                  <a:pt x="376" y="428"/>
                  <a:pt x="376" y="428"/>
                </a:cubicBezTo>
                <a:cubicBezTo>
                  <a:pt x="375" y="429"/>
                  <a:pt x="374" y="430"/>
                  <a:pt x="374" y="431"/>
                </a:cubicBezTo>
                <a:cubicBezTo>
                  <a:pt x="373" y="432"/>
                  <a:pt x="372" y="433"/>
                  <a:pt x="372" y="433"/>
                </a:cubicBezTo>
                <a:cubicBezTo>
                  <a:pt x="371" y="434"/>
                  <a:pt x="371" y="436"/>
                  <a:pt x="372" y="437"/>
                </a:cubicBezTo>
                <a:cubicBezTo>
                  <a:pt x="372" y="437"/>
                  <a:pt x="372" y="438"/>
                  <a:pt x="371" y="439"/>
                </a:cubicBezTo>
                <a:cubicBezTo>
                  <a:pt x="371" y="439"/>
                  <a:pt x="370" y="439"/>
                  <a:pt x="370" y="439"/>
                </a:cubicBezTo>
                <a:cubicBezTo>
                  <a:pt x="369" y="439"/>
                  <a:pt x="369" y="439"/>
                  <a:pt x="368" y="439"/>
                </a:cubicBezTo>
                <a:cubicBezTo>
                  <a:pt x="368" y="439"/>
                  <a:pt x="367" y="438"/>
                  <a:pt x="367" y="439"/>
                </a:cubicBezTo>
                <a:cubicBezTo>
                  <a:pt x="367" y="439"/>
                  <a:pt x="367" y="439"/>
                  <a:pt x="366" y="439"/>
                </a:cubicBezTo>
                <a:cubicBezTo>
                  <a:pt x="365" y="440"/>
                  <a:pt x="364" y="442"/>
                  <a:pt x="362" y="443"/>
                </a:cubicBezTo>
                <a:cubicBezTo>
                  <a:pt x="361" y="443"/>
                  <a:pt x="360" y="443"/>
                  <a:pt x="359" y="444"/>
                </a:cubicBezTo>
                <a:cubicBezTo>
                  <a:pt x="358" y="444"/>
                  <a:pt x="356" y="445"/>
                  <a:pt x="355" y="446"/>
                </a:cubicBezTo>
                <a:cubicBezTo>
                  <a:pt x="353" y="448"/>
                  <a:pt x="351" y="449"/>
                  <a:pt x="350" y="451"/>
                </a:cubicBezTo>
                <a:cubicBezTo>
                  <a:pt x="351" y="451"/>
                  <a:pt x="351" y="451"/>
                  <a:pt x="352" y="451"/>
                </a:cubicBezTo>
                <a:cubicBezTo>
                  <a:pt x="352" y="452"/>
                  <a:pt x="352" y="452"/>
                  <a:pt x="351" y="452"/>
                </a:cubicBezTo>
                <a:cubicBezTo>
                  <a:pt x="351" y="452"/>
                  <a:pt x="351" y="452"/>
                  <a:pt x="351" y="452"/>
                </a:cubicBezTo>
                <a:cubicBezTo>
                  <a:pt x="350" y="452"/>
                  <a:pt x="349" y="452"/>
                  <a:pt x="349" y="453"/>
                </a:cubicBezTo>
                <a:cubicBezTo>
                  <a:pt x="348" y="454"/>
                  <a:pt x="348" y="454"/>
                  <a:pt x="348" y="455"/>
                </a:cubicBezTo>
                <a:cubicBezTo>
                  <a:pt x="349" y="455"/>
                  <a:pt x="348" y="456"/>
                  <a:pt x="348" y="456"/>
                </a:cubicBezTo>
                <a:cubicBezTo>
                  <a:pt x="348" y="456"/>
                  <a:pt x="347" y="457"/>
                  <a:pt x="347" y="457"/>
                </a:cubicBezTo>
                <a:cubicBezTo>
                  <a:pt x="347" y="457"/>
                  <a:pt x="347" y="457"/>
                  <a:pt x="347" y="457"/>
                </a:cubicBezTo>
                <a:cubicBezTo>
                  <a:pt x="348" y="459"/>
                  <a:pt x="349" y="460"/>
                  <a:pt x="350" y="461"/>
                </a:cubicBezTo>
                <a:cubicBezTo>
                  <a:pt x="351" y="461"/>
                  <a:pt x="351" y="461"/>
                  <a:pt x="351" y="462"/>
                </a:cubicBezTo>
                <a:cubicBezTo>
                  <a:pt x="351" y="462"/>
                  <a:pt x="350" y="462"/>
                  <a:pt x="350" y="462"/>
                </a:cubicBezTo>
                <a:cubicBezTo>
                  <a:pt x="349" y="462"/>
                  <a:pt x="349" y="462"/>
                  <a:pt x="348" y="462"/>
                </a:cubicBezTo>
                <a:cubicBezTo>
                  <a:pt x="349" y="462"/>
                  <a:pt x="348" y="461"/>
                  <a:pt x="348" y="461"/>
                </a:cubicBezTo>
                <a:cubicBezTo>
                  <a:pt x="347" y="460"/>
                  <a:pt x="347" y="461"/>
                  <a:pt x="346" y="461"/>
                </a:cubicBezTo>
                <a:cubicBezTo>
                  <a:pt x="346" y="461"/>
                  <a:pt x="345" y="460"/>
                  <a:pt x="344" y="460"/>
                </a:cubicBezTo>
                <a:cubicBezTo>
                  <a:pt x="344" y="460"/>
                  <a:pt x="344" y="461"/>
                  <a:pt x="344" y="461"/>
                </a:cubicBezTo>
                <a:cubicBezTo>
                  <a:pt x="344" y="461"/>
                  <a:pt x="345" y="461"/>
                  <a:pt x="345" y="462"/>
                </a:cubicBezTo>
                <a:cubicBezTo>
                  <a:pt x="345" y="462"/>
                  <a:pt x="345" y="463"/>
                  <a:pt x="345" y="464"/>
                </a:cubicBezTo>
                <a:cubicBezTo>
                  <a:pt x="344" y="464"/>
                  <a:pt x="343" y="463"/>
                  <a:pt x="343" y="462"/>
                </a:cubicBezTo>
                <a:cubicBezTo>
                  <a:pt x="342" y="461"/>
                  <a:pt x="342" y="460"/>
                  <a:pt x="341" y="459"/>
                </a:cubicBezTo>
                <a:cubicBezTo>
                  <a:pt x="341" y="459"/>
                  <a:pt x="341" y="459"/>
                  <a:pt x="340" y="458"/>
                </a:cubicBezTo>
                <a:cubicBezTo>
                  <a:pt x="340" y="458"/>
                  <a:pt x="338" y="459"/>
                  <a:pt x="338" y="458"/>
                </a:cubicBezTo>
                <a:cubicBezTo>
                  <a:pt x="337" y="459"/>
                  <a:pt x="336" y="458"/>
                  <a:pt x="335" y="459"/>
                </a:cubicBezTo>
                <a:cubicBezTo>
                  <a:pt x="334" y="459"/>
                  <a:pt x="334" y="459"/>
                  <a:pt x="333" y="459"/>
                </a:cubicBezTo>
                <a:cubicBezTo>
                  <a:pt x="329" y="462"/>
                  <a:pt x="324" y="465"/>
                  <a:pt x="321" y="470"/>
                </a:cubicBezTo>
                <a:cubicBezTo>
                  <a:pt x="322" y="470"/>
                  <a:pt x="322" y="470"/>
                  <a:pt x="322" y="471"/>
                </a:cubicBezTo>
                <a:cubicBezTo>
                  <a:pt x="322" y="471"/>
                  <a:pt x="321" y="472"/>
                  <a:pt x="321" y="472"/>
                </a:cubicBezTo>
                <a:cubicBezTo>
                  <a:pt x="320" y="472"/>
                  <a:pt x="320" y="472"/>
                  <a:pt x="319" y="473"/>
                </a:cubicBezTo>
                <a:cubicBezTo>
                  <a:pt x="319" y="473"/>
                  <a:pt x="318" y="474"/>
                  <a:pt x="318" y="474"/>
                </a:cubicBezTo>
                <a:cubicBezTo>
                  <a:pt x="318" y="475"/>
                  <a:pt x="318" y="475"/>
                  <a:pt x="317" y="475"/>
                </a:cubicBezTo>
                <a:cubicBezTo>
                  <a:pt x="317" y="476"/>
                  <a:pt x="317" y="476"/>
                  <a:pt x="317" y="476"/>
                </a:cubicBezTo>
                <a:cubicBezTo>
                  <a:pt x="316" y="476"/>
                  <a:pt x="315" y="476"/>
                  <a:pt x="314" y="476"/>
                </a:cubicBezTo>
                <a:cubicBezTo>
                  <a:pt x="314" y="476"/>
                  <a:pt x="314" y="476"/>
                  <a:pt x="313" y="476"/>
                </a:cubicBezTo>
                <a:cubicBezTo>
                  <a:pt x="313" y="477"/>
                  <a:pt x="312" y="478"/>
                  <a:pt x="312" y="478"/>
                </a:cubicBezTo>
                <a:cubicBezTo>
                  <a:pt x="312" y="479"/>
                  <a:pt x="312" y="480"/>
                  <a:pt x="312" y="481"/>
                </a:cubicBezTo>
                <a:cubicBezTo>
                  <a:pt x="312" y="482"/>
                  <a:pt x="311" y="482"/>
                  <a:pt x="311" y="483"/>
                </a:cubicBezTo>
                <a:cubicBezTo>
                  <a:pt x="311" y="483"/>
                  <a:pt x="311" y="484"/>
                  <a:pt x="311" y="485"/>
                </a:cubicBezTo>
                <a:cubicBezTo>
                  <a:pt x="312" y="484"/>
                  <a:pt x="313" y="483"/>
                  <a:pt x="314" y="482"/>
                </a:cubicBezTo>
                <a:cubicBezTo>
                  <a:pt x="314" y="482"/>
                  <a:pt x="314" y="482"/>
                  <a:pt x="315" y="482"/>
                </a:cubicBezTo>
                <a:cubicBezTo>
                  <a:pt x="315" y="481"/>
                  <a:pt x="314" y="480"/>
                  <a:pt x="313" y="480"/>
                </a:cubicBezTo>
                <a:cubicBezTo>
                  <a:pt x="313" y="479"/>
                  <a:pt x="314" y="478"/>
                  <a:pt x="315" y="478"/>
                </a:cubicBezTo>
                <a:cubicBezTo>
                  <a:pt x="315" y="478"/>
                  <a:pt x="316" y="479"/>
                  <a:pt x="316" y="479"/>
                </a:cubicBezTo>
                <a:cubicBezTo>
                  <a:pt x="316" y="480"/>
                  <a:pt x="316" y="480"/>
                  <a:pt x="316" y="481"/>
                </a:cubicBezTo>
                <a:cubicBezTo>
                  <a:pt x="317" y="481"/>
                  <a:pt x="318" y="482"/>
                  <a:pt x="318" y="481"/>
                </a:cubicBezTo>
                <a:cubicBezTo>
                  <a:pt x="319" y="481"/>
                  <a:pt x="320" y="481"/>
                  <a:pt x="320" y="480"/>
                </a:cubicBezTo>
                <a:cubicBezTo>
                  <a:pt x="321" y="480"/>
                  <a:pt x="321" y="480"/>
                  <a:pt x="321" y="479"/>
                </a:cubicBezTo>
                <a:cubicBezTo>
                  <a:pt x="321" y="478"/>
                  <a:pt x="320" y="478"/>
                  <a:pt x="321" y="477"/>
                </a:cubicBezTo>
                <a:cubicBezTo>
                  <a:pt x="321" y="477"/>
                  <a:pt x="320" y="476"/>
                  <a:pt x="320" y="475"/>
                </a:cubicBezTo>
                <a:cubicBezTo>
                  <a:pt x="320" y="475"/>
                  <a:pt x="320" y="475"/>
                  <a:pt x="320" y="475"/>
                </a:cubicBezTo>
                <a:cubicBezTo>
                  <a:pt x="319" y="475"/>
                  <a:pt x="320" y="474"/>
                  <a:pt x="320" y="474"/>
                </a:cubicBezTo>
                <a:cubicBezTo>
                  <a:pt x="321" y="474"/>
                  <a:pt x="322" y="475"/>
                  <a:pt x="322" y="476"/>
                </a:cubicBezTo>
                <a:cubicBezTo>
                  <a:pt x="322" y="476"/>
                  <a:pt x="322" y="476"/>
                  <a:pt x="322" y="476"/>
                </a:cubicBezTo>
                <a:cubicBezTo>
                  <a:pt x="322" y="477"/>
                  <a:pt x="322" y="477"/>
                  <a:pt x="323" y="477"/>
                </a:cubicBezTo>
                <a:cubicBezTo>
                  <a:pt x="322" y="477"/>
                  <a:pt x="322" y="477"/>
                  <a:pt x="322" y="478"/>
                </a:cubicBezTo>
                <a:cubicBezTo>
                  <a:pt x="322" y="478"/>
                  <a:pt x="322" y="478"/>
                  <a:pt x="322" y="478"/>
                </a:cubicBezTo>
                <a:cubicBezTo>
                  <a:pt x="322" y="478"/>
                  <a:pt x="322" y="478"/>
                  <a:pt x="323" y="479"/>
                </a:cubicBezTo>
                <a:cubicBezTo>
                  <a:pt x="323" y="479"/>
                  <a:pt x="323" y="479"/>
                  <a:pt x="323" y="479"/>
                </a:cubicBezTo>
                <a:cubicBezTo>
                  <a:pt x="323" y="479"/>
                  <a:pt x="323" y="479"/>
                  <a:pt x="323" y="479"/>
                </a:cubicBezTo>
                <a:cubicBezTo>
                  <a:pt x="324" y="479"/>
                  <a:pt x="325" y="479"/>
                  <a:pt x="325" y="479"/>
                </a:cubicBezTo>
                <a:cubicBezTo>
                  <a:pt x="325" y="478"/>
                  <a:pt x="326" y="477"/>
                  <a:pt x="327" y="477"/>
                </a:cubicBezTo>
                <a:cubicBezTo>
                  <a:pt x="327" y="477"/>
                  <a:pt x="327" y="476"/>
                  <a:pt x="327" y="477"/>
                </a:cubicBezTo>
                <a:cubicBezTo>
                  <a:pt x="327" y="477"/>
                  <a:pt x="327" y="477"/>
                  <a:pt x="327" y="477"/>
                </a:cubicBezTo>
                <a:cubicBezTo>
                  <a:pt x="327" y="478"/>
                  <a:pt x="327" y="478"/>
                  <a:pt x="328" y="479"/>
                </a:cubicBezTo>
                <a:cubicBezTo>
                  <a:pt x="328" y="479"/>
                  <a:pt x="329" y="478"/>
                  <a:pt x="329" y="478"/>
                </a:cubicBezTo>
                <a:cubicBezTo>
                  <a:pt x="329" y="477"/>
                  <a:pt x="329" y="476"/>
                  <a:pt x="329" y="476"/>
                </a:cubicBezTo>
                <a:cubicBezTo>
                  <a:pt x="328" y="476"/>
                  <a:pt x="328" y="475"/>
                  <a:pt x="329" y="475"/>
                </a:cubicBezTo>
                <a:cubicBezTo>
                  <a:pt x="329" y="475"/>
                  <a:pt x="329" y="475"/>
                  <a:pt x="329" y="475"/>
                </a:cubicBezTo>
                <a:cubicBezTo>
                  <a:pt x="329" y="475"/>
                  <a:pt x="330" y="475"/>
                  <a:pt x="330" y="475"/>
                </a:cubicBezTo>
                <a:cubicBezTo>
                  <a:pt x="330" y="475"/>
                  <a:pt x="330" y="475"/>
                  <a:pt x="330" y="475"/>
                </a:cubicBezTo>
                <a:cubicBezTo>
                  <a:pt x="331" y="474"/>
                  <a:pt x="331" y="474"/>
                  <a:pt x="331" y="473"/>
                </a:cubicBezTo>
                <a:cubicBezTo>
                  <a:pt x="332" y="472"/>
                  <a:pt x="332" y="471"/>
                  <a:pt x="332" y="470"/>
                </a:cubicBezTo>
                <a:cubicBezTo>
                  <a:pt x="333" y="469"/>
                  <a:pt x="333" y="469"/>
                  <a:pt x="333" y="468"/>
                </a:cubicBezTo>
                <a:cubicBezTo>
                  <a:pt x="333" y="468"/>
                  <a:pt x="334" y="467"/>
                  <a:pt x="334" y="466"/>
                </a:cubicBezTo>
                <a:cubicBezTo>
                  <a:pt x="335" y="466"/>
                  <a:pt x="335" y="466"/>
                  <a:pt x="336" y="466"/>
                </a:cubicBezTo>
                <a:cubicBezTo>
                  <a:pt x="336" y="466"/>
                  <a:pt x="336" y="466"/>
                  <a:pt x="337" y="466"/>
                </a:cubicBezTo>
                <a:cubicBezTo>
                  <a:pt x="338" y="467"/>
                  <a:pt x="338" y="468"/>
                  <a:pt x="339" y="468"/>
                </a:cubicBezTo>
                <a:cubicBezTo>
                  <a:pt x="339" y="469"/>
                  <a:pt x="338" y="469"/>
                  <a:pt x="338" y="468"/>
                </a:cubicBezTo>
                <a:cubicBezTo>
                  <a:pt x="338" y="468"/>
                  <a:pt x="337" y="468"/>
                  <a:pt x="337" y="468"/>
                </a:cubicBezTo>
                <a:cubicBezTo>
                  <a:pt x="337" y="468"/>
                  <a:pt x="337" y="468"/>
                  <a:pt x="336" y="468"/>
                </a:cubicBezTo>
                <a:cubicBezTo>
                  <a:pt x="336" y="468"/>
                  <a:pt x="336" y="469"/>
                  <a:pt x="336" y="469"/>
                </a:cubicBezTo>
                <a:cubicBezTo>
                  <a:pt x="335" y="470"/>
                  <a:pt x="335" y="471"/>
                  <a:pt x="335" y="472"/>
                </a:cubicBezTo>
                <a:cubicBezTo>
                  <a:pt x="338" y="472"/>
                  <a:pt x="340" y="472"/>
                  <a:pt x="342" y="470"/>
                </a:cubicBezTo>
                <a:cubicBezTo>
                  <a:pt x="342" y="469"/>
                  <a:pt x="343" y="468"/>
                  <a:pt x="344" y="469"/>
                </a:cubicBezTo>
                <a:cubicBezTo>
                  <a:pt x="344" y="469"/>
                  <a:pt x="344" y="470"/>
                  <a:pt x="345" y="470"/>
                </a:cubicBezTo>
                <a:cubicBezTo>
                  <a:pt x="345" y="470"/>
                  <a:pt x="346" y="470"/>
                  <a:pt x="346" y="469"/>
                </a:cubicBezTo>
                <a:cubicBezTo>
                  <a:pt x="346" y="469"/>
                  <a:pt x="345" y="469"/>
                  <a:pt x="345" y="469"/>
                </a:cubicBezTo>
                <a:cubicBezTo>
                  <a:pt x="345" y="468"/>
                  <a:pt x="345" y="468"/>
                  <a:pt x="345" y="468"/>
                </a:cubicBezTo>
                <a:cubicBezTo>
                  <a:pt x="345" y="468"/>
                  <a:pt x="345" y="468"/>
                  <a:pt x="345" y="468"/>
                </a:cubicBezTo>
                <a:cubicBezTo>
                  <a:pt x="345" y="467"/>
                  <a:pt x="346" y="467"/>
                  <a:pt x="347" y="468"/>
                </a:cubicBezTo>
                <a:cubicBezTo>
                  <a:pt x="347" y="468"/>
                  <a:pt x="347" y="468"/>
                  <a:pt x="347" y="469"/>
                </a:cubicBezTo>
                <a:cubicBezTo>
                  <a:pt x="347" y="469"/>
                  <a:pt x="347" y="469"/>
                  <a:pt x="348" y="469"/>
                </a:cubicBezTo>
                <a:cubicBezTo>
                  <a:pt x="348" y="469"/>
                  <a:pt x="348" y="469"/>
                  <a:pt x="348" y="469"/>
                </a:cubicBezTo>
                <a:cubicBezTo>
                  <a:pt x="348" y="468"/>
                  <a:pt x="348" y="468"/>
                  <a:pt x="349" y="467"/>
                </a:cubicBezTo>
                <a:cubicBezTo>
                  <a:pt x="349" y="467"/>
                  <a:pt x="349" y="466"/>
                  <a:pt x="350" y="466"/>
                </a:cubicBezTo>
                <a:cubicBezTo>
                  <a:pt x="350" y="466"/>
                  <a:pt x="350" y="466"/>
                  <a:pt x="350" y="466"/>
                </a:cubicBezTo>
                <a:cubicBezTo>
                  <a:pt x="350" y="466"/>
                  <a:pt x="351" y="466"/>
                  <a:pt x="351" y="466"/>
                </a:cubicBezTo>
                <a:cubicBezTo>
                  <a:pt x="351" y="465"/>
                  <a:pt x="352" y="465"/>
                  <a:pt x="352" y="465"/>
                </a:cubicBezTo>
                <a:cubicBezTo>
                  <a:pt x="352" y="465"/>
                  <a:pt x="353" y="465"/>
                  <a:pt x="353" y="465"/>
                </a:cubicBezTo>
                <a:cubicBezTo>
                  <a:pt x="354" y="464"/>
                  <a:pt x="354" y="463"/>
                  <a:pt x="355" y="462"/>
                </a:cubicBezTo>
                <a:cubicBezTo>
                  <a:pt x="356" y="462"/>
                  <a:pt x="357" y="462"/>
                  <a:pt x="357" y="461"/>
                </a:cubicBezTo>
                <a:cubicBezTo>
                  <a:pt x="358" y="461"/>
                  <a:pt x="358" y="461"/>
                  <a:pt x="359" y="462"/>
                </a:cubicBezTo>
                <a:cubicBezTo>
                  <a:pt x="359" y="462"/>
                  <a:pt x="359" y="462"/>
                  <a:pt x="359" y="462"/>
                </a:cubicBezTo>
                <a:cubicBezTo>
                  <a:pt x="359" y="462"/>
                  <a:pt x="359" y="462"/>
                  <a:pt x="359" y="462"/>
                </a:cubicBezTo>
                <a:cubicBezTo>
                  <a:pt x="358" y="463"/>
                  <a:pt x="358" y="465"/>
                  <a:pt x="359" y="466"/>
                </a:cubicBezTo>
                <a:cubicBezTo>
                  <a:pt x="359" y="466"/>
                  <a:pt x="359" y="466"/>
                  <a:pt x="359" y="466"/>
                </a:cubicBezTo>
                <a:cubicBezTo>
                  <a:pt x="359" y="466"/>
                  <a:pt x="359" y="467"/>
                  <a:pt x="358" y="467"/>
                </a:cubicBezTo>
                <a:cubicBezTo>
                  <a:pt x="358" y="467"/>
                  <a:pt x="358" y="467"/>
                  <a:pt x="358" y="467"/>
                </a:cubicBezTo>
                <a:cubicBezTo>
                  <a:pt x="359" y="467"/>
                  <a:pt x="360" y="466"/>
                  <a:pt x="360" y="465"/>
                </a:cubicBezTo>
                <a:cubicBezTo>
                  <a:pt x="360" y="464"/>
                  <a:pt x="360" y="462"/>
                  <a:pt x="361" y="462"/>
                </a:cubicBezTo>
                <a:cubicBezTo>
                  <a:pt x="361" y="462"/>
                  <a:pt x="362" y="462"/>
                  <a:pt x="362" y="462"/>
                </a:cubicBezTo>
                <a:cubicBezTo>
                  <a:pt x="362" y="461"/>
                  <a:pt x="362" y="461"/>
                  <a:pt x="363" y="461"/>
                </a:cubicBezTo>
                <a:cubicBezTo>
                  <a:pt x="364" y="460"/>
                  <a:pt x="366" y="459"/>
                  <a:pt x="367" y="459"/>
                </a:cubicBezTo>
                <a:cubicBezTo>
                  <a:pt x="367" y="459"/>
                  <a:pt x="368" y="459"/>
                  <a:pt x="368" y="459"/>
                </a:cubicBezTo>
                <a:cubicBezTo>
                  <a:pt x="368" y="459"/>
                  <a:pt x="369" y="458"/>
                  <a:pt x="369" y="458"/>
                </a:cubicBezTo>
                <a:cubicBezTo>
                  <a:pt x="369" y="458"/>
                  <a:pt x="370" y="458"/>
                  <a:pt x="371" y="458"/>
                </a:cubicBezTo>
                <a:cubicBezTo>
                  <a:pt x="371" y="457"/>
                  <a:pt x="372" y="456"/>
                  <a:pt x="372" y="455"/>
                </a:cubicBezTo>
                <a:cubicBezTo>
                  <a:pt x="372" y="454"/>
                  <a:pt x="372" y="454"/>
                  <a:pt x="373" y="453"/>
                </a:cubicBezTo>
                <a:cubicBezTo>
                  <a:pt x="373" y="453"/>
                  <a:pt x="374" y="453"/>
                  <a:pt x="374" y="453"/>
                </a:cubicBezTo>
                <a:cubicBezTo>
                  <a:pt x="373" y="454"/>
                  <a:pt x="373" y="455"/>
                  <a:pt x="373" y="457"/>
                </a:cubicBezTo>
                <a:cubicBezTo>
                  <a:pt x="373" y="457"/>
                  <a:pt x="373" y="457"/>
                  <a:pt x="373" y="457"/>
                </a:cubicBezTo>
                <a:cubicBezTo>
                  <a:pt x="373" y="458"/>
                  <a:pt x="374" y="457"/>
                  <a:pt x="374" y="457"/>
                </a:cubicBezTo>
                <a:cubicBezTo>
                  <a:pt x="374" y="456"/>
                  <a:pt x="374" y="456"/>
                  <a:pt x="374" y="455"/>
                </a:cubicBezTo>
                <a:cubicBezTo>
                  <a:pt x="375" y="455"/>
                  <a:pt x="375" y="454"/>
                  <a:pt x="376" y="453"/>
                </a:cubicBezTo>
                <a:cubicBezTo>
                  <a:pt x="376" y="453"/>
                  <a:pt x="376" y="451"/>
                  <a:pt x="377" y="451"/>
                </a:cubicBezTo>
                <a:cubicBezTo>
                  <a:pt x="377" y="451"/>
                  <a:pt x="377" y="450"/>
                  <a:pt x="377" y="450"/>
                </a:cubicBezTo>
                <a:cubicBezTo>
                  <a:pt x="376" y="450"/>
                  <a:pt x="376" y="450"/>
                  <a:pt x="376" y="450"/>
                </a:cubicBezTo>
                <a:cubicBezTo>
                  <a:pt x="376" y="450"/>
                  <a:pt x="376" y="450"/>
                  <a:pt x="375" y="450"/>
                </a:cubicBezTo>
                <a:cubicBezTo>
                  <a:pt x="375" y="451"/>
                  <a:pt x="374" y="450"/>
                  <a:pt x="374" y="450"/>
                </a:cubicBezTo>
                <a:cubicBezTo>
                  <a:pt x="373" y="450"/>
                  <a:pt x="373" y="451"/>
                  <a:pt x="373" y="451"/>
                </a:cubicBezTo>
                <a:cubicBezTo>
                  <a:pt x="373" y="451"/>
                  <a:pt x="372" y="452"/>
                  <a:pt x="372" y="451"/>
                </a:cubicBezTo>
                <a:cubicBezTo>
                  <a:pt x="372" y="451"/>
                  <a:pt x="372" y="451"/>
                  <a:pt x="372" y="451"/>
                </a:cubicBezTo>
                <a:cubicBezTo>
                  <a:pt x="373" y="450"/>
                  <a:pt x="374" y="449"/>
                  <a:pt x="375" y="448"/>
                </a:cubicBezTo>
                <a:cubicBezTo>
                  <a:pt x="375" y="448"/>
                  <a:pt x="376" y="447"/>
                  <a:pt x="376" y="447"/>
                </a:cubicBezTo>
                <a:cubicBezTo>
                  <a:pt x="377" y="447"/>
                  <a:pt x="377" y="447"/>
                  <a:pt x="378" y="446"/>
                </a:cubicBezTo>
                <a:cubicBezTo>
                  <a:pt x="378" y="446"/>
                  <a:pt x="378" y="446"/>
                  <a:pt x="379" y="446"/>
                </a:cubicBezTo>
                <a:cubicBezTo>
                  <a:pt x="380" y="444"/>
                  <a:pt x="381" y="443"/>
                  <a:pt x="383" y="442"/>
                </a:cubicBezTo>
                <a:cubicBezTo>
                  <a:pt x="384" y="443"/>
                  <a:pt x="385" y="444"/>
                  <a:pt x="386" y="443"/>
                </a:cubicBezTo>
                <a:cubicBezTo>
                  <a:pt x="386" y="443"/>
                  <a:pt x="387" y="442"/>
                  <a:pt x="387" y="442"/>
                </a:cubicBezTo>
                <a:cubicBezTo>
                  <a:pt x="386" y="442"/>
                  <a:pt x="386" y="442"/>
                  <a:pt x="385" y="442"/>
                </a:cubicBezTo>
                <a:cubicBezTo>
                  <a:pt x="386" y="441"/>
                  <a:pt x="386" y="440"/>
                  <a:pt x="387" y="440"/>
                </a:cubicBezTo>
                <a:cubicBezTo>
                  <a:pt x="387" y="439"/>
                  <a:pt x="387" y="439"/>
                  <a:pt x="387" y="439"/>
                </a:cubicBezTo>
                <a:cubicBezTo>
                  <a:pt x="387" y="439"/>
                  <a:pt x="387" y="438"/>
                  <a:pt x="387" y="438"/>
                </a:cubicBezTo>
                <a:cubicBezTo>
                  <a:pt x="388" y="437"/>
                  <a:pt x="388" y="438"/>
                  <a:pt x="389" y="438"/>
                </a:cubicBezTo>
                <a:cubicBezTo>
                  <a:pt x="389" y="438"/>
                  <a:pt x="389" y="439"/>
                  <a:pt x="389" y="439"/>
                </a:cubicBezTo>
                <a:cubicBezTo>
                  <a:pt x="390" y="439"/>
                  <a:pt x="391" y="439"/>
                  <a:pt x="392" y="438"/>
                </a:cubicBezTo>
                <a:cubicBezTo>
                  <a:pt x="392" y="437"/>
                  <a:pt x="393" y="436"/>
                  <a:pt x="394" y="436"/>
                </a:cubicBezTo>
                <a:cubicBezTo>
                  <a:pt x="395" y="436"/>
                  <a:pt x="395" y="436"/>
                  <a:pt x="395" y="436"/>
                </a:cubicBezTo>
                <a:cubicBezTo>
                  <a:pt x="395" y="436"/>
                  <a:pt x="396" y="436"/>
                  <a:pt x="396" y="435"/>
                </a:cubicBezTo>
                <a:cubicBezTo>
                  <a:pt x="396" y="435"/>
                  <a:pt x="396" y="434"/>
                  <a:pt x="396" y="434"/>
                </a:cubicBezTo>
                <a:cubicBezTo>
                  <a:pt x="396" y="434"/>
                  <a:pt x="397" y="433"/>
                  <a:pt x="397" y="434"/>
                </a:cubicBezTo>
                <a:cubicBezTo>
                  <a:pt x="397" y="434"/>
                  <a:pt x="397" y="435"/>
                  <a:pt x="398" y="435"/>
                </a:cubicBezTo>
                <a:cubicBezTo>
                  <a:pt x="398" y="435"/>
                  <a:pt x="399" y="434"/>
                  <a:pt x="399" y="434"/>
                </a:cubicBezTo>
                <a:cubicBezTo>
                  <a:pt x="399" y="433"/>
                  <a:pt x="399" y="433"/>
                  <a:pt x="399" y="433"/>
                </a:cubicBezTo>
                <a:cubicBezTo>
                  <a:pt x="400" y="432"/>
                  <a:pt x="400" y="431"/>
                  <a:pt x="401" y="431"/>
                </a:cubicBezTo>
                <a:cubicBezTo>
                  <a:pt x="401" y="431"/>
                  <a:pt x="401" y="430"/>
                  <a:pt x="401" y="430"/>
                </a:cubicBezTo>
                <a:cubicBezTo>
                  <a:pt x="402" y="430"/>
                  <a:pt x="402" y="430"/>
                  <a:pt x="401" y="429"/>
                </a:cubicBezTo>
                <a:cubicBezTo>
                  <a:pt x="401" y="429"/>
                  <a:pt x="401" y="429"/>
                  <a:pt x="401" y="429"/>
                </a:cubicBezTo>
                <a:cubicBezTo>
                  <a:pt x="401" y="429"/>
                  <a:pt x="401" y="429"/>
                  <a:pt x="401" y="428"/>
                </a:cubicBezTo>
                <a:cubicBezTo>
                  <a:pt x="401" y="428"/>
                  <a:pt x="402" y="428"/>
                  <a:pt x="402" y="427"/>
                </a:cubicBezTo>
                <a:cubicBezTo>
                  <a:pt x="402" y="427"/>
                  <a:pt x="401" y="427"/>
                  <a:pt x="401" y="426"/>
                </a:cubicBezTo>
                <a:cubicBezTo>
                  <a:pt x="401" y="426"/>
                  <a:pt x="400" y="427"/>
                  <a:pt x="400" y="427"/>
                </a:cubicBezTo>
                <a:cubicBezTo>
                  <a:pt x="400" y="427"/>
                  <a:pt x="399" y="427"/>
                  <a:pt x="399" y="427"/>
                </a:cubicBezTo>
                <a:cubicBezTo>
                  <a:pt x="399" y="427"/>
                  <a:pt x="399" y="426"/>
                  <a:pt x="399" y="426"/>
                </a:cubicBezTo>
                <a:cubicBezTo>
                  <a:pt x="400" y="425"/>
                  <a:pt x="401" y="425"/>
                  <a:pt x="402" y="424"/>
                </a:cubicBezTo>
                <a:cubicBezTo>
                  <a:pt x="402" y="424"/>
                  <a:pt x="403" y="424"/>
                  <a:pt x="403" y="424"/>
                </a:cubicBezTo>
                <a:cubicBezTo>
                  <a:pt x="403" y="424"/>
                  <a:pt x="403" y="423"/>
                  <a:pt x="404" y="423"/>
                </a:cubicBezTo>
                <a:cubicBezTo>
                  <a:pt x="404" y="423"/>
                  <a:pt x="404" y="423"/>
                  <a:pt x="404" y="423"/>
                </a:cubicBezTo>
                <a:cubicBezTo>
                  <a:pt x="405" y="423"/>
                  <a:pt x="405" y="424"/>
                  <a:pt x="405" y="424"/>
                </a:cubicBezTo>
                <a:cubicBezTo>
                  <a:pt x="405" y="424"/>
                  <a:pt x="405" y="423"/>
                  <a:pt x="405" y="423"/>
                </a:cubicBezTo>
                <a:cubicBezTo>
                  <a:pt x="405" y="422"/>
                  <a:pt x="406" y="421"/>
                  <a:pt x="407" y="421"/>
                </a:cubicBezTo>
                <a:cubicBezTo>
                  <a:pt x="408" y="421"/>
                  <a:pt x="408" y="421"/>
                  <a:pt x="409" y="421"/>
                </a:cubicBezTo>
                <a:cubicBezTo>
                  <a:pt x="409" y="421"/>
                  <a:pt x="409" y="420"/>
                  <a:pt x="410" y="419"/>
                </a:cubicBezTo>
                <a:cubicBezTo>
                  <a:pt x="410" y="419"/>
                  <a:pt x="410" y="419"/>
                  <a:pt x="411" y="419"/>
                </a:cubicBezTo>
                <a:cubicBezTo>
                  <a:pt x="411" y="419"/>
                  <a:pt x="411" y="418"/>
                  <a:pt x="411" y="418"/>
                </a:cubicBezTo>
                <a:cubicBezTo>
                  <a:pt x="411" y="418"/>
                  <a:pt x="411" y="418"/>
                  <a:pt x="410" y="418"/>
                </a:cubicBezTo>
                <a:cubicBezTo>
                  <a:pt x="410" y="418"/>
                  <a:pt x="410" y="417"/>
                  <a:pt x="410" y="417"/>
                </a:cubicBezTo>
                <a:cubicBezTo>
                  <a:pt x="410" y="417"/>
                  <a:pt x="410" y="416"/>
                  <a:pt x="411" y="415"/>
                </a:cubicBezTo>
                <a:cubicBezTo>
                  <a:pt x="411" y="415"/>
                  <a:pt x="412" y="415"/>
                  <a:pt x="412" y="416"/>
                </a:cubicBezTo>
                <a:cubicBezTo>
                  <a:pt x="412" y="416"/>
                  <a:pt x="412" y="416"/>
                  <a:pt x="412" y="416"/>
                </a:cubicBezTo>
                <a:cubicBezTo>
                  <a:pt x="412" y="417"/>
                  <a:pt x="413" y="417"/>
                  <a:pt x="413" y="417"/>
                </a:cubicBezTo>
                <a:cubicBezTo>
                  <a:pt x="413" y="417"/>
                  <a:pt x="414" y="417"/>
                  <a:pt x="414" y="417"/>
                </a:cubicBezTo>
                <a:cubicBezTo>
                  <a:pt x="414" y="417"/>
                  <a:pt x="414" y="417"/>
                  <a:pt x="414" y="417"/>
                </a:cubicBezTo>
                <a:cubicBezTo>
                  <a:pt x="415" y="416"/>
                  <a:pt x="415" y="415"/>
                  <a:pt x="416" y="414"/>
                </a:cubicBezTo>
                <a:cubicBezTo>
                  <a:pt x="416" y="414"/>
                  <a:pt x="417" y="414"/>
                  <a:pt x="417" y="414"/>
                </a:cubicBezTo>
                <a:cubicBezTo>
                  <a:pt x="417" y="413"/>
                  <a:pt x="418" y="413"/>
                  <a:pt x="418" y="412"/>
                </a:cubicBezTo>
                <a:cubicBezTo>
                  <a:pt x="418" y="412"/>
                  <a:pt x="417" y="412"/>
                  <a:pt x="417" y="412"/>
                </a:cubicBezTo>
                <a:cubicBezTo>
                  <a:pt x="417" y="412"/>
                  <a:pt x="418" y="411"/>
                  <a:pt x="418" y="411"/>
                </a:cubicBezTo>
                <a:cubicBezTo>
                  <a:pt x="418" y="411"/>
                  <a:pt x="418" y="411"/>
                  <a:pt x="418" y="410"/>
                </a:cubicBezTo>
                <a:cubicBezTo>
                  <a:pt x="418" y="410"/>
                  <a:pt x="418" y="410"/>
                  <a:pt x="418" y="410"/>
                </a:cubicBezTo>
                <a:cubicBezTo>
                  <a:pt x="417" y="410"/>
                  <a:pt x="417" y="410"/>
                  <a:pt x="417" y="410"/>
                </a:cubicBezTo>
                <a:cubicBezTo>
                  <a:pt x="418" y="409"/>
                  <a:pt x="418" y="408"/>
                  <a:pt x="418" y="407"/>
                </a:cubicBezTo>
                <a:cubicBezTo>
                  <a:pt x="418" y="407"/>
                  <a:pt x="418" y="406"/>
                  <a:pt x="418" y="406"/>
                </a:cubicBezTo>
                <a:cubicBezTo>
                  <a:pt x="418" y="406"/>
                  <a:pt x="418" y="406"/>
                  <a:pt x="418" y="406"/>
                </a:cubicBezTo>
                <a:cubicBezTo>
                  <a:pt x="419" y="406"/>
                  <a:pt x="419" y="406"/>
                  <a:pt x="419" y="406"/>
                </a:cubicBezTo>
                <a:cubicBezTo>
                  <a:pt x="419" y="407"/>
                  <a:pt x="419" y="407"/>
                  <a:pt x="419" y="407"/>
                </a:cubicBezTo>
                <a:cubicBezTo>
                  <a:pt x="419" y="408"/>
                  <a:pt x="420" y="408"/>
                  <a:pt x="420" y="408"/>
                </a:cubicBezTo>
                <a:cubicBezTo>
                  <a:pt x="420" y="408"/>
                  <a:pt x="419" y="409"/>
                  <a:pt x="419" y="410"/>
                </a:cubicBezTo>
                <a:cubicBezTo>
                  <a:pt x="419" y="409"/>
                  <a:pt x="420" y="409"/>
                  <a:pt x="420" y="410"/>
                </a:cubicBezTo>
                <a:cubicBezTo>
                  <a:pt x="420" y="410"/>
                  <a:pt x="421" y="410"/>
                  <a:pt x="421" y="410"/>
                </a:cubicBezTo>
                <a:cubicBezTo>
                  <a:pt x="421" y="410"/>
                  <a:pt x="422" y="410"/>
                  <a:pt x="422" y="410"/>
                </a:cubicBezTo>
                <a:cubicBezTo>
                  <a:pt x="422" y="409"/>
                  <a:pt x="422" y="409"/>
                  <a:pt x="423" y="409"/>
                </a:cubicBezTo>
                <a:cubicBezTo>
                  <a:pt x="423" y="409"/>
                  <a:pt x="424" y="409"/>
                  <a:pt x="424" y="409"/>
                </a:cubicBezTo>
                <a:cubicBezTo>
                  <a:pt x="424" y="409"/>
                  <a:pt x="424" y="409"/>
                  <a:pt x="424" y="409"/>
                </a:cubicBezTo>
                <a:cubicBezTo>
                  <a:pt x="425" y="408"/>
                  <a:pt x="426" y="408"/>
                  <a:pt x="426" y="407"/>
                </a:cubicBezTo>
                <a:cubicBezTo>
                  <a:pt x="426" y="408"/>
                  <a:pt x="427" y="408"/>
                  <a:pt x="427" y="408"/>
                </a:cubicBezTo>
                <a:cubicBezTo>
                  <a:pt x="427" y="408"/>
                  <a:pt x="428" y="407"/>
                  <a:pt x="428" y="407"/>
                </a:cubicBezTo>
                <a:cubicBezTo>
                  <a:pt x="428" y="407"/>
                  <a:pt x="428" y="407"/>
                  <a:pt x="428" y="406"/>
                </a:cubicBezTo>
                <a:cubicBezTo>
                  <a:pt x="428" y="406"/>
                  <a:pt x="428" y="406"/>
                  <a:pt x="428" y="406"/>
                </a:cubicBezTo>
                <a:cubicBezTo>
                  <a:pt x="428" y="406"/>
                  <a:pt x="429" y="405"/>
                  <a:pt x="429" y="405"/>
                </a:cubicBezTo>
                <a:cubicBezTo>
                  <a:pt x="429" y="404"/>
                  <a:pt x="429" y="404"/>
                  <a:pt x="429" y="404"/>
                </a:cubicBezTo>
                <a:cubicBezTo>
                  <a:pt x="429" y="404"/>
                  <a:pt x="430" y="403"/>
                  <a:pt x="430" y="403"/>
                </a:cubicBezTo>
                <a:cubicBezTo>
                  <a:pt x="429" y="403"/>
                  <a:pt x="427" y="403"/>
                  <a:pt x="426" y="404"/>
                </a:cubicBezTo>
                <a:cubicBezTo>
                  <a:pt x="426" y="403"/>
                  <a:pt x="427" y="403"/>
                  <a:pt x="428" y="403"/>
                </a:cubicBezTo>
                <a:cubicBezTo>
                  <a:pt x="429" y="402"/>
                  <a:pt x="429" y="402"/>
                  <a:pt x="430" y="402"/>
                </a:cubicBezTo>
                <a:cubicBezTo>
                  <a:pt x="430" y="402"/>
                  <a:pt x="430" y="401"/>
                  <a:pt x="431" y="401"/>
                </a:cubicBezTo>
                <a:cubicBezTo>
                  <a:pt x="431" y="401"/>
                  <a:pt x="431" y="401"/>
                  <a:pt x="431" y="401"/>
                </a:cubicBezTo>
                <a:cubicBezTo>
                  <a:pt x="431" y="400"/>
                  <a:pt x="431" y="400"/>
                  <a:pt x="431" y="400"/>
                </a:cubicBezTo>
                <a:cubicBezTo>
                  <a:pt x="430" y="400"/>
                  <a:pt x="430" y="399"/>
                  <a:pt x="431" y="399"/>
                </a:cubicBezTo>
                <a:cubicBezTo>
                  <a:pt x="431" y="398"/>
                  <a:pt x="432" y="398"/>
                  <a:pt x="432" y="397"/>
                </a:cubicBezTo>
                <a:cubicBezTo>
                  <a:pt x="433" y="397"/>
                  <a:pt x="433" y="396"/>
                  <a:pt x="433" y="395"/>
                </a:cubicBezTo>
                <a:cubicBezTo>
                  <a:pt x="433" y="395"/>
                  <a:pt x="434" y="395"/>
                  <a:pt x="435" y="395"/>
                </a:cubicBezTo>
                <a:cubicBezTo>
                  <a:pt x="436" y="395"/>
                  <a:pt x="437" y="394"/>
                  <a:pt x="438" y="393"/>
                </a:cubicBezTo>
                <a:cubicBezTo>
                  <a:pt x="439" y="392"/>
                  <a:pt x="439" y="391"/>
                  <a:pt x="440" y="390"/>
                </a:cubicBezTo>
                <a:cubicBezTo>
                  <a:pt x="440" y="389"/>
                  <a:pt x="440" y="387"/>
                  <a:pt x="439" y="386"/>
                </a:cubicBezTo>
                <a:cubicBezTo>
                  <a:pt x="439" y="386"/>
                  <a:pt x="439" y="386"/>
                  <a:pt x="439" y="386"/>
                </a:cubicBezTo>
                <a:cubicBezTo>
                  <a:pt x="439" y="386"/>
                  <a:pt x="438" y="386"/>
                  <a:pt x="438" y="386"/>
                </a:cubicBezTo>
                <a:cubicBezTo>
                  <a:pt x="438" y="386"/>
                  <a:pt x="437" y="386"/>
                  <a:pt x="436" y="385"/>
                </a:cubicBezTo>
                <a:cubicBezTo>
                  <a:pt x="436" y="385"/>
                  <a:pt x="436" y="385"/>
                  <a:pt x="436" y="384"/>
                </a:cubicBezTo>
                <a:cubicBezTo>
                  <a:pt x="436" y="384"/>
                  <a:pt x="435" y="384"/>
                  <a:pt x="435" y="384"/>
                </a:cubicBezTo>
                <a:cubicBezTo>
                  <a:pt x="435" y="384"/>
                  <a:pt x="434" y="384"/>
                  <a:pt x="434" y="384"/>
                </a:cubicBezTo>
                <a:cubicBezTo>
                  <a:pt x="434" y="384"/>
                  <a:pt x="434" y="384"/>
                  <a:pt x="433" y="384"/>
                </a:cubicBezTo>
                <a:cubicBezTo>
                  <a:pt x="433" y="384"/>
                  <a:pt x="433" y="384"/>
                  <a:pt x="433" y="384"/>
                </a:cubicBezTo>
                <a:cubicBezTo>
                  <a:pt x="432" y="384"/>
                  <a:pt x="432" y="383"/>
                  <a:pt x="431" y="384"/>
                </a:cubicBezTo>
                <a:cubicBezTo>
                  <a:pt x="430" y="384"/>
                  <a:pt x="430" y="385"/>
                  <a:pt x="430" y="385"/>
                </a:cubicBezTo>
                <a:cubicBezTo>
                  <a:pt x="429" y="385"/>
                  <a:pt x="429" y="385"/>
                  <a:pt x="429" y="385"/>
                </a:cubicBezTo>
                <a:cubicBezTo>
                  <a:pt x="429" y="385"/>
                  <a:pt x="429" y="384"/>
                  <a:pt x="429" y="384"/>
                </a:cubicBezTo>
                <a:cubicBezTo>
                  <a:pt x="429" y="384"/>
                  <a:pt x="429" y="384"/>
                  <a:pt x="429" y="384"/>
                </a:cubicBezTo>
                <a:cubicBezTo>
                  <a:pt x="429" y="383"/>
                  <a:pt x="429" y="383"/>
                  <a:pt x="429" y="383"/>
                </a:cubicBezTo>
                <a:cubicBezTo>
                  <a:pt x="429" y="383"/>
                  <a:pt x="429" y="382"/>
                  <a:pt x="429" y="382"/>
                </a:cubicBezTo>
                <a:cubicBezTo>
                  <a:pt x="429" y="382"/>
                  <a:pt x="428" y="382"/>
                  <a:pt x="428" y="382"/>
                </a:cubicBezTo>
                <a:cubicBezTo>
                  <a:pt x="428" y="382"/>
                  <a:pt x="428" y="382"/>
                  <a:pt x="429" y="382"/>
                </a:cubicBezTo>
                <a:cubicBezTo>
                  <a:pt x="429" y="381"/>
                  <a:pt x="429" y="381"/>
                  <a:pt x="429" y="380"/>
                </a:cubicBezTo>
                <a:cubicBezTo>
                  <a:pt x="430" y="380"/>
                  <a:pt x="430" y="379"/>
                  <a:pt x="430" y="378"/>
                </a:cubicBezTo>
                <a:cubicBezTo>
                  <a:pt x="430" y="377"/>
                  <a:pt x="431" y="377"/>
                  <a:pt x="432" y="377"/>
                </a:cubicBezTo>
                <a:cubicBezTo>
                  <a:pt x="432" y="377"/>
                  <a:pt x="432" y="377"/>
                  <a:pt x="432" y="377"/>
                </a:cubicBezTo>
                <a:cubicBezTo>
                  <a:pt x="432" y="376"/>
                  <a:pt x="432" y="376"/>
                  <a:pt x="432" y="376"/>
                </a:cubicBezTo>
                <a:cubicBezTo>
                  <a:pt x="431" y="376"/>
                  <a:pt x="431" y="376"/>
                  <a:pt x="431" y="376"/>
                </a:cubicBezTo>
                <a:cubicBezTo>
                  <a:pt x="432" y="376"/>
                  <a:pt x="432" y="376"/>
                  <a:pt x="432" y="375"/>
                </a:cubicBezTo>
                <a:cubicBezTo>
                  <a:pt x="433" y="375"/>
                  <a:pt x="434" y="375"/>
                  <a:pt x="434" y="375"/>
                </a:cubicBezTo>
                <a:cubicBezTo>
                  <a:pt x="435" y="374"/>
                  <a:pt x="435" y="374"/>
                  <a:pt x="435" y="374"/>
                </a:cubicBezTo>
                <a:cubicBezTo>
                  <a:pt x="435" y="373"/>
                  <a:pt x="435" y="373"/>
                  <a:pt x="435" y="373"/>
                </a:cubicBezTo>
                <a:cubicBezTo>
                  <a:pt x="435" y="373"/>
                  <a:pt x="435" y="373"/>
                  <a:pt x="435" y="373"/>
                </a:cubicBezTo>
                <a:cubicBezTo>
                  <a:pt x="435" y="373"/>
                  <a:pt x="435" y="372"/>
                  <a:pt x="435" y="372"/>
                </a:cubicBezTo>
                <a:cubicBezTo>
                  <a:pt x="435" y="372"/>
                  <a:pt x="435" y="372"/>
                  <a:pt x="435" y="372"/>
                </a:cubicBezTo>
                <a:cubicBezTo>
                  <a:pt x="436" y="372"/>
                  <a:pt x="436" y="372"/>
                  <a:pt x="436" y="372"/>
                </a:cubicBezTo>
                <a:cubicBezTo>
                  <a:pt x="437" y="372"/>
                  <a:pt x="437" y="372"/>
                  <a:pt x="437" y="372"/>
                </a:cubicBezTo>
                <a:cubicBezTo>
                  <a:pt x="437" y="371"/>
                  <a:pt x="437" y="371"/>
                  <a:pt x="437" y="370"/>
                </a:cubicBezTo>
                <a:cubicBezTo>
                  <a:pt x="437" y="370"/>
                  <a:pt x="436" y="370"/>
                  <a:pt x="436" y="370"/>
                </a:cubicBezTo>
                <a:cubicBezTo>
                  <a:pt x="436" y="370"/>
                  <a:pt x="436" y="370"/>
                  <a:pt x="436" y="369"/>
                </a:cubicBezTo>
                <a:cubicBezTo>
                  <a:pt x="436" y="369"/>
                  <a:pt x="436" y="369"/>
                  <a:pt x="436" y="369"/>
                </a:cubicBezTo>
                <a:cubicBezTo>
                  <a:pt x="436" y="369"/>
                  <a:pt x="436" y="369"/>
                  <a:pt x="436" y="369"/>
                </a:cubicBezTo>
                <a:cubicBezTo>
                  <a:pt x="436" y="369"/>
                  <a:pt x="436" y="369"/>
                  <a:pt x="437" y="369"/>
                </a:cubicBezTo>
                <a:cubicBezTo>
                  <a:pt x="437" y="369"/>
                  <a:pt x="437" y="369"/>
                  <a:pt x="437" y="369"/>
                </a:cubicBezTo>
                <a:cubicBezTo>
                  <a:pt x="437" y="370"/>
                  <a:pt x="438" y="370"/>
                  <a:pt x="438" y="369"/>
                </a:cubicBezTo>
                <a:cubicBezTo>
                  <a:pt x="438" y="369"/>
                  <a:pt x="438" y="369"/>
                  <a:pt x="438" y="369"/>
                </a:cubicBezTo>
                <a:cubicBezTo>
                  <a:pt x="438" y="368"/>
                  <a:pt x="439" y="367"/>
                  <a:pt x="439" y="367"/>
                </a:cubicBezTo>
                <a:cubicBezTo>
                  <a:pt x="438" y="366"/>
                  <a:pt x="438" y="366"/>
                  <a:pt x="438" y="366"/>
                </a:cubicBezTo>
                <a:cubicBezTo>
                  <a:pt x="438" y="366"/>
                  <a:pt x="439" y="365"/>
                  <a:pt x="439" y="365"/>
                </a:cubicBezTo>
                <a:cubicBezTo>
                  <a:pt x="439" y="365"/>
                  <a:pt x="439" y="366"/>
                  <a:pt x="439" y="366"/>
                </a:cubicBezTo>
                <a:cubicBezTo>
                  <a:pt x="440" y="366"/>
                  <a:pt x="440" y="366"/>
                  <a:pt x="440" y="367"/>
                </a:cubicBezTo>
                <a:cubicBezTo>
                  <a:pt x="440" y="367"/>
                  <a:pt x="439" y="368"/>
                  <a:pt x="439" y="368"/>
                </a:cubicBezTo>
                <a:cubicBezTo>
                  <a:pt x="439" y="369"/>
                  <a:pt x="439" y="369"/>
                  <a:pt x="439" y="369"/>
                </a:cubicBezTo>
                <a:cubicBezTo>
                  <a:pt x="439" y="369"/>
                  <a:pt x="439" y="370"/>
                  <a:pt x="439" y="370"/>
                </a:cubicBezTo>
                <a:cubicBezTo>
                  <a:pt x="439" y="370"/>
                  <a:pt x="440" y="370"/>
                  <a:pt x="440" y="370"/>
                </a:cubicBezTo>
                <a:cubicBezTo>
                  <a:pt x="441" y="370"/>
                  <a:pt x="441" y="370"/>
                  <a:pt x="441" y="369"/>
                </a:cubicBezTo>
                <a:cubicBezTo>
                  <a:pt x="442" y="369"/>
                  <a:pt x="442" y="369"/>
                  <a:pt x="442" y="369"/>
                </a:cubicBezTo>
                <a:cubicBezTo>
                  <a:pt x="443" y="369"/>
                  <a:pt x="443" y="368"/>
                  <a:pt x="443" y="368"/>
                </a:cubicBezTo>
                <a:cubicBezTo>
                  <a:pt x="443" y="367"/>
                  <a:pt x="445" y="365"/>
                  <a:pt x="444" y="364"/>
                </a:cubicBezTo>
                <a:cubicBezTo>
                  <a:pt x="444" y="364"/>
                  <a:pt x="444" y="364"/>
                  <a:pt x="444" y="364"/>
                </a:cubicBezTo>
                <a:cubicBezTo>
                  <a:pt x="443" y="364"/>
                  <a:pt x="443" y="364"/>
                  <a:pt x="442" y="364"/>
                </a:cubicBezTo>
                <a:cubicBezTo>
                  <a:pt x="442" y="364"/>
                  <a:pt x="442" y="364"/>
                  <a:pt x="442" y="364"/>
                </a:cubicBezTo>
                <a:cubicBezTo>
                  <a:pt x="442" y="364"/>
                  <a:pt x="441" y="364"/>
                  <a:pt x="442" y="364"/>
                </a:cubicBezTo>
                <a:cubicBezTo>
                  <a:pt x="443" y="363"/>
                  <a:pt x="445" y="364"/>
                  <a:pt x="446" y="363"/>
                </a:cubicBezTo>
                <a:cubicBezTo>
                  <a:pt x="447" y="363"/>
                  <a:pt x="447" y="363"/>
                  <a:pt x="448" y="363"/>
                </a:cubicBezTo>
                <a:cubicBezTo>
                  <a:pt x="448" y="363"/>
                  <a:pt x="448" y="362"/>
                  <a:pt x="448" y="362"/>
                </a:cubicBezTo>
                <a:cubicBezTo>
                  <a:pt x="449" y="361"/>
                  <a:pt x="449" y="361"/>
                  <a:pt x="449" y="360"/>
                </a:cubicBezTo>
                <a:cubicBezTo>
                  <a:pt x="449" y="360"/>
                  <a:pt x="449" y="359"/>
                  <a:pt x="449" y="359"/>
                </a:cubicBezTo>
                <a:cubicBezTo>
                  <a:pt x="449" y="358"/>
                  <a:pt x="449" y="358"/>
                  <a:pt x="449" y="357"/>
                </a:cubicBezTo>
                <a:cubicBezTo>
                  <a:pt x="448" y="357"/>
                  <a:pt x="448" y="356"/>
                  <a:pt x="447" y="355"/>
                </a:cubicBezTo>
                <a:cubicBezTo>
                  <a:pt x="447" y="355"/>
                  <a:pt x="446" y="355"/>
                  <a:pt x="446" y="354"/>
                </a:cubicBezTo>
                <a:cubicBezTo>
                  <a:pt x="445" y="354"/>
                  <a:pt x="445" y="354"/>
                  <a:pt x="445" y="354"/>
                </a:cubicBezTo>
                <a:cubicBezTo>
                  <a:pt x="445" y="353"/>
                  <a:pt x="446" y="353"/>
                  <a:pt x="446" y="353"/>
                </a:cubicBezTo>
                <a:cubicBezTo>
                  <a:pt x="446" y="353"/>
                  <a:pt x="447" y="354"/>
                  <a:pt x="447" y="354"/>
                </a:cubicBezTo>
                <a:cubicBezTo>
                  <a:pt x="447" y="354"/>
                  <a:pt x="447" y="354"/>
                  <a:pt x="448" y="355"/>
                </a:cubicBezTo>
                <a:cubicBezTo>
                  <a:pt x="448" y="355"/>
                  <a:pt x="448" y="354"/>
                  <a:pt x="449" y="354"/>
                </a:cubicBezTo>
                <a:cubicBezTo>
                  <a:pt x="449" y="354"/>
                  <a:pt x="449" y="354"/>
                  <a:pt x="449" y="354"/>
                </a:cubicBezTo>
                <a:cubicBezTo>
                  <a:pt x="450" y="355"/>
                  <a:pt x="450" y="354"/>
                  <a:pt x="451" y="354"/>
                </a:cubicBezTo>
                <a:cubicBezTo>
                  <a:pt x="451" y="354"/>
                  <a:pt x="452" y="353"/>
                  <a:pt x="452" y="352"/>
                </a:cubicBezTo>
                <a:cubicBezTo>
                  <a:pt x="452" y="352"/>
                  <a:pt x="452" y="352"/>
                  <a:pt x="453" y="352"/>
                </a:cubicBezTo>
                <a:cubicBezTo>
                  <a:pt x="453" y="351"/>
                  <a:pt x="453" y="351"/>
                  <a:pt x="454" y="351"/>
                </a:cubicBezTo>
                <a:cubicBezTo>
                  <a:pt x="454" y="350"/>
                  <a:pt x="454" y="350"/>
                  <a:pt x="454" y="349"/>
                </a:cubicBezTo>
                <a:cubicBezTo>
                  <a:pt x="454" y="349"/>
                  <a:pt x="453" y="349"/>
                  <a:pt x="453" y="349"/>
                </a:cubicBezTo>
                <a:cubicBezTo>
                  <a:pt x="453" y="349"/>
                  <a:pt x="453" y="348"/>
                  <a:pt x="453" y="348"/>
                </a:cubicBezTo>
                <a:cubicBezTo>
                  <a:pt x="453" y="348"/>
                  <a:pt x="453" y="347"/>
                  <a:pt x="454" y="347"/>
                </a:cubicBezTo>
                <a:cubicBezTo>
                  <a:pt x="455" y="346"/>
                  <a:pt x="456" y="344"/>
                  <a:pt x="457" y="342"/>
                </a:cubicBezTo>
                <a:cubicBezTo>
                  <a:pt x="458" y="342"/>
                  <a:pt x="458" y="341"/>
                  <a:pt x="459" y="341"/>
                </a:cubicBezTo>
                <a:cubicBezTo>
                  <a:pt x="459" y="341"/>
                  <a:pt x="460" y="342"/>
                  <a:pt x="461" y="342"/>
                </a:cubicBezTo>
                <a:cubicBezTo>
                  <a:pt x="461" y="341"/>
                  <a:pt x="461" y="341"/>
                  <a:pt x="461" y="340"/>
                </a:cubicBezTo>
                <a:cubicBezTo>
                  <a:pt x="461" y="339"/>
                  <a:pt x="460" y="339"/>
                  <a:pt x="460" y="338"/>
                </a:cubicBezTo>
                <a:cubicBezTo>
                  <a:pt x="460" y="337"/>
                  <a:pt x="461" y="336"/>
                  <a:pt x="462" y="335"/>
                </a:cubicBezTo>
                <a:cubicBezTo>
                  <a:pt x="464" y="334"/>
                  <a:pt x="465" y="334"/>
                  <a:pt x="466" y="333"/>
                </a:cubicBezTo>
                <a:cubicBezTo>
                  <a:pt x="467" y="333"/>
                  <a:pt x="468" y="331"/>
                  <a:pt x="469" y="330"/>
                </a:cubicBezTo>
                <a:cubicBezTo>
                  <a:pt x="471" y="329"/>
                  <a:pt x="473" y="328"/>
                  <a:pt x="474" y="326"/>
                </a:cubicBezTo>
                <a:cubicBezTo>
                  <a:pt x="475" y="325"/>
                  <a:pt x="475" y="324"/>
                  <a:pt x="475" y="322"/>
                </a:cubicBezTo>
                <a:cubicBezTo>
                  <a:pt x="475" y="321"/>
                  <a:pt x="475" y="321"/>
                  <a:pt x="476" y="320"/>
                </a:cubicBezTo>
                <a:cubicBezTo>
                  <a:pt x="476" y="321"/>
                  <a:pt x="477" y="322"/>
                  <a:pt x="476" y="322"/>
                </a:cubicBezTo>
                <a:cubicBezTo>
                  <a:pt x="476" y="323"/>
                  <a:pt x="476" y="324"/>
                  <a:pt x="476" y="325"/>
                </a:cubicBezTo>
                <a:cubicBezTo>
                  <a:pt x="476" y="326"/>
                  <a:pt x="476" y="326"/>
                  <a:pt x="476" y="326"/>
                </a:cubicBezTo>
                <a:cubicBezTo>
                  <a:pt x="477" y="327"/>
                  <a:pt x="477" y="327"/>
                  <a:pt x="478" y="327"/>
                </a:cubicBezTo>
                <a:cubicBezTo>
                  <a:pt x="479" y="327"/>
                  <a:pt x="479" y="327"/>
                  <a:pt x="480" y="327"/>
                </a:cubicBezTo>
                <a:cubicBezTo>
                  <a:pt x="481" y="327"/>
                  <a:pt x="482" y="328"/>
                  <a:pt x="483" y="328"/>
                </a:cubicBezTo>
                <a:cubicBezTo>
                  <a:pt x="484" y="327"/>
                  <a:pt x="484" y="326"/>
                  <a:pt x="484" y="326"/>
                </a:cubicBezTo>
                <a:cubicBezTo>
                  <a:pt x="484" y="324"/>
                  <a:pt x="485" y="323"/>
                  <a:pt x="486" y="322"/>
                </a:cubicBezTo>
                <a:cubicBezTo>
                  <a:pt x="487" y="321"/>
                  <a:pt x="488" y="321"/>
                  <a:pt x="489" y="321"/>
                </a:cubicBezTo>
                <a:cubicBezTo>
                  <a:pt x="490" y="321"/>
                  <a:pt x="491" y="321"/>
                  <a:pt x="492" y="320"/>
                </a:cubicBezTo>
                <a:cubicBezTo>
                  <a:pt x="493" y="320"/>
                  <a:pt x="494" y="320"/>
                  <a:pt x="494" y="320"/>
                </a:cubicBezTo>
                <a:cubicBezTo>
                  <a:pt x="492" y="322"/>
                  <a:pt x="488" y="323"/>
                  <a:pt x="486" y="325"/>
                </a:cubicBezTo>
                <a:cubicBezTo>
                  <a:pt x="485" y="326"/>
                  <a:pt x="485" y="327"/>
                  <a:pt x="484" y="328"/>
                </a:cubicBezTo>
                <a:cubicBezTo>
                  <a:pt x="483" y="329"/>
                  <a:pt x="483" y="329"/>
                  <a:pt x="482" y="330"/>
                </a:cubicBezTo>
                <a:cubicBezTo>
                  <a:pt x="483" y="330"/>
                  <a:pt x="484" y="331"/>
                  <a:pt x="485" y="332"/>
                </a:cubicBezTo>
                <a:cubicBezTo>
                  <a:pt x="485" y="332"/>
                  <a:pt x="485" y="333"/>
                  <a:pt x="486" y="333"/>
                </a:cubicBezTo>
                <a:cubicBezTo>
                  <a:pt x="487" y="333"/>
                  <a:pt x="487" y="333"/>
                  <a:pt x="488" y="334"/>
                </a:cubicBezTo>
                <a:cubicBezTo>
                  <a:pt x="489" y="334"/>
                  <a:pt x="491" y="335"/>
                  <a:pt x="492" y="336"/>
                </a:cubicBezTo>
                <a:cubicBezTo>
                  <a:pt x="493" y="335"/>
                  <a:pt x="495" y="336"/>
                  <a:pt x="496" y="338"/>
                </a:cubicBezTo>
                <a:cubicBezTo>
                  <a:pt x="492" y="337"/>
                  <a:pt x="489" y="335"/>
                  <a:pt x="486" y="335"/>
                </a:cubicBezTo>
                <a:cubicBezTo>
                  <a:pt x="485" y="335"/>
                  <a:pt x="483" y="336"/>
                  <a:pt x="482" y="336"/>
                </a:cubicBezTo>
                <a:cubicBezTo>
                  <a:pt x="481" y="336"/>
                  <a:pt x="480" y="336"/>
                  <a:pt x="479" y="335"/>
                </a:cubicBezTo>
                <a:cubicBezTo>
                  <a:pt x="479" y="334"/>
                  <a:pt x="479" y="334"/>
                  <a:pt x="478" y="333"/>
                </a:cubicBezTo>
                <a:cubicBezTo>
                  <a:pt x="478" y="333"/>
                  <a:pt x="477" y="333"/>
                  <a:pt x="477" y="334"/>
                </a:cubicBezTo>
                <a:cubicBezTo>
                  <a:pt x="475" y="335"/>
                  <a:pt x="474" y="336"/>
                  <a:pt x="473" y="337"/>
                </a:cubicBezTo>
                <a:cubicBezTo>
                  <a:pt x="472" y="337"/>
                  <a:pt x="471" y="338"/>
                  <a:pt x="470" y="339"/>
                </a:cubicBezTo>
                <a:cubicBezTo>
                  <a:pt x="469" y="340"/>
                  <a:pt x="467" y="340"/>
                  <a:pt x="466" y="342"/>
                </a:cubicBezTo>
                <a:cubicBezTo>
                  <a:pt x="465" y="342"/>
                  <a:pt x="465" y="343"/>
                  <a:pt x="465" y="343"/>
                </a:cubicBezTo>
                <a:cubicBezTo>
                  <a:pt x="465" y="343"/>
                  <a:pt x="465" y="344"/>
                  <a:pt x="465" y="344"/>
                </a:cubicBezTo>
                <a:cubicBezTo>
                  <a:pt x="466" y="345"/>
                  <a:pt x="466" y="346"/>
                  <a:pt x="467" y="347"/>
                </a:cubicBezTo>
                <a:cubicBezTo>
                  <a:pt x="467" y="348"/>
                  <a:pt x="467" y="349"/>
                  <a:pt x="466" y="350"/>
                </a:cubicBezTo>
                <a:cubicBezTo>
                  <a:pt x="466" y="350"/>
                  <a:pt x="466" y="350"/>
                  <a:pt x="466" y="351"/>
                </a:cubicBezTo>
                <a:cubicBezTo>
                  <a:pt x="465" y="351"/>
                  <a:pt x="465" y="352"/>
                  <a:pt x="465" y="353"/>
                </a:cubicBezTo>
                <a:cubicBezTo>
                  <a:pt x="465" y="354"/>
                  <a:pt x="464" y="355"/>
                  <a:pt x="463" y="356"/>
                </a:cubicBezTo>
                <a:cubicBezTo>
                  <a:pt x="462" y="358"/>
                  <a:pt x="461" y="359"/>
                  <a:pt x="461" y="361"/>
                </a:cubicBezTo>
                <a:cubicBezTo>
                  <a:pt x="461" y="362"/>
                  <a:pt x="460" y="363"/>
                  <a:pt x="460" y="364"/>
                </a:cubicBezTo>
                <a:cubicBezTo>
                  <a:pt x="460" y="364"/>
                  <a:pt x="459" y="365"/>
                  <a:pt x="459" y="366"/>
                </a:cubicBezTo>
                <a:cubicBezTo>
                  <a:pt x="459" y="366"/>
                  <a:pt x="460" y="367"/>
                  <a:pt x="460" y="368"/>
                </a:cubicBezTo>
                <a:cubicBezTo>
                  <a:pt x="461" y="368"/>
                  <a:pt x="462" y="369"/>
                  <a:pt x="462" y="369"/>
                </a:cubicBezTo>
                <a:cubicBezTo>
                  <a:pt x="463" y="369"/>
                  <a:pt x="463" y="369"/>
                  <a:pt x="463" y="369"/>
                </a:cubicBezTo>
                <a:cubicBezTo>
                  <a:pt x="464" y="369"/>
                  <a:pt x="465" y="369"/>
                  <a:pt x="465" y="369"/>
                </a:cubicBezTo>
                <a:cubicBezTo>
                  <a:pt x="466" y="368"/>
                  <a:pt x="467" y="368"/>
                  <a:pt x="468" y="367"/>
                </a:cubicBezTo>
                <a:cubicBezTo>
                  <a:pt x="468" y="366"/>
                  <a:pt x="469" y="366"/>
                  <a:pt x="469" y="366"/>
                </a:cubicBezTo>
                <a:cubicBezTo>
                  <a:pt x="469" y="366"/>
                  <a:pt x="470" y="366"/>
                  <a:pt x="470" y="366"/>
                </a:cubicBezTo>
                <a:cubicBezTo>
                  <a:pt x="469" y="367"/>
                  <a:pt x="469" y="368"/>
                  <a:pt x="468" y="369"/>
                </a:cubicBezTo>
                <a:cubicBezTo>
                  <a:pt x="468" y="369"/>
                  <a:pt x="468" y="369"/>
                  <a:pt x="468" y="369"/>
                </a:cubicBezTo>
                <a:cubicBezTo>
                  <a:pt x="467" y="369"/>
                  <a:pt x="467" y="369"/>
                  <a:pt x="468" y="370"/>
                </a:cubicBezTo>
                <a:cubicBezTo>
                  <a:pt x="468" y="370"/>
                  <a:pt x="468" y="370"/>
                  <a:pt x="468" y="370"/>
                </a:cubicBezTo>
                <a:cubicBezTo>
                  <a:pt x="468" y="370"/>
                  <a:pt x="468" y="370"/>
                  <a:pt x="469" y="371"/>
                </a:cubicBezTo>
                <a:cubicBezTo>
                  <a:pt x="468" y="371"/>
                  <a:pt x="467" y="371"/>
                  <a:pt x="467" y="371"/>
                </a:cubicBezTo>
                <a:cubicBezTo>
                  <a:pt x="467" y="371"/>
                  <a:pt x="466" y="371"/>
                  <a:pt x="466" y="371"/>
                </a:cubicBezTo>
                <a:cubicBezTo>
                  <a:pt x="466" y="372"/>
                  <a:pt x="465" y="371"/>
                  <a:pt x="465" y="372"/>
                </a:cubicBezTo>
                <a:cubicBezTo>
                  <a:pt x="465" y="372"/>
                  <a:pt x="464" y="372"/>
                  <a:pt x="464" y="372"/>
                </a:cubicBezTo>
                <a:cubicBezTo>
                  <a:pt x="464" y="373"/>
                  <a:pt x="465" y="373"/>
                  <a:pt x="465" y="373"/>
                </a:cubicBezTo>
                <a:cubicBezTo>
                  <a:pt x="465" y="374"/>
                  <a:pt x="465" y="374"/>
                  <a:pt x="464" y="374"/>
                </a:cubicBezTo>
                <a:cubicBezTo>
                  <a:pt x="464" y="374"/>
                  <a:pt x="463" y="374"/>
                  <a:pt x="462" y="374"/>
                </a:cubicBezTo>
                <a:cubicBezTo>
                  <a:pt x="462" y="374"/>
                  <a:pt x="461" y="374"/>
                  <a:pt x="461" y="374"/>
                </a:cubicBezTo>
                <a:cubicBezTo>
                  <a:pt x="461" y="375"/>
                  <a:pt x="460" y="374"/>
                  <a:pt x="460" y="374"/>
                </a:cubicBezTo>
                <a:cubicBezTo>
                  <a:pt x="460" y="374"/>
                  <a:pt x="459" y="375"/>
                  <a:pt x="459" y="375"/>
                </a:cubicBezTo>
                <a:cubicBezTo>
                  <a:pt x="459" y="375"/>
                  <a:pt x="459" y="375"/>
                  <a:pt x="459" y="375"/>
                </a:cubicBezTo>
                <a:cubicBezTo>
                  <a:pt x="459" y="375"/>
                  <a:pt x="459" y="376"/>
                  <a:pt x="459" y="376"/>
                </a:cubicBezTo>
                <a:cubicBezTo>
                  <a:pt x="459" y="376"/>
                  <a:pt x="459" y="376"/>
                  <a:pt x="459" y="376"/>
                </a:cubicBezTo>
                <a:cubicBezTo>
                  <a:pt x="459" y="376"/>
                  <a:pt x="459" y="376"/>
                  <a:pt x="459" y="376"/>
                </a:cubicBezTo>
                <a:cubicBezTo>
                  <a:pt x="459" y="377"/>
                  <a:pt x="459" y="377"/>
                  <a:pt x="458" y="377"/>
                </a:cubicBezTo>
                <a:cubicBezTo>
                  <a:pt x="458" y="377"/>
                  <a:pt x="458" y="377"/>
                  <a:pt x="457" y="377"/>
                </a:cubicBezTo>
                <a:cubicBezTo>
                  <a:pt x="457" y="377"/>
                  <a:pt x="457" y="378"/>
                  <a:pt x="457" y="378"/>
                </a:cubicBezTo>
                <a:cubicBezTo>
                  <a:pt x="458" y="379"/>
                  <a:pt x="458" y="379"/>
                  <a:pt x="458" y="379"/>
                </a:cubicBezTo>
                <a:cubicBezTo>
                  <a:pt x="458" y="380"/>
                  <a:pt x="458" y="380"/>
                  <a:pt x="458" y="380"/>
                </a:cubicBezTo>
                <a:cubicBezTo>
                  <a:pt x="458" y="380"/>
                  <a:pt x="459" y="381"/>
                  <a:pt x="460" y="380"/>
                </a:cubicBezTo>
                <a:cubicBezTo>
                  <a:pt x="460" y="380"/>
                  <a:pt x="460" y="380"/>
                  <a:pt x="460" y="380"/>
                </a:cubicBezTo>
                <a:cubicBezTo>
                  <a:pt x="460" y="381"/>
                  <a:pt x="460" y="381"/>
                  <a:pt x="460" y="381"/>
                </a:cubicBezTo>
                <a:cubicBezTo>
                  <a:pt x="460" y="381"/>
                  <a:pt x="461" y="381"/>
                  <a:pt x="461" y="381"/>
                </a:cubicBezTo>
                <a:cubicBezTo>
                  <a:pt x="462" y="381"/>
                  <a:pt x="462" y="381"/>
                  <a:pt x="462" y="381"/>
                </a:cubicBezTo>
                <a:cubicBezTo>
                  <a:pt x="463" y="381"/>
                  <a:pt x="463" y="380"/>
                  <a:pt x="463" y="380"/>
                </a:cubicBezTo>
                <a:cubicBezTo>
                  <a:pt x="463" y="380"/>
                  <a:pt x="463" y="380"/>
                  <a:pt x="463" y="380"/>
                </a:cubicBezTo>
                <a:cubicBezTo>
                  <a:pt x="464" y="380"/>
                  <a:pt x="464" y="380"/>
                  <a:pt x="465" y="380"/>
                </a:cubicBezTo>
                <a:cubicBezTo>
                  <a:pt x="465" y="379"/>
                  <a:pt x="466" y="380"/>
                  <a:pt x="466" y="380"/>
                </a:cubicBezTo>
                <a:cubicBezTo>
                  <a:pt x="466" y="380"/>
                  <a:pt x="467" y="381"/>
                  <a:pt x="467" y="381"/>
                </a:cubicBezTo>
                <a:cubicBezTo>
                  <a:pt x="467" y="381"/>
                  <a:pt x="468" y="381"/>
                  <a:pt x="468" y="381"/>
                </a:cubicBezTo>
                <a:cubicBezTo>
                  <a:pt x="469" y="380"/>
                  <a:pt x="469" y="380"/>
                  <a:pt x="469" y="379"/>
                </a:cubicBezTo>
                <a:cubicBezTo>
                  <a:pt x="469" y="379"/>
                  <a:pt x="469" y="379"/>
                  <a:pt x="469" y="379"/>
                </a:cubicBezTo>
                <a:cubicBezTo>
                  <a:pt x="469" y="379"/>
                  <a:pt x="469" y="379"/>
                  <a:pt x="469" y="379"/>
                </a:cubicBezTo>
                <a:cubicBezTo>
                  <a:pt x="468" y="379"/>
                  <a:pt x="468" y="378"/>
                  <a:pt x="467" y="378"/>
                </a:cubicBezTo>
                <a:cubicBezTo>
                  <a:pt x="467" y="378"/>
                  <a:pt x="467" y="378"/>
                  <a:pt x="466" y="378"/>
                </a:cubicBezTo>
                <a:cubicBezTo>
                  <a:pt x="466" y="378"/>
                  <a:pt x="466" y="378"/>
                  <a:pt x="466" y="378"/>
                </a:cubicBezTo>
                <a:cubicBezTo>
                  <a:pt x="468" y="378"/>
                  <a:pt x="469" y="378"/>
                  <a:pt x="470" y="379"/>
                </a:cubicBezTo>
                <a:cubicBezTo>
                  <a:pt x="470" y="379"/>
                  <a:pt x="470" y="379"/>
                  <a:pt x="470" y="379"/>
                </a:cubicBezTo>
                <a:cubicBezTo>
                  <a:pt x="470" y="379"/>
                  <a:pt x="470" y="380"/>
                  <a:pt x="470" y="380"/>
                </a:cubicBezTo>
                <a:cubicBezTo>
                  <a:pt x="470" y="380"/>
                  <a:pt x="470" y="380"/>
                  <a:pt x="470" y="380"/>
                </a:cubicBezTo>
                <a:cubicBezTo>
                  <a:pt x="471" y="380"/>
                  <a:pt x="471" y="380"/>
                  <a:pt x="471" y="380"/>
                </a:cubicBezTo>
                <a:cubicBezTo>
                  <a:pt x="471" y="379"/>
                  <a:pt x="472" y="379"/>
                  <a:pt x="471" y="379"/>
                </a:cubicBezTo>
                <a:cubicBezTo>
                  <a:pt x="471" y="378"/>
                  <a:pt x="471" y="378"/>
                  <a:pt x="471" y="378"/>
                </a:cubicBezTo>
                <a:cubicBezTo>
                  <a:pt x="471" y="378"/>
                  <a:pt x="471" y="378"/>
                  <a:pt x="471" y="377"/>
                </a:cubicBezTo>
                <a:cubicBezTo>
                  <a:pt x="472" y="377"/>
                  <a:pt x="472" y="377"/>
                  <a:pt x="472" y="377"/>
                </a:cubicBezTo>
                <a:cubicBezTo>
                  <a:pt x="473" y="377"/>
                  <a:pt x="473" y="376"/>
                  <a:pt x="473" y="376"/>
                </a:cubicBezTo>
                <a:cubicBezTo>
                  <a:pt x="473" y="375"/>
                  <a:pt x="473" y="375"/>
                  <a:pt x="474" y="375"/>
                </a:cubicBezTo>
                <a:cubicBezTo>
                  <a:pt x="474" y="375"/>
                  <a:pt x="474" y="375"/>
                  <a:pt x="475" y="374"/>
                </a:cubicBezTo>
                <a:cubicBezTo>
                  <a:pt x="475" y="374"/>
                  <a:pt x="475" y="374"/>
                  <a:pt x="475" y="373"/>
                </a:cubicBezTo>
                <a:cubicBezTo>
                  <a:pt x="475" y="373"/>
                  <a:pt x="475" y="372"/>
                  <a:pt x="475" y="372"/>
                </a:cubicBezTo>
                <a:cubicBezTo>
                  <a:pt x="476" y="371"/>
                  <a:pt x="476" y="371"/>
                  <a:pt x="477" y="371"/>
                </a:cubicBezTo>
                <a:cubicBezTo>
                  <a:pt x="477" y="372"/>
                  <a:pt x="476" y="372"/>
                  <a:pt x="476" y="372"/>
                </a:cubicBezTo>
                <a:cubicBezTo>
                  <a:pt x="476" y="373"/>
                  <a:pt x="477" y="373"/>
                  <a:pt x="477" y="373"/>
                </a:cubicBezTo>
                <a:cubicBezTo>
                  <a:pt x="477" y="373"/>
                  <a:pt x="477" y="372"/>
                  <a:pt x="477" y="372"/>
                </a:cubicBezTo>
                <a:cubicBezTo>
                  <a:pt x="477" y="372"/>
                  <a:pt x="478" y="371"/>
                  <a:pt x="478" y="371"/>
                </a:cubicBezTo>
                <a:cubicBezTo>
                  <a:pt x="479" y="370"/>
                  <a:pt x="479" y="369"/>
                  <a:pt x="479" y="369"/>
                </a:cubicBezTo>
                <a:cubicBezTo>
                  <a:pt x="479" y="368"/>
                  <a:pt x="480" y="368"/>
                  <a:pt x="480" y="368"/>
                </a:cubicBezTo>
                <a:cubicBezTo>
                  <a:pt x="480" y="370"/>
                  <a:pt x="479" y="371"/>
                  <a:pt x="478" y="373"/>
                </a:cubicBezTo>
                <a:cubicBezTo>
                  <a:pt x="478" y="373"/>
                  <a:pt x="478" y="374"/>
                  <a:pt x="478" y="374"/>
                </a:cubicBezTo>
                <a:cubicBezTo>
                  <a:pt x="478" y="375"/>
                  <a:pt x="479" y="375"/>
                  <a:pt x="479" y="375"/>
                </a:cubicBezTo>
                <a:cubicBezTo>
                  <a:pt x="479" y="375"/>
                  <a:pt x="479" y="374"/>
                  <a:pt x="479" y="373"/>
                </a:cubicBezTo>
                <a:cubicBezTo>
                  <a:pt x="479" y="373"/>
                  <a:pt x="479" y="373"/>
                  <a:pt x="480" y="373"/>
                </a:cubicBezTo>
                <a:cubicBezTo>
                  <a:pt x="480" y="372"/>
                  <a:pt x="480" y="372"/>
                  <a:pt x="481" y="372"/>
                </a:cubicBezTo>
                <a:cubicBezTo>
                  <a:pt x="481" y="372"/>
                  <a:pt x="481" y="372"/>
                  <a:pt x="481" y="371"/>
                </a:cubicBezTo>
                <a:cubicBezTo>
                  <a:pt x="481" y="371"/>
                  <a:pt x="481" y="371"/>
                  <a:pt x="481" y="371"/>
                </a:cubicBezTo>
                <a:cubicBezTo>
                  <a:pt x="481" y="370"/>
                  <a:pt x="482" y="370"/>
                  <a:pt x="482" y="370"/>
                </a:cubicBezTo>
                <a:cubicBezTo>
                  <a:pt x="482" y="369"/>
                  <a:pt x="483" y="369"/>
                  <a:pt x="483" y="369"/>
                </a:cubicBezTo>
                <a:cubicBezTo>
                  <a:pt x="483" y="369"/>
                  <a:pt x="484" y="369"/>
                  <a:pt x="484" y="369"/>
                </a:cubicBezTo>
                <a:cubicBezTo>
                  <a:pt x="484" y="368"/>
                  <a:pt x="484" y="368"/>
                  <a:pt x="483" y="368"/>
                </a:cubicBezTo>
                <a:cubicBezTo>
                  <a:pt x="484" y="368"/>
                  <a:pt x="484" y="367"/>
                  <a:pt x="483" y="367"/>
                </a:cubicBezTo>
                <a:cubicBezTo>
                  <a:pt x="483" y="367"/>
                  <a:pt x="483" y="367"/>
                  <a:pt x="483" y="366"/>
                </a:cubicBezTo>
                <a:cubicBezTo>
                  <a:pt x="482" y="366"/>
                  <a:pt x="483" y="365"/>
                  <a:pt x="483" y="365"/>
                </a:cubicBezTo>
                <a:cubicBezTo>
                  <a:pt x="484" y="365"/>
                  <a:pt x="484" y="366"/>
                  <a:pt x="484" y="366"/>
                </a:cubicBezTo>
                <a:cubicBezTo>
                  <a:pt x="484" y="367"/>
                  <a:pt x="485" y="367"/>
                  <a:pt x="485" y="367"/>
                </a:cubicBezTo>
                <a:cubicBezTo>
                  <a:pt x="485" y="367"/>
                  <a:pt x="485" y="367"/>
                  <a:pt x="485" y="367"/>
                </a:cubicBezTo>
                <a:cubicBezTo>
                  <a:pt x="485" y="368"/>
                  <a:pt x="486" y="368"/>
                  <a:pt x="486" y="367"/>
                </a:cubicBezTo>
                <a:cubicBezTo>
                  <a:pt x="487" y="367"/>
                  <a:pt x="486" y="366"/>
                  <a:pt x="486" y="366"/>
                </a:cubicBezTo>
                <a:cubicBezTo>
                  <a:pt x="486" y="366"/>
                  <a:pt x="486" y="365"/>
                  <a:pt x="486" y="365"/>
                </a:cubicBezTo>
                <a:cubicBezTo>
                  <a:pt x="486" y="365"/>
                  <a:pt x="486" y="365"/>
                  <a:pt x="486" y="365"/>
                </a:cubicBezTo>
                <a:cubicBezTo>
                  <a:pt x="486" y="364"/>
                  <a:pt x="486" y="364"/>
                  <a:pt x="486" y="363"/>
                </a:cubicBezTo>
                <a:cubicBezTo>
                  <a:pt x="486" y="363"/>
                  <a:pt x="486" y="362"/>
                  <a:pt x="486" y="362"/>
                </a:cubicBezTo>
                <a:cubicBezTo>
                  <a:pt x="487" y="361"/>
                  <a:pt x="487" y="362"/>
                  <a:pt x="487" y="362"/>
                </a:cubicBezTo>
                <a:cubicBezTo>
                  <a:pt x="487" y="363"/>
                  <a:pt x="487" y="363"/>
                  <a:pt x="487" y="364"/>
                </a:cubicBezTo>
                <a:cubicBezTo>
                  <a:pt x="487" y="364"/>
                  <a:pt x="487" y="365"/>
                  <a:pt x="487" y="365"/>
                </a:cubicBezTo>
                <a:cubicBezTo>
                  <a:pt x="488" y="366"/>
                  <a:pt x="488" y="366"/>
                  <a:pt x="489" y="366"/>
                </a:cubicBezTo>
                <a:cubicBezTo>
                  <a:pt x="489" y="365"/>
                  <a:pt x="488" y="365"/>
                  <a:pt x="488" y="364"/>
                </a:cubicBezTo>
                <a:cubicBezTo>
                  <a:pt x="488" y="364"/>
                  <a:pt x="488" y="363"/>
                  <a:pt x="488" y="363"/>
                </a:cubicBezTo>
                <a:cubicBezTo>
                  <a:pt x="488" y="363"/>
                  <a:pt x="488" y="363"/>
                  <a:pt x="488" y="362"/>
                </a:cubicBezTo>
                <a:cubicBezTo>
                  <a:pt x="488" y="362"/>
                  <a:pt x="489" y="362"/>
                  <a:pt x="489" y="362"/>
                </a:cubicBezTo>
                <a:cubicBezTo>
                  <a:pt x="489" y="362"/>
                  <a:pt x="489" y="362"/>
                  <a:pt x="489" y="362"/>
                </a:cubicBezTo>
                <a:cubicBezTo>
                  <a:pt x="490" y="362"/>
                  <a:pt x="490" y="362"/>
                  <a:pt x="490" y="361"/>
                </a:cubicBezTo>
                <a:cubicBezTo>
                  <a:pt x="490" y="361"/>
                  <a:pt x="490" y="361"/>
                  <a:pt x="490" y="360"/>
                </a:cubicBezTo>
                <a:cubicBezTo>
                  <a:pt x="490" y="360"/>
                  <a:pt x="490" y="359"/>
                  <a:pt x="490" y="359"/>
                </a:cubicBezTo>
                <a:cubicBezTo>
                  <a:pt x="490" y="358"/>
                  <a:pt x="490" y="358"/>
                  <a:pt x="490" y="358"/>
                </a:cubicBezTo>
                <a:cubicBezTo>
                  <a:pt x="490" y="358"/>
                  <a:pt x="491" y="358"/>
                  <a:pt x="491" y="358"/>
                </a:cubicBezTo>
                <a:cubicBezTo>
                  <a:pt x="491" y="358"/>
                  <a:pt x="491" y="358"/>
                  <a:pt x="491" y="358"/>
                </a:cubicBezTo>
                <a:cubicBezTo>
                  <a:pt x="491" y="359"/>
                  <a:pt x="491" y="360"/>
                  <a:pt x="491" y="361"/>
                </a:cubicBezTo>
                <a:cubicBezTo>
                  <a:pt x="491" y="361"/>
                  <a:pt x="491" y="362"/>
                  <a:pt x="492" y="362"/>
                </a:cubicBezTo>
                <a:cubicBezTo>
                  <a:pt x="492" y="363"/>
                  <a:pt x="492" y="363"/>
                  <a:pt x="493" y="363"/>
                </a:cubicBezTo>
                <a:cubicBezTo>
                  <a:pt x="493" y="362"/>
                  <a:pt x="493" y="361"/>
                  <a:pt x="493" y="360"/>
                </a:cubicBezTo>
                <a:cubicBezTo>
                  <a:pt x="493" y="360"/>
                  <a:pt x="493" y="360"/>
                  <a:pt x="493" y="359"/>
                </a:cubicBezTo>
                <a:cubicBezTo>
                  <a:pt x="494" y="359"/>
                  <a:pt x="494" y="359"/>
                  <a:pt x="494" y="359"/>
                </a:cubicBezTo>
                <a:cubicBezTo>
                  <a:pt x="494" y="360"/>
                  <a:pt x="494" y="360"/>
                  <a:pt x="494" y="361"/>
                </a:cubicBezTo>
                <a:cubicBezTo>
                  <a:pt x="494" y="362"/>
                  <a:pt x="496" y="362"/>
                  <a:pt x="497" y="361"/>
                </a:cubicBezTo>
                <a:cubicBezTo>
                  <a:pt x="497" y="362"/>
                  <a:pt x="497" y="362"/>
                  <a:pt x="497" y="362"/>
                </a:cubicBezTo>
                <a:cubicBezTo>
                  <a:pt x="498" y="362"/>
                  <a:pt x="498" y="362"/>
                  <a:pt x="499" y="362"/>
                </a:cubicBezTo>
                <a:cubicBezTo>
                  <a:pt x="499" y="362"/>
                  <a:pt x="499" y="361"/>
                  <a:pt x="499" y="361"/>
                </a:cubicBezTo>
                <a:cubicBezTo>
                  <a:pt x="500" y="361"/>
                  <a:pt x="500" y="362"/>
                  <a:pt x="500" y="362"/>
                </a:cubicBezTo>
                <a:cubicBezTo>
                  <a:pt x="500" y="363"/>
                  <a:pt x="501" y="362"/>
                  <a:pt x="501" y="362"/>
                </a:cubicBezTo>
                <a:cubicBezTo>
                  <a:pt x="501" y="361"/>
                  <a:pt x="501" y="361"/>
                  <a:pt x="501" y="360"/>
                </a:cubicBezTo>
                <a:cubicBezTo>
                  <a:pt x="501" y="360"/>
                  <a:pt x="501" y="359"/>
                  <a:pt x="502" y="359"/>
                </a:cubicBezTo>
                <a:cubicBezTo>
                  <a:pt x="502" y="360"/>
                  <a:pt x="502" y="360"/>
                  <a:pt x="502" y="361"/>
                </a:cubicBezTo>
                <a:cubicBezTo>
                  <a:pt x="502" y="361"/>
                  <a:pt x="502" y="361"/>
                  <a:pt x="502" y="361"/>
                </a:cubicBezTo>
                <a:cubicBezTo>
                  <a:pt x="503" y="362"/>
                  <a:pt x="504" y="362"/>
                  <a:pt x="504" y="361"/>
                </a:cubicBezTo>
                <a:cubicBezTo>
                  <a:pt x="504" y="360"/>
                  <a:pt x="504" y="360"/>
                  <a:pt x="504" y="359"/>
                </a:cubicBezTo>
                <a:cubicBezTo>
                  <a:pt x="503" y="359"/>
                  <a:pt x="503" y="358"/>
                  <a:pt x="503" y="357"/>
                </a:cubicBezTo>
                <a:cubicBezTo>
                  <a:pt x="504" y="357"/>
                  <a:pt x="504" y="356"/>
                  <a:pt x="504" y="356"/>
                </a:cubicBezTo>
                <a:cubicBezTo>
                  <a:pt x="505" y="357"/>
                  <a:pt x="505" y="357"/>
                  <a:pt x="505" y="358"/>
                </a:cubicBezTo>
                <a:cubicBezTo>
                  <a:pt x="505" y="358"/>
                  <a:pt x="506" y="358"/>
                  <a:pt x="506" y="358"/>
                </a:cubicBezTo>
                <a:cubicBezTo>
                  <a:pt x="506" y="358"/>
                  <a:pt x="505" y="359"/>
                  <a:pt x="505" y="359"/>
                </a:cubicBezTo>
                <a:cubicBezTo>
                  <a:pt x="506" y="359"/>
                  <a:pt x="507" y="359"/>
                  <a:pt x="507" y="360"/>
                </a:cubicBezTo>
                <a:cubicBezTo>
                  <a:pt x="507" y="360"/>
                  <a:pt x="507" y="360"/>
                  <a:pt x="507" y="360"/>
                </a:cubicBezTo>
                <a:cubicBezTo>
                  <a:pt x="507" y="360"/>
                  <a:pt x="508" y="359"/>
                  <a:pt x="508" y="359"/>
                </a:cubicBezTo>
                <a:cubicBezTo>
                  <a:pt x="508" y="359"/>
                  <a:pt x="508" y="358"/>
                  <a:pt x="508" y="358"/>
                </a:cubicBezTo>
                <a:cubicBezTo>
                  <a:pt x="509" y="358"/>
                  <a:pt x="509" y="358"/>
                  <a:pt x="510" y="358"/>
                </a:cubicBezTo>
                <a:cubicBezTo>
                  <a:pt x="510" y="357"/>
                  <a:pt x="510" y="357"/>
                  <a:pt x="509" y="357"/>
                </a:cubicBezTo>
                <a:cubicBezTo>
                  <a:pt x="509" y="357"/>
                  <a:pt x="509" y="357"/>
                  <a:pt x="509" y="357"/>
                </a:cubicBezTo>
                <a:cubicBezTo>
                  <a:pt x="509" y="357"/>
                  <a:pt x="508" y="357"/>
                  <a:pt x="508" y="357"/>
                </a:cubicBezTo>
                <a:cubicBezTo>
                  <a:pt x="508" y="357"/>
                  <a:pt x="508" y="358"/>
                  <a:pt x="507" y="358"/>
                </a:cubicBezTo>
                <a:cubicBezTo>
                  <a:pt x="507" y="358"/>
                  <a:pt x="507" y="357"/>
                  <a:pt x="507" y="357"/>
                </a:cubicBezTo>
                <a:cubicBezTo>
                  <a:pt x="507" y="357"/>
                  <a:pt x="507" y="356"/>
                  <a:pt x="507" y="356"/>
                </a:cubicBezTo>
                <a:cubicBezTo>
                  <a:pt x="507" y="356"/>
                  <a:pt x="507" y="356"/>
                  <a:pt x="507" y="355"/>
                </a:cubicBezTo>
                <a:cubicBezTo>
                  <a:pt x="507" y="355"/>
                  <a:pt x="508" y="355"/>
                  <a:pt x="508" y="355"/>
                </a:cubicBezTo>
                <a:cubicBezTo>
                  <a:pt x="508" y="355"/>
                  <a:pt x="507" y="355"/>
                  <a:pt x="507" y="355"/>
                </a:cubicBezTo>
                <a:cubicBezTo>
                  <a:pt x="507" y="355"/>
                  <a:pt x="507" y="355"/>
                  <a:pt x="507" y="355"/>
                </a:cubicBezTo>
                <a:cubicBezTo>
                  <a:pt x="506" y="355"/>
                  <a:pt x="506" y="354"/>
                  <a:pt x="506" y="354"/>
                </a:cubicBezTo>
                <a:cubicBezTo>
                  <a:pt x="505" y="354"/>
                  <a:pt x="505" y="354"/>
                  <a:pt x="505" y="354"/>
                </a:cubicBezTo>
                <a:cubicBezTo>
                  <a:pt x="505" y="355"/>
                  <a:pt x="504" y="355"/>
                  <a:pt x="504" y="355"/>
                </a:cubicBezTo>
                <a:cubicBezTo>
                  <a:pt x="504" y="355"/>
                  <a:pt x="504" y="354"/>
                  <a:pt x="504" y="354"/>
                </a:cubicBezTo>
                <a:cubicBezTo>
                  <a:pt x="505" y="354"/>
                  <a:pt x="505" y="353"/>
                  <a:pt x="504" y="353"/>
                </a:cubicBezTo>
                <a:cubicBezTo>
                  <a:pt x="504" y="353"/>
                  <a:pt x="504" y="353"/>
                  <a:pt x="504" y="353"/>
                </a:cubicBezTo>
                <a:cubicBezTo>
                  <a:pt x="504" y="353"/>
                  <a:pt x="504" y="353"/>
                  <a:pt x="504" y="353"/>
                </a:cubicBezTo>
                <a:cubicBezTo>
                  <a:pt x="504" y="353"/>
                  <a:pt x="505" y="353"/>
                  <a:pt x="506" y="353"/>
                </a:cubicBezTo>
                <a:cubicBezTo>
                  <a:pt x="506" y="353"/>
                  <a:pt x="507" y="352"/>
                  <a:pt x="507" y="352"/>
                </a:cubicBezTo>
                <a:cubicBezTo>
                  <a:pt x="508" y="351"/>
                  <a:pt x="508" y="351"/>
                  <a:pt x="508" y="351"/>
                </a:cubicBezTo>
                <a:cubicBezTo>
                  <a:pt x="508" y="350"/>
                  <a:pt x="509" y="350"/>
                  <a:pt x="509" y="350"/>
                </a:cubicBezTo>
                <a:cubicBezTo>
                  <a:pt x="509" y="349"/>
                  <a:pt x="510" y="349"/>
                  <a:pt x="509" y="349"/>
                </a:cubicBezTo>
                <a:cubicBezTo>
                  <a:pt x="509" y="348"/>
                  <a:pt x="509" y="348"/>
                  <a:pt x="509" y="348"/>
                </a:cubicBezTo>
                <a:cubicBezTo>
                  <a:pt x="509" y="348"/>
                  <a:pt x="509" y="348"/>
                  <a:pt x="509" y="347"/>
                </a:cubicBezTo>
                <a:cubicBezTo>
                  <a:pt x="509" y="347"/>
                  <a:pt x="509" y="346"/>
                  <a:pt x="509" y="346"/>
                </a:cubicBezTo>
                <a:cubicBezTo>
                  <a:pt x="508" y="346"/>
                  <a:pt x="508" y="346"/>
                  <a:pt x="508" y="346"/>
                </a:cubicBezTo>
                <a:cubicBezTo>
                  <a:pt x="508" y="346"/>
                  <a:pt x="508" y="346"/>
                  <a:pt x="508" y="345"/>
                </a:cubicBezTo>
                <a:cubicBezTo>
                  <a:pt x="508" y="345"/>
                  <a:pt x="508" y="345"/>
                  <a:pt x="507" y="345"/>
                </a:cubicBezTo>
                <a:cubicBezTo>
                  <a:pt x="507" y="345"/>
                  <a:pt x="507" y="345"/>
                  <a:pt x="507" y="346"/>
                </a:cubicBezTo>
                <a:cubicBezTo>
                  <a:pt x="507" y="346"/>
                  <a:pt x="507" y="346"/>
                  <a:pt x="506" y="347"/>
                </a:cubicBezTo>
                <a:cubicBezTo>
                  <a:pt x="506" y="347"/>
                  <a:pt x="506" y="348"/>
                  <a:pt x="505" y="348"/>
                </a:cubicBezTo>
                <a:cubicBezTo>
                  <a:pt x="504" y="348"/>
                  <a:pt x="504" y="347"/>
                  <a:pt x="503" y="347"/>
                </a:cubicBezTo>
                <a:cubicBezTo>
                  <a:pt x="503" y="347"/>
                  <a:pt x="503" y="346"/>
                  <a:pt x="502" y="347"/>
                </a:cubicBezTo>
                <a:cubicBezTo>
                  <a:pt x="501" y="347"/>
                  <a:pt x="501" y="347"/>
                  <a:pt x="501" y="348"/>
                </a:cubicBezTo>
                <a:cubicBezTo>
                  <a:pt x="500" y="348"/>
                  <a:pt x="500" y="349"/>
                  <a:pt x="499" y="349"/>
                </a:cubicBezTo>
                <a:cubicBezTo>
                  <a:pt x="499" y="348"/>
                  <a:pt x="499" y="348"/>
                  <a:pt x="500" y="347"/>
                </a:cubicBezTo>
                <a:cubicBezTo>
                  <a:pt x="501" y="347"/>
                  <a:pt x="501" y="346"/>
                  <a:pt x="502" y="346"/>
                </a:cubicBezTo>
                <a:cubicBezTo>
                  <a:pt x="502" y="345"/>
                  <a:pt x="503" y="345"/>
                  <a:pt x="503" y="345"/>
                </a:cubicBezTo>
                <a:cubicBezTo>
                  <a:pt x="503" y="346"/>
                  <a:pt x="503" y="346"/>
                  <a:pt x="504" y="346"/>
                </a:cubicBezTo>
                <a:cubicBezTo>
                  <a:pt x="504" y="346"/>
                  <a:pt x="504" y="346"/>
                  <a:pt x="504" y="346"/>
                </a:cubicBezTo>
                <a:cubicBezTo>
                  <a:pt x="504" y="346"/>
                  <a:pt x="505" y="346"/>
                  <a:pt x="505" y="345"/>
                </a:cubicBezTo>
                <a:cubicBezTo>
                  <a:pt x="505" y="345"/>
                  <a:pt x="505" y="345"/>
                  <a:pt x="505" y="345"/>
                </a:cubicBezTo>
                <a:cubicBezTo>
                  <a:pt x="506" y="345"/>
                  <a:pt x="506" y="344"/>
                  <a:pt x="506" y="344"/>
                </a:cubicBezTo>
                <a:cubicBezTo>
                  <a:pt x="506" y="344"/>
                  <a:pt x="506" y="344"/>
                  <a:pt x="506" y="343"/>
                </a:cubicBezTo>
                <a:cubicBezTo>
                  <a:pt x="506" y="343"/>
                  <a:pt x="506" y="343"/>
                  <a:pt x="505" y="343"/>
                </a:cubicBezTo>
                <a:cubicBezTo>
                  <a:pt x="505" y="343"/>
                  <a:pt x="506" y="342"/>
                  <a:pt x="506" y="342"/>
                </a:cubicBezTo>
                <a:cubicBezTo>
                  <a:pt x="506" y="342"/>
                  <a:pt x="506" y="342"/>
                  <a:pt x="507" y="343"/>
                </a:cubicBezTo>
                <a:cubicBezTo>
                  <a:pt x="507" y="343"/>
                  <a:pt x="507" y="343"/>
                  <a:pt x="507" y="343"/>
                </a:cubicBezTo>
                <a:cubicBezTo>
                  <a:pt x="507" y="343"/>
                  <a:pt x="508" y="343"/>
                  <a:pt x="508" y="343"/>
                </a:cubicBezTo>
                <a:cubicBezTo>
                  <a:pt x="508" y="343"/>
                  <a:pt x="508" y="343"/>
                  <a:pt x="507" y="342"/>
                </a:cubicBezTo>
                <a:cubicBezTo>
                  <a:pt x="507" y="342"/>
                  <a:pt x="507" y="342"/>
                  <a:pt x="507" y="341"/>
                </a:cubicBezTo>
                <a:cubicBezTo>
                  <a:pt x="506" y="341"/>
                  <a:pt x="505" y="341"/>
                  <a:pt x="505" y="342"/>
                </a:cubicBezTo>
                <a:cubicBezTo>
                  <a:pt x="505" y="342"/>
                  <a:pt x="505" y="343"/>
                  <a:pt x="505" y="343"/>
                </a:cubicBezTo>
                <a:cubicBezTo>
                  <a:pt x="505" y="343"/>
                  <a:pt x="504" y="344"/>
                  <a:pt x="504" y="344"/>
                </a:cubicBezTo>
                <a:cubicBezTo>
                  <a:pt x="504" y="344"/>
                  <a:pt x="503" y="344"/>
                  <a:pt x="503" y="344"/>
                </a:cubicBezTo>
                <a:cubicBezTo>
                  <a:pt x="503" y="343"/>
                  <a:pt x="503" y="343"/>
                  <a:pt x="504" y="343"/>
                </a:cubicBezTo>
                <a:cubicBezTo>
                  <a:pt x="504" y="342"/>
                  <a:pt x="504" y="342"/>
                  <a:pt x="504" y="342"/>
                </a:cubicBezTo>
                <a:cubicBezTo>
                  <a:pt x="504" y="341"/>
                  <a:pt x="504" y="340"/>
                  <a:pt x="503" y="340"/>
                </a:cubicBezTo>
                <a:cubicBezTo>
                  <a:pt x="503" y="340"/>
                  <a:pt x="502" y="341"/>
                  <a:pt x="502" y="341"/>
                </a:cubicBezTo>
                <a:cubicBezTo>
                  <a:pt x="502" y="341"/>
                  <a:pt x="501" y="342"/>
                  <a:pt x="501" y="342"/>
                </a:cubicBezTo>
                <a:cubicBezTo>
                  <a:pt x="501" y="342"/>
                  <a:pt x="500" y="343"/>
                  <a:pt x="500" y="342"/>
                </a:cubicBezTo>
                <a:cubicBezTo>
                  <a:pt x="500" y="342"/>
                  <a:pt x="500" y="342"/>
                  <a:pt x="500" y="342"/>
                </a:cubicBezTo>
                <a:cubicBezTo>
                  <a:pt x="500" y="341"/>
                  <a:pt x="500" y="341"/>
                  <a:pt x="500" y="341"/>
                </a:cubicBezTo>
                <a:cubicBezTo>
                  <a:pt x="501" y="341"/>
                  <a:pt x="501" y="341"/>
                  <a:pt x="501" y="340"/>
                </a:cubicBezTo>
                <a:cubicBezTo>
                  <a:pt x="502" y="340"/>
                  <a:pt x="502" y="340"/>
                  <a:pt x="502" y="339"/>
                </a:cubicBezTo>
                <a:cubicBezTo>
                  <a:pt x="502" y="339"/>
                  <a:pt x="502" y="339"/>
                  <a:pt x="502" y="339"/>
                </a:cubicBezTo>
                <a:cubicBezTo>
                  <a:pt x="502" y="339"/>
                  <a:pt x="502" y="339"/>
                  <a:pt x="503" y="339"/>
                </a:cubicBezTo>
                <a:cubicBezTo>
                  <a:pt x="503" y="338"/>
                  <a:pt x="503" y="338"/>
                  <a:pt x="504" y="338"/>
                </a:cubicBezTo>
                <a:cubicBezTo>
                  <a:pt x="504" y="338"/>
                  <a:pt x="504" y="338"/>
                  <a:pt x="505" y="338"/>
                </a:cubicBezTo>
                <a:cubicBezTo>
                  <a:pt x="505" y="338"/>
                  <a:pt x="505" y="338"/>
                  <a:pt x="505" y="337"/>
                </a:cubicBezTo>
                <a:cubicBezTo>
                  <a:pt x="505" y="337"/>
                  <a:pt x="505" y="336"/>
                  <a:pt x="505" y="335"/>
                </a:cubicBezTo>
                <a:cubicBezTo>
                  <a:pt x="506" y="335"/>
                  <a:pt x="506" y="335"/>
                  <a:pt x="506" y="334"/>
                </a:cubicBezTo>
                <a:cubicBezTo>
                  <a:pt x="506" y="334"/>
                  <a:pt x="506" y="333"/>
                  <a:pt x="506" y="333"/>
                </a:cubicBezTo>
                <a:cubicBezTo>
                  <a:pt x="505" y="333"/>
                  <a:pt x="505" y="333"/>
                  <a:pt x="505" y="333"/>
                </a:cubicBezTo>
                <a:cubicBezTo>
                  <a:pt x="504" y="334"/>
                  <a:pt x="504" y="334"/>
                  <a:pt x="504" y="334"/>
                </a:cubicBezTo>
                <a:cubicBezTo>
                  <a:pt x="504" y="333"/>
                  <a:pt x="505" y="332"/>
                  <a:pt x="506" y="332"/>
                </a:cubicBezTo>
                <a:cubicBezTo>
                  <a:pt x="506" y="332"/>
                  <a:pt x="507" y="332"/>
                  <a:pt x="507" y="332"/>
                </a:cubicBezTo>
                <a:cubicBezTo>
                  <a:pt x="507" y="332"/>
                  <a:pt x="507" y="333"/>
                  <a:pt x="507" y="333"/>
                </a:cubicBezTo>
                <a:cubicBezTo>
                  <a:pt x="508" y="333"/>
                  <a:pt x="508" y="333"/>
                  <a:pt x="508" y="332"/>
                </a:cubicBezTo>
                <a:cubicBezTo>
                  <a:pt x="509" y="331"/>
                  <a:pt x="510" y="329"/>
                  <a:pt x="512" y="328"/>
                </a:cubicBezTo>
                <a:cubicBezTo>
                  <a:pt x="512" y="327"/>
                  <a:pt x="512" y="327"/>
                  <a:pt x="513" y="327"/>
                </a:cubicBezTo>
                <a:cubicBezTo>
                  <a:pt x="513" y="328"/>
                  <a:pt x="513" y="328"/>
                  <a:pt x="513" y="328"/>
                </a:cubicBezTo>
                <a:cubicBezTo>
                  <a:pt x="511" y="329"/>
                  <a:pt x="510" y="332"/>
                  <a:pt x="509" y="334"/>
                </a:cubicBezTo>
                <a:cubicBezTo>
                  <a:pt x="509" y="335"/>
                  <a:pt x="509" y="336"/>
                  <a:pt x="509" y="336"/>
                </a:cubicBezTo>
                <a:cubicBezTo>
                  <a:pt x="508" y="337"/>
                  <a:pt x="508" y="337"/>
                  <a:pt x="508" y="337"/>
                </a:cubicBezTo>
                <a:cubicBezTo>
                  <a:pt x="507" y="338"/>
                  <a:pt x="507" y="338"/>
                  <a:pt x="507" y="339"/>
                </a:cubicBezTo>
                <a:cubicBezTo>
                  <a:pt x="507" y="339"/>
                  <a:pt x="508" y="340"/>
                  <a:pt x="508" y="339"/>
                </a:cubicBezTo>
                <a:cubicBezTo>
                  <a:pt x="509" y="339"/>
                  <a:pt x="510" y="338"/>
                  <a:pt x="511" y="339"/>
                </a:cubicBezTo>
                <a:cubicBezTo>
                  <a:pt x="511" y="339"/>
                  <a:pt x="511" y="339"/>
                  <a:pt x="511" y="339"/>
                </a:cubicBezTo>
                <a:cubicBezTo>
                  <a:pt x="511" y="339"/>
                  <a:pt x="511" y="338"/>
                  <a:pt x="511" y="338"/>
                </a:cubicBezTo>
                <a:cubicBezTo>
                  <a:pt x="511" y="338"/>
                  <a:pt x="511" y="337"/>
                  <a:pt x="512" y="337"/>
                </a:cubicBezTo>
                <a:cubicBezTo>
                  <a:pt x="512" y="337"/>
                  <a:pt x="513" y="336"/>
                  <a:pt x="513" y="337"/>
                </a:cubicBezTo>
                <a:cubicBezTo>
                  <a:pt x="513" y="337"/>
                  <a:pt x="512" y="338"/>
                  <a:pt x="513" y="338"/>
                </a:cubicBezTo>
                <a:cubicBezTo>
                  <a:pt x="513" y="338"/>
                  <a:pt x="513" y="338"/>
                  <a:pt x="514" y="338"/>
                </a:cubicBezTo>
                <a:cubicBezTo>
                  <a:pt x="514" y="338"/>
                  <a:pt x="514" y="337"/>
                  <a:pt x="514" y="337"/>
                </a:cubicBezTo>
                <a:cubicBezTo>
                  <a:pt x="514" y="336"/>
                  <a:pt x="515" y="335"/>
                  <a:pt x="516" y="335"/>
                </a:cubicBezTo>
                <a:cubicBezTo>
                  <a:pt x="516" y="335"/>
                  <a:pt x="516" y="336"/>
                  <a:pt x="516" y="336"/>
                </a:cubicBezTo>
                <a:cubicBezTo>
                  <a:pt x="516" y="337"/>
                  <a:pt x="517" y="337"/>
                  <a:pt x="517" y="337"/>
                </a:cubicBezTo>
                <a:cubicBezTo>
                  <a:pt x="518" y="336"/>
                  <a:pt x="518" y="336"/>
                  <a:pt x="518" y="336"/>
                </a:cubicBezTo>
                <a:cubicBezTo>
                  <a:pt x="519" y="336"/>
                  <a:pt x="519" y="336"/>
                  <a:pt x="519" y="335"/>
                </a:cubicBezTo>
                <a:cubicBezTo>
                  <a:pt x="520" y="335"/>
                  <a:pt x="520" y="334"/>
                  <a:pt x="520" y="334"/>
                </a:cubicBezTo>
                <a:cubicBezTo>
                  <a:pt x="520" y="333"/>
                  <a:pt x="521" y="332"/>
                  <a:pt x="521" y="333"/>
                </a:cubicBezTo>
                <a:cubicBezTo>
                  <a:pt x="522" y="333"/>
                  <a:pt x="522" y="333"/>
                  <a:pt x="522" y="334"/>
                </a:cubicBezTo>
                <a:cubicBezTo>
                  <a:pt x="522" y="334"/>
                  <a:pt x="522" y="335"/>
                  <a:pt x="521" y="335"/>
                </a:cubicBezTo>
                <a:cubicBezTo>
                  <a:pt x="522" y="335"/>
                  <a:pt x="522" y="336"/>
                  <a:pt x="523" y="335"/>
                </a:cubicBezTo>
                <a:cubicBezTo>
                  <a:pt x="523" y="335"/>
                  <a:pt x="524" y="335"/>
                  <a:pt x="524" y="334"/>
                </a:cubicBezTo>
                <a:cubicBezTo>
                  <a:pt x="524" y="333"/>
                  <a:pt x="525" y="332"/>
                  <a:pt x="526" y="332"/>
                </a:cubicBezTo>
                <a:cubicBezTo>
                  <a:pt x="526" y="331"/>
                  <a:pt x="527" y="331"/>
                  <a:pt x="527" y="331"/>
                </a:cubicBezTo>
                <a:cubicBezTo>
                  <a:pt x="528" y="330"/>
                  <a:pt x="528" y="331"/>
                  <a:pt x="529" y="331"/>
                </a:cubicBezTo>
                <a:cubicBezTo>
                  <a:pt x="531" y="331"/>
                  <a:pt x="534" y="332"/>
                  <a:pt x="536" y="333"/>
                </a:cubicBezTo>
                <a:cubicBezTo>
                  <a:pt x="535" y="333"/>
                  <a:pt x="534" y="333"/>
                  <a:pt x="533" y="332"/>
                </a:cubicBezTo>
                <a:cubicBezTo>
                  <a:pt x="531" y="332"/>
                  <a:pt x="529" y="331"/>
                  <a:pt x="528" y="332"/>
                </a:cubicBezTo>
                <a:cubicBezTo>
                  <a:pt x="527" y="332"/>
                  <a:pt x="527" y="332"/>
                  <a:pt x="527" y="332"/>
                </a:cubicBezTo>
                <a:cubicBezTo>
                  <a:pt x="527" y="332"/>
                  <a:pt x="527" y="332"/>
                  <a:pt x="527" y="333"/>
                </a:cubicBezTo>
                <a:cubicBezTo>
                  <a:pt x="527" y="333"/>
                  <a:pt x="526" y="334"/>
                  <a:pt x="526" y="335"/>
                </a:cubicBezTo>
                <a:cubicBezTo>
                  <a:pt x="526" y="335"/>
                  <a:pt x="526" y="335"/>
                  <a:pt x="526" y="335"/>
                </a:cubicBezTo>
                <a:cubicBezTo>
                  <a:pt x="526" y="336"/>
                  <a:pt x="526" y="336"/>
                  <a:pt x="526" y="336"/>
                </a:cubicBezTo>
                <a:cubicBezTo>
                  <a:pt x="525" y="336"/>
                  <a:pt x="525" y="337"/>
                  <a:pt x="526" y="337"/>
                </a:cubicBezTo>
                <a:cubicBezTo>
                  <a:pt x="526" y="338"/>
                  <a:pt x="526" y="338"/>
                  <a:pt x="526" y="338"/>
                </a:cubicBezTo>
                <a:cubicBezTo>
                  <a:pt x="527" y="338"/>
                  <a:pt x="527" y="338"/>
                  <a:pt x="527" y="338"/>
                </a:cubicBezTo>
                <a:cubicBezTo>
                  <a:pt x="527" y="339"/>
                  <a:pt x="528" y="339"/>
                  <a:pt x="528" y="339"/>
                </a:cubicBezTo>
                <a:cubicBezTo>
                  <a:pt x="529" y="339"/>
                  <a:pt x="529" y="339"/>
                  <a:pt x="530" y="338"/>
                </a:cubicBezTo>
                <a:cubicBezTo>
                  <a:pt x="531" y="338"/>
                  <a:pt x="531" y="337"/>
                  <a:pt x="532" y="337"/>
                </a:cubicBezTo>
                <a:cubicBezTo>
                  <a:pt x="531" y="339"/>
                  <a:pt x="529" y="340"/>
                  <a:pt x="528" y="341"/>
                </a:cubicBezTo>
                <a:cubicBezTo>
                  <a:pt x="527" y="341"/>
                  <a:pt x="527" y="341"/>
                  <a:pt x="526" y="341"/>
                </a:cubicBezTo>
                <a:cubicBezTo>
                  <a:pt x="526" y="341"/>
                  <a:pt x="526" y="342"/>
                  <a:pt x="526" y="342"/>
                </a:cubicBezTo>
                <a:cubicBezTo>
                  <a:pt x="527" y="343"/>
                  <a:pt x="528" y="342"/>
                  <a:pt x="529" y="342"/>
                </a:cubicBezTo>
                <a:cubicBezTo>
                  <a:pt x="529" y="342"/>
                  <a:pt x="529" y="342"/>
                  <a:pt x="530" y="341"/>
                </a:cubicBezTo>
                <a:cubicBezTo>
                  <a:pt x="530" y="341"/>
                  <a:pt x="531" y="341"/>
                  <a:pt x="531" y="341"/>
                </a:cubicBezTo>
                <a:cubicBezTo>
                  <a:pt x="532" y="341"/>
                  <a:pt x="533" y="341"/>
                  <a:pt x="534" y="341"/>
                </a:cubicBezTo>
                <a:cubicBezTo>
                  <a:pt x="533" y="341"/>
                  <a:pt x="533" y="342"/>
                  <a:pt x="532" y="342"/>
                </a:cubicBezTo>
                <a:cubicBezTo>
                  <a:pt x="532" y="343"/>
                  <a:pt x="532" y="343"/>
                  <a:pt x="532" y="343"/>
                </a:cubicBezTo>
                <a:cubicBezTo>
                  <a:pt x="531" y="344"/>
                  <a:pt x="532" y="344"/>
                  <a:pt x="532" y="344"/>
                </a:cubicBezTo>
                <a:cubicBezTo>
                  <a:pt x="532" y="344"/>
                  <a:pt x="533" y="344"/>
                  <a:pt x="533" y="343"/>
                </a:cubicBezTo>
                <a:cubicBezTo>
                  <a:pt x="533" y="343"/>
                  <a:pt x="534" y="343"/>
                  <a:pt x="534" y="343"/>
                </a:cubicBezTo>
                <a:cubicBezTo>
                  <a:pt x="534" y="343"/>
                  <a:pt x="534" y="343"/>
                  <a:pt x="534" y="344"/>
                </a:cubicBezTo>
                <a:cubicBezTo>
                  <a:pt x="535" y="343"/>
                  <a:pt x="536" y="343"/>
                  <a:pt x="536" y="344"/>
                </a:cubicBezTo>
                <a:cubicBezTo>
                  <a:pt x="536" y="344"/>
                  <a:pt x="537" y="344"/>
                  <a:pt x="537" y="344"/>
                </a:cubicBezTo>
                <a:cubicBezTo>
                  <a:pt x="537" y="344"/>
                  <a:pt x="538" y="344"/>
                  <a:pt x="538" y="343"/>
                </a:cubicBezTo>
                <a:cubicBezTo>
                  <a:pt x="539" y="342"/>
                  <a:pt x="540" y="341"/>
                  <a:pt x="541" y="340"/>
                </a:cubicBezTo>
                <a:cubicBezTo>
                  <a:pt x="541" y="340"/>
                  <a:pt x="541" y="340"/>
                  <a:pt x="541" y="340"/>
                </a:cubicBezTo>
                <a:cubicBezTo>
                  <a:pt x="542" y="340"/>
                  <a:pt x="542" y="340"/>
                  <a:pt x="542" y="341"/>
                </a:cubicBezTo>
                <a:cubicBezTo>
                  <a:pt x="542" y="341"/>
                  <a:pt x="542" y="341"/>
                  <a:pt x="542" y="341"/>
                </a:cubicBezTo>
                <a:cubicBezTo>
                  <a:pt x="541" y="341"/>
                  <a:pt x="541" y="342"/>
                  <a:pt x="541" y="342"/>
                </a:cubicBezTo>
                <a:cubicBezTo>
                  <a:pt x="539" y="344"/>
                  <a:pt x="538" y="346"/>
                  <a:pt x="537" y="347"/>
                </a:cubicBezTo>
                <a:cubicBezTo>
                  <a:pt x="536" y="347"/>
                  <a:pt x="536" y="347"/>
                  <a:pt x="536" y="348"/>
                </a:cubicBezTo>
                <a:cubicBezTo>
                  <a:pt x="536" y="348"/>
                  <a:pt x="536" y="348"/>
                  <a:pt x="536" y="348"/>
                </a:cubicBezTo>
                <a:cubicBezTo>
                  <a:pt x="536" y="349"/>
                  <a:pt x="537" y="348"/>
                  <a:pt x="537" y="348"/>
                </a:cubicBezTo>
                <a:cubicBezTo>
                  <a:pt x="539" y="347"/>
                  <a:pt x="541" y="350"/>
                  <a:pt x="543" y="349"/>
                </a:cubicBezTo>
                <a:cubicBezTo>
                  <a:pt x="543" y="350"/>
                  <a:pt x="543" y="350"/>
                  <a:pt x="542" y="350"/>
                </a:cubicBezTo>
                <a:cubicBezTo>
                  <a:pt x="542" y="350"/>
                  <a:pt x="541" y="350"/>
                  <a:pt x="541" y="350"/>
                </a:cubicBezTo>
                <a:cubicBezTo>
                  <a:pt x="542" y="350"/>
                  <a:pt x="542" y="351"/>
                  <a:pt x="543" y="351"/>
                </a:cubicBezTo>
                <a:cubicBezTo>
                  <a:pt x="543" y="351"/>
                  <a:pt x="544" y="352"/>
                  <a:pt x="544" y="352"/>
                </a:cubicBezTo>
                <a:cubicBezTo>
                  <a:pt x="545" y="352"/>
                  <a:pt x="545" y="351"/>
                  <a:pt x="545" y="351"/>
                </a:cubicBezTo>
                <a:cubicBezTo>
                  <a:pt x="544" y="351"/>
                  <a:pt x="544" y="351"/>
                  <a:pt x="544" y="350"/>
                </a:cubicBezTo>
                <a:cubicBezTo>
                  <a:pt x="544" y="350"/>
                  <a:pt x="545" y="350"/>
                  <a:pt x="545" y="350"/>
                </a:cubicBezTo>
                <a:cubicBezTo>
                  <a:pt x="545" y="350"/>
                  <a:pt x="546" y="349"/>
                  <a:pt x="546" y="348"/>
                </a:cubicBezTo>
                <a:cubicBezTo>
                  <a:pt x="547" y="347"/>
                  <a:pt x="547" y="346"/>
                  <a:pt x="548" y="346"/>
                </a:cubicBezTo>
                <a:cubicBezTo>
                  <a:pt x="548" y="345"/>
                  <a:pt x="549" y="345"/>
                  <a:pt x="549" y="344"/>
                </a:cubicBezTo>
                <a:cubicBezTo>
                  <a:pt x="550" y="344"/>
                  <a:pt x="550" y="344"/>
                  <a:pt x="550" y="345"/>
                </a:cubicBezTo>
                <a:cubicBezTo>
                  <a:pt x="550" y="345"/>
                  <a:pt x="550" y="346"/>
                  <a:pt x="550" y="346"/>
                </a:cubicBezTo>
                <a:cubicBezTo>
                  <a:pt x="550" y="347"/>
                  <a:pt x="550" y="348"/>
                  <a:pt x="550" y="349"/>
                </a:cubicBezTo>
                <a:cubicBezTo>
                  <a:pt x="550" y="349"/>
                  <a:pt x="549" y="350"/>
                  <a:pt x="549" y="350"/>
                </a:cubicBezTo>
                <a:cubicBezTo>
                  <a:pt x="548" y="351"/>
                  <a:pt x="548" y="352"/>
                  <a:pt x="549" y="352"/>
                </a:cubicBezTo>
                <a:cubicBezTo>
                  <a:pt x="549" y="353"/>
                  <a:pt x="550" y="353"/>
                  <a:pt x="551" y="353"/>
                </a:cubicBezTo>
                <a:cubicBezTo>
                  <a:pt x="551" y="353"/>
                  <a:pt x="551" y="354"/>
                  <a:pt x="551" y="355"/>
                </a:cubicBezTo>
                <a:cubicBezTo>
                  <a:pt x="551" y="355"/>
                  <a:pt x="552" y="355"/>
                  <a:pt x="552" y="355"/>
                </a:cubicBezTo>
                <a:cubicBezTo>
                  <a:pt x="553" y="355"/>
                  <a:pt x="554" y="356"/>
                  <a:pt x="554" y="356"/>
                </a:cubicBezTo>
                <a:cubicBezTo>
                  <a:pt x="555" y="356"/>
                  <a:pt x="556" y="355"/>
                  <a:pt x="557" y="355"/>
                </a:cubicBezTo>
                <a:cubicBezTo>
                  <a:pt x="558" y="355"/>
                  <a:pt x="557" y="356"/>
                  <a:pt x="557" y="356"/>
                </a:cubicBezTo>
                <a:cubicBezTo>
                  <a:pt x="557" y="357"/>
                  <a:pt x="557" y="357"/>
                  <a:pt x="557" y="357"/>
                </a:cubicBezTo>
                <a:cubicBezTo>
                  <a:pt x="558" y="357"/>
                  <a:pt x="558" y="357"/>
                  <a:pt x="559" y="358"/>
                </a:cubicBezTo>
                <a:cubicBezTo>
                  <a:pt x="559" y="358"/>
                  <a:pt x="560" y="359"/>
                  <a:pt x="560" y="359"/>
                </a:cubicBezTo>
                <a:cubicBezTo>
                  <a:pt x="560" y="360"/>
                  <a:pt x="561" y="361"/>
                  <a:pt x="562" y="361"/>
                </a:cubicBezTo>
                <a:cubicBezTo>
                  <a:pt x="562" y="361"/>
                  <a:pt x="563" y="361"/>
                  <a:pt x="563" y="360"/>
                </a:cubicBezTo>
                <a:cubicBezTo>
                  <a:pt x="565" y="359"/>
                  <a:pt x="568" y="358"/>
                  <a:pt x="571" y="358"/>
                </a:cubicBezTo>
                <a:cubicBezTo>
                  <a:pt x="575" y="358"/>
                  <a:pt x="579" y="358"/>
                  <a:pt x="582" y="359"/>
                </a:cubicBezTo>
                <a:cubicBezTo>
                  <a:pt x="583" y="359"/>
                  <a:pt x="584" y="359"/>
                  <a:pt x="584" y="360"/>
                </a:cubicBezTo>
                <a:cubicBezTo>
                  <a:pt x="585" y="360"/>
                  <a:pt x="586" y="360"/>
                  <a:pt x="586" y="360"/>
                </a:cubicBezTo>
                <a:cubicBezTo>
                  <a:pt x="587" y="360"/>
                  <a:pt x="588" y="361"/>
                  <a:pt x="589" y="361"/>
                </a:cubicBezTo>
                <a:cubicBezTo>
                  <a:pt x="590" y="361"/>
                  <a:pt x="592" y="361"/>
                  <a:pt x="593" y="361"/>
                </a:cubicBezTo>
                <a:cubicBezTo>
                  <a:pt x="594" y="360"/>
                  <a:pt x="594" y="359"/>
                  <a:pt x="594" y="359"/>
                </a:cubicBezTo>
                <a:cubicBezTo>
                  <a:pt x="593" y="359"/>
                  <a:pt x="593" y="358"/>
                  <a:pt x="593" y="358"/>
                </a:cubicBezTo>
                <a:cubicBezTo>
                  <a:pt x="592" y="358"/>
                  <a:pt x="592" y="357"/>
                  <a:pt x="592" y="357"/>
                </a:cubicBezTo>
                <a:cubicBezTo>
                  <a:pt x="592" y="356"/>
                  <a:pt x="593" y="356"/>
                  <a:pt x="593" y="356"/>
                </a:cubicBezTo>
                <a:cubicBezTo>
                  <a:pt x="594" y="356"/>
                  <a:pt x="594" y="356"/>
                  <a:pt x="594" y="356"/>
                </a:cubicBezTo>
                <a:cubicBezTo>
                  <a:pt x="594" y="357"/>
                  <a:pt x="594" y="357"/>
                  <a:pt x="595" y="358"/>
                </a:cubicBezTo>
                <a:cubicBezTo>
                  <a:pt x="596" y="357"/>
                  <a:pt x="596" y="356"/>
                  <a:pt x="597" y="357"/>
                </a:cubicBezTo>
                <a:cubicBezTo>
                  <a:pt x="597" y="358"/>
                  <a:pt x="596" y="358"/>
                  <a:pt x="595" y="358"/>
                </a:cubicBezTo>
                <a:cubicBezTo>
                  <a:pt x="595" y="358"/>
                  <a:pt x="595" y="359"/>
                  <a:pt x="595" y="359"/>
                </a:cubicBezTo>
                <a:cubicBezTo>
                  <a:pt x="595" y="359"/>
                  <a:pt x="595" y="359"/>
                  <a:pt x="595" y="359"/>
                </a:cubicBezTo>
                <a:cubicBezTo>
                  <a:pt x="596" y="359"/>
                  <a:pt x="596" y="360"/>
                  <a:pt x="596" y="360"/>
                </a:cubicBezTo>
                <a:cubicBezTo>
                  <a:pt x="596" y="360"/>
                  <a:pt x="596" y="361"/>
                  <a:pt x="596" y="361"/>
                </a:cubicBezTo>
                <a:cubicBezTo>
                  <a:pt x="596" y="361"/>
                  <a:pt x="595" y="362"/>
                  <a:pt x="595" y="362"/>
                </a:cubicBezTo>
                <a:cubicBezTo>
                  <a:pt x="594" y="362"/>
                  <a:pt x="594" y="362"/>
                  <a:pt x="594" y="362"/>
                </a:cubicBezTo>
                <a:cubicBezTo>
                  <a:pt x="593" y="363"/>
                  <a:pt x="594" y="363"/>
                  <a:pt x="594" y="363"/>
                </a:cubicBezTo>
                <a:cubicBezTo>
                  <a:pt x="594" y="364"/>
                  <a:pt x="595" y="364"/>
                  <a:pt x="595" y="364"/>
                </a:cubicBezTo>
                <a:cubicBezTo>
                  <a:pt x="596" y="364"/>
                  <a:pt x="597" y="365"/>
                  <a:pt x="597" y="365"/>
                </a:cubicBezTo>
                <a:cubicBezTo>
                  <a:pt x="598" y="365"/>
                  <a:pt x="598" y="366"/>
                  <a:pt x="599" y="366"/>
                </a:cubicBezTo>
                <a:cubicBezTo>
                  <a:pt x="600" y="367"/>
                  <a:pt x="601" y="367"/>
                  <a:pt x="602" y="367"/>
                </a:cubicBezTo>
                <a:cubicBezTo>
                  <a:pt x="604" y="368"/>
                  <a:pt x="606" y="368"/>
                  <a:pt x="608" y="368"/>
                </a:cubicBezTo>
                <a:cubicBezTo>
                  <a:pt x="608" y="368"/>
                  <a:pt x="609" y="368"/>
                  <a:pt x="609" y="367"/>
                </a:cubicBezTo>
                <a:cubicBezTo>
                  <a:pt x="610" y="367"/>
                  <a:pt x="611" y="366"/>
                  <a:pt x="612" y="366"/>
                </a:cubicBezTo>
                <a:cubicBezTo>
                  <a:pt x="612" y="366"/>
                  <a:pt x="612" y="366"/>
                  <a:pt x="613" y="365"/>
                </a:cubicBezTo>
                <a:cubicBezTo>
                  <a:pt x="613" y="365"/>
                  <a:pt x="613" y="365"/>
                  <a:pt x="613" y="365"/>
                </a:cubicBezTo>
                <a:cubicBezTo>
                  <a:pt x="613" y="365"/>
                  <a:pt x="612" y="365"/>
                  <a:pt x="612" y="364"/>
                </a:cubicBezTo>
                <a:cubicBezTo>
                  <a:pt x="612" y="364"/>
                  <a:pt x="612" y="363"/>
                  <a:pt x="613" y="363"/>
                </a:cubicBezTo>
                <a:cubicBezTo>
                  <a:pt x="613" y="363"/>
                  <a:pt x="613" y="363"/>
                  <a:pt x="614" y="363"/>
                </a:cubicBezTo>
                <a:cubicBezTo>
                  <a:pt x="615" y="363"/>
                  <a:pt x="616" y="362"/>
                  <a:pt x="616" y="361"/>
                </a:cubicBezTo>
                <a:cubicBezTo>
                  <a:pt x="617" y="361"/>
                  <a:pt x="617" y="360"/>
                  <a:pt x="617" y="360"/>
                </a:cubicBezTo>
                <a:cubicBezTo>
                  <a:pt x="618" y="360"/>
                  <a:pt x="619" y="360"/>
                  <a:pt x="619" y="360"/>
                </a:cubicBezTo>
                <a:cubicBezTo>
                  <a:pt x="620" y="361"/>
                  <a:pt x="620" y="361"/>
                  <a:pt x="621" y="362"/>
                </a:cubicBezTo>
                <a:cubicBezTo>
                  <a:pt x="621" y="362"/>
                  <a:pt x="621" y="363"/>
                  <a:pt x="622" y="363"/>
                </a:cubicBezTo>
                <a:cubicBezTo>
                  <a:pt x="622" y="364"/>
                  <a:pt x="622" y="364"/>
                  <a:pt x="623" y="364"/>
                </a:cubicBezTo>
                <a:cubicBezTo>
                  <a:pt x="623" y="364"/>
                  <a:pt x="623" y="364"/>
                  <a:pt x="623" y="364"/>
                </a:cubicBezTo>
                <a:cubicBezTo>
                  <a:pt x="623" y="365"/>
                  <a:pt x="623" y="365"/>
                  <a:pt x="623" y="365"/>
                </a:cubicBezTo>
                <a:cubicBezTo>
                  <a:pt x="622" y="365"/>
                  <a:pt x="622" y="365"/>
                  <a:pt x="621" y="365"/>
                </a:cubicBezTo>
                <a:cubicBezTo>
                  <a:pt x="621" y="366"/>
                  <a:pt x="621" y="367"/>
                  <a:pt x="621" y="368"/>
                </a:cubicBezTo>
                <a:cubicBezTo>
                  <a:pt x="621" y="369"/>
                  <a:pt x="621" y="369"/>
                  <a:pt x="621" y="369"/>
                </a:cubicBezTo>
                <a:cubicBezTo>
                  <a:pt x="621" y="370"/>
                  <a:pt x="621" y="370"/>
                  <a:pt x="621" y="371"/>
                </a:cubicBezTo>
                <a:cubicBezTo>
                  <a:pt x="621" y="371"/>
                  <a:pt x="620" y="371"/>
                  <a:pt x="620" y="370"/>
                </a:cubicBezTo>
                <a:cubicBezTo>
                  <a:pt x="621" y="370"/>
                  <a:pt x="621" y="370"/>
                  <a:pt x="620" y="369"/>
                </a:cubicBezTo>
                <a:cubicBezTo>
                  <a:pt x="620" y="368"/>
                  <a:pt x="620" y="368"/>
                  <a:pt x="620" y="367"/>
                </a:cubicBezTo>
                <a:cubicBezTo>
                  <a:pt x="620" y="367"/>
                  <a:pt x="620" y="367"/>
                  <a:pt x="619" y="367"/>
                </a:cubicBezTo>
                <a:cubicBezTo>
                  <a:pt x="619" y="366"/>
                  <a:pt x="620" y="366"/>
                  <a:pt x="620" y="365"/>
                </a:cubicBezTo>
                <a:cubicBezTo>
                  <a:pt x="620" y="364"/>
                  <a:pt x="620" y="364"/>
                  <a:pt x="620" y="363"/>
                </a:cubicBezTo>
                <a:cubicBezTo>
                  <a:pt x="619" y="362"/>
                  <a:pt x="619" y="362"/>
                  <a:pt x="618" y="361"/>
                </a:cubicBezTo>
                <a:cubicBezTo>
                  <a:pt x="618" y="362"/>
                  <a:pt x="617" y="362"/>
                  <a:pt x="617" y="363"/>
                </a:cubicBezTo>
                <a:cubicBezTo>
                  <a:pt x="616" y="363"/>
                  <a:pt x="616" y="364"/>
                  <a:pt x="616" y="364"/>
                </a:cubicBezTo>
                <a:cubicBezTo>
                  <a:pt x="616" y="364"/>
                  <a:pt x="617" y="365"/>
                  <a:pt x="617" y="365"/>
                </a:cubicBezTo>
                <a:cubicBezTo>
                  <a:pt x="617" y="365"/>
                  <a:pt x="618" y="366"/>
                  <a:pt x="617" y="367"/>
                </a:cubicBezTo>
                <a:cubicBezTo>
                  <a:pt x="617" y="367"/>
                  <a:pt x="617" y="367"/>
                  <a:pt x="617" y="368"/>
                </a:cubicBezTo>
                <a:cubicBezTo>
                  <a:pt x="617" y="368"/>
                  <a:pt x="618" y="368"/>
                  <a:pt x="618" y="368"/>
                </a:cubicBezTo>
                <a:cubicBezTo>
                  <a:pt x="618" y="369"/>
                  <a:pt x="618" y="369"/>
                  <a:pt x="617" y="369"/>
                </a:cubicBezTo>
                <a:cubicBezTo>
                  <a:pt x="617" y="369"/>
                  <a:pt x="617" y="370"/>
                  <a:pt x="617" y="370"/>
                </a:cubicBezTo>
                <a:cubicBezTo>
                  <a:pt x="616" y="371"/>
                  <a:pt x="616" y="370"/>
                  <a:pt x="616" y="370"/>
                </a:cubicBezTo>
                <a:cubicBezTo>
                  <a:pt x="616" y="371"/>
                  <a:pt x="615" y="371"/>
                  <a:pt x="615" y="371"/>
                </a:cubicBezTo>
                <a:cubicBezTo>
                  <a:pt x="615" y="372"/>
                  <a:pt x="614" y="372"/>
                  <a:pt x="614" y="372"/>
                </a:cubicBezTo>
                <a:cubicBezTo>
                  <a:pt x="615" y="373"/>
                  <a:pt x="617" y="374"/>
                  <a:pt x="618" y="375"/>
                </a:cubicBezTo>
                <a:cubicBezTo>
                  <a:pt x="619" y="375"/>
                  <a:pt x="619" y="375"/>
                  <a:pt x="619" y="376"/>
                </a:cubicBezTo>
                <a:cubicBezTo>
                  <a:pt x="620" y="376"/>
                  <a:pt x="620" y="376"/>
                  <a:pt x="620" y="376"/>
                </a:cubicBezTo>
                <a:cubicBezTo>
                  <a:pt x="620" y="376"/>
                  <a:pt x="620" y="376"/>
                  <a:pt x="620" y="376"/>
                </a:cubicBezTo>
                <a:cubicBezTo>
                  <a:pt x="622" y="376"/>
                  <a:pt x="623" y="375"/>
                  <a:pt x="625" y="374"/>
                </a:cubicBezTo>
                <a:cubicBezTo>
                  <a:pt x="625" y="374"/>
                  <a:pt x="626" y="373"/>
                  <a:pt x="626" y="374"/>
                </a:cubicBezTo>
                <a:cubicBezTo>
                  <a:pt x="626" y="374"/>
                  <a:pt x="625" y="375"/>
                  <a:pt x="625" y="375"/>
                </a:cubicBezTo>
                <a:cubicBezTo>
                  <a:pt x="625" y="375"/>
                  <a:pt x="624" y="375"/>
                  <a:pt x="624" y="375"/>
                </a:cubicBezTo>
                <a:cubicBezTo>
                  <a:pt x="623" y="376"/>
                  <a:pt x="622" y="376"/>
                  <a:pt x="622" y="377"/>
                </a:cubicBezTo>
                <a:cubicBezTo>
                  <a:pt x="622" y="377"/>
                  <a:pt x="622" y="377"/>
                  <a:pt x="622" y="377"/>
                </a:cubicBezTo>
                <a:cubicBezTo>
                  <a:pt x="622" y="377"/>
                  <a:pt x="622" y="377"/>
                  <a:pt x="622" y="377"/>
                </a:cubicBezTo>
                <a:cubicBezTo>
                  <a:pt x="624" y="378"/>
                  <a:pt x="626" y="379"/>
                  <a:pt x="627" y="381"/>
                </a:cubicBezTo>
                <a:cubicBezTo>
                  <a:pt x="627" y="381"/>
                  <a:pt x="628" y="382"/>
                  <a:pt x="628" y="382"/>
                </a:cubicBezTo>
                <a:cubicBezTo>
                  <a:pt x="628" y="382"/>
                  <a:pt x="629" y="382"/>
                  <a:pt x="629" y="381"/>
                </a:cubicBezTo>
                <a:cubicBezTo>
                  <a:pt x="630" y="381"/>
                  <a:pt x="630" y="381"/>
                  <a:pt x="631" y="381"/>
                </a:cubicBezTo>
                <a:cubicBezTo>
                  <a:pt x="631" y="381"/>
                  <a:pt x="632" y="381"/>
                  <a:pt x="632" y="381"/>
                </a:cubicBezTo>
                <a:cubicBezTo>
                  <a:pt x="631" y="381"/>
                  <a:pt x="631" y="382"/>
                  <a:pt x="630" y="382"/>
                </a:cubicBezTo>
                <a:cubicBezTo>
                  <a:pt x="630" y="382"/>
                  <a:pt x="630" y="382"/>
                  <a:pt x="630" y="382"/>
                </a:cubicBezTo>
                <a:cubicBezTo>
                  <a:pt x="630" y="382"/>
                  <a:pt x="630" y="383"/>
                  <a:pt x="630" y="383"/>
                </a:cubicBezTo>
                <a:cubicBezTo>
                  <a:pt x="631" y="384"/>
                  <a:pt x="634" y="384"/>
                  <a:pt x="635" y="385"/>
                </a:cubicBezTo>
                <a:cubicBezTo>
                  <a:pt x="636" y="386"/>
                  <a:pt x="636" y="387"/>
                  <a:pt x="637" y="388"/>
                </a:cubicBezTo>
                <a:cubicBezTo>
                  <a:pt x="637" y="388"/>
                  <a:pt x="638" y="388"/>
                  <a:pt x="638" y="388"/>
                </a:cubicBezTo>
                <a:cubicBezTo>
                  <a:pt x="639" y="389"/>
                  <a:pt x="638" y="390"/>
                  <a:pt x="639" y="391"/>
                </a:cubicBezTo>
                <a:cubicBezTo>
                  <a:pt x="639" y="392"/>
                  <a:pt x="639" y="392"/>
                  <a:pt x="640" y="392"/>
                </a:cubicBezTo>
                <a:cubicBezTo>
                  <a:pt x="640" y="393"/>
                  <a:pt x="640" y="393"/>
                  <a:pt x="641" y="394"/>
                </a:cubicBezTo>
                <a:cubicBezTo>
                  <a:pt x="641" y="394"/>
                  <a:pt x="642" y="394"/>
                  <a:pt x="642" y="394"/>
                </a:cubicBezTo>
                <a:cubicBezTo>
                  <a:pt x="643" y="394"/>
                  <a:pt x="643" y="394"/>
                  <a:pt x="643" y="395"/>
                </a:cubicBezTo>
                <a:cubicBezTo>
                  <a:pt x="643" y="395"/>
                  <a:pt x="643" y="396"/>
                  <a:pt x="644" y="397"/>
                </a:cubicBezTo>
                <a:cubicBezTo>
                  <a:pt x="646" y="398"/>
                  <a:pt x="648" y="400"/>
                  <a:pt x="650" y="401"/>
                </a:cubicBezTo>
                <a:cubicBezTo>
                  <a:pt x="651" y="401"/>
                  <a:pt x="651" y="401"/>
                  <a:pt x="651" y="401"/>
                </a:cubicBezTo>
                <a:cubicBezTo>
                  <a:pt x="652" y="401"/>
                  <a:pt x="652" y="402"/>
                  <a:pt x="652" y="402"/>
                </a:cubicBezTo>
                <a:cubicBezTo>
                  <a:pt x="652" y="402"/>
                  <a:pt x="652" y="402"/>
                  <a:pt x="653" y="402"/>
                </a:cubicBezTo>
                <a:cubicBezTo>
                  <a:pt x="653" y="402"/>
                  <a:pt x="653" y="403"/>
                  <a:pt x="653" y="403"/>
                </a:cubicBezTo>
                <a:cubicBezTo>
                  <a:pt x="653" y="403"/>
                  <a:pt x="653" y="404"/>
                  <a:pt x="654" y="404"/>
                </a:cubicBezTo>
                <a:cubicBezTo>
                  <a:pt x="654" y="404"/>
                  <a:pt x="655" y="405"/>
                  <a:pt x="655" y="405"/>
                </a:cubicBezTo>
                <a:cubicBezTo>
                  <a:pt x="656" y="405"/>
                  <a:pt x="656" y="405"/>
                  <a:pt x="656" y="405"/>
                </a:cubicBezTo>
                <a:cubicBezTo>
                  <a:pt x="656" y="404"/>
                  <a:pt x="656" y="404"/>
                  <a:pt x="656" y="403"/>
                </a:cubicBezTo>
                <a:cubicBezTo>
                  <a:pt x="656" y="403"/>
                  <a:pt x="656" y="402"/>
                  <a:pt x="656" y="402"/>
                </a:cubicBezTo>
                <a:cubicBezTo>
                  <a:pt x="657" y="402"/>
                  <a:pt x="657" y="403"/>
                  <a:pt x="658" y="403"/>
                </a:cubicBezTo>
                <a:cubicBezTo>
                  <a:pt x="658" y="402"/>
                  <a:pt x="657" y="402"/>
                  <a:pt x="657" y="402"/>
                </a:cubicBezTo>
                <a:cubicBezTo>
                  <a:pt x="657" y="402"/>
                  <a:pt x="657" y="402"/>
                  <a:pt x="657" y="401"/>
                </a:cubicBezTo>
                <a:cubicBezTo>
                  <a:pt x="657" y="401"/>
                  <a:pt x="657" y="401"/>
                  <a:pt x="657" y="401"/>
                </a:cubicBezTo>
                <a:cubicBezTo>
                  <a:pt x="657" y="402"/>
                  <a:pt x="659" y="402"/>
                  <a:pt x="659" y="401"/>
                </a:cubicBezTo>
                <a:cubicBezTo>
                  <a:pt x="659" y="401"/>
                  <a:pt x="660" y="402"/>
                  <a:pt x="660" y="402"/>
                </a:cubicBezTo>
                <a:cubicBezTo>
                  <a:pt x="660" y="402"/>
                  <a:pt x="661" y="402"/>
                  <a:pt x="661" y="402"/>
                </a:cubicBezTo>
                <a:cubicBezTo>
                  <a:pt x="662" y="402"/>
                  <a:pt x="662" y="402"/>
                  <a:pt x="662" y="402"/>
                </a:cubicBezTo>
                <a:cubicBezTo>
                  <a:pt x="662" y="401"/>
                  <a:pt x="662" y="401"/>
                  <a:pt x="662" y="401"/>
                </a:cubicBezTo>
                <a:cubicBezTo>
                  <a:pt x="662" y="400"/>
                  <a:pt x="662" y="400"/>
                  <a:pt x="662" y="399"/>
                </a:cubicBezTo>
                <a:cubicBezTo>
                  <a:pt x="662" y="399"/>
                  <a:pt x="662" y="398"/>
                  <a:pt x="662" y="398"/>
                </a:cubicBezTo>
                <a:cubicBezTo>
                  <a:pt x="662" y="398"/>
                  <a:pt x="661" y="398"/>
                  <a:pt x="661" y="397"/>
                </a:cubicBezTo>
                <a:cubicBezTo>
                  <a:pt x="661" y="397"/>
                  <a:pt x="661" y="397"/>
                  <a:pt x="661" y="397"/>
                </a:cubicBezTo>
                <a:cubicBezTo>
                  <a:pt x="661" y="396"/>
                  <a:pt x="660" y="395"/>
                  <a:pt x="660" y="394"/>
                </a:cubicBezTo>
                <a:cubicBezTo>
                  <a:pt x="659" y="395"/>
                  <a:pt x="658" y="395"/>
                  <a:pt x="657" y="395"/>
                </a:cubicBezTo>
                <a:cubicBezTo>
                  <a:pt x="657" y="395"/>
                  <a:pt x="657" y="395"/>
                  <a:pt x="657" y="394"/>
                </a:cubicBezTo>
                <a:cubicBezTo>
                  <a:pt x="658" y="394"/>
                  <a:pt x="658" y="394"/>
                  <a:pt x="658" y="393"/>
                </a:cubicBezTo>
                <a:cubicBezTo>
                  <a:pt x="658" y="393"/>
                  <a:pt x="658" y="392"/>
                  <a:pt x="657" y="392"/>
                </a:cubicBezTo>
                <a:cubicBezTo>
                  <a:pt x="657" y="392"/>
                  <a:pt x="657" y="391"/>
                  <a:pt x="656" y="391"/>
                </a:cubicBezTo>
                <a:cubicBezTo>
                  <a:pt x="656" y="391"/>
                  <a:pt x="656" y="391"/>
                  <a:pt x="656" y="390"/>
                </a:cubicBezTo>
                <a:cubicBezTo>
                  <a:pt x="656" y="390"/>
                  <a:pt x="656" y="390"/>
                  <a:pt x="655" y="390"/>
                </a:cubicBezTo>
                <a:cubicBezTo>
                  <a:pt x="654" y="389"/>
                  <a:pt x="652" y="388"/>
                  <a:pt x="650" y="389"/>
                </a:cubicBezTo>
                <a:cubicBezTo>
                  <a:pt x="649" y="389"/>
                  <a:pt x="649" y="389"/>
                  <a:pt x="648" y="389"/>
                </a:cubicBezTo>
                <a:cubicBezTo>
                  <a:pt x="649" y="389"/>
                  <a:pt x="649" y="388"/>
                  <a:pt x="650" y="387"/>
                </a:cubicBezTo>
                <a:cubicBezTo>
                  <a:pt x="650" y="387"/>
                  <a:pt x="651" y="387"/>
                  <a:pt x="651" y="387"/>
                </a:cubicBezTo>
                <a:cubicBezTo>
                  <a:pt x="651" y="386"/>
                  <a:pt x="650" y="385"/>
                  <a:pt x="650" y="384"/>
                </a:cubicBezTo>
                <a:cubicBezTo>
                  <a:pt x="651" y="384"/>
                  <a:pt x="652" y="385"/>
                  <a:pt x="652" y="386"/>
                </a:cubicBezTo>
                <a:cubicBezTo>
                  <a:pt x="653" y="387"/>
                  <a:pt x="654" y="388"/>
                  <a:pt x="655" y="387"/>
                </a:cubicBezTo>
                <a:cubicBezTo>
                  <a:pt x="656" y="387"/>
                  <a:pt x="656" y="386"/>
                  <a:pt x="657" y="386"/>
                </a:cubicBezTo>
                <a:cubicBezTo>
                  <a:pt x="657" y="387"/>
                  <a:pt x="657" y="387"/>
                  <a:pt x="657" y="388"/>
                </a:cubicBezTo>
                <a:cubicBezTo>
                  <a:pt x="657" y="389"/>
                  <a:pt x="658" y="391"/>
                  <a:pt x="660" y="391"/>
                </a:cubicBezTo>
                <a:cubicBezTo>
                  <a:pt x="660" y="391"/>
                  <a:pt x="660" y="392"/>
                  <a:pt x="661" y="391"/>
                </a:cubicBezTo>
                <a:cubicBezTo>
                  <a:pt x="661" y="391"/>
                  <a:pt x="661" y="391"/>
                  <a:pt x="661" y="391"/>
                </a:cubicBezTo>
                <a:cubicBezTo>
                  <a:pt x="662" y="389"/>
                  <a:pt x="660" y="387"/>
                  <a:pt x="661" y="385"/>
                </a:cubicBezTo>
                <a:cubicBezTo>
                  <a:pt x="662" y="386"/>
                  <a:pt x="662" y="387"/>
                  <a:pt x="662" y="388"/>
                </a:cubicBezTo>
                <a:cubicBezTo>
                  <a:pt x="662" y="390"/>
                  <a:pt x="663" y="392"/>
                  <a:pt x="663" y="393"/>
                </a:cubicBezTo>
                <a:cubicBezTo>
                  <a:pt x="664" y="394"/>
                  <a:pt x="665" y="395"/>
                  <a:pt x="665" y="396"/>
                </a:cubicBezTo>
                <a:cubicBezTo>
                  <a:pt x="665" y="397"/>
                  <a:pt x="665" y="398"/>
                  <a:pt x="663" y="398"/>
                </a:cubicBezTo>
                <a:cubicBezTo>
                  <a:pt x="664" y="399"/>
                  <a:pt x="664" y="399"/>
                  <a:pt x="664" y="399"/>
                </a:cubicBezTo>
                <a:cubicBezTo>
                  <a:pt x="664" y="400"/>
                  <a:pt x="664" y="400"/>
                  <a:pt x="665" y="400"/>
                </a:cubicBezTo>
                <a:cubicBezTo>
                  <a:pt x="665" y="401"/>
                  <a:pt x="666" y="401"/>
                  <a:pt x="666" y="400"/>
                </a:cubicBezTo>
                <a:cubicBezTo>
                  <a:pt x="667" y="400"/>
                  <a:pt x="667" y="401"/>
                  <a:pt x="668" y="401"/>
                </a:cubicBezTo>
                <a:cubicBezTo>
                  <a:pt x="668" y="401"/>
                  <a:pt x="668" y="401"/>
                  <a:pt x="668" y="400"/>
                </a:cubicBezTo>
                <a:cubicBezTo>
                  <a:pt x="668" y="400"/>
                  <a:pt x="669" y="400"/>
                  <a:pt x="669" y="400"/>
                </a:cubicBezTo>
                <a:cubicBezTo>
                  <a:pt x="669" y="400"/>
                  <a:pt x="669" y="400"/>
                  <a:pt x="669" y="399"/>
                </a:cubicBezTo>
                <a:cubicBezTo>
                  <a:pt x="669" y="399"/>
                  <a:pt x="670" y="399"/>
                  <a:pt x="670" y="399"/>
                </a:cubicBezTo>
                <a:cubicBezTo>
                  <a:pt x="670" y="399"/>
                  <a:pt x="670" y="399"/>
                  <a:pt x="670" y="400"/>
                </a:cubicBezTo>
                <a:cubicBezTo>
                  <a:pt x="670" y="400"/>
                  <a:pt x="671" y="401"/>
                  <a:pt x="671" y="402"/>
                </a:cubicBezTo>
                <a:cubicBezTo>
                  <a:pt x="672" y="403"/>
                  <a:pt x="673" y="404"/>
                  <a:pt x="674" y="405"/>
                </a:cubicBezTo>
                <a:cubicBezTo>
                  <a:pt x="674" y="405"/>
                  <a:pt x="674" y="405"/>
                  <a:pt x="674" y="405"/>
                </a:cubicBezTo>
                <a:cubicBezTo>
                  <a:pt x="674" y="405"/>
                  <a:pt x="675" y="405"/>
                  <a:pt x="675" y="405"/>
                </a:cubicBezTo>
                <a:cubicBezTo>
                  <a:pt x="675" y="403"/>
                  <a:pt x="676" y="402"/>
                  <a:pt x="675" y="401"/>
                </a:cubicBezTo>
                <a:cubicBezTo>
                  <a:pt x="675" y="400"/>
                  <a:pt x="674" y="398"/>
                  <a:pt x="674" y="397"/>
                </a:cubicBezTo>
                <a:cubicBezTo>
                  <a:pt x="673" y="397"/>
                  <a:pt x="673" y="396"/>
                  <a:pt x="673" y="395"/>
                </a:cubicBezTo>
                <a:cubicBezTo>
                  <a:pt x="674" y="395"/>
                  <a:pt x="674" y="395"/>
                  <a:pt x="675" y="395"/>
                </a:cubicBezTo>
                <a:cubicBezTo>
                  <a:pt x="673" y="393"/>
                  <a:pt x="672" y="391"/>
                  <a:pt x="672" y="388"/>
                </a:cubicBezTo>
                <a:cubicBezTo>
                  <a:pt x="672" y="387"/>
                  <a:pt x="672" y="387"/>
                  <a:pt x="672" y="386"/>
                </a:cubicBezTo>
                <a:cubicBezTo>
                  <a:pt x="672" y="386"/>
                  <a:pt x="671" y="386"/>
                  <a:pt x="671" y="386"/>
                </a:cubicBezTo>
                <a:cubicBezTo>
                  <a:pt x="670" y="386"/>
                  <a:pt x="670" y="385"/>
                  <a:pt x="671" y="385"/>
                </a:cubicBezTo>
                <a:cubicBezTo>
                  <a:pt x="671" y="384"/>
                  <a:pt x="671" y="384"/>
                  <a:pt x="671" y="383"/>
                </a:cubicBezTo>
                <a:cubicBezTo>
                  <a:pt x="671" y="383"/>
                  <a:pt x="671" y="383"/>
                  <a:pt x="670" y="383"/>
                </a:cubicBezTo>
                <a:cubicBezTo>
                  <a:pt x="670" y="383"/>
                  <a:pt x="670" y="382"/>
                  <a:pt x="670" y="382"/>
                </a:cubicBezTo>
                <a:cubicBezTo>
                  <a:pt x="670" y="381"/>
                  <a:pt x="669" y="380"/>
                  <a:pt x="668" y="379"/>
                </a:cubicBezTo>
                <a:cubicBezTo>
                  <a:pt x="667" y="379"/>
                  <a:pt x="667" y="378"/>
                  <a:pt x="667" y="377"/>
                </a:cubicBezTo>
                <a:cubicBezTo>
                  <a:pt x="669" y="379"/>
                  <a:pt x="670" y="380"/>
                  <a:pt x="672" y="382"/>
                </a:cubicBezTo>
                <a:cubicBezTo>
                  <a:pt x="672" y="381"/>
                  <a:pt x="670" y="380"/>
                  <a:pt x="670" y="378"/>
                </a:cubicBezTo>
                <a:cubicBezTo>
                  <a:pt x="670" y="377"/>
                  <a:pt x="671" y="376"/>
                  <a:pt x="672" y="376"/>
                </a:cubicBezTo>
                <a:cubicBezTo>
                  <a:pt x="671" y="377"/>
                  <a:pt x="671" y="378"/>
                  <a:pt x="671" y="378"/>
                </a:cubicBezTo>
                <a:cubicBezTo>
                  <a:pt x="672" y="379"/>
                  <a:pt x="672" y="380"/>
                  <a:pt x="672" y="380"/>
                </a:cubicBezTo>
                <a:cubicBezTo>
                  <a:pt x="673" y="381"/>
                  <a:pt x="673" y="381"/>
                  <a:pt x="673" y="382"/>
                </a:cubicBezTo>
                <a:cubicBezTo>
                  <a:pt x="673" y="382"/>
                  <a:pt x="673" y="382"/>
                  <a:pt x="673" y="383"/>
                </a:cubicBezTo>
                <a:cubicBezTo>
                  <a:pt x="673" y="384"/>
                  <a:pt x="674" y="384"/>
                  <a:pt x="673" y="385"/>
                </a:cubicBezTo>
                <a:cubicBezTo>
                  <a:pt x="673" y="386"/>
                  <a:pt x="673" y="386"/>
                  <a:pt x="673" y="387"/>
                </a:cubicBezTo>
                <a:cubicBezTo>
                  <a:pt x="673" y="387"/>
                  <a:pt x="674" y="387"/>
                  <a:pt x="674" y="387"/>
                </a:cubicBezTo>
                <a:cubicBezTo>
                  <a:pt x="674" y="388"/>
                  <a:pt x="673" y="389"/>
                  <a:pt x="674" y="389"/>
                </a:cubicBezTo>
                <a:cubicBezTo>
                  <a:pt x="674" y="390"/>
                  <a:pt x="674" y="390"/>
                  <a:pt x="674" y="390"/>
                </a:cubicBezTo>
                <a:cubicBezTo>
                  <a:pt x="675" y="390"/>
                  <a:pt x="675" y="390"/>
                  <a:pt x="675" y="391"/>
                </a:cubicBezTo>
                <a:cubicBezTo>
                  <a:pt x="675" y="391"/>
                  <a:pt x="675" y="391"/>
                  <a:pt x="676" y="391"/>
                </a:cubicBezTo>
                <a:cubicBezTo>
                  <a:pt x="676" y="391"/>
                  <a:pt x="677" y="390"/>
                  <a:pt x="677" y="390"/>
                </a:cubicBezTo>
                <a:cubicBezTo>
                  <a:pt x="678" y="391"/>
                  <a:pt x="676" y="393"/>
                  <a:pt x="677" y="394"/>
                </a:cubicBezTo>
                <a:cubicBezTo>
                  <a:pt x="677" y="395"/>
                  <a:pt x="678" y="396"/>
                  <a:pt x="678" y="397"/>
                </a:cubicBezTo>
                <a:cubicBezTo>
                  <a:pt x="679" y="397"/>
                  <a:pt x="679" y="398"/>
                  <a:pt x="679" y="399"/>
                </a:cubicBezTo>
                <a:cubicBezTo>
                  <a:pt x="679" y="399"/>
                  <a:pt x="679" y="400"/>
                  <a:pt x="679" y="400"/>
                </a:cubicBezTo>
                <a:cubicBezTo>
                  <a:pt x="680" y="401"/>
                  <a:pt x="680" y="401"/>
                  <a:pt x="681" y="401"/>
                </a:cubicBezTo>
                <a:cubicBezTo>
                  <a:pt x="681" y="401"/>
                  <a:pt x="681" y="402"/>
                  <a:pt x="681" y="402"/>
                </a:cubicBezTo>
                <a:cubicBezTo>
                  <a:pt x="681" y="402"/>
                  <a:pt x="680" y="403"/>
                  <a:pt x="680" y="403"/>
                </a:cubicBezTo>
                <a:cubicBezTo>
                  <a:pt x="680" y="403"/>
                  <a:pt x="681" y="403"/>
                  <a:pt x="681" y="403"/>
                </a:cubicBezTo>
                <a:cubicBezTo>
                  <a:pt x="681" y="404"/>
                  <a:pt x="682" y="404"/>
                  <a:pt x="683" y="405"/>
                </a:cubicBezTo>
                <a:cubicBezTo>
                  <a:pt x="683" y="405"/>
                  <a:pt x="684" y="405"/>
                  <a:pt x="684" y="405"/>
                </a:cubicBezTo>
                <a:cubicBezTo>
                  <a:pt x="685" y="405"/>
                  <a:pt x="685" y="405"/>
                  <a:pt x="685" y="405"/>
                </a:cubicBezTo>
                <a:cubicBezTo>
                  <a:pt x="685" y="405"/>
                  <a:pt x="686" y="405"/>
                  <a:pt x="686" y="405"/>
                </a:cubicBezTo>
                <a:cubicBezTo>
                  <a:pt x="686" y="405"/>
                  <a:pt x="686" y="405"/>
                  <a:pt x="685" y="404"/>
                </a:cubicBezTo>
                <a:cubicBezTo>
                  <a:pt x="685" y="404"/>
                  <a:pt x="685" y="404"/>
                  <a:pt x="684" y="403"/>
                </a:cubicBezTo>
                <a:cubicBezTo>
                  <a:pt x="685" y="403"/>
                  <a:pt x="685" y="403"/>
                  <a:pt x="685" y="404"/>
                </a:cubicBezTo>
                <a:cubicBezTo>
                  <a:pt x="686" y="404"/>
                  <a:pt x="686" y="405"/>
                  <a:pt x="687" y="405"/>
                </a:cubicBezTo>
                <a:cubicBezTo>
                  <a:pt x="687" y="405"/>
                  <a:pt x="687" y="405"/>
                  <a:pt x="687" y="405"/>
                </a:cubicBezTo>
                <a:cubicBezTo>
                  <a:pt x="687" y="405"/>
                  <a:pt x="687" y="405"/>
                  <a:pt x="687" y="405"/>
                </a:cubicBezTo>
                <a:cubicBezTo>
                  <a:pt x="688" y="404"/>
                  <a:pt x="688" y="403"/>
                  <a:pt x="688" y="403"/>
                </a:cubicBezTo>
                <a:cubicBezTo>
                  <a:pt x="688" y="402"/>
                  <a:pt x="688" y="402"/>
                  <a:pt x="688" y="401"/>
                </a:cubicBezTo>
                <a:cubicBezTo>
                  <a:pt x="688" y="401"/>
                  <a:pt x="688" y="400"/>
                  <a:pt x="689" y="400"/>
                </a:cubicBezTo>
                <a:cubicBezTo>
                  <a:pt x="689" y="400"/>
                  <a:pt x="689" y="399"/>
                  <a:pt x="690" y="399"/>
                </a:cubicBezTo>
                <a:cubicBezTo>
                  <a:pt x="690" y="399"/>
                  <a:pt x="690" y="399"/>
                  <a:pt x="690" y="399"/>
                </a:cubicBezTo>
                <a:cubicBezTo>
                  <a:pt x="690" y="398"/>
                  <a:pt x="690" y="399"/>
                  <a:pt x="690" y="399"/>
                </a:cubicBezTo>
                <a:cubicBezTo>
                  <a:pt x="690" y="399"/>
                  <a:pt x="690" y="400"/>
                  <a:pt x="690" y="400"/>
                </a:cubicBezTo>
                <a:cubicBezTo>
                  <a:pt x="689" y="401"/>
                  <a:pt x="689" y="402"/>
                  <a:pt x="689" y="402"/>
                </a:cubicBezTo>
                <a:cubicBezTo>
                  <a:pt x="689" y="403"/>
                  <a:pt x="689" y="403"/>
                  <a:pt x="689" y="403"/>
                </a:cubicBezTo>
                <a:cubicBezTo>
                  <a:pt x="688" y="404"/>
                  <a:pt x="689" y="404"/>
                  <a:pt x="688" y="405"/>
                </a:cubicBezTo>
                <a:cubicBezTo>
                  <a:pt x="688" y="405"/>
                  <a:pt x="688" y="405"/>
                  <a:pt x="688" y="405"/>
                </a:cubicBezTo>
                <a:cubicBezTo>
                  <a:pt x="688" y="406"/>
                  <a:pt x="688" y="406"/>
                  <a:pt x="688" y="406"/>
                </a:cubicBezTo>
                <a:cubicBezTo>
                  <a:pt x="688" y="406"/>
                  <a:pt x="688" y="406"/>
                  <a:pt x="688" y="406"/>
                </a:cubicBezTo>
                <a:cubicBezTo>
                  <a:pt x="688" y="407"/>
                  <a:pt x="688" y="407"/>
                  <a:pt x="688" y="408"/>
                </a:cubicBezTo>
                <a:cubicBezTo>
                  <a:pt x="688" y="408"/>
                  <a:pt x="688" y="408"/>
                  <a:pt x="688" y="409"/>
                </a:cubicBezTo>
                <a:cubicBezTo>
                  <a:pt x="688" y="409"/>
                  <a:pt x="689" y="410"/>
                  <a:pt x="690" y="410"/>
                </a:cubicBezTo>
                <a:cubicBezTo>
                  <a:pt x="690" y="410"/>
                  <a:pt x="690" y="410"/>
                  <a:pt x="690" y="411"/>
                </a:cubicBezTo>
                <a:cubicBezTo>
                  <a:pt x="690" y="411"/>
                  <a:pt x="691" y="411"/>
                  <a:pt x="691" y="410"/>
                </a:cubicBezTo>
                <a:cubicBezTo>
                  <a:pt x="691" y="410"/>
                  <a:pt x="692" y="410"/>
                  <a:pt x="692" y="410"/>
                </a:cubicBezTo>
                <a:cubicBezTo>
                  <a:pt x="692" y="410"/>
                  <a:pt x="692" y="410"/>
                  <a:pt x="692" y="409"/>
                </a:cubicBezTo>
                <a:cubicBezTo>
                  <a:pt x="692" y="409"/>
                  <a:pt x="692" y="408"/>
                  <a:pt x="693" y="408"/>
                </a:cubicBezTo>
                <a:cubicBezTo>
                  <a:pt x="693" y="407"/>
                  <a:pt x="693" y="408"/>
                  <a:pt x="693" y="408"/>
                </a:cubicBezTo>
                <a:cubicBezTo>
                  <a:pt x="693" y="408"/>
                  <a:pt x="693" y="408"/>
                  <a:pt x="693" y="409"/>
                </a:cubicBezTo>
                <a:cubicBezTo>
                  <a:pt x="692" y="409"/>
                  <a:pt x="693" y="410"/>
                  <a:pt x="694" y="410"/>
                </a:cubicBezTo>
                <a:cubicBezTo>
                  <a:pt x="693" y="410"/>
                  <a:pt x="693" y="411"/>
                  <a:pt x="693" y="411"/>
                </a:cubicBezTo>
                <a:cubicBezTo>
                  <a:pt x="692" y="411"/>
                  <a:pt x="692" y="411"/>
                  <a:pt x="691" y="411"/>
                </a:cubicBezTo>
                <a:cubicBezTo>
                  <a:pt x="691" y="412"/>
                  <a:pt x="691" y="412"/>
                  <a:pt x="691" y="413"/>
                </a:cubicBezTo>
                <a:cubicBezTo>
                  <a:pt x="691" y="413"/>
                  <a:pt x="692" y="413"/>
                  <a:pt x="692" y="414"/>
                </a:cubicBezTo>
                <a:cubicBezTo>
                  <a:pt x="692" y="414"/>
                  <a:pt x="692" y="414"/>
                  <a:pt x="692" y="414"/>
                </a:cubicBezTo>
                <a:cubicBezTo>
                  <a:pt x="693" y="414"/>
                  <a:pt x="692" y="415"/>
                  <a:pt x="693" y="415"/>
                </a:cubicBezTo>
                <a:cubicBezTo>
                  <a:pt x="693" y="415"/>
                  <a:pt x="693" y="415"/>
                  <a:pt x="694" y="415"/>
                </a:cubicBezTo>
                <a:cubicBezTo>
                  <a:pt x="694" y="415"/>
                  <a:pt x="694" y="414"/>
                  <a:pt x="694" y="414"/>
                </a:cubicBezTo>
                <a:cubicBezTo>
                  <a:pt x="694" y="413"/>
                  <a:pt x="694" y="413"/>
                  <a:pt x="694" y="412"/>
                </a:cubicBezTo>
                <a:cubicBezTo>
                  <a:pt x="694" y="412"/>
                  <a:pt x="695" y="412"/>
                  <a:pt x="695" y="412"/>
                </a:cubicBezTo>
                <a:cubicBezTo>
                  <a:pt x="695" y="411"/>
                  <a:pt x="695" y="412"/>
                  <a:pt x="695" y="412"/>
                </a:cubicBezTo>
                <a:cubicBezTo>
                  <a:pt x="697" y="412"/>
                  <a:pt x="699" y="412"/>
                  <a:pt x="700" y="413"/>
                </a:cubicBezTo>
                <a:cubicBezTo>
                  <a:pt x="700" y="413"/>
                  <a:pt x="700" y="413"/>
                  <a:pt x="700" y="413"/>
                </a:cubicBezTo>
                <a:cubicBezTo>
                  <a:pt x="700" y="413"/>
                  <a:pt x="700" y="414"/>
                  <a:pt x="700" y="413"/>
                </a:cubicBezTo>
                <a:cubicBezTo>
                  <a:pt x="699" y="413"/>
                  <a:pt x="698" y="413"/>
                  <a:pt x="697" y="413"/>
                </a:cubicBezTo>
                <a:cubicBezTo>
                  <a:pt x="697" y="413"/>
                  <a:pt x="697" y="412"/>
                  <a:pt x="696" y="412"/>
                </a:cubicBezTo>
                <a:cubicBezTo>
                  <a:pt x="695" y="412"/>
                  <a:pt x="695" y="413"/>
                  <a:pt x="695" y="414"/>
                </a:cubicBezTo>
                <a:cubicBezTo>
                  <a:pt x="695" y="415"/>
                  <a:pt x="695" y="415"/>
                  <a:pt x="695" y="416"/>
                </a:cubicBezTo>
                <a:cubicBezTo>
                  <a:pt x="697" y="417"/>
                  <a:pt x="698" y="418"/>
                  <a:pt x="700" y="420"/>
                </a:cubicBezTo>
                <a:cubicBezTo>
                  <a:pt x="700" y="420"/>
                  <a:pt x="700" y="420"/>
                  <a:pt x="700" y="420"/>
                </a:cubicBezTo>
                <a:cubicBezTo>
                  <a:pt x="701" y="421"/>
                  <a:pt x="701" y="421"/>
                  <a:pt x="701" y="421"/>
                </a:cubicBezTo>
                <a:cubicBezTo>
                  <a:pt x="701" y="421"/>
                  <a:pt x="702" y="422"/>
                  <a:pt x="702" y="422"/>
                </a:cubicBezTo>
                <a:cubicBezTo>
                  <a:pt x="703" y="422"/>
                  <a:pt x="702" y="422"/>
                  <a:pt x="702" y="422"/>
                </a:cubicBezTo>
                <a:cubicBezTo>
                  <a:pt x="702" y="422"/>
                  <a:pt x="702" y="422"/>
                  <a:pt x="701" y="422"/>
                </a:cubicBezTo>
                <a:cubicBezTo>
                  <a:pt x="701" y="422"/>
                  <a:pt x="701" y="422"/>
                  <a:pt x="700" y="422"/>
                </a:cubicBezTo>
                <a:cubicBezTo>
                  <a:pt x="700" y="421"/>
                  <a:pt x="700" y="421"/>
                  <a:pt x="699" y="421"/>
                </a:cubicBezTo>
                <a:cubicBezTo>
                  <a:pt x="699" y="420"/>
                  <a:pt x="698" y="419"/>
                  <a:pt x="697" y="418"/>
                </a:cubicBezTo>
                <a:cubicBezTo>
                  <a:pt x="696" y="418"/>
                  <a:pt x="695" y="417"/>
                  <a:pt x="694" y="417"/>
                </a:cubicBezTo>
                <a:cubicBezTo>
                  <a:pt x="694" y="417"/>
                  <a:pt x="694" y="417"/>
                  <a:pt x="694" y="417"/>
                </a:cubicBezTo>
                <a:cubicBezTo>
                  <a:pt x="694" y="417"/>
                  <a:pt x="694" y="418"/>
                  <a:pt x="694" y="418"/>
                </a:cubicBezTo>
                <a:cubicBezTo>
                  <a:pt x="694" y="418"/>
                  <a:pt x="694" y="418"/>
                  <a:pt x="694" y="419"/>
                </a:cubicBezTo>
                <a:cubicBezTo>
                  <a:pt x="694" y="419"/>
                  <a:pt x="694" y="419"/>
                  <a:pt x="694" y="419"/>
                </a:cubicBezTo>
                <a:cubicBezTo>
                  <a:pt x="694" y="420"/>
                  <a:pt x="694" y="420"/>
                  <a:pt x="694" y="420"/>
                </a:cubicBezTo>
                <a:cubicBezTo>
                  <a:pt x="694" y="420"/>
                  <a:pt x="695" y="420"/>
                  <a:pt x="695" y="420"/>
                </a:cubicBezTo>
                <a:cubicBezTo>
                  <a:pt x="695" y="420"/>
                  <a:pt x="695" y="421"/>
                  <a:pt x="695" y="421"/>
                </a:cubicBezTo>
                <a:cubicBezTo>
                  <a:pt x="695" y="421"/>
                  <a:pt x="695" y="421"/>
                  <a:pt x="695" y="421"/>
                </a:cubicBezTo>
                <a:cubicBezTo>
                  <a:pt x="695" y="421"/>
                  <a:pt x="695" y="422"/>
                  <a:pt x="695" y="423"/>
                </a:cubicBezTo>
                <a:cubicBezTo>
                  <a:pt x="695" y="423"/>
                  <a:pt x="695" y="423"/>
                  <a:pt x="695" y="423"/>
                </a:cubicBezTo>
                <a:cubicBezTo>
                  <a:pt x="695" y="423"/>
                  <a:pt x="696" y="423"/>
                  <a:pt x="696" y="424"/>
                </a:cubicBezTo>
                <a:cubicBezTo>
                  <a:pt x="696" y="424"/>
                  <a:pt x="697" y="424"/>
                  <a:pt x="697" y="424"/>
                </a:cubicBezTo>
                <a:cubicBezTo>
                  <a:pt x="697" y="424"/>
                  <a:pt x="697" y="424"/>
                  <a:pt x="696" y="425"/>
                </a:cubicBezTo>
                <a:cubicBezTo>
                  <a:pt x="696" y="425"/>
                  <a:pt x="697" y="426"/>
                  <a:pt x="697" y="426"/>
                </a:cubicBezTo>
                <a:cubicBezTo>
                  <a:pt x="697" y="426"/>
                  <a:pt x="698" y="426"/>
                  <a:pt x="699" y="426"/>
                </a:cubicBezTo>
                <a:cubicBezTo>
                  <a:pt x="699" y="426"/>
                  <a:pt x="699" y="426"/>
                  <a:pt x="700" y="426"/>
                </a:cubicBezTo>
                <a:cubicBezTo>
                  <a:pt x="700" y="427"/>
                  <a:pt x="700" y="427"/>
                  <a:pt x="700" y="427"/>
                </a:cubicBezTo>
                <a:cubicBezTo>
                  <a:pt x="700" y="427"/>
                  <a:pt x="700" y="427"/>
                  <a:pt x="700" y="427"/>
                </a:cubicBezTo>
                <a:cubicBezTo>
                  <a:pt x="699" y="427"/>
                  <a:pt x="699" y="427"/>
                  <a:pt x="698" y="427"/>
                </a:cubicBezTo>
                <a:cubicBezTo>
                  <a:pt x="698" y="427"/>
                  <a:pt x="697" y="427"/>
                  <a:pt x="697" y="427"/>
                </a:cubicBezTo>
                <a:cubicBezTo>
                  <a:pt x="696" y="427"/>
                  <a:pt x="696" y="427"/>
                  <a:pt x="696" y="427"/>
                </a:cubicBezTo>
                <a:cubicBezTo>
                  <a:pt x="696" y="428"/>
                  <a:pt x="696" y="428"/>
                  <a:pt x="696" y="428"/>
                </a:cubicBezTo>
                <a:cubicBezTo>
                  <a:pt x="696" y="429"/>
                  <a:pt x="695" y="429"/>
                  <a:pt x="695" y="430"/>
                </a:cubicBezTo>
                <a:cubicBezTo>
                  <a:pt x="695" y="430"/>
                  <a:pt x="695" y="430"/>
                  <a:pt x="695" y="430"/>
                </a:cubicBezTo>
                <a:cubicBezTo>
                  <a:pt x="695" y="430"/>
                  <a:pt x="695" y="430"/>
                  <a:pt x="695" y="430"/>
                </a:cubicBezTo>
                <a:cubicBezTo>
                  <a:pt x="696" y="430"/>
                  <a:pt x="697" y="431"/>
                  <a:pt x="698" y="432"/>
                </a:cubicBezTo>
                <a:cubicBezTo>
                  <a:pt x="698" y="432"/>
                  <a:pt x="698" y="432"/>
                  <a:pt x="698" y="432"/>
                </a:cubicBezTo>
                <a:cubicBezTo>
                  <a:pt x="699" y="432"/>
                  <a:pt x="699" y="431"/>
                  <a:pt x="699" y="431"/>
                </a:cubicBezTo>
                <a:cubicBezTo>
                  <a:pt x="699" y="430"/>
                  <a:pt x="700" y="430"/>
                  <a:pt x="700" y="430"/>
                </a:cubicBezTo>
                <a:cubicBezTo>
                  <a:pt x="700" y="430"/>
                  <a:pt x="700" y="430"/>
                  <a:pt x="700" y="430"/>
                </a:cubicBezTo>
                <a:cubicBezTo>
                  <a:pt x="700" y="431"/>
                  <a:pt x="700" y="431"/>
                  <a:pt x="700" y="431"/>
                </a:cubicBezTo>
                <a:cubicBezTo>
                  <a:pt x="700" y="431"/>
                  <a:pt x="700" y="431"/>
                  <a:pt x="700" y="431"/>
                </a:cubicBezTo>
                <a:cubicBezTo>
                  <a:pt x="700" y="431"/>
                  <a:pt x="700" y="432"/>
                  <a:pt x="700" y="432"/>
                </a:cubicBezTo>
                <a:cubicBezTo>
                  <a:pt x="700" y="432"/>
                  <a:pt x="701" y="432"/>
                  <a:pt x="701" y="432"/>
                </a:cubicBezTo>
                <a:cubicBezTo>
                  <a:pt x="702" y="433"/>
                  <a:pt x="702" y="433"/>
                  <a:pt x="702" y="433"/>
                </a:cubicBezTo>
                <a:cubicBezTo>
                  <a:pt x="703" y="433"/>
                  <a:pt x="703" y="433"/>
                  <a:pt x="703" y="433"/>
                </a:cubicBezTo>
                <a:cubicBezTo>
                  <a:pt x="704" y="433"/>
                  <a:pt x="704" y="432"/>
                  <a:pt x="704" y="432"/>
                </a:cubicBezTo>
                <a:cubicBezTo>
                  <a:pt x="704" y="432"/>
                  <a:pt x="704" y="432"/>
                  <a:pt x="704" y="432"/>
                </a:cubicBezTo>
                <a:cubicBezTo>
                  <a:pt x="704" y="431"/>
                  <a:pt x="704" y="431"/>
                  <a:pt x="704" y="432"/>
                </a:cubicBezTo>
                <a:cubicBezTo>
                  <a:pt x="704" y="432"/>
                  <a:pt x="704" y="432"/>
                  <a:pt x="704" y="432"/>
                </a:cubicBezTo>
                <a:cubicBezTo>
                  <a:pt x="704" y="433"/>
                  <a:pt x="704" y="433"/>
                  <a:pt x="705" y="433"/>
                </a:cubicBezTo>
                <a:cubicBezTo>
                  <a:pt x="704" y="434"/>
                  <a:pt x="704" y="434"/>
                  <a:pt x="704" y="434"/>
                </a:cubicBezTo>
                <a:cubicBezTo>
                  <a:pt x="703" y="434"/>
                  <a:pt x="703" y="434"/>
                  <a:pt x="703" y="434"/>
                </a:cubicBezTo>
                <a:cubicBezTo>
                  <a:pt x="703" y="434"/>
                  <a:pt x="703" y="435"/>
                  <a:pt x="703" y="435"/>
                </a:cubicBezTo>
                <a:cubicBezTo>
                  <a:pt x="703" y="436"/>
                  <a:pt x="704" y="437"/>
                  <a:pt x="704" y="437"/>
                </a:cubicBezTo>
                <a:cubicBezTo>
                  <a:pt x="704" y="437"/>
                  <a:pt x="705" y="438"/>
                  <a:pt x="705" y="438"/>
                </a:cubicBezTo>
                <a:cubicBezTo>
                  <a:pt x="705" y="438"/>
                  <a:pt x="705" y="439"/>
                  <a:pt x="706" y="439"/>
                </a:cubicBezTo>
                <a:cubicBezTo>
                  <a:pt x="706" y="439"/>
                  <a:pt x="706" y="440"/>
                  <a:pt x="707" y="440"/>
                </a:cubicBezTo>
                <a:cubicBezTo>
                  <a:pt x="707" y="440"/>
                  <a:pt x="707" y="440"/>
                  <a:pt x="708" y="440"/>
                </a:cubicBezTo>
                <a:cubicBezTo>
                  <a:pt x="708" y="440"/>
                  <a:pt x="708" y="440"/>
                  <a:pt x="708" y="440"/>
                </a:cubicBezTo>
                <a:cubicBezTo>
                  <a:pt x="708" y="440"/>
                  <a:pt x="708" y="440"/>
                  <a:pt x="708" y="440"/>
                </a:cubicBezTo>
                <a:cubicBezTo>
                  <a:pt x="708" y="440"/>
                  <a:pt x="708" y="441"/>
                  <a:pt x="707" y="441"/>
                </a:cubicBezTo>
                <a:cubicBezTo>
                  <a:pt x="707" y="441"/>
                  <a:pt x="708" y="441"/>
                  <a:pt x="707" y="442"/>
                </a:cubicBezTo>
                <a:cubicBezTo>
                  <a:pt x="707" y="442"/>
                  <a:pt x="707" y="442"/>
                  <a:pt x="707" y="443"/>
                </a:cubicBezTo>
                <a:cubicBezTo>
                  <a:pt x="707" y="443"/>
                  <a:pt x="708" y="443"/>
                  <a:pt x="708" y="443"/>
                </a:cubicBezTo>
                <a:cubicBezTo>
                  <a:pt x="709" y="443"/>
                  <a:pt x="709" y="443"/>
                  <a:pt x="710" y="443"/>
                </a:cubicBezTo>
                <a:cubicBezTo>
                  <a:pt x="710" y="443"/>
                  <a:pt x="710" y="443"/>
                  <a:pt x="710" y="443"/>
                </a:cubicBezTo>
                <a:cubicBezTo>
                  <a:pt x="710" y="443"/>
                  <a:pt x="710" y="443"/>
                  <a:pt x="710" y="443"/>
                </a:cubicBezTo>
                <a:cubicBezTo>
                  <a:pt x="710" y="444"/>
                  <a:pt x="711" y="445"/>
                  <a:pt x="710" y="445"/>
                </a:cubicBezTo>
                <a:cubicBezTo>
                  <a:pt x="710" y="446"/>
                  <a:pt x="711" y="446"/>
                  <a:pt x="711" y="446"/>
                </a:cubicBezTo>
                <a:cubicBezTo>
                  <a:pt x="711" y="446"/>
                  <a:pt x="712" y="447"/>
                  <a:pt x="712" y="447"/>
                </a:cubicBezTo>
                <a:cubicBezTo>
                  <a:pt x="712" y="447"/>
                  <a:pt x="712" y="448"/>
                  <a:pt x="712" y="448"/>
                </a:cubicBezTo>
                <a:cubicBezTo>
                  <a:pt x="712" y="449"/>
                  <a:pt x="713" y="449"/>
                  <a:pt x="713" y="449"/>
                </a:cubicBezTo>
                <a:cubicBezTo>
                  <a:pt x="713" y="449"/>
                  <a:pt x="713" y="449"/>
                  <a:pt x="714" y="450"/>
                </a:cubicBezTo>
                <a:cubicBezTo>
                  <a:pt x="714" y="450"/>
                  <a:pt x="713" y="450"/>
                  <a:pt x="713" y="450"/>
                </a:cubicBezTo>
                <a:cubicBezTo>
                  <a:pt x="713" y="450"/>
                  <a:pt x="713" y="450"/>
                  <a:pt x="712" y="449"/>
                </a:cubicBezTo>
                <a:cubicBezTo>
                  <a:pt x="712" y="449"/>
                  <a:pt x="711" y="448"/>
                  <a:pt x="711" y="447"/>
                </a:cubicBezTo>
                <a:cubicBezTo>
                  <a:pt x="711" y="447"/>
                  <a:pt x="710" y="447"/>
                  <a:pt x="710" y="447"/>
                </a:cubicBezTo>
                <a:cubicBezTo>
                  <a:pt x="710" y="447"/>
                  <a:pt x="710" y="447"/>
                  <a:pt x="709" y="447"/>
                </a:cubicBezTo>
                <a:cubicBezTo>
                  <a:pt x="709" y="448"/>
                  <a:pt x="710" y="448"/>
                  <a:pt x="710" y="448"/>
                </a:cubicBezTo>
                <a:cubicBezTo>
                  <a:pt x="710" y="448"/>
                  <a:pt x="710" y="449"/>
                  <a:pt x="710" y="449"/>
                </a:cubicBezTo>
                <a:cubicBezTo>
                  <a:pt x="710" y="450"/>
                  <a:pt x="711" y="450"/>
                  <a:pt x="711" y="450"/>
                </a:cubicBezTo>
                <a:cubicBezTo>
                  <a:pt x="711" y="451"/>
                  <a:pt x="710" y="451"/>
                  <a:pt x="710" y="451"/>
                </a:cubicBezTo>
                <a:cubicBezTo>
                  <a:pt x="710" y="451"/>
                  <a:pt x="710" y="452"/>
                  <a:pt x="711" y="452"/>
                </a:cubicBezTo>
                <a:cubicBezTo>
                  <a:pt x="711" y="452"/>
                  <a:pt x="711" y="452"/>
                  <a:pt x="711" y="452"/>
                </a:cubicBezTo>
                <a:cubicBezTo>
                  <a:pt x="711" y="452"/>
                  <a:pt x="710" y="452"/>
                  <a:pt x="710" y="453"/>
                </a:cubicBezTo>
                <a:cubicBezTo>
                  <a:pt x="710" y="453"/>
                  <a:pt x="709" y="453"/>
                  <a:pt x="709" y="453"/>
                </a:cubicBezTo>
                <a:cubicBezTo>
                  <a:pt x="709" y="454"/>
                  <a:pt x="708" y="454"/>
                  <a:pt x="708" y="453"/>
                </a:cubicBezTo>
                <a:cubicBezTo>
                  <a:pt x="708" y="453"/>
                  <a:pt x="708" y="453"/>
                  <a:pt x="708" y="453"/>
                </a:cubicBezTo>
                <a:cubicBezTo>
                  <a:pt x="709" y="452"/>
                  <a:pt x="709" y="452"/>
                  <a:pt x="709" y="452"/>
                </a:cubicBezTo>
                <a:cubicBezTo>
                  <a:pt x="710" y="452"/>
                  <a:pt x="710" y="451"/>
                  <a:pt x="710" y="451"/>
                </a:cubicBezTo>
                <a:cubicBezTo>
                  <a:pt x="710" y="451"/>
                  <a:pt x="710" y="451"/>
                  <a:pt x="710" y="451"/>
                </a:cubicBezTo>
                <a:cubicBezTo>
                  <a:pt x="710" y="450"/>
                  <a:pt x="710" y="450"/>
                  <a:pt x="710" y="450"/>
                </a:cubicBezTo>
                <a:cubicBezTo>
                  <a:pt x="709" y="450"/>
                  <a:pt x="709" y="450"/>
                  <a:pt x="709" y="450"/>
                </a:cubicBezTo>
                <a:cubicBezTo>
                  <a:pt x="709" y="449"/>
                  <a:pt x="709" y="449"/>
                  <a:pt x="709" y="449"/>
                </a:cubicBezTo>
                <a:cubicBezTo>
                  <a:pt x="709" y="449"/>
                  <a:pt x="709" y="448"/>
                  <a:pt x="709" y="448"/>
                </a:cubicBezTo>
                <a:cubicBezTo>
                  <a:pt x="709" y="448"/>
                  <a:pt x="709" y="448"/>
                  <a:pt x="709" y="447"/>
                </a:cubicBezTo>
                <a:cubicBezTo>
                  <a:pt x="708" y="447"/>
                  <a:pt x="707" y="448"/>
                  <a:pt x="707" y="448"/>
                </a:cubicBezTo>
                <a:cubicBezTo>
                  <a:pt x="707" y="449"/>
                  <a:pt x="708" y="450"/>
                  <a:pt x="707" y="450"/>
                </a:cubicBezTo>
                <a:cubicBezTo>
                  <a:pt x="707" y="451"/>
                  <a:pt x="707" y="451"/>
                  <a:pt x="707" y="451"/>
                </a:cubicBezTo>
                <a:cubicBezTo>
                  <a:pt x="707" y="451"/>
                  <a:pt x="707" y="452"/>
                  <a:pt x="707" y="452"/>
                </a:cubicBezTo>
                <a:cubicBezTo>
                  <a:pt x="706" y="452"/>
                  <a:pt x="706" y="452"/>
                  <a:pt x="706" y="452"/>
                </a:cubicBezTo>
                <a:cubicBezTo>
                  <a:pt x="706" y="453"/>
                  <a:pt x="706" y="453"/>
                  <a:pt x="706" y="454"/>
                </a:cubicBezTo>
                <a:cubicBezTo>
                  <a:pt x="706" y="454"/>
                  <a:pt x="706" y="455"/>
                  <a:pt x="706" y="456"/>
                </a:cubicBezTo>
                <a:cubicBezTo>
                  <a:pt x="706" y="456"/>
                  <a:pt x="706" y="456"/>
                  <a:pt x="706" y="456"/>
                </a:cubicBezTo>
                <a:cubicBezTo>
                  <a:pt x="706" y="456"/>
                  <a:pt x="707" y="456"/>
                  <a:pt x="707" y="456"/>
                </a:cubicBezTo>
                <a:cubicBezTo>
                  <a:pt x="707" y="456"/>
                  <a:pt x="707" y="456"/>
                  <a:pt x="707" y="456"/>
                </a:cubicBezTo>
                <a:cubicBezTo>
                  <a:pt x="708" y="455"/>
                  <a:pt x="708" y="456"/>
                  <a:pt x="708" y="456"/>
                </a:cubicBezTo>
                <a:cubicBezTo>
                  <a:pt x="708" y="457"/>
                  <a:pt x="709" y="457"/>
                  <a:pt x="709" y="458"/>
                </a:cubicBezTo>
                <a:cubicBezTo>
                  <a:pt x="709" y="458"/>
                  <a:pt x="709" y="458"/>
                  <a:pt x="709" y="459"/>
                </a:cubicBezTo>
                <a:cubicBezTo>
                  <a:pt x="709" y="459"/>
                  <a:pt x="709" y="460"/>
                  <a:pt x="709" y="460"/>
                </a:cubicBezTo>
                <a:cubicBezTo>
                  <a:pt x="709" y="460"/>
                  <a:pt x="710" y="460"/>
                  <a:pt x="710" y="460"/>
                </a:cubicBezTo>
                <a:cubicBezTo>
                  <a:pt x="710" y="460"/>
                  <a:pt x="710" y="460"/>
                  <a:pt x="710" y="460"/>
                </a:cubicBezTo>
                <a:cubicBezTo>
                  <a:pt x="711" y="459"/>
                  <a:pt x="711" y="459"/>
                  <a:pt x="712" y="459"/>
                </a:cubicBezTo>
                <a:cubicBezTo>
                  <a:pt x="712" y="459"/>
                  <a:pt x="712" y="459"/>
                  <a:pt x="712" y="458"/>
                </a:cubicBezTo>
                <a:cubicBezTo>
                  <a:pt x="713" y="458"/>
                  <a:pt x="713" y="458"/>
                  <a:pt x="713" y="458"/>
                </a:cubicBezTo>
                <a:cubicBezTo>
                  <a:pt x="713" y="457"/>
                  <a:pt x="713" y="457"/>
                  <a:pt x="712" y="456"/>
                </a:cubicBezTo>
                <a:cubicBezTo>
                  <a:pt x="712" y="456"/>
                  <a:pt x="712" y="456"/>
                  <a:pt x="712" y="456"/>
                </a:cubicBezTo>
                <a:cubicBezTo>
                  <a:pt x="712" y="456"/>
                  <a:pt x="712" y="456"/>
                  <a:pt x="712" y="456"/>
                </a:cubicBezTo>
                <a:cubicBezTo>
                  <a:pt x="713" y="455"/>
                  <a:pt x="713" y="455"/>
                  <a:pt x="713" y="455"/>
                </a:cubicBezTo>
                <a:cubicBezTo>
                  <a:pt x="713" y="454"/>
                  <a:pt x="712" y="454"/>
                  <a:pt x="712" y="454"/>
                </a:cubicBezTo>
                <a:cubicBezTo>
                  <a:pt x="712" y="454"/>
                  <a:pt x="712" y="453"/>
                  <a:pt x="712" y="453"/>
                </a:cubicBezTo>
                <a:cubicBezTo>
                  <a:pt x="712" y="453"/>
                  <a:pt x="713" y="454"/>
                  <a:pt x="713" y="454"/>
                </a:cubicBezTo>
                <a:cubicBezTo>
                  <a:pt x="713" y="454"/>
                  <a:pt x="714" y="454"/>
                  <a:pt x="714" y="454"/>
                </a:cubicBezTo>
                <a:cubicBezTo>
                  <a:pt x="714" y="453"/>
                  <a:pt x="714" y="453"/>
                  <a:pt x="715" y="453"/>
                </a:cubicBezTo>
                <a:cubicBezTo>
                  <a:pt x="715" y="452"/>
                  <a:pt x="717" y="452"/>
                  <a:pt x="717" y="452"/>
                </a:cubicBezTo>
                <a:cubicBezTo>
                  <a:pt x="718" y="452"/>
                  <a:pt x="718" y="453"/>
                  <a:pt x="719" y="453"/>
                </a:cubicBezTo>
                <a:cubicBezTo>
                  <a:pt x="719" y="453"/>
                  <a:pt x="720" y="452"/>
                  <a:pt x="720" y="452"/>
                </a:cubicBezTo>
                <a:cubicBezTo>
                  <a:pt x="720" y="453"/>
                  <a:pt x="720" y="453"/>
                  <a:pt x="720" y="453"/>
                </a:cubicBezTo>
                <a:cubicBezTo>
                  <a:pt x="720" y="453"/>
                  <a:pt x="720" y="453"/>
                  <a:pt x="720" y="453"/>
                </a:cubicBezTo>
                <a:cubicBezTo>
                  <a:pt x="720" y="454"/>
                  <a:pt x="720" y="454"/>
                  <a:pt x="720" y="454"/>
                </a:cubicBezTo>
                <a:cubicBezTo>
                  <a:pt x="718" y="454"/>
                  <a:pt x="717" y="454"/>
                  <a:pt x="716" y="454"/>
                </a:cubicBezTo>
                <a:cubicBezTo>
                  <a:pt x="716" y="454"/>
                  <a:pt x="716" y="454"/>
                  <a:pt x="716" y="454"/>
                </a:cubicBezTo>
                <a:cubicBezTo>
                  <a:pt x="715" y="454"/>
                  <a:pt x="715" y="454"/>
                  <a:pt x="715" y="454"/>
                </a:cubicBezTo>
                <a:cubicBezTo>
                  <a:pt x="715" y="454"/>
                  <a:pt x="715" y="454"/>
                  <a:pt x="715" y="455"/>
                </a:cubicBezTo>
                <a:cubicBezTo>
                  <a:pt x="715" y="455"/>
                  <a:pt x="714" y="455"/>
                  <a:pt x="714" y="456"/>
                </a:cubicBezTo>
                <a:cubicBezTo>
                  <a:pt x="714" y="456"/>
                  <a:pt x="714" y="457"/>
                  <a:pt x="714" y="457"/>
                </a:cubicBezTo>
                <a:cubicBezTo>
                  <a:pt x="715" y="457"/>
                  <a:pt x="715" y="457"/>
                  <a:pt x="715" y="458"/>
                </a:cubicBezTo>
                <a:cubicBezTo>
                  <a:pt x="715" y="458"/>
                  <a:pt x="715" y="458"/>
                  <a:pt x="715" y="458"/>
                </a:cubicBezTo>
                <a:cubicBezTo>
                  <a:pt x="715" y="458"/>
                  <a:pt x="715" y="458"/>
                  <a:pt x="715" y="458"/>
                </a:cubicBezTo>
                <a:cubicBezTo>
                  <a:pt x="714" y="459"/>
                  <a:pt x="714" y="460"/>
                  <a:pt x="713" y="461"/>
                </a:cubicBezTo>
                <a:cubicBezTo>
                  <a:pt x="713" y="461"/>
                  <a:pt x="713" y="463"/>
                  <a:pt x="712" y="463"/>
                </a:cubicBezTo>
                <a:cubicBezTo>
                  <a:pt x="712" y="463"/>
                  <a:pt x="712" y="463"/>
                  <a:pt x="712" y="463"/>
                </a:cubicBezTo>
                <a:cubicBezTo>
                  <a:pt x="711" y="464"/>
                  <a:pt x="712" y="464"/>
                  <a:pt x="712" y="465"/>
                </a:cubicBezTo>
                <a:cubicBezTo>
                  <a:pt x="712" y="465"/>
                  <a:pt x="712" y="466"/>
                  <a:pt x="712" y="466"/>
                </a:cubicBezTo>
                <a:cubicBezTo>
                  <a:pt x="712" y="467"/>
                  <a:pt x="713" y="468"/>
                  <a:pt x="714" y="468"/>
                </a:cubicBezTo>
                <a:cubicBezTo>
                  <a:pt x="714" y="469"/>
                  <a:pt x="715" y="469"/>
                  <a:pt x="715" y="469"/>
                </a:cubicBezTo>
                <a:cubicBezTo>
                  <a:pt x="715" y="468"/>
                  <a:pt x="715" y="468"/>
                  <a:pt x="715" y="467"/>
                </a:cubicBezTo>
                <a:cubicBezTo>
                  <a:pt x="716" y="466"/>
                  <a:pt x="716" y="465"/>
                  <a:pt x="717" y="465"/>
                </a:cubicBezTo>
                <a:cubicBezTo>
                  <a:pt x="717" y="464"/>
                  <a:pt x="717" y="462"/>
                  <a:pt x="717" y="462"/>
                </a:cubicBezTo>
                <a:cubicBezTo>
                  <a:pt x="716" y="462"/>
                  <a:pt x="716" y="461"/>
                  <a:pt x="716" y="461"/>
                </a:cubicBezTo>
                <a:cubicBezTo>
                  <a:pt x="716" y="461"/>
                  <a:pt x="716" y="461"/>
                  <a:pt x="717" y="461"/>
                </a:cubicBezTo>
                <a:cubicBezTo>
                  <a:pt x="718" y="460"/>
                  <a:pt x="719" y="459"/>
                  <a:pt x="720" y="458"/>
                </a:cubicBezTo>
                <a:cubicBezTo>
                  <a:pt x="720" y="458"/>
                  <a:pt x="720" y="459"/>
                  <a:pt x="720" y="459"/>
                </a:cubicBezTo>
                <a:cubicBezTo>
                  <a:pt x="720" y="459"/>
                  <a:pt x="719" y="459"/>
                  <a:pt x="719" y="459"/>
                </a:cubicBezTo>
                <a:cubicBezTo>
                  <a:pt x="719" y="459"/>
                  <a:pt x="719" y="459"/>
                  <a:pt x="719" y="460"/>
                </a:cubicBezTo>
                <a:cubicBezTo>
                  <a:pt x="719" y="460"/>
                  <a:pt x="720" y="460"/>
                  <a:pt x="720" y="461"/>
                </a:cubicBezTo>
                <a:cubicBezTo>
                  <a:pt x="719" y="461"/>
                  <a:pt x="718" y="461"/>
                  <a:pt x="718" y="462"/>
                </a:cubicBezTo>
                <a:cubicBezTo>
                  <a:pt x="719" y="462"/>
                  <a:pt x="719" y="462"/>
                  <a:pt x="719" y="462"/>
                </a:cubicBezTo>
                <a:cubicBezTo>
                  <a:pt x="720" y="462"/>
                  <a:pt x="719" y="463"/>
                  <a:pt x="719" y="463"/>
                </a:cubicBezTo>
                <a:cubicBezTo>
                  <a:pt x="719" y="463"/>
                  <a:pt x="718" y="463"/>
                  <a:pt x="718" y="463"/>
                </a:cubicBezTo>
                <a:cubicBezTo>
                  <a:pt x="718" y="464"/>
                  <a:pt x="718" y="464"/>
                  <a:pt x="718" y="464"/>
                </a:cubicBezTo>
                <a:cubicBezTo>
                  <a:pt x="718" y="465"/>
                  <a:pt x="718" y="465"/>
                  <a:pt x="718" y="465"/>
                </a:cubicBezTo>
                <a:cubicBezTo>
                  <a:pt x="718" y="465"/>
                  <a:pt x="718" y="466"/>
                  <a:pt x="718" y="466"/>
                </a:cubicBezTo>
                <a:cubicBezTo>
                  <a:pt x="718" y="466"/>
                  <a:pt x="719" y="467"/>
                  <a:pt x="719" y="467"/>
                </a:cubicBezTo>
                <a:cubicBezTo>
                  <a:pt x="719" y="467"/>
                  <a:pt x="719" y="467"/>
                  <a:pt x="719" y="468"/>
                </a:cubicBezTo>
                <a:cubicBezTo>
                  <a:pt x="719" y="468"/>
                  <a:pt x="718" y="468"/>
                  <a:pt x="718" y="468"/>
                </a:cubicBezTo>
                <a:cubicBezTo>
                  <a:pt x="718" y="469"/>
                  <a:pt x="718" y="469"/>
                  <a:pt x="718" y="469"/>
                </a:cubicBezTo>
                <a:cubicBezTo>
                  <a:pt x="717" y="469"/>
                  <a:pt x="717" y="470"/>
                  <a:pt x="717" y="470"/>
                </a:cubicBezTo>
                <a:cubicBezTo>
                  <a:pt x="718" y="471"/>
                  <a:pt x="718" y="471"/>
                  <a:pt x="717" y="472"/>
                </a:cubicBezTo>
                <a:cubicBezTo>
                  <a:pt x="717" y="471"/>
                  <a:pt x="717" y="471"/>
                  <a:pt x="716" y="471"/>
                </a:cubicBezTo>
                <a:cubicBezTo>
                  <a:pt x="716" y="472"/>
                  <a:pt x="716" y="474"/>
                  <a:pt x="717" y="474"/>
                </a:cubicBezTo>
                <a:cubicBezTo>
                  <a:pt x="717" y="475"/>
                  <a:pt x="717" y="475"/>
                  <a:pt x="717" y="475"/>
                </a:cubicBezTo>
                <a:cubicBezTo>
                  <a:pt x="717" y="475"/>
                  <a:pt x="717" y="476"/>
                  <a:pt x="717" y="476"/>
                </a:cubicBezTo>
                <a:cubicBezTo>
                  <a:pt x="717" y="477"/>
                  <a:pt x="718" y="477"/>
                  <a:pt x="718" y="476"/>
                </a:cubicBezTo>
                <a:cubicBezTo>
                  <a:pt x="718" y="476"/>
                  <a:pt x="718" y="475"/>
                  <a:pt x="718" y="475"/>
                </a:cubicBezTo>
                <a:cubicBezTo>
                  <a:pt x="718" y="475"/>
                  <a:pt x="718" y="475"/>
                  <a:pt x="718" y="474"/>
                </a:cubicBezTo>
                <a:cubicBezTo>
                  <a:pt x="719" y="474"/>
                  <a:pt x="719" y="474"/>
                  <a:pt x="720" y="473"/>
                </a:cubicBezTo>
                <a:cubicBezTo>
                  <a:pt x="720" y="473"/>
                  <a:pt x="720" y="473"/>
                  <a:pt x="720" y="473"/>
                </a:cubicBezTo>
                <a:cubicBezTo>
                  <a:pt x="720" y="473"/>
                  <a:pt x="720" y="472"/>
                  <a:pt x="720" y="472"/>
                </a:cubicBezTo>
                <a:cubicBezTo>
                  <a:pt x="720" y="471"/>
                  <a:pt x="720" y="471"/>
                  <a:pt x="721" y="470"/>
                </a:cubicBezTo>
                <a:cubicBezTo>
                  <a:pt x="721" y="470"/>
                  <a:pt x="721" y="470"/>
                  <a:pt x="721" y="470"/>
                </a:cubicBezTo>
                <a:cubicBezTo>
                  <a:pt x="721" y="470"/>
                  <a:pt x="722" y="470"/>
                  <a:pt x="722" y="470"/>
                </a:cubicBezTo>
                <a:cubicBezTo>
                  <a:pt x="722" y="471"/>
                  <a:pt x="722" y="471"/>
                  <a:pt x="722" y="472"/>
                </a:cubicBezTo>
                <a:cubicBezTo>
                  <a:pt x="722" y="472"/>
                  <a:pt x="722" y="473"/>
                  <a:pt x="723" y="474"/>
                </a:cubicBezTo>
                <a:cubicBezTo>
                  <a:pt x="723" y="474"/>
                  <a:pt x="723" y="474"/>
                  <a:pt x="723" y="474"/>
                </a:cubicBezTo>
                <a:cubicBezTo>
                  <a:pt x="723" y="474"/>
                  <a:pt x="724" y="473"/>
                  <a:pt x="724" y="473"/>
                </a:cubicBezTo>
                <a:cubicBezTo>
                  <a:pt x="724" y="473"/>
                  <a:pt x="724" y="473"/>
                  <a:pt x="724" y="472"/>
                </a:cubicBezTo>
                <a:cubicBezTo>
                  <a:pt x="724" y="472"/>
                  <a:pt x="724" y="472"/>
                  <a:pt x="725" y="472"/>
                </a:cubicBezTo>
                <a:cubicBezTo>
                  <a:pt x="725" y="472"/>
                  <a:pt x="725" y="473"/>
                  <a:pt x="725" y="473"/>
                </a:cubicBezTo>
                <a:cubicBezTo>
                  <a:pt x="724" y="474"/>
                  <a:pt x="724" y="474"/>
                  <a:pt x="724" y="475"/>
                </a:cubicBezTo>
                <a:cubicBezTo>
                  <a:pt x="724" y="475"/>
                  <a:pt x="725" y="475"/>
                  <a:pt x="725" y="475"/>
                </a:cubicBezTo>
                <a:cubicBezTo>
                  <a:pt x="726" y="475"/>
                  <a:pt x="726" y="475"/>
                  <a:pt x="726" y="474"/>
                </a:cubicBezTo>
                <a:cubicBezTo>
                  <a:pt x="727" y="472"/>
                  <a:pt x="728" y="471"/>
                  <a:pt x="728" y="469"/>
                </a:cubicBezTo>
                <a:cubicBezTo>
                  <a:pt x="728" y="466"/>
                  <a:pt x="726" y="463"/>
                  <a:pt x="725" y="460"/>
                </a:cubicBezTo>
                <a:cubicBezTo>
                  <a:pt x="724" y="459"/>
                  <a:pt x="724" y="459"/>
                  <a:pt x="723" y="459"/>
                </a:cubicBezTo>
                <a:cubicBezTo>
                  <a:pt x="723" y="459"/>
                  <a:pt x="722" y="459"/>
                  <a:pt x="722" y="459"/>
                </a:cubicBezTo>
                <a:cubicBezTo>
                  <a:pt x="721" y="458"/>
                  <a:pt x="722" y="458"/>
                  <a:pt x="722" y="458"/>
                </a:cubicBezTo>
                <a:cubicBezTo>
                  <a:pt x="723" y="457"/>
                  <a:pt x="725" y="456"/>
                  <a:pt x="726" y="456"/>
                </a:cubicBezTo>
                <a:cubicBezTo>
                  <a:pt x="726" y="456"/>
                  <a:pt x="726" y="456"/>
                  <a:pt x="726" y="456"/>
                </a:cubicBezTo>
                <a:cubicBezTo>
                  <a:pt x="727" y="456"/>
                  <a:pt x="727" y="456"/>
                  <a:pt x="726" y="457"/>
                </a:cubicBezTo>
                <a:cubicBezTo>
                  <a:pt x="726" y="457"/>
                  <a:pt x="725" y="457"/>
                  <a:pt x="725" y="457"/>
                </a:cubicBezTo>
                <a:cubicBezTo>
                  <a:pt x="725" y="458"/>
                  <a:pt x="725" y="459"/>
                  <a:pt x="726" y="459"/>
                </a:cubicBezTo>
                <a:cubicBezTo>
                  <a:pt x="727" y="461"/>
                  <a:pt x="729" y="464"/>
                  <a:pt x="729" y="467"/>
                </a:cubicBezTo>
                <a:cubicBezTo>
                  <a:pt x="729" y="467"/>
                  <a:pt x="729" y="468"/>
                  <a:pt x="729" y="468"/>
                </a:cubicBezTo>
                <a:cubicBezTo>
                  <a:pt x="729" y="469"/>
                  <a:pt x="729" y="469"/>
                  <a:pt x="729" y="470"/>
                </a:cubicBezTo>
                <a:cubicBezTo>
                  <a:pt x="728" y="471"/>
                  <a:pt x="729" y="472"/>
                  <a:pt x="729" y="472"/>
                </a:cubicBezTo>
                <a:cubicBezTo>
                  <a:pt x="730" y="473"/>
                  <a:pt x="731" y="473"/>
                  <a:pt x="732" y="472"/>
                </a:cubicBezTo>
                <a:cubicBezTo>
                  <a:pt x="732" y="473"/>
                  <a:pt x="731" y="474"/>
                  <a:pt x="731" y="474"/>
                </a:cubicBezTo>
                <a:cubicBezTo>
                  <a:pt x="730" y="474"/>
                  <a:pt x="730" y="474"/>
                  <a:pt x="729" y="474"/>
                </a:cubicBezTo>
                <a:cubicBezTo>
                  <a:pt x="728" y="474"/>
                  <a:pt x="728" y="475"/>
                  <a:pt x="728" y="475"/>
                </a:cubicBezTo>
                <a:cubicBezTo>
                  <a:pt x="727" y="475"/>
                  <a:pt x="727" y="476"/>
                  <a:pt x="727" y="476"/>
                </a:cubicBezTo>
                <a:cubicBezTo>
                  <a:pt x="727" y="477"/>
                  <a:pt x="727" y="477"/>
                  <a:pt x="727" y="478"/>
                </a:cubicBezTo>
                <a:cubicBezTo>
                  <a:pt x="728" y="480"/>
                  <a:pt x="729" y="482"/>
                  <a:pt x="729" y="484"/>
                </a:cubicBezTo>
                <a:cubicBezTo>
                  <a:pt x="729" y="484"/>
                  <a:pt x="729" y="485"/>
                  <a:pt x="729" y="485"/>
                </a:cubicBezTo>
                <a:cubicBezTo>
                  <a:pt x="729" y="485"/>
                  <a:pt x="729" y="485"/>
                  <a:pt x="729" y="485"/>
                </a:cubicBezTo>
                <a:cubicBezTo>
                  <a:pt x="732" y="485"/>
                  <a:pt x="734" y="483"/>
                  <a:pt x="735" y="482"/>
                </a:cubicBezTo>
                <a:cubicBezTo>
                  <a:pt x="737" y="480"/>
                  <a:pt x="738" y="478"/>
                  <a:pt x="739" y="476"/>
                </a:cubicBezTo>
                <a:cubicBezTo>
                  <a:pt x="739" y="474"/>
                  <a:pt x="740" y="472"/>
                  <a:pt x="739" y="471"/>
                </a:cubicBezTo>
                <a:cubicBezTo>
                  <a:pt x="739" y="469"/>
                  <a:pt x="738" y="467"/>
                  <a:pt x="738" y="465"/>
                </a:cubicBezTo>
                <a:cubicBezTo>
                  <a:pt x="738" y="464"/>
                  <a:pt x="738" y="463"/>
                  <a:pt x="738" y="462"/>
                </a:cubicBezTo>
                <a:cubicBezTo>
                  <a:pt x="738" y="462"/>
                  <a:pt x="738" y="461"/>
                  <a:pt x="739" y="461"/>
                </a:cubicBezTo>
                <a:cubicBezTo>
                  <a:pt x="739" y="461"/>
                  <a:pt x="739" y="461"/>
                  <a:pt x="739" y="462"/>
                </a:cubicBezTo>
                <a:cubicBezTo>
                  <a:pt x="740" y="460"/>
                  <a:pt x="740" y="460"/>
                  <a:pt x="740" y="460"/>
                </a:cubicBezTo>
                <a:cubicBezTo>
                  <a:pt x="740" y="460"/>
                  <a:pt x="740" y="458"/>
                  <a:pt x="740" y="458"/>
                </a:cubicBezTo>
                <a:close/>
                <a:moveTo>
                  <a:pt x="553" y="364"/>
                </a:moveTo>
                <a:cubicBezTo>
                  <a:pt x="554" y="364"/>
                  <a:pt x="554" y="364"/>
                  <a:pt x="554" y="364"/>
                </a:cubicBezTo>
                <a:cubicBezTo>
                  <a:pt x="554" y="364"/>
                  <a:pt x="555" y="363"/>
                  <a:pt x="555" y="363"/>
                </a:cubicBezTo>
                <a:cubicBezTo>
                  <a:pt x="555" y="362"/>
                  <a:pt x="556" y="362"/>
                  <a:pt x="556" y="362"/>
                </a:cubicBezTo>
                <a:cubicBezTo>
                  <a:pt x="556" y="362"/>
                  <a:pt x="557" y="362"/>
                  <a:pt x="557" y="361"/>
                </a:cubicBezTo>
                <a:cubicBezTo>
                  <a:pt x="557" y="361"/>
                  <a:pt x="557" y="361"/>
                  <a:pt x="557" y="361"/>
                </a:cubicBezTo>
                <a:cubicBezTo>
                  <a:pt x="556" y="360"/>
                  <a:pt x="556" y="361"/>
                  <a:pt x="556" y="361"/>
                </a:cubicBezTo>
                <a:cubicBezTo>
                  <a:pt x="556" y="361"/>
                  <a:pt x="555" y="361"/>
                  <a:pt x="555" y="361"/>
                </a:cubicBezTo>
                <a:cubicBezTo>
                  <a:pt x="555" y="361"/>
                  <a:pt x="555" y="362"/>
                  <a:pt x="554" y="362"/>
                </a:cubicBezTo>
                <a:cubicBezTo>
                  <a:pt x="554" y="362"/>
                  <a:pt x="554" y="363"/>
                  <a:pt x="554" y="363"/>
                </a:cubicBezTo>
                <a:cubicBezTo>
                  <a:pt x="553" y="363"/>
                  <a:pt x="553" y="364"/>
                  <a:pt x="553" y="364"/>
                </a:cubicBezTo>
                <a:cubicBezTo>
                  <a:pt x="553" y="364"/>
                  <a:pt x="553" y="364"/>
                  <a:pt x="553" y="364"/>
                </a:cubicBezTo>
                <a:close/>
                <a:moveTo>
                  <a:pt x="458" y="349"/>
                </a:moveTo>
                <a:cubicBezTo>
                  <a:pt x="459" y="349"/>
                  <a:pt x="459" y="348"/>
                  <a:pt x="459" y="348"/>
                </a:cubicBezTo>
                <a:cubicBezTo>
                  <a:pt x="458" y="347"/>
                  <a:pt x="458" y="347"/>
                  <a:pt x="458" y="347"/>
                </a:cubicBezTo>
                <a:cubicBezTo>
                  <a:pt x="458" y="347"/>
                  <a:pt x="457" y="348"/>
                  <a:pt x="457" y="348"/>
                </a:cubicBezTo>
                <a:cubicBezTo>
                  <a:pt x="457" y="348"/>
                  <a:pt x="457" y="348"/>
                  <a:pt x="457" y="349"/>
                </a:cubicBezTo>
                <a:cubicBezTo>
                  <a:pt x="457" y="349"/>
                  <a:pt x="457" y="349"/>
                  <a:pt x="457" y="349"/>
                </a:cubicBezTo>
                <a:cubicBezTo>
                  <a:pt x="458" y="350"/>
                  <a:pt x="458" y="349"/>
                  <a:pt x="458" y="349"/>
                </a:cubicBezTo>
                <a:close/>
                <a:moveTo>
                  <a:pt x="457" y="351"/>
                </a:moveTo>
                <a:cubicBezTo>
                  <a:pt x="456" y="351"/>
                  <a:pt x="456" y="351"/>
                  <a:pt x="456" y="351"/>
                </a:cubicBezTo>
                <a:cubicBezTo>
                  <a:pt x="456" y="351"/>
                  <a:pt x="456" y="351"/>
                  <a:pt x="456" y="351"/>
                </a:cubicBezTo>
                <a:cubicBezTo>
                  <a:pt x="457" y="352"/>
                  <a:pt x="457" y="351"/>
                  <a:pt x="457" y="351"/>
                </a:cubicBezTo>
                <a:close/>
                <a:moveTo>
                  <a:pt x="449" y="356"/>
                </a:moveTo>
                <a:cubicBezTo>
                  <a:pt x="449" y="357"/>
                  <a:pt x="449" y="357"/>
                  <a:pt x="449" y="357"/>
                </a:cubicBezTo>
                <a:cubicBezTo>
                  <a:pt x="449" y="357"/>
                  <a:pt x="449" y="357"/>
                  <a:pt x="450" y="357"/>
                </a:cubicBezTo>
                <a:cubicBezTo>
                  <a:pt x="450" y="357"/>
                  <a:pt x="450" y="357"/>
                  <a:pt x="450" y="357"/>
                </a:cubicBezTo>
                <a:cubicBezTo>
                  <a:pt x="450" y="356"/>
                  <a:pt x="449" y="356"/>
                  <a:pt x="449" y="356"/>
                </a:cubicBezTo>
                <a:close/>
                <a:moveTo>
                  <a:pt x="438" y="376"/>
                </a:moveTo>
                <a:cubicBezTo>
                  <a:pt x="438" y="376"/>
                  <a:pt x="437" y="377"/>
                  <a:pt x="437" y="377"/>
                </a:cubicBezTo>
                <a:cubicBezTo>
                  <a:pt x="438" y="378"/>
                  <a:pt x="438" y="378"/>
                  <a:pt x="439" y="378"/>
                </a:cubicBezTo>
                <a:cubicBezTo>
                  <a:pt x="439" y="377"/>
                  <a:pt x="440" y="377"/>
                  <a:pt x="440" y="377"/>
                </a:cubicBezTo>
                <a:cubicBezTo>
                  <a:pt x="440" y="376"/>
                  <a:pt x="440" y="376"/>
                  <a:pt x="439" y="375"/>
                </a:cubicBezTo>
                <a:cubicBezTo>
                  <a:pt x="439" y="375"/>
                  <a:pt x="438" y="376"/>
                  <a:pt x="438" y="376"/>
                </a:cubicBezTo>
                <a:close/>
                <a:moveTo>
                  <a:pt x="380" y="446"/>
                </a:moveTo>
                <a:cubicBezTo>
                  <a:pt x="380" y="446"/>
                  <a:pt x="381" y="446"/>
                  <a:pt x="382" y="446"/>
                </a:cubicBezTo>
                <a:cubicBezTo>
                  <a:pt x="382" y="446"/>
                  <a:pt x="382" y="445"/>
                  <a:pt x="382" y="445"/>
                </a:cubicBezTo>
                <a:cubicBezTo>
                  <a:pt x="382" y="444"/>
                  <a:pt x="381" y="444"/>
                  <a:pt x="381" y="444"/>
                </a:cubicBezTo>
                <a:cubicBezTo>
                  <a:pt x="380" y="445"/>
                  <a:pt x="380" y="445"/>
                  <a:pt x="380" y="445"/>
                </a:cubicBezTo>
                <a:cubicBezTo>
                  <a:pt x="379" y="445"/>
                  <a:pt x="380" y="446"/>
                  <a:pt x="380" y="446"/>
                </a:cubicBezTo>
                <a:close/>
                <a:moveTo>
                  <a:pt x="389" y="444"/>
                </a:moveTo>
                <a:cubicBezTo>
                  <a:pt x="389" y="445"/>
                  <a:pt x="389" y="445"/>
                  <a:pt x="389" y="445"/>
                </a:cubicBezTo>
                <a:cubicBezTo>
                  <a:pt x="390" y="446"/>
                  <a:pt x="390" y="445"/>
                  <a:pt x="391" y="445"/>
                </a:cubicBezTo>
                <a:cubicBezTo>
                  <a:pt x="391" y="445"/>
                  <a:pt x="391" y="445"/>
                  <a:pt x="392" y="445"/>
                </a:cubicBezTo>
                <a:cubicBezTo>
                  <a:pt x="392" y="445"/>
                  <a:pt x="392" y="445"/>
                  <a:pt x="391" y="444"/>
                </a:cubicBezTo>
                <a:cubicBezTo>
                  <a:pt x="391" y="444"/>
                  <a:pt x="391" y="444"/>
                  <a:pt x="391" y="444"/>
                </a:cubicBezTo>
                <a:cubicBezTo>
                  <a:pt x="390" y="444"/>
                  <a:pt x="390" y="444"/>
                  <a:pt x="390" y="444"/>
                </a:cubicBezTo>
                <a:cubicBezTo>
                  <a:pt x="390" y="444"/>
                  <a:pt x="389" y="444"/>
                  <a:pt x="389" y="444"/>
                </a:cubicBezTo>
                <a:close/>
                <a:moveTo>
                  <a:pt x="341" y="397"/>
                </a:moveTo>
                <a:cubicBezTo>
                  <a:pt x="342" y="397"/>
                  <a:pt x="343" y="396"/>
                  <a:pt x="343" y="395"/>
                </a:cubicBezTo>
                <a:cubicBezTo>
                  <a:pt x="343" y="395"/>
                  <a:pt x="344" y="394"/>
                  <a:pt x="344" y="393"/>
                </a:cubicBezTo>
                <a:cubicBezTo>
                  <a:pt x="344" y="392"/>
                  <a:pt x="345" y="391"/>
                  <a:pt x="344" y="391"/>
                </a:cubicBezTo>
                <a:cubicBezTo>
                  <a:pt x="343" y="391"/>
                  <a:pt x="343" y="392"/>
                  <a:pt x="343" y="392"/>
                </a:cubicBezTo>
                <a:cubicBezTo>
                  <a:pt x="342" y="393"/>
                  <a:pt x="342" y="393"/>
                  <a:pt x="341" y="393"/>
                </a:cubicBezTo>
                <a:cubicBezTo>
                  <a:pt x="340" y="393"/>
                  <a:pt x="340" y="394"/>
                  <a:pt x="340" y="395"/>
                </a:cubicBezTo>
                <a:cubicBezTo>
                  <a:pt x="341" y="396"/>
                  <a:pt x="341" y="397"/>
                  <a:pt x="341" y="397"/>
                </a:cubicBezTo>
                <a:close/>
                <a:moveTo>
                  <a:pt x="321" y="264"/>
                </a:moveTo>
                <a:cubicBezTo>
                  <a:pt x="322" y="264"/>
                  <a:pt x="322" y="264"/>
                  <a:pt x="323" y="264"/>
                </a:cubicBezTo>
                <a:cubicBezTo>
                  <a:pt x="323" y="264"/>
                  <a:pt x="323" y="264"/>
                  <a:pt x="324" y="264"/>
                </a:cubicBezTo>
                <a:cubicBezTo>
                  <a:pt x="324" y="263"/>
                  <a:pt x="324" y="262"/>
                  <a:pt x="324" y="262"/>
                </a:cubicBezTo>
                <a:cubicBezTo>
                  <a:pt x="323" y="262"/>
                  <a:pt x="323" y="262"/>
                  <a:pt x="323" y="262"/>
                </a:cubicBezTo>
                <a:cubicBezTo>
                  <a:pt x="322" y="261"/>
                  <a:pt x="322" y="261"/>
                  <a:pt x="321" y="261"/>
                </a:cubicBezTo>
                <a:cubicBezTo>
                  <a:pt x="321" y="261"/>
                  <a:pt x="320" y="262"/>
                  <a:pt x="320" y="263"/>
                </a:cubicBezTo>
                <a:cubicBezTo>
                  <a:pt x="320" y="264"/>
                  <a:pt x="321" y="264"/>
                  <a:pt x="321" y="264"/>
                </a:cubicBezTo>
                <a:close/>
                <a:moveTo>
                  <a:pt x="426" y="23"/>
                </a:moveTo>
                <a:cubicBezTo>
                  <a:pt x="426" y="23"/>
                  <a:pt x="426" y="23"/>
                  <a:pt x="426" y="22"/>
                </a:cubicBezTo>
                <a:cubicBezTo>
                  <a:pt x="426" y="22"/>
                  <a:pt x="426" y="22"/>
                  <a:pt x="426" y="22"/>
                </a:cubicBezTo>
                <a:cubicBezTo>
                  <a:pt x="427" y="21"/>
                  <a:pt x="427" y="21"/>
                  <a:pt x="427" y="21"/>
                </a:cubicBezTo>
                <a:cubicBezTo>
                  <a:pt x="427" y="20"/>
                  <a:pt x="428" y="20"/>
                  <a:pt x="428" y="20"/>
                </a:cubicBezTo>
                <a:cubicBezTo>
                  <a:pt x="427" y="20"/>
                  <a:pt x="427" y="20"/>
                  <a:pt x="427" y="20"/>
                </a:cubicBezTo>
                <a:cubicBezTo>
                  <a:pt x="427" y="20"/>
                  <a:pt x="427" y="20"/>
                  <a:pt x="426" y="20"/>
                </a:cubicBezTo>
                <a:cubicBezTo>
                  <a:pt x="426" y="20"/>
                  <a:pt x="426" y="20"/>
                  <a:pt x="426" y="21"/>
                </a:cubicBezTo>
                <a:cubicBezTo>
                  <a:pt x="426" y="21"/>
                  <a:pt x="426" y="20"/>
                  <a:pt x="426" y="20"/>
                </a:cubicBezTo>
                <a:cubicBezTo>
                  <a:pt x="425" y="20"/>
                  <a:pt x="425" y="21"/>
                  <a:pt x="425" y="21"/>
                </a:cubicBezTo>
                <a:cubicBezTo>
                  <a:pt x="425" y="21"/>
                  <a:pt x="425" y="22"/>
                  <a:pt x="425" y="22"/>
                </a:cubicBezTo>
                <a:cubicBezTo>
                  <a:pt x="425" y="22"/>
                  <a:pt x="426" y="22"/>
                  <a:pt x="426" y="22"/>
                </a:cubicBezTo>
                <a:cubicBezTo>
                  <a:pt x="425" y="22"/>
                  <a:pt x="425" y="23"/>
                  <a:pt x="425" y="23"/>
                </a:cubicBezTo>
                <a:cubicBezTo>
                  <a:pt x="425" y="23"/>
                  <a:pt x="426" y="23"/>
                  <a:pt x="426" y="23"/>
                </a:cubicBezTo>
                <a:close/>
                <a:moveTo>
                  <a:pt x="503" y="50"/>
                </a:moveTo>
                <a:cubicBezTo>
                  <a:pt x="503" y="50"/>
                  <a:pt x="503" y="49"/>
                  <a:pt x="504" y="49"/>
                </a:cubicBezTo>
                <a:cubicBezTo>
                  <a:pt x="504" y="49"/>
                  <a:pt x="504" y="48"/>
                  <a:pt x="505" y="48"/>
                </a:cubicBezTo>
                <a:cubicBezTo>
                  <a:pt x="505" y="47"/>
                  <a:pt x="506" y="46"/>
                  <a:pt x="506" y="46"/>
                </a:cubicBezTo>
                <a:cubicBezTo>
                  <a:pt x="507" y="45"/>
                  <a:pt x="507" y="45"/>
                  <a:pt x="507" y="45"/>
                </a:cubicBezTo>
                <a:cubicBezTo>
                  <a:pt x="507" y="44"/>
                  <a:pt x="508" y="44"/>
                  <a:pt x="508" y="44"/>
                </a:cubicBezTo>
                <a:cubicBezTo>
                  <a:pt x="509" y="43"/>
                  <a:pt x="509" y="43"/>
                  <a:pt x="509" y="42"/>
                </a:cubicBezTo>
                <a:cubicBezTo>
                  <a:pt x="509" y="42"/>
                  <a:pt x="509" y="41"/>
                  <a:pt x="509" y="41"/>
                </a:cubicBezTo>
                <a:cubicBezTo>
                  <a:pt x="509" y="41"/>
                  <a:pt x="508" y="41"/>
                  <a:pt x="508" y="41"/>
                </a:cubicBezTo>
                <a:cubicBezTo>
                  <a:pt x="508" y="41"/>
                  <a:pt x="507" y="41"/>
                  <a:pt x="507" y="41"/>
                </a:cubicBezTo>
                <a:cubicBezTo>
                  <a:pt x="507" y="41"/>
                  <a:pt x="507" y="41"/>
                  <a:pt x="508" y="41"/>
                </a:cubicBezTo>
                <a:cubicBezTo>
                  <a:pt x="508" y="41"/>
                  <a:pt x="509" y="41"/>
                  <a:pt x="509" y="40"/>
                </a:cubicBezTo>
                <a:cubicBezTo>
                  <a:pt x="509" y="40"/>
                  <a:pt x="509" y="40"/>
                  <a:pt x="508" y="40"/>
                </a:cubicBezTo>
                <a:cubicBezTo>
                  <a:pt x="508" y="40"/>
                  <a:pt x="507" y="40"/>
                  <a:pt x="507" y="40"/>
                </a:cubicBezTo>
                <a:cubicBezTo>
                  <a:pt x="506" y="41"/>
                  <a:pt x="506" y="42"/>
                  <a:pt x="505" y="43"/>
                </a:cubicBezTo>
                <a:cubicBezTo>
                  <a:pt x="505" y="44"/>
                  <a:pt x="504" y="44"/>
                  <a:pt x="504" y="46"/>
                </a:cubicBezTo>
                <a:cubicBezTo>
                  <a:pt x="504" y="46"/>
                  <a:pt x="503" y="47"/>
                  <a:pt x="503" y="48"/>
                </a:cubicBezTo>
                <a:cubicBezTo>
                  <a:pt x="503" y="48"/>
                  <a:pt x="503" y="48"/>
                  <a:pt x="503" y="49"/>
                </a:cubicBezTo>
                <a:cubicBezTo>
                  <a:pt x="503" y="49"/>
                  <a:pt x="503" y="49"/>
                  <a:pt x="503" y="49"/>
                </a:cubicBezTo>
                <a:cubicBezTo>
                  <a:pt x="503" y="49"/>
                  <a:pt x="502" y="49"/>
                  <a:pt x="502" y="49"/>
                </a:cubicBezTo>
                <a:cubicBezTo>
                  <a:pt x="503" y="50"/>
                  <a:pt x="503" y="50"/>
                  <a:pt x="503" y="50"/>
                </a:cubicBezTo>
                <a:close/>
              </a:path>
            </a:pathLst>
          </a:custGeom>
          <a:solidFill>
            <a:schemeClr val="accent3"/>
          </a:solidFill>
          <a:ln w="7938" cap="rnd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Freeform 8">
            <a:extLst>
              <a:ext uri="{FF2B5EF4-FFF2-40B4-BE49-F238E27FC236}">
                <a16:creationId xmlns:a16="http://schemas.microsoft.com/office/drawing/2014/main" id="{C548105B-81F5-41D7-851A-BD40E3B5D910}"/>
              </a:ext>
            </a:extLst>
          </p:cNvPr>
          <p:cNvSpPr>
            <a:spLocks/>
          </p:cNvSpPr>
          <p:nvPr/>
        </p:nvSpPr>
        <p:spPr bwMode="auto">
          <a:xfrm>
            <a:off x="5867170" y="2064279"/>
            <a:ext cx="958278" cy="748448"/>
          </a:xfrm>
          <a:custGeom>
            <a:avLst/>
            <a:gdLst>
              <a:gd name="T0" fmla="*/ 0 w 580"/>
              <a:gd name="T1" fmla="*/ 0 h 453"/>
              <a:gd name="T2" fmla="*/ 0 w 580"/>
              <a:gd name="T3" fmla="*/ 343 h 453"/>
              <a:gd name="T4" fmla="*/ 0 w 580"/>
              <a:gd name="T5" fmla="*/ 453 h 453"/>
              <a:gd name="T6" fmla="*/ 580 w 580"/>
              <a:gd name="T7" fmla="*/ 453 h 453"/>
              <a:gd name="T8" fmla="*/ 580 w 580"/>
              <a:gd name="T9" fmla="*/ 0 h 453"/>
              <a:gd name="T10" fmla="*/ 0 w 580"/>
              <a:gd name="T1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0" h="453">
                <a:moveTo>
                  <a:pt x="0" y="0"/>
                </a:moveTo>
                <a:lnTo>
                  <a:pt x="0" y="343"/>
                </a:lnTo>
                <a:lnTo>
                  <a:pt x="0" y="453"/>
                </a:lnTo>
                <a:lnTo>
                  <a:pt x="580" y="453"/>
                </a:lnTo>
                <a:lnTo>
                  <a:pt x="58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1" name="Freeform 9">
            <a:extLst>
              <a:ext uri="{FF2B5EF4-FFF2-40B4-BE49-F238E27FC236}">
                <a16:creationId xmlns:a16="http://schemas.microsoft.com/office/drawing/2014/main" id="{3AEE75F0-6631-473F-9A2E-2495E114CF8A}"/>
              </a:ext>
            </a:extLst>
          </p:cNvPr>
          <p:cNvSpPr>
            <a:spLocks noEditPoints="1"/>
          </p:cNvSpPr>
          <p:nvPr/>
        </p:nvSpPr>
        <p:spPr bwMode="auto">
          <a:xfrm>
            <a:off x="8350432" y="1679315"/>
            <a:ext cx="827755" cy="855842"/>
          </a:xfrm>
          <a:custGeom>
            <a:avLst/>
            <a:gdLst>
              <a:gd name="T0" fmla="*/ 79 w 209"/>
              <a:gd name="T1" fmla="*/ 5 h 216"/>
              <a:gd name="T2" fmla="*/ 76 w 209"/>
              <a:gd name="T3" fmla="*/ 10 h 216"/>
              <a:gd name="T4" fmla="*/ 82 w 209"/>
              <a:gd name="T5" fmla="*/ 1 h 216"/>
              <a:gd name="T6" fmla="*/ 79 w 209"/>
              <a:gd name="T7" fmla="*/ 2 h 216"/>
              <a:gd name="T8" fmla="*/ 208 w 209"/>
              <a:gd name="T9" fmla="*/ 81 h 216"/>
              <a:gd name="T10" fmla="*/ 206 w 209"/>
              <a:gd name="T11" fmla="*/ 81 h 216"/>
              <a:gd name="T12" fmla="*/ 202 w 209"/>
              <a:gd name="T13" fmla="*/ 89 h 216"/>
              <a:gd name="T14" fmla="*/ 199 w 209"/>
              <a:gd name="T15" fmla="*/ 97 h 216"/>
              <a:gd name="T16" fmla="*/ 197 w 209"/>
              <a:gd name="T17" fmla="*/ 103 h 216"/>
              <a:gd name="T18" fmla="*/ 190 w 209"/>
              <a:gd name="T19" fmla="*/ 115 h 216"/>
              <a:gd name="T20" fmla="*/ 186 w 209"/>
              <a:gd name="T21" fmla="*/ 125 h 216"/>
              <a:gd name="T22" fmla="*/ 186 w 209"/>
              <a:gd name="T23" fmla="*/ 133 h 216"/>
              <a:gd name="T24" fmla="*/ 184 w 209"/>
              <a:gd name="T25" fmla="*/ 138 h 216"/>
              <a:gd name="T26" fmla="*/ 180 w 209"/>
              <a:gd name="T27" fmla="*/ 147 h 216"/>
              <a:gd name="T28" fmla="*/ 179 w 209"/>
              <a:gd name="T29" fmla="*/ 155 h 216"/>
              <a:gd name="T30" fmla="*/ 179 w 209"/>
              <a:gd name="T31" fmla="*/ 164 h 216"/>
              <a:gd name="T32" fmla="*/ 175 w 209"/>
              <a:gd name="T33" fmla="*/ 174 h 216"/>
              <a:gd name="T34" fmla="*/ 173 w 209"/>
              <a:gd name="T35" fmla="*/ 181 h 216"/>
              <a:gd name="T36" fmla="*/ 173 w 209"/>
              <a:gd name="T37" fmla="*/ 193 h 216"/>
              <a:gd name="T38" fmla="*/ 176 w 209"/>
              <a:gd name="T39" fmla="*/ 202 h 216"/>
              <a:gd name="T40" fmla="*/ 177 w 209"/>
              <a:gd name="T41" fmla="*/ 207 h 216"/>
              <a:gd name="T42" fmla="*/ 176 w 209"/>
              <a:gd name="T43" fmla="*/ 216 h 216"/>
              <a:gd name="T44" fmla="*/ 74 w 209"/>
              <a:gd name="T45" fmla="*/ 210 h 216"/>
              <a:gd name="T46" fmla="*/ 63 w 209"/>
              <a:gd name="T47" fmla="*/ 201 h 216"/>
              <a:gd name="T48" fmla="*/ 60 w 209"/>
              <a:gd name="T49" fmla="*/ 189 h 216"/>
              <a:gd name="T50" fmla="*/ 58 w 209"/>
              <a:gd name="T51" fmla="*/ 176 h 216"/>
              <a:gd name="T52" fmla="*/ 56 w 209"/>
              <a:gd name="T53" fmla="*/ 162 h 216"/>
              <a:gd name="T54" fmla="*/ 46 w 209"/>
              <a:gd name="T55" fmla="*/ 145 h 216"/>
              <a:gd name="T56" fmla="*/ 32 w 209"/>
              <a:gd name="T57" fmla="*/ 127 h 216"/>
              <a:gd name="T58" fmla="*/ 13 w 209"/>
              <a:gd name="T59" fmla="*/ 118 h 216"/>
              <a:gd name="T60" fmla="*/ 5 w 209"/>
              <a:gd name="T61" fmla="*/ 100 h 216"/>
              <a:gd name="T62" fmla="*/ 5 w 209"/>
              <a:gd name="T63" fmla="*/ 87 h 216"/>
              <a:gd name="T64" fmla="*/ 5 w 209"/>
              <a:gd name="T65" fmla="*/ 69 h 216"/>
              <a:gd name="T66" fmla="*/ 5 w 209"/>
              <a:gd name="T67" fmla="*/ 56 h 216"/>
              <a:gd name="T68" fmla="*/ 17 w 209"/>
              <a:gd name="T69" fmla="*/ 47 h 216"/>
              <a:gd name="T70" fmla="*/ 24 w 209"/>
              <a:gd name="T71" fmla="*/ 15 h 216"/>
              <a:gd name="T72" fmla="*/ 31 w 209"/>
              <a:gd name="T73" fmla="*/ 14 h 216"/>
              <a:gd name="T74" fmla="*/ 47 w 209"/>
              <a:gd name="T75" fmla="*/ 10 h 216"/>
              <a:gd name="T76" fmla="*/ 64 w 209"/>
              <a:gd name="T77" fmla="*/ 4 h 216"/>
              <a:gd name="T78" fmla="*/ 74 w 209"/>
              <a:gd name="T79" fmla="*/ 3 h 216"/>
              <a:gd name="T80" fmla="*/ 70 w 209"/>
              <a:gd name="T81" fmla="*/ 14 h 216"/>
              <a:gd name="T82" fmla="*/ 71 w 209"/>
              <a:gd name="T83" fmla="*/ 18 h 216"/>
              <a:gd name="T84" fmla="*/ 83 w 209"/>
              <a:gd name="T85" fmla="*/ 19 h 216"/>
              <a:gd name="T86" fmla="*/ 89 w 209"/>
              <a:gd name="T87" fmla="*/ 22 h 216"/>
              <a:gd name="T88" fmla="*/ 141 w 209"/>
              <a:gd name="T89" fmla="*/ 47 h 216"/>
              <a:gd name="T90" fmla="*/ 153 w 209"/>
              <a:gd name="T91" fmla="*/ 48 h 216"/>
              <a:gd name="T92" fmla="*/ 162 w 209"/>
              <a:gd name="T93" fmla="*/ 50 h 216"/>
              <a:gd name="T94" fmla="*/ 165 w 209"/>
              <a:gd name="T95" fmla="*/ 57 h 216"/>
              <a:gd name="T96" fmla="*/ 174 w 209"/>
              <a:gd name="T97" fmla="*/ 60 h 216"/>
              <a:gd name="T98" fmla="*/ 177 w 209"/>
              <a:gd name="T99" fmla="*/ 69 h 216"/>
              <a:gd name="T100" fmla="*/ 174 w 209"/>
              <a:gd name="T101" fmla="*/ 76 h 216"/>
              <a:gd name="T102" fmla="*/ 181 w 209"/>
              <a:gd name="T103" fmla="*/ 78 h 216"/>
              <a:gd name="T104" fmla="*/ 181 w 209"/>
              <a:gd name="T105" fmla="*/ 91 h 216"/>
              <a:gd name="T106" fmla="*/ 177 w 209"/>
              <a:gd name="T107" fmla="*/ 100 h 216"/>
              <a:gd name="T108" fmla="*/ 170 w 209"/>
              <a:gd name="T109" fmla="*/ 113 h 216"/>
              <a:gd name="T110" fmla="*/ 172 w 209"/>
              <a:gd name="T111" fmla="*/ 119 h 216"/>
              <a:gd name="T112" fmla="*/ 180 w 209"/>
              <a:gd name="T113" fmla="*/ 109 h 216"/>
              <a:gd name="T114" fmla="*/ 190 w 209"/>
              <a:gd name="T115" fmla="*/ 104 h 216"/>
              <a:gd name="T116" fmla="*/ 194 w 209"/>
              <a:gd name="T117" fmla="*/ 95 h 216"/>
              <a:gd name="T118" fmla="*/ 201 w 209"/>
              <a:gd name="T119" fmla="*/ 86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09" h="216">
                <a:moveTo>
                  <a:pt x="74" y="9"/>
                </a:moveTo>
                <a:cubicBezTo>
                  <a:pt x="74" y="9"/>
                  <a:pt x="74" y="8"/>
                  <a:pt x="74" y="8"/>
                </a:cubicBezTo>
                <a:cubicBezTo>
                  <a:pt x="75" y="7"/>
                  <a:pt x="75" y="7"/>
                  <a:pt x="76" y="7"/>
                </a:cubicBezTo>
                <a:cubicBezTo>
                  <a:pt x="76" y="7"/>
                  <a:pt x="77" y="6"/>
                  <a:pt x="77" y="6"/>
                </a:cubicBezTo>
                <a:cubicBezTo>
                  <a:pt x="78" y="6"/>
                  <a:pt x="78" y="5"/>
                  <a:pt x="79" y="5"/>
                </a:cubicBezTo>
                <a:cubicBezTo>
                  <a:pt x="79" y="5"/>
                  <a:pt x="80" y="4"/>
                  <a:pt x="80" y="5"/>
                </a:cubicBezTo>
                <a:cubicBezTo>
                  <a:pt x="80" y="5"/>
                  <a:pt x="81" y="6"/>
                  <a:pt x="80" y="6"/>
                </a:cubicBezTo>
                <a:cubicBezTo>
                  <a:pt x="80" y="6"/>
                  <a:pt x="79" y="7"/>
                  <a:pt x="79" y="7"/>
                </a:cubicBezTo>
                <a:cubicBezTo>
                  <a:pt x="78" y="7"/>
                  <a:pt x="77" y="8"/>
                  <a:pt x="77" y="9"/>
                </a:cubicBezTo>
                <a:cubicBezTo>
                  <a:pt x="76" y="9"/>
                  <a:pt x="76" y="9"/>
                  <a:pt x="76" y="10"/>
                </a:cubicBezTo>
                <a:cubicBezTo>
                  <a:pt x="75" y="10"/>
                  <a:pt x="75" y="10"/>
                  <a:pt x="75" y="10"/>
                </a:cubicBezTo>
                <a:cubicBezTo>
                  <a:pt x="75" y="10"/>
                  <a:pt x="74" y="10"/>
                  <a:pt x="74" y="10"/>
                </a:cubicBezTo>
                <a:cubicBezTo>
                  <a:pt x="74" y="10"/>
                  <a:pt x="74" y="10"/>
                  <a:pt x="74" y="9"/>
                </a:cubicBezTo>
                <a:close/>
                <a:moveTo>
                  <a:pt x="81" y="2"/>
                </a:moveTo>
                <a:cubicBezTo>
                  <a:pt x="82" y="2"/>
                  <a:pt x="82" y="2"/>
                  <a:pt x="82" y="1"/>
                </a:cubicBezTo>
                <a:cubicBezTo>
                  <a:pt x="82" y="1"/>
                  <a:pt x="82" y="1"/>
                  <a:pt x="82" y="1"/>
                </a:cubicBezTo>
                <a:cubicBezTo>
                  <a:pt x="82" y="0"/>
                  <a:pt x="81" y="0"/>
                  <a:pt x="81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9" y="1"/>
                  <a:pt x="79" y="1"/>
                  <a:pt x="79" y="1"/>
                </a:cubicBezTo>
                <a:cubicBezTo>
                  <a:pt x="79" y="1"/>
                  <a:pt x="79" y="1"/>
                  <a:pt x="79" y="2"/>
                </a:cubicBezTo>
                <a:cubicBezTo>
                  <a:pt x="79" y="2"/>
                  <a:pt x="79" y="2"/>
                  <a:pt x="79" y="2"/>
                </a:cubicBezTo>
                <a:cubicBezTo>
                  <a:pt x="80" y="2"/>
                  <a:pt x="81" y="3"/>
                  <a:pt x="81" y="2"/>
                </a:cubicBezTo>
                <a:close/>
                <a:moveTo>
                  <a:pt x="206" y="81"/>
                </a:moveTo>
                <a:cubicBezTo>
                  <a:pt x="207" y="81"/>
                  <a:pt x="207" y="81"/>
                  <a:pt x="208" y="81"/>
                </a:cubicBezTo>
                <a:cubicBezTo>
                  <a:pt x="208" y="81"/>
                  <a:pt x="208" y="81"/>
                  <a:pt x="208" y="81"/>
                </a:cubicBezTo>
                <a:cubicBezTo>
                  <a:pt x="209" y="81"/>
                  <a:pt x="209" y="80"/>
                  <a:pt x="209" y="80"/>
                </a:cubicBezTo>
                <a:cubicBezTo>
                  <a:pt x="208" y="79"/>
                  <a:pt x="208" y="79"/>
                  <a:pt x="207" y="78"/>
                </a:cubicBezTo>
                <a:cubicBezTo>
                  <a:pt x="207" y="78"/>
                  <a:pt x="207" y="77"/>
                  <a:pt x="206" y="77"/>
                </a:cubicBezTo>
                <a:cubicBezTo>
                  <a:pt x="205" y="78"/>
                  <a:pt x="205" y="79"/>
                  <a:pt x="206" y="79"/>
                </a:cubicBezTo>
                <a:cubicBezTo>
                  <a:pt x="206" y="80"/>
                  <a:pt x="206" y="81"/>
                  <a:pt x="206" y="81"/>
                </a:cubicBezTo>
                <a:close/>
                <a:moveTo>
                  <a:pt x="205" y="84"/>
                </a:moveTo>
                <a:cubicBezTo>
                  <a:pt x="205" y="85"/>
                  <a:pt x="204" y="85"/>
                  <a:pt x="204" y="86"/>
                </a:cubicBezTo>
                <a:cubicBezTo>
                  <a:pt x="204" y="86"/>
                  <a:pt x="204" y="86"/>
                  <a:pt x="203" y="86"/>
                </a:cubicBezTo>
                <a:cubicBezTo>
                  <a:pt x="203" y="86"/>
                  <a:pt x="202" y="86"/>
                  <a:pt x="202" y="87"/>
                </a:cubicBezTo>
                <a:cubicBezTo>
                  <a:pt x="202" y="88"/>
                  <a:pt x="202" y="88"/>
                  <a:pt x="202" y="89"/>
                </a:cubicBezTo>
                <a:cubicBezTo>
                  <a:pt x="202" y="89"/>
                  <a:pt x="202" y="90"/>
                  <a:pt x="202" y="90"/>
                </a:cubicBezTo>
                <a:cubicBezTo>
                  <a:pt x="202" y="91"/>
                  <a:pt x="202" y="91"/>
                  <a:pt x="202" y="92"/>
                </a:cubicBezTo>
                <a:cubicBezTo>
                  <a:pt x="202" y="92"/>
                  <a:pt x="202" y="93"/>
                  <a:pt x="202" y="93"/>
                </a:cubicBezTo>
                <a:cubicBezTo>
                  <a:pt x="201" y="94"/>
                  <a:pt x="201" y="95"/>
                  <a:pt x="200" y="96"/>
                </a:cubicBezTo>
                <a:cubicBezTo>
                  <a:pt x="200" y="96"/>
                  <a:pt x="199" y="97"/>
                  <a:pt x="199" y="97"/>
                </a:cubicBezTo>
                <a:cubicBezTo>
                  <a:pt x="199" y="97"/>
                  <a:pt x="199" y="98"/>
                  <a:pt x="199" y="98"/>
                </a:cubicBezTo>
                <a:cubicBezTo>
                  <a:pt x="198" y="99"/>
                  <a:pt x="198" y="99"/>
                  <a:pt x="197" y="99"/>
                </a:cubicBezTo>
                <a:cubicBezTo>
                  <a:pt x="197" y="100"/>
                  <a:pt x="197" y="100"/>
                  <a:pt x="197" y="101"/>
                </a:cubicBezTo>
                <a:cubicBezTo>
                  <a:pt x="197" y="101"/>
                  <a:pt x="197" y="102"/>
                  <a:pt x="197" y="102"/>
                </a:cubicBezTo>
                <a:cubicBezTo>
                  <a:pt x="197" y="102"/>
                  <a:pt x="197" y="103"/>
                  <a:pt x="197" y="103"/>
                </a:cubicBezTo>
                <a:cubicBezTo>
                  <a:pt x="197" y="104"/>
                  <a:pt x="196" y="105"/>
                  <a:pt x="196" y="105"/>
                </a:cubicBezTo>
                <a:cubicBezTo>
                  <a:pt x="194" y="106"/>
                  <a:pt x="192" y="108"/>
                  <a:pt x="192" y="110"/>
                </a:cubicBezTo>
                <a:cubicBezTo>
                  <a:pt x="192" y="110"/>
                  <a:pt x="192" y="111"/>
                  <a:pt x="192" y="111"/>
                </a:cubicBezTo>
                <a:cubicBezTo>
                  <a:pt x="191" y="112"/>
                  <a:pt x="191" y="113"/>
                  <a:pt x="191" y="113"/>
                </a:cubicBezTo>
                <a:cubicBezTo>
                  <a:pt x="190" y="114"/>
                  <a:pt x="190" y="115"/>
                  <a:pt x="190" y="115"/>
                </a:cubicBezTo>
                <a:cubicBezTo>
                  <a:pt x="189" y="116"/>
                  <a:pt x="189" y="116"/>
                  <a:pt x="189" y="117"/>
                </a:cubicBezTo>
                <a:cubicBezTo>
                  <a:pt x="189" y="118"/>
                  <a:pt x="189" y="118"/>
                  <a:pt x="188" y="119"/>
                </a:cubicBezTo>
                <a:cubicBezTo>
                  <a:pt x="188" y="120"/>
                  <a:pt x="188" y="120"/>
                  <a:pt x="188" y="121"/>
                </a:cubicBezTo>
                <a:cubicBezTo>
                  <a:pt x="187" y="122"/>
                  <a:pt x="187" y="123"/>
                  <a:pt x="187" y="124"/>
                </a:cubicBezTo>
                <a:cubicBezTo>
                  <a:pt x="187" y="124"/>
                  <a:pt x="186" y="124"/>
                  <a:pt x="186" y="125"/>
                </a:cubicBezTo>
                <a:cubicBezTo>
                  <a:pt x="186" y="125"/>
                  <a:pt x="186" y="126"/>
                  <a:pt x="186" y="126"/>
                </a:cubicBezTo>
                <a:cubicBezTo>
                  <a:pt x="186" y="127"/>
                  <a:pt x="186" y="128"/>
                  <a:pt x="186" y="128"/>
                </a:cubicBezTo>
                <a:cubicBezTo>
                  <a:pt x="186" y="129"/>
                  <a:pt x="185" y="129"/>
                  <a:pt x="185" y="129"/>
                </a:cubicBezTo>
                <a:cubicBezTo>
                  <a:pt x="185" y="130"/>
                  <a:pt x="185" y="130"/>
                  <a:pt x="185" y="131"/>
                </a:cubicBezTo>
                <a:cubicBezTo>
                  <a:pt x="185" y="131"/>
                  <a:pt x="186" y="132"/>
                  <a:pt x="186" y="133"/>
                </a:cubicBezTo>
                <a:cubicBezTo>
                  <a:pt x="186" y="133"/>
                  <a:pt x="186" y="134"/>
                  <a:pt x="186" y="134"/>
                </a:cubicBezTo>
                <a:cubicBezTo>
                  <a:pt x="186" y="135"/>
                  <a:pt x="187" y="135"/>
                  <a:pt x="187" y="135"/>
                </a:cubicBezTo>
                <a:cubicBezTo>
                  <a:pt x="187" y="136"/>
                  <a:pt x="186" y="136"/>
                  <a:pt x="186" y="136"/>
                </a:cubicBezTo>
                <a:cubicBezTo>
                  <a:pt x="186" y="136"/>
                  <a:pt x="186" y="136"/>
                  <a:pt x="185" y="137"/>
                </a:cubicBezTo>
                <a:cubicBezTo>
                  <a:pt x="185" y="137"/>
                  <a:pt x="185" y="137"/>
                  <a:pt x="184" y="138"/>
                </a:cubicBezTo>
                <a:cubicBezTo>
                  <a:pt x="184" y="138"/>
                  <a:pt x="183" y="139"/>
                  <a:pt x="183" y="140"/>
                </a:cubicBezTo>
                <a:cubicBezTo>
                  <a:pt x="182" y="141"/>
                  <a:pt x="182" y="142"/>
                  <a:pt x="182" y="143"/>
                </a:cubicBezTo>
                <a:cubicBezTo>
                  <a:pt x="182" y="143"/>
                  <a:pt x="181" y="144"/>
                  <a:pt x="181" y="144"/>
                </a:cubicBezTo>
                <a:cubicBezTo>
                  <a:pt x="181" y="145"/>
                  <a:pt x="181" y="145"/>
                  <a:pt x="181" y="146"/>
                </a:cubicBezTo>
                <a:cubicBezTo>
                  <a:pt x="180" y="146"/>
                  <a:pt x="180" y="146"/>
                  <a:pt x="180" y="147"/>
                </a:cubicBezTo>
                <a:cubicBezTo>
                  <a:pt x="180" y="147"/>
                  <a:pt x="180" y="147"/>
                  <a:pt x="180" y="147"/>
                </a:cubicBezTo>
                <a:cubicBezTo>
                  <a:pt x="180" y="148"/>
                  <a:pt x="180" y="149"/>
                  <a:pt x="179" y="149"/>
                </a:cubicBezTo>
                <a:cubicBezTo>
                  <a:pt x="179" y="150"/>
                  <a:pt x="179" y="151"/>
                  <a:pt x="179" y="152"/>
                </a:cubicBezTo>
                <a:cubicBezTo>
                  <a:pt x="179" y="153"/>
                  <a:pt x="179" y="153"/>
                  <a:pt x="179" y="154"/>
                </a:cubicBezTo>
                <a:cubicBezTo>
                  <a:pt x="179" y="154"/>
                  <a:pt x="179" y="154"/>
                  <a:pt x="179" y="155"/>
                </a:cubicBezTo>
                <a:cubicBezTo>
                  <a:pt x="179" y="155"/>
                  <a:pt x="179" y="155"/>
                  <a:pt x="179" y="156"/>
                </a:cubicBezTo>
                <a:cubicBezTo>
                  <a:pt x="179" y="157"/>
                  <a:pt x="179" y="157"/>
                  <a:pt x="179" y="158"/>
                </a:cubicBezTo>
                <a:cubicBezTo>
                  <a:pt x="179" y="159"/>
                  <a:pt x="179" y="160"/>
                  <a:pt x="179" y="161"/>
                </a:cubicBezTo>
                <a:cubicBezTo>
                  <a:pt x="179" y="162"/>
                  <a:pt x="179" y="162"/>
                  <a:pt x="179" y="162"/>
                </a:cubicBezTo>
                <a:cubicBezTo>
                  <a:pt x="179" y="163"/>
                  <a:pt x="179" y="163"/>
                  <a:pt x="179" y="164"/>
                </a:cubicBezTo>
                <a:cubicBezTo>
                  <a:pt x="178" y="164"/>
                  <a:pt x="178" y="165"/>
                  <a:pt x="178" y="165"/>
                </a:cubicBezTo>
                <a:cubicBezTo>
                  <a:pt x="178" y="166"/>
                  <a:pt x="177" y="166"/>
                  <a:pt x="177" y="167"/>
                </a:cubicBezTo>
                <a:cubicBezTo>
                  <a:pt x="177" y="168"/>
                  <a:pt x="177" y="168"/>
                  <a:pt x="177" y="169"/>
                </a:cubicBezTo>
                <a:cubicBezTo>
                  <a:pt x="176" y="170"/>
                  <a:pt x="176" y="171"/>
                  <a:pt x="176" y="171"/>
                </a:cubicBezTo>
                <a:cubicBezTo>
                  <a:pt x="175" y="172"/>
                  <a:pt x="175" y="173"/>
                  <a:pt x="175" y="174"/>
                </a:cubicBezTo>
                <a:cubicBezTo>
                  <a:pt x="174" y="174"/>
                  <a:pt x="174" y="175"/>
                  <a:pt x="174" y="176"/>
                </a:cubicBezTo>
                <a:cubicBezTo>
                  <a:pt x="174" y="176"/>
                  <a:pt x="174" y="176"/>
                  <a:pt x="174" y="177"/>
                </a:cubicBezTo>
                <a:cubicBezTo>
                  <a:pt x="173" y="178"/>
                  <a:pt x="174" y="178"/>
                  <a:pt x="173" y="179"/>
                </a:cubicBezTo>
                <a:cubicBezTo>
                  <a:pt x="173" y="179"/>
                  <a:pt x="173" y="180"/>
                  <a:pt x="173" y="180"/>
                </a:cubicBezTo>
                <a:cubicBezTo>
                  <a:pt x="173" y="181"/>
                  <a:pt x="173" y="181"/>
                  <a:pt x="173" y="181"/>
                </a:cubicBezTo>
                <a:cubicBezTo>
                  <a:pt x="173" y="182"/>
                  <a:pt x="173" y="183"/>
                  <a:pt x="173" y="184"/>
                </a:cubicBezTo>
                <a:cubicBezTo>
                  <a:pt x="173" y="185"/>
                  <a:pt x="173" y="186"/>
                  <a:pt x="174" y="187"/>
                </a:cubicBezTo>
                <a:cubicBezTo>
                  <a:pt x="174" y="188"/>
                  <a:pt x="174" y="189"/>
                  <a:pt x="174" y="190"/>
                </a:cubicBezTo>
                <a:cubicBezTo>
                  <a:pt x="174" y="190"/>
                  <a:pt x="174" y="191"/>
                  <a:pt x="173" y="192"/>
                </a:cubicBezTo>
                <a:cubicBezTo>
                  <a:pt x="173" y="192"/>
                  <a:pt x="173" y="192"/>
                  <a:pt x="173" y="193"/>
                </a:cubicBezTo>
                <a:cubicBezTo>
                  <a:pt x="174" y="193"/>
                  <a:pt x="174" y="194"/>
                  <a:pt x="174" y="194"/>
                </a:cubicBezTo>
                <a:cubicBezTo>
                  <a:pt x="174" y="195"/>
                  <a:pt x="175" y="195"/>
                  <a:pt x="175" y="196"/>
                </a:cubicBezTo>
                <a:cubicBezTo>
                  <a:pt x="175" y="197"/>
                  <a:pt x="175" y="197"/>
                  <a:pt x="175" y="198"/>
                </a:cubicBezTo>
                <a:cubicBezTo>
                  <a:pt x="175" y="199"/>
                  <a:pt x="175" y="200"/>
                  <a:pt x="175" y="201"/>
                </a:cubicBezTo>
                <a:cubicBezTo>
                  <a:pt x="175" y="201"/>
                  <a:pt x="176" y="201"/>
                  <a:pt x="176" y="202"/>
                </a:cubicBezTo>
                <a:cubicBezTo>
                  <a:pt x="176" y="202"/>
                  <a:pt x="176" y="203"/>
                  <a:pt x="176" y="203"/>
                </a:cubicBezTo>
                <a:cubicBezTo>
                  <a:pt x="176" y="203"/>
                  <a:pt x="176" y="203"/>
                  <a:pt x="177" y="204"/>
                </a:cubicBezTo>
                <a:cubicBezTo>
                  <a:pt x="177" y="204"/>
                  <a:pt x="177" y="204"/>
                  <a:pt x="177" y="204"/>
                </a:cubicBezTo>
                <a:cubicBezTo>
                  <a:pt x="177" y="205"/>
                  <a:pt x="177" y="205"/>
                  <a:pt x="177" y="205"/>
                </a:cubicBezTo>
                <a:cubicBezTo>
                  <a:pt x="177" y="206"/>
                  <a:pt x="177" y="206"/>
                  <a:pt x="177" y="207"/>
                </a:cubicBezTo>
                <a:cubicBezTo>
                  <a:pt x="177" y="207"/>
                  <a:pt x="177" y="208"/>
                  <a:pt x="177" y="208"/>
                </a:cubicBezTo>
                <a:cubicBezTo>
                  <a:pt x="177" y="208"/>
                  <a:pt x="176" y="209"/>
                  <a:pt x="176" y="209"/>
                </a:cubicBezTo>
                <a:cubicBezTo>
                  <a:pt x="176" y="210"/>
                  <a:pt x="176" y="211"/>
                  <a:pt x="176" y="212"/>
                </a:cubicBezTo>
                <a:cubicBezTo>
                  <a:pt x="176" y="213"/>
                  <a:pt x="176" y="214"/>
                  <a:pt x="176" y="215"/>
                </a:cubicBezTo>
                <a:cubicBezTo>
                  <a:pt x="176" y="215"/>
                  <a:pt x="176" y="216"/>
                  <a:pt x="176" y="216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78" y="216"/>
                  <a:pt x="78" y="216"/>
                  <a:pt x="78" y="216"/>
                </a:cubicBezTo>
                <a:cubicBezTo>
                  <a:pt x="77" y="215"/>
                  <a:pt x="77" y="214"/>
                  <a:pt x="77" y="213"/>
                </a:cubicBezTo>
                <a:cubicBezTo>
                  <a:pt x="76" y="213"/>
                  <a:pt x="76" y="212"/>
                  <a:pt x="76" y="211"/>
                </a:cubicBezTo>
                <a:cubicBezTo>
                  <a:pt x="75" y="211"/>
                  <a:pt x="75" y="210"/>
                  <a:pt x="74" y="210"/>
                </a:cubicBezTo>
                <a:cubicBezTo>
                  <a:pt x="73" y="209"/>
                  <a:pt x="72" y="209"/>
                  <a:pt x="71" y="209"/>
                </a:cubicBezTo>
                <a:cubicBezTo>
                  <a:pt x="70" y="209"/>
                  <a:pt x="70" y="209"/>
                  <a:pt x="69" y="208"/>
                </a:cubicBezTo>
                <a:cubicBezTo>
                  <a:pt x="69" y="208"/>
                  <a:pt x="68" y="208"/>
                  <a:pt x="67" y="208"/>
                </a:cubicBezTo>
                <a:cubicBezTo>
                  <a:pt x="66" y="208"/>
                  <a:pt x="66" y="207"/>
                  <a:pt x="65" y="207"/>
                </a:cubicBezTo>
                <a:cubicBezTo>
                  <a:pt x="63" y="205"/>
                  <a:pt x="63" y="203"/>
                  <a:pt x="63" y="201"/>
                </a:cubicBezTo>
                <a:cubicBezTo>
                  <a:pt x="63" y="200"/>
                  <a:pt x="63" y="199"/>
                  <a:pt x="62" y="199"/>
                </a:cubicBezTo>
                <a:cubicBezTo>
                  <a:pt x="62" y="198"/>
                  <a:pt x="61" y="197"/>
                  <a:pt x="61" y="197"/>
                </a:cubicBezTo>
                <a:cubicBezTo>
                  <a:pt x="61" y="196"/>
                  <a:pt x="60" y="196"/>
                  <a:pt x="60" y="195"/>
                </a:cubicBezTo>
                <a:cubicBezTo>
                  <a:pt x="60" y="194"/>
                  <a:pt x="60" y="194"/>
                  <a:pt x="60" y="193"/>
                </a:cubicBezTo>
                <a:cubicBezTo>
                  <a:pt x="59" y="192"/>
                  <a:pt x="60" y="190"/>
                  <a:pt x="60" y="189"/>
                </a:cubicBezTo>
                <a:cubicBezTo>
                  <a:pt x="60" y="188"/>
                  <a:pt x="59" y="187"/>
                  <a:pt x="60" y="186"/>
                </a:cubicBezTo>
                <a:cubicBezTo>
                  <a:pt x="60" y="185"/>
                  <a:pt x="61" y="184"/>
                  <a:pt x="61" y="184"/>
                </a:cubicBezTo>
                <a:cubicBezTo>
                  <a:pt x="62" y="183"/>
                  <a:pt x="63" y="182"/>
                  <a:pt x="63" y="182"/>
                </a:cubicBezTo>
                <a:cubicBezTo>
                  <a:pt x="64" y="179"/>
                  <a:pt x="61" y="178"/>
                  <a:pt x="59" y="177"/>
                </a:cubicBezTo>
                <a:cubicBezTo>
                  <a:pt x="59" y="177"/>
                  <a:pt x="58" y="176"/>
                  <a:pt x="58" y="176"/>
                </a:cubicBezTo>
                <a:cubicBezTo>
                  <a:pt x="58" y="175"/>
                  <a:pt x="58" y="175"/>
                  <a:pt x="58" y="174"/>
                </a:cubicBezTo>
                <a:cubicBezTo>
                  <a:pt x="58" y="173"/>
                  <a:pt x="58" y="173"/>
                  <a:pt x="58" y="172"/>
                </a:cubicBezTo>
                <a:cubicBezTo>
                  <a:pt x="58" y="169"/>
                  <a:pt x="58" y="169"/>
                  <a:pt x="58" y="169"/>
                </a:cubicBezTo>
                <a:cubicBezTo>
                  <a:pt x="58" y="169"/>
                  <a:pt x="57" y="166"/>
                  <a:pt x="57" y="165"/>
                </a:cubicBezTo>
                <a:cubicBezTo>
                  <a:pt x="57" y="165"/>
                  <a:pt x="56" y="163"/>
                  <a:pt x="56" y="162"/>
                </a:cubicBezTo>
                <a:cubicBezTo>
                  <a:pt x="56" y="161"/>
                  <a:pt x="57" y="159"/>
                  <a:pt x="57" y="158"/>
                </a:cubicBezTo>
                <a:cubicBezTo>
                  <a:pt x="57" y="157"/>
                  <a:pt x="56" y="154"/>
                  <a:pt x="56" y="153"/>
                </a:cubicBezTo>
                <a:cubicBezTo>
                  <a:pt x="55" y="153"/>
                  <a:pt x="53" y="149"/>
                  <a:pt x="52" y="149"/>
                </a:cubicBezTo>
                <a:cubicBezTo>
                  <a:pt x="52" y="148"/>
                  <a:pt x="52" y="147"/>
                  <a:pt x="51" y="146"/>
                </a:cubicBezTo>
                <a:cubicBezTo>
                  <a:pt x="50" y="146"/>
                  <a:pt x="47" y="145"/>
                  <a:pt x="46" y="145"/>
                </a:cubicBezTo>
                <a:cubicBezTo>
                  <a:pt x="45" y="144"/>
                  <a:pt x="45" y="143"/>
                  <a:pt x="44" y="142"/>
                </a:cubicBezTo>
                <a:cubicBezTo>
                  <a:pt x="43" y="142"/>
                  <a:pt x="40" y="139"/>
                  <a:pt x="39" y="138"/>
                </a:cubicBezTo>
                <a:cubicBezTo>
                  <a:pt x="38" y="138"/>
                  <a:pt x="37" y="137"/>
                  <a:pt x="36" y="136"/>
                </a:cubicBezTo>
                <a:cubicBezTo>
                  <a:pt x="35" y="136"/>
                  <a:pt x="35" y="136"/>
                  <a:pt x="35" y="134"/>
                </a:cubicBezTo>
                <a:cubicBezTo>
                  <a:pt x="35" y="133"/>
                  <a:pt x="33" y="128"/>
                  <a:pt x="32" y="127"/>
                </a:cubicBezTo>
                <a:cubicBezTo>
                  <a:pt x="30" y="126"/>
                  <a:pt x="29" y="127"/>
                  <a:pt x="28" y="126"/>
                </a:cubicBezTo>
                <a:cubicBezTo>
                  <a:pt x="27" y="125"/>
                  <a:pt x="24" y="124"/>
                  <a:pt x="23" y="124"/>
                </a:cubicBezTo>
                <a:cubicBezTo>
                  <a:pt x="22" y="123"/>
                  <a:pt x="21" y="121"/>
                  <a:pt x="20" y="120"/>
                </a:cubicBezTo>
                <a:cubicBezTo>
                  <a:pt x="20" y="120"/>
                  <a:pt x="20" y="119"/>
                  <a:pt x="18" y="118"/>
                </a:cubicBezTo>
                <a:cubicBezTo>
                  <a:pt x="17" y="118"/>
                  <a:pt x="15" y="118"/>
                  <a:pt x="13" y="118"/>
                </a:cubicBezTo>
                <a:cubicBezTo>
                  <a:pt x="12" y="118"/>
                  <a:pt x="11" y="118"/>
                  <a:pt x="11" y="117"/>
                </a:cubicBezTo>
                <a:cubicBezTo>
                  <a:pt x="11" y="116"/>
                  <a:pt x="9" y="114"/>
                  <a:pt x="8" y="113"/>
                </a:cubicBezTo>
                <a:cubicBezTo>
                  <a:pt x="7" y="112"/>
                  <a:pt x="4" y="110"/>
                  <a:pt x="4" y="110"/>
                </a:cubicBezTo>
                <a:cubicBezTo>
                  <a:pt x="3" y="109"/>
                  <a:pt x="4" y="106"/>
                  <a:pt x="4" y="105"/>
                </a:cubicBezTo>
                <a:cubicBezTo>
                  <a:pt x="4" y="105"/>
                  <a:pt x="5" y="101"/>
                  <a:pt x="5" y="100"/>
                </a:cubicBezTo>
                <a:cubicBezTo>
                  <a:pt x="5" y="99"/>
                  <a:pt x="5" y="97"/>
                  <a:pt x="5" y="96"/>
                </a:cubicBezTo>
                <a:cubicBezTo>
                  <a:pt x="4" y="95"/>
                  <a:pt x="4" y="95"/>
                  <a:pt x="4" y="94"/>
                </a:cubicBezTo>
                <a:cubicBezTo>
                  <a:pt x="4" y="94"/>
                  <a:pt x="4" y="93"/>
                  <a:pt x="4" y="92"/>
                </a:cubicBezTo>
                <a:cubicBezTo>
                  <a:pt x="5" y="92"/>
                  <a:pt x="5" y="91"/>
                  <a:pt x="5" y="90"/>
                </a:cubicBezTo>
                <a:cubicBezTo>
                  <a:pt x="5" y="89"/>
                  <a:pt x="5" y="88"/>
                  <a:pt x="5" y="87"/>
                </a:cubicBezTo>
                <a:cubicBezTo>
                  <a:pt x="5" y="86"/>
                  <a:pt x="4" y="84"/>
                  <a:pt x="5" y="83"/>
                </a:cubicBezTo>
                <a:cubicBezTo>
                  <a:pt x="5" y="82"/>
                  <a:pt x="7" y="80"/>
                  <a:pt x="7" y="79"/>
                </a:cubicBezTo>
                <a:cubicBezTo>
                  <a:pt x="8" y="78"/>
                  <a:pt x="9" y="78"/>
                  <a:pt x="9" y="77"/>
                </a:cubicBezTo>
                <a:cubicBezTo>
                  <a:pt x="9" y="76"/>
                  <a:pt x="7" y="73"/>
                  <a:pt x="6" y="72"/>
                </a:cubicBezTo>
                <a:cubicBezTo>
                  <a:pt x="6" y="71"/>
                  <a:pt x="6" y="70"/>
                  <a:pt x="5" y="69"/>
                </a:cubicBezTo>
                <a:cubicBezTo>
                  <a:pt x="4" y="69"/>
                  <a:pt x="1" y="69"/>
                  <a:pt x="1" y="69"/>
                </a:cubicBezTo>
                <a:cubicBezTo>
                  <a:pt x="0" y="68"/>
                  <a:pt x="0" y="67"/>
                  <a:pt x="0" y="66"/>
                </a:cubicBezTo>
                <a:cubicBezTo>
                  <a:pt x="1" y="65"/>
                  <a:pt x="0" y="63"/>
                  <a:pt x="1" y="62"/>
                </a:cubicBezTo>
                <a:cubicBezTo>
                  <a:pt x="1" y="62"/>
                  <a:pt x="3" y="61"/>
                  <a:pt x="4" y="60"/>
                </a:cubicBezTo>
                <a:cubicBezTo>
                  <a:pt x="4" y="59"/>
                  <a:pt x="5" y="57"/>
                  <a:pt x="5" y="56"/>
                </a:cubicBezTo>
                <a:cubicBezTo>
                  <a:pt x="6" y="55"/>
                  <a:pt x="6" y="54"/>
                  <a:pt x="7" y="53"/>
                </a:cubicBezTo>
                <a:cubicBezTo>
                  <a:pt x="8" y="52"/>
                  <a:pt x="10" y="51"/>
                  <a:pt x="11" y="51"/>
                </a:cubicBezTo>
                <a:cubicBezTo>
                  <a:pt x="12" y="50"/>
                  <a:pt x="12" y="49"/>
                  <a:pt x="13" y="49"/>
                </a:cubicBezTo>
                <a:cubicBezTo>
                  <a:pt x="13" y="48"/>
                  <a:pt x="14" y="49"/>
                  <a:pt x="15" y="49"/>
                </a:cubicBezTo>
                <a:cubicBezTo>
                  <a:pt x="15" y="49"/>
                  <a:pt x="16" y="47"/>
                  <a:pt x="17" y="47"/>
                </a:cubicBezTo>
                <a:cubicBezTo>
                  <a:pt x="17" y="46"/>
                  <a:pt x="19" y="47"/>
                  <a:pt x="19" y="47"/>
                </a:cubicBezTo>
                <a:cubicBezTo>
                  <a:pt x="19" y="46"/>
                  <a:pt x="20" y="45"/>
                  <a:pt x="20" y="45"/>
                </a:cubicBezTo>
                <a:cubicBezTo>
                  <a:pt x="20" y="44"/>
                  <a:pt x="21" y="43"/>
                  <a:pt x="21" y="43"/>
                </a:cubicBezTo>
                <a:cubicBezTo>
                  <a:pt x="21" y="43"/>
                  <a:pt x="21" y="14"/>
                  <a:pt x="21" y="14"/>
                </a:cubicBezTo>
                <a:cubicBezTo>
                  <a:pt x="21" y="14"/>
                  <a:pt x="24" y="15"/>
                  <a:pt x="24" y="15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7" y="12"/>
                  <a:pt x="27" y="12"/>
                </a:cubicBezTo>
                <a:cubicBezTo>
                  <a:pt x="27" y="12"/>
                  <a:pt x="28" y="11"/>
                  <a:pt x="29" y="11"/>
                </a:cubicBezTo>
                <a:cubicBezTo>
                  <a:pt x="30" y="11"/>
                  <a:pt x="31" y="13"/>
                  <a:pt x="31" y="13"/>
                </a:cubicBezTo>
                <a:cubicBezTo>
                  <a:pt x="31" y="13"/>
                  <a:pt x="31" y="14"/>
                  <a:pt x="31" y="14"/>
                </a:cubicBezTo>
                <a:cubicBezTo>
                  <a:pt x="31" y="14"/>
                  <a:pt x="34" y="14"/>
                  <a:pt x="35" y="14"/>
                </a:cubicBezTo>
                <a:cubicBezTo>
                  <a:pt x="35" y="14"/>
                  <a:pt x="37" y="14"/>
                  <a:pt x="37" y="14"/>
                </a:cubicBezTo>
                <a:cubicBezTo>
                  <a:pt x="38" y="13"/>
                  <a:pt x="40" y="12"/>
                  <a:pt x="41" y="12"/>
                </a:cubicBezTo>
                <a:cubicBezTo>
                  <a:pt x="41" y="12"/>
                  <a:pt x="43" y="11"/>
                  <a:pt x="44" y="11"/>
                </a:cubicBezTo>
                <a:cubicBezTo>
                  <a:pt x="45" y="11"/>
                  <a:pt x="46" y="11"/>
                  <a:pt x="47" y="10"/>
                </a:cubicBezTo>
                <a:cubicBezTo>
                  <a:pt x="48" y="10"/>
                  <a:pt x="51" y="9"/>
                  <a:pt x="52" y="9"/>
                </a:cubicBezTo>
                <a:cubicBezTo>
                  <a:pt x="53" y="9"/>
                  <a:pt x="56" y="7"/>
                  <a:pt x="57" y="6"/>
                </a:cubicBezTo>
                <a:cubicBezTo>
                  <a:pt x="58" y="5"/>
                  <a:pt x="59" y="5"/>
                  <a:pt x="59" y="4"/>
                </a:cubicBezTo>
                <a:cubicBezTo>
                  <a:pt x="60" y="4"/>
                  <a:pt x="60" y="4"/>
                  <a:pt x="61" y="4"/>
                </a:cubicBezTo>
                <a:cubicBezTo>
                  <a:pt x="61" y="4"/>
                  <a:pt x="62" y="4"/>
                  <a:pt x="64" y="4"/>
                </a:cubicBezTo>
                <a:cubicBezTo>
                  <a:pt x="65" y="3"/>
                  <a:pt x="67" y="2"/>
                  <a:pt x="68" y="1"/>
                </a:cubicBezTo>
                <a:cubicBezTo>
                  <a:pt x="69" y="1"/>
                  <a:pt x="70" y="1"/>
                  <a:pt x="71" y="0"/>
                </a:cubicBezTo>
                <a:cubicBezTo>
                  <a:pt x="71" y="0"/>
                  <a:pt x="72" y="0"/>
                  <a:pt x="72" y="0"/>
                </a:cubicBezTo>
                <a:cubicBezTo>
                  <a:pt x="72" y="1"/>
                  <a:pt x="72" y="2"/>
                  <a:pt x="73" y="2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4"/>
                  <a:pt x="74" y="5"/>
                  <a:pt x="73" y="6"/>
                </a:cubicBezTo>
                <a:cubicBezTo>
                  <a:pt x="73" y="7"/>
                  <a:pt x="72" y="8"/>
                  <a:pt x="71" y="8"/>
                </a:cubicBezTo>
                <a:cubicBezTo>
                  <a:pt x="71" y="9"/>
                  <a:pt x="70" y="9"/>
                  <a:pt x="70" y="10"/>
                </a:cubicBezTo>
                <a:cubicBezTo>
                  <a:pt x="70" y="11"/>
                  <a:pt x="70" y="13"/>
                  <a:pt x="70" y="14"/>
                </a:cubicBezTo>
                <a:cubicBezTo>
                  <a:pt x="70" y="14"/>
                  <a:pt x="70" y="14"/>
                  <a:pt x="70" y="14"/>
                </a:cubicBezTo>
                <a:cubicBezTo>
                  <a:pt x="70" y="15"/>
                  <a:pt x="69" y="15"/>
                  <a:pt x="69" y="15"/>
                </a:cubicBezTo>
                <a:cubicBezTo>
                  <a:pt x="69" y="15"/>
                  <a:pt x="69" y="16"/>
                  <a:pt x="69" y="16"/>
                </a:cubicBezTo>
                <a:cubicBezTo>
                  <a:pt x="69" y="17"/>
                  <a:pt x="69" y="17"/>
                  <a:pt x="68" y="17"/>
                </a:cubicBezTo>
                <a:cubicBezTo>
                  <a:pt x="68" y="18"/>
                  <a:pt x="68" y="18"/>
                  <a:pt x="68" y="19"/>
                </a:cubicBezTo>
                <a:cubicBezTo>
                  <a:pt x="69" y="19"/>
                  <a:pt x="70" y="18"/>
                  <a:pt x="71" y="18"/>
                </a:cubicBezTo>
                <a:cubicBezTo>
                  <a:pt x="72" y="17"/>
                  <a:pt x="74" y="16"/>
                  <a:pt x="74" y="16"/>
                </a:cubicBezTo>
                <a:cubicBezTo>
                  <a:pt x="75" y="16"/>
                  <a:pt x="76" y="15"/>
                  <a:pt x="76" y="15"/>
                </a:cubicBezTo>
                <a:cubicBezTo>
                  <a:pt x="76" y="15"/>
                  <a:pt x="77" y="15"/>
                  <a:pt x="77" y="16"/>
                </a:cubicBezTo>
                <a:cubicBezTo>
                  <a:pt x="78" y="16"/>
                  <a:pt x="79" y="17"/>
                  <a:pt x="80" y="18"/>
                </a:cubicBezTo>
                <a:cubicBezTo>
                  <a:pt x="81" y="18"/>
                  <a:pt x="82" y="18"/>
                  <a:pt x="83" y="19"/>
                </a:cubicBezTo>
                <a:cubicBezTo>
                  <a:pt x="83" y="19"/>
                  <a:pt x="84" y="20"/>
                  <a:pt x="85" y="20"/>
                </a:cubicBezTo>
                <a:cubicBezTo>
                  <a:pt x="85" y="20"/>
                  <a:pt x="86" y="19"/>
                  <a:pt x="86" y="19"/>
                </a:cubicBezTo>
                <a:cubicBezTo>
                  <a:pt x="86" y="21"/>
                  <a:pt x="86" y="21"/>
                  <a:pt x="86" y="21"/>
                </a:cubicBezTo>
                <a:cubicBezTo>
                  <a:pt x="89" y="21"/>
                  <a:pt x="89" y="21"/>
                  <a:pt x="89" y="21"/>
                </a:cubicBezTo>
                <a:cubicBezTo>
                  <a:pt x="89" y="21"/>
                  <a:pt x="89" y="22"/>
                  <a:pt x="89" y="22"/>
                </a:cubicBezTo>
                <a:cubicBezTo>
                  <a:pt x="89" y="22"/>
                  <a:pt x="93" y="23"/>
                  <a:pt x="93" y="23"/>
                </a:cubicBezTo>
                <a:cubicBezTo>
                  <a:pt x="96" y="30"/>
                  <a:pt x="96" y="30"/>
                  <a:pt x="96" y="30"/>
                </a:cubicBezTo>
                <a:cubicBezTo>
                  <a:pt x="128" y="40"/>
                  <a:pt x="128" y="40"/>
                  <a:pt x="128" y="40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141" y="47"/>
                  <a:pt x="141" y="47"/>
                  <a:pt x="141" y="47"/>
                </a:cubicBezTo>
                <a:cubicBezTo>
                  <a:pt x="144" y="47"/>
                  <a:pt x="144" y="47"/>
                  <a:pt x="144" y="47"/>
                </a:cubicBezTo>
                <a:cubicBezTo>
                  <a:pt x="147" y="48"/>
                  <a:pt x="147" y="48"/>
                  <a:pt x="147" y="48"/>
                </a:cubicBezTo>
                <a:cubicBezTo>
                  <a:pt x="147" y="48"/>
                  <a:pt x="148" y="47"/>
                  <a:pt x="148" y="47"/>
                </a:cubicBezTo>
                <a:cubicBezTo>
                  <a:pt x="149" y="47"/>
                  <a:pt x="151" y="47"/>
                  <a:pt x="151" y="47"/>
                </a:cubicBezTo>
                <a:cubicBezTo>
                  <a:pt x="151" y="47"/>
                  <a:pt x="153" y="48"/>
                  <a:pt x="153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48"/>
                  <a:pt x="155" y="49"/>
                  <a:pt x="155" y="49"/>
                </a:cubicBezTo>
                <a:cubicBezTo>
                  <a:pt x="155" y="49"/>
                  <a:pt x="156" y="48"/>
                  <a:pt x="156" y="49"/>
                </a:cubicBezTo>
                <a:cubicBezTo>
                  <a:pt x="156" y="49"/>
                  <a:pt x="158" y="50"/>
                  <a:pt x="158" y="50"/>
                </a:cubicBezTo>
                <a:cubicBezTo>
                  <a:pt x="158" y="50"/>
                  <a:pt x="161" y="50"/>
                  <a:pt x="162" y="50"/>
                </a:cubicBezTo>
                <a:cubicBezTo>
                  <a:pt x="163" y="50"/>
                  <a:pt x="164" y="51"/>
                  <a:pt x="165" y="51"/>
                </a:cubicBezTo>
                <a:cubicBezTo>
                  <a:pt x="165" y="51"/>
                  <a:pt x="166" y="52"/>
                  <a:pt x="166" y="52"/>
                </a:cubicBezTo>
                <a:cubicBezTo>
                  <a:pt x="166" y="53"/>
                  <a:pt x="166" y="54"/>
                  <a:pt x="166" y="55"/>
                </a:cubicBezTo>
                <a:cubicBezTo>
                  <a:pt x="166" y="55"/>
                  <a:pt x="165" y="56"/>
                  <a:pt x="165" y="56"/>
                </a:cubicBezTo>
                <a:cubicBezTo>
                  <a:pt x="165" y="56"/>
                  <a:pt x="165" y="57"/>
                  <a:pt x="165" y="57"/>
                </a:cubicBezTo>
                <a:cubicBezTo>
                  <a:pt x="165" y="58"/>
                  <a:pt x="166" y="58"/>
                  <a:pt x="167" y="58"/>
                </a:cubicBezTo>
                <a:cubicBezTo>
                  <a:pt x="167" y="59"/>
                  <a:pt x="169" y="58"/>
                  <a:pt x="169" y="58"/>
                </a:cubicBezTo>
                <a:cubicBezTo>
                  <a:pt x="170" y="58"/>
                  <a:pt x="170" y="58"/>
                  <a:pt x="170" y="59"/>
                </a:cubicBezTo>
                <a:cubicBezTo>
                  <a:pt x="170" y="59"/>
                  <a:pt x="171" y="60"/>
                  <a:pt x="171" y="60"/>
                </a:cubicBezTo>
                <a:cubicBezTo>
                  <a:pt x="171" y="60"/>
                  <a:pt x="174" y="60"/>
                  <a:pt x="174" y="60"/>
                </a:cubicBezTo>
                <a:cubicBezTo>
                  <a:pt x="174" y="60"/>
                  <a:pt x="177" y="63"/>
                  <a:pt x="177" y="63"/>
                </a:cubicBezTo>
                <a:cubicBezTo>
                  <a:pt x="177" y="64"/>
                  <a:pt x="176" y="64"/>
                  <a:pt x="176" y="65"/>
                </a:cubicBezTo>
                <a:cubicBezTo>
                  <a:pt x="176" y="65"/>
                  <a:pt x="175" y="66"/>
                  <a:pt x="176" y="66"/>
                </a:cubicBezTo>
                <a:cubicBezTo>
                  <a:pt x="176" y="66"/>
                  <a:pt x="176" y="67"/>
                  <a:pt x="176" y="68"/>
                </a:cubicBezTo>
                <a:cubicBezTo>
                  <a:pt x="177" y="68"/>
                  <a:pt x="177" y="69"/>
                  <a:pt x="177" y="69"/>
                </a:cubicBezTo>
                <a:cubicBezTo>
                  <a:pt x="176" y="69"/>
                  <a:pt x="175" y="70"/>
                  <a:pt x="175" y="70"/>
                </a:cubicBezTo>
                <a:cubicBezTo>
                  <a:pt x="175" y="70"/>
                  <a:pt x="175" y="70"/>
                  <a:pt x="175" y="71"/>
                </a:cubicBezTo>
                <a:cubicBezTo>
                  <a:pt x="175" y="71"/>
                  <a:pt x="176" y="72"/>
                  <a:pt x="176" y="72"/>
                </a:cubicBezTo>
                <a:cubicBezTo>
                  <a:pt x="176" y="72"/>
                  <a:pt x="175" y="74"/>
                  <a:pt x="175" y="74"/>
                </a:cubicBezTo>
                <a:cubicBezTo>
                  <a:pt x="175" y="74"/>
                  <a:pt x="174" y="76"/>
                  <a:pt x="174" y="76"/>
                </a:cubicBezTo>
                <a:cubicBezTo>
                  <a:pt x="174" y="77"/>
                  <a:pt x="173" y="78"/>
                  <a:pt x="173" y="79"/>
                </a:cubicBezTo>
                <a:cubicBezTo>
                  <a:pt x="173" y="79"/>
                  <a:pt x="173" y="79"/>
                  <a:pt x="174" y="79"/>
                </a:cubicBezTo>
                <a:cubicBezTo>
                  <a:pt x="174" y="80"/>
                  <a:pt x="177" y="80"/>
                  <a:pt x="177" y="80"/>
                </a:cubicBezTo>
                <a:cubicBezTo>
                  <a:pt x="177" y="80"/>
                  <a:pt x="179" y="78"/>
                  <a:pt x="179" y="78"/>
                </a:cubicBezTo>
                <a:cubicBezTo>
                  <a:pt x="179" y="78"/>
                  <a:pt x="181" y="78"/>
                  <a:pt x="181" y="78"/>
                </a:cubicBezTo>
                <a:cubicBezTo>
                  <a:pt x="181" y="79"/>
                  <a:pt x="181" y="79"/>
                  <a:pt x="181" y="80"/>
                </a:cubicBezTo>
                <a:cubicBezTo>
                  <a:pt x="181" y="80"/>
                  <a:pt x="179" y="85"/>
                  <a:pt x="179" y="86"/>
                </a:cubicBezTo>
                <a:cubicBezTo>
                  <a:pt x="179" y="86"/>
                  <a:pt x="178" y="88"/>
                  <a:pt x="178" y="88"/>
                </a:cubicBezTo>
                <a:cubicBezTo>
                  <a:pt x="178" y="88"/>
                  <a:pt x="179" y="90"/>
                  <a:pt x="180" y="90"/>
                </a:cubicBezTo>
                <a:cubicBezTo>
                  <a:pt x="180" y="90"/>
                  <a:pt x="181" y="91"/>
                  <a:pt x="181" y="91"/>
                </a:cubicBezTo>
                <a:cubicBezTo>
                  <a:pt x="181" y="91"/>
                  <a:pt x="182" y="92"/>
                  <a:pt x="183" y="92"/>
                </a:cubicBezTo>
                <a:cubicBezTo>
                  <a:pt x="183" y="93"/>
                  <a:pt x="183" y="95"/>
                  <a:pt x="183" y="96"/>
                </a:cubicBezTo>
                <a:cubicBezTo>
                  <a:pt x="183" y="97"/>
                  <a:pt x="183" y="97"/>
                  <a:pt x="182" y="98"/>
                </a:cubicBezTo>
                <a:cubicBezTo>
                  <a:pt x="182" y="99"/>
                  <a:pt x="181" y="99"/>
                  <a:pt x="180" y="99"/>
                </a:cubicBezTo>
                <a:cubicBezTo>
                  <a:pt x="179" y="99"/>
                  <a:pt x="178" y="99"/>
                  <a:pt x="177" y="100"/>
                </a:cubicBezTo>
                <a:cubicBezTo>
                  <a:pt x="176" y="100"/>
                  <a:pt x="176" y="100"/>
                  <a:pt x="175" y="101"/>
                </a:cubicBezTo>
                <a:cubicBezTo>
                  <a:pt x="175" y="101"/>
                  <a:pt x="175" y="102"/>
                  <a:pt x="175" y="102"/>
                </a:cubicBezTo>
                <a:cubicBezTo>
                  <a:pt x="175" y="103"/>
                  <a:pt x="175" y="104"/>
                  <a:pt x="175" y="104"/>
                </a:cubicBezTo>
                <a:cubicBezTo>
                  <a:pt x="174" y="105"/>
                  <a:pt x="174" y="106"/>
                  <a:pt x="173" y="107"/>
                </a:cubicBezTo>
                <a:cubicBezTo>
                  <a:pt x="172" y="109"/>
                  <a:pt x="170" y="110"/>
                  <a:pt x="170" y="113"/>
                </a:cubicBezTo>
                <a:cubicBezTo>
                  <a:pt x="170" y="114"/>
                  <a:pt x="169" y="114"/>
                  <a:pt x="169" y="115"/>
                </a:cubicBezTo>
                <a:cubicBezTo>
                  <a:pt x="169" y="116"/>
                  <a:pt x="169" y="116"/>
                  <a:pt x="169" y="117"/>
                </a:cubicBezTo>
                <a:cubicBezTo>
                  <a:pt x="169" y="118"/>
                  <a:pt x="169" y="118"/>
                  <a:pt x="170" y="119"/>
                </a:cubicBezTo>
                <a:cubicBezTo>
                  <a:pt x="170" y="119"/>
                  <a:pt x="170" y="120"/>
                  <a:pt x="171" y="119"/>
                </a:cubicBezTo>
                <a:cubicBezTo>
                  <a:pt x="171" y="119"/>
                  <a:pt x="172" y="119"/>
                  <a:pt x="172" y="119"/>
                </a:cubicBezTo>
                <a:cubicBezTo>
                  <a:pt x="172" y="118"/>
                  <a:pt x="173" y="118"/>
                  <a:pt x="173" y="118"/>
                </a:cubicBezTo>
                <a:cubicBezTo>
                  <a:pt x="174" y="117"/>
                  <a:pt x="175" y="116"/>
                  <a:pt x="177" y="115"/>
                </a:cubicBezTo>
                <a:cubicBezTo>
                  <a:pt x="177" y="115"/>
                  <a:pt x="179" y="114"/>
                  <a:pt x="179" y="113"/>
                </a:cubicBezTo>
                <a:cubicBezTo>
                  <a:pt x="179" y="112"/>
                  <a:pt x="179" y="111"/>
                  <a:pt x="179" y="111"/>
                </a:cubicBezTo>
                <a:cubicBezTo>
                  <a:pt x="179" y="110"/>
                  <a:pt x="180" y="110"/>
                  <a:pt x="180" y="109"/>
                </a:cubicBezTo>
                <a:cubicBezTo>
                  <a:pt x="180" y="109"/>
                  <a:pt x="181" y="108"/>
                  <a:pt x="181" y="108"/>
                </a:cubicBezTo>
                <a:cubicBezTo>
                  <a:pt x="181" y="107"/>
                  <a:pt x="182" y="107"/>
                  <a:pt x="182" y="106"/>
                </a:cubicBezTo>
                <a:cubicBezTo>
                  <a:pt x="183" y="106"/>
                  <a:pt x="183" y="105"/>
                  <a:pt x="183" y="105"/>
                </a:cubicBezTo>
                <a:cubicBezTo>
                  <a:pt x="184" y="105"/>
                  <a:pt x="184" y="105"/>
                  <a:pt x="185" y="105"/>
                </a:cubicBezTo>
                <a:cubicBezTo>
                  <a:pt x="186" y="105"/>
                  <a:pt x="188" y="105"/>
                  <a:pt x="190" y="104"/>
                </a:cubicBezTo>
                <a:cubicBezTo>
                  <a:pt x="190" y="104"/>
                  <a:pt x="191" y="103"/>
                  <a:pt x="191" y="103"/>
                </a:cubicBezTo>
                <a:cubicBezTo>
                  <a:pt x="190" y="102"/>
                  <a:pt x="190" y="101"/>
                  <a:pt x="191" y="100"/>
                </a:cubicBezTo>
                <a:cubicBezTo>
                  <a:pt x="191" y="99"/>
                  <a:pt x="192" y="99"/>
                  <a:pt x="192" y="98"/>
                </a:cubicBezTo>
                <a:cubicBezTo>
                  <a:pt x="192" y="98"/>
                  <a:pt x="192" y="97"/>
                  <a:pt x="193" y="96"/>
                </a:cubicBezTo>
                <a:cubicBezTo>
                  <a:pt x="193" y="96"/>
                  <a:pt x="193" y="96"/>
                  <a:pt x="194" y="95"/>
                </a:cubicBezTo>
                <a:cubicBezTo>
                  <a:pt x="194" y="95"/>
                  <a:pt x="194" y="95"/>
                  <a:pt x="194" y="94"/>
                </a:cubicBezTo>
                <a:cubicBezTo>
                  <a:pt x="195" y="93"/>
                  <a:pt x="195" y="93"/>
                  <a:pt x="195" y="92"/>
                </a:cubicBezTo>
                <a:cubicBezTo>
                  <a:pt x="196" y="91"/>
                  <a:pt x="196" y="90"/>
                  <a:pt x="196" y="89"/>
                </a:cubicBezTo>
                <a:cubicBezTo>
                  <a:pt x="197" y="89"/>
                  <a:pt x="198" y="89"/>
                  <a:pt x="199" y="88"/>
                </a:cubicBezTo>
                <a:cubicBezTo>
                  <a:pt x="199" y="88"/>
                  <a:pt x="200" y="87"/>
                  <a:pt x="201" y="86"/>
                </a:cubicBezTo>
                <a:cubicBezTo>
                  <a:pt x="201" y="86"/>
                  <a:pt x="201" y="85"/>
                  <a:pt x="201" y="84"/>
                </a:cubicBezTo>
                <a:cubicBezTo>
                  <a:pt x="202" y="83"/>
                  <a:pt x="202" y="83"/>
                  <a:pt x="203" y="83"/>
                </a:cubicBezTo>
                <a:cubicBezTo>
                  <a:pt x="204" y="83"/>
                  <a:pt x="204" y="83"/>
                  <a:pt x="204" y="83"/>
                </a:cubicBezTo>
                <a:cubicBezTo>
                  <a:pt x="205" y="83"/>
                  <a:pt x="205" y="84"/>
                  <a:pt x="205" y="84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Freeform 10">
            <a:extLst>
              <a:ext uri="{FF2B5EF4-FFF2-40B4-BE49-F238E27FC236}">
                <a16:creationId xmlns:a16="http://schemas.microsoft.com/office/drawing/2014/main" id="{E93C4150-2632-43AD-972B-5FCC84B3B9D6}"/>
              </a:ext>
            </a:extLst>
          </p:cNvPr>
          <p:cNvSpPr>
            <a:spLocks/>
          </p:cNvSpPr>
          <p:nvPr/>
        </p:nvSpPr>
        <p:spPr bwMode="auto">
          <a:xfrm>
            <a:off x="9751501" y="2880468"/>
            <a:ext cx="674099" cy="606359"/>
          </a:xfrm>
          <a:custGeom>
            <a:avLst/>
            <a:gdLst>
              <a:gd name="T0" fmla="*/ 168 w 170"/>
              <a:gd name="T1" fmla="*/ 51 h 153"/>
              <a:gd name="T2" fmla="*/ 165 w 170"/>
              <a:gd name="T3" fmla="*/ 47 h 153"/>
              <a:gd name="T4" fmla="*/ 162 w 170"/>
              <a:gd name="T5" fmla="*/ 46 h 153"/>
              <a:gd name="T6" fmla="*/ 151 w 170"/>
              <a:gd name="T7" fmla="*/ 45 h 153"/>
              <a:gd name="T8" fmla="*/ 146 w 170"/>
              <a:gd name="T9" fmla="*/ 47 h 153"/>
              <a:gd name="T10" fmla="*/ 144 w 170"/>
              <a:gd name="T11" fmla="*/ 50 h 153"/>
              <a:gd name="T12" fmla="*/ 135 w 170"/>
              <a:gd name="T13" fmla="*/ 48 h 153"/>
              <a:gd name="T14" fmla="*/ 132 w 170"/>
              <a:gd name="T15" fmla="*/ 48 h 153"/>
              <a:gd name="T16" fmla="*/ 127 w 170"/>
              <a:gd name="T17" fmla="*/ 53 h 153"/>
              <a:gd name="T18" fmla="*/ 122 w 170"/>
              <a:gd name="T19" fmla="*/ 53 h 153"/>
              <a:gd name="T20" fmla="*/ 116 w 170"/>
              <a:gd name="T21" fmla="*/ 59 h 153"/>
              <a:gd name="T22" fmla="*/ 74 w 170"/>
              <a:gd name="T23" fmla="*/ 41 h 153"/>
              <a:gd name="T24" fmla="*/ 69 w 170"/>
              <a:gd name="T25" fmla="*/ 0 h 153"/>
              <a:gd name="T26" fmla="*/ 70 w 170"/>
              <a:gd name="T27" fmla="*/ 9 h 153"/>
              <a:gd name="T28" fmla="*/ 66 w 170"/>
              <a:gd name="T29" fmla="*/ 28 h 153"/>
              <a:gd name="T30" fmla="*/ 63 w 170"/>
              <a:gd name="T31" fmla="*/ 37 h 153"/>
              <a:gd name="T32" fmla="*/ 61 w 170"/>
              <a:gd name="T33" fmla="*/ 46 h 153"/>
              <a:gd name="T34" fmla="*/ 46 w 170"/>
              <a:gd name="T35" fmla="*/ 58 h 153"/>
              <a:gd name="T36" fmla="*/ 39 w 170"/>
              <a:gd name="T37" fmla="*/ 57 h 153"/>
              <a:gd name="T38" fmla="*/ 34 w 170"/>
              <a:gd name="T39" fmla="*/ 61 h 153"/>
              <a:gd name="T40" fmla="*/ 30 w 170"/>
              <a:gd name="T41" fmla="*/ 70 h 153"/>
              <a:gd name="T42" fmla="*/ 28 w 170"/>
              <a:gd name="T43" fmla="*/ 76 h 153"/>
              <a:gd name="T44" fmla="*/ 25 w 170"/>
              <a:gd name="T45" fmla="*/ 77 h 153"/>
              <a:gd name="T46" fmla="*/ 22 w 170"/>
              <a:gd name="T47" fmla="*/ 72 h 153"/>
              <a:gd name="T48" fmla="*/ 17 w 170"/>
              <a:gd name="T49" fmla="*/ 81 h 153"/>
              <a:gd name="T50" fmla="*/ 14 w 170"/>
              <a:gd name="T51" fmla="*/ 91 h 153"/>
              <a:gd name="T52" fmla="*/ 10 w 170"/>
              <a:gd name="T53" fmla="*/ 98 h 153"/>
              <a:gd name="T54" fmla="*/ 2 w 170"/>
              <a:gd name="T55" fmla="*/ 106 h 153"/>
              <a:gd name="T56" fmla="*/ 0 w 170"/>
              <a:gd name="T57" fmla="*/ 112 h 153"/>
              <a:gd name="T58" fmla="*/ 6 w 170"/>
              <a:gd name="T59" fmla="*/ 118 h 153"/>
              <a:gd name="T60" fmla="*/ 9 w 170"/>
              <a:gd name="T61" fmla="*/ 126 h 153"/>
              <a:gd name="T62" fmla="*/ 15 w 170"/>
              <a:gd name="T63" fmla="*/ 134 h 153"/>
              <a:gd name="T64" fmla="*/ 23 w 170"/>
              <a:gd name="T65" fmla="*/ 138 h 153"/>
              <a:gd name="T66" fmla="*/ 24 w 170"/>
              <a:gd name="T67" fmla="*/ 142 h 153"/>
              <a:gd name="T68" fmla="*/ 30 w 170"/>
              <a:gd name="T69" fmla="*/ 149 h 153"/>
              <a:gd name="T70" fmla="*/ 44 w 170"/>
              <a:gd name="T71" fmla="*/ 146 h 153"/>
              <a:gd name="T72" fmla="*/ 61 w 170"/>
              <a:gd name="T73" fmla="*/ 148 h 153"/>
              <a:gd name="T74" fmla="*/ 63 w 170"/>
              <a:gd name="T75" fmla="*/ 144 h 153"/>
              <a:gd name="T76" fmla="*/ 75 w 170"/>
              <a:gd name="T77" fmla="*/ 143 h 153"/>
              <a:gd name="T78" fmla="*/ 83 w 170"/>
              <a:gd name="T79" fmla="*/ 135 h 153"/>
              <a:gd name="T80" fmla="*/ 84 w 170"/>
              <a:gd name="T81" fmla="*/ 125 h 153"/>
              <a:gd name="T82" fmla="*/ 93 w 170"/>
              <a:gd name="T83" fmla="*/ 115 h 153"/>
              <a:gd name="T84" fmla="*/ 95 w 170"/>
              <a:gd name="T85" fmla="*/ 108 h 153"/>
              <a:gd name="T86" fmla="*/ 101 w 170"/>
              <a:gd name="T87" fmla="*/ 101 h 153"/>
              <a:gd name="T88" fmla="*/ 106 w 170"/>
              <a:gd name="T89" fmla="*/ 92 h 153"/>
              <a:gd name="T90" fmla="*/ 121 w 170"/>
              <a:gd name="T91" fmla="*/ 89 h 153"/>
              <a:gd name="T92" fmla="*/ 130 w 170"/>
              <a:gd name="T93" fmla="*/ 84 h 153"/>
              <a:gd name="T94" fmla="*/ 135 w 170"/>
              <a:gd name="T95" fmla="*/ 78 h 153"/>
              <a:gd name="T96" fmla="*/ 141 w 170"/>
              <a:gd name="T97" fmla="*/ 72 h 153"/>
              <a:gd name="T98" fmla="*/ 147 w 170"/>
              <a:gd name="T99" fmla="*/ 61 h 153"/>
              <a:gd name="T100" fmla="*/ 166 w 170"/>
              <a:gd name="T101" fmla="*/ 6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0" h="153">
                <a:moveTo>
                  <a:pt x="169" y="54"/>
                </a:moveTo>
                <a:cubicBezTo>
                  <a:pt x="167" y="54"/>
                  <a:pt x="167" y="54"/>
                  <a:pt x="167" y="54"/>
                </a:cubicBezTo>
                <a:cubicBezTo>
                  <a:pt x="167" y="54"/>
                  <a:pt x="168" y="52"/>
                  <a:pt x="168" y="52"/>
                </a:cubicBezTo>
                <a:cubicBezTo>
                  <a:pt x="168" y="52"/>
                  <a:pt x="168" y="51"/>
                  <a:pt x="168" y="51"/>
                </a:cubicBezTo>
                <a:cubicBezTo>
                  <a:pt x="166" y="51"/>
                  <a:pt x="166" y="51"/>
                  <a:pt x="166" y="51"/>
                </a:cubicBezTo>
                <a:cubicBezTo>
                  <a:pt x="166" y="50"/>
                  <a:pt x="166" y="50"/>
                  <a:pt x="166" y="50"/>
                </a:cubicBezTo>
                <a:cubicBezTo>
                  <a:pt x="165" y="50"/>
                  <a:pt x="165" y="50"/>
                  <a:pt x="165" y="50"/>
                </a:cubicBezTo>
                <a:cubicBezTo>
                  <a:pt x="165" y="50"/>
                  <a:pt x="165" y="48"/>
                  <a:pt x="165" y="47"/>
                </a:cubicBezTo>
                <a:cubicBezTo>
                  <a:pt x="165" y="47"/>
                  <a:pt x="166" y="46"/>
                  <a:pt x="166" y="46"/>
                </a:cubicBezTo>
                <a:cubicBezTo>
                  <a:pt x="166" y="46"/>
                  <a:pt x="164" y="46"/>
                  <a:pt x="164" y="46"/>
                </a:cubicBezTo>
                <a:cubicBezTo>
                  <a:pt x="164" y="46"/>
                  <a:pt x="162" y="47"/>
                  <a:pt x="162" y="47"/>
                </a:cubicBezTo>
                <a:cubicBezTo>
                  <a:pt x="162" y="47"/>
                  <a:pt x="163" y="46"/>
                  <a:pt x="162" y="46"/>
                </a:cubicBezTo>
                <a:cubicBezTo>
                  <a:pt x="162" y="45"/>
                  <a:pt x="161" y="46"/>
                  <a:pt x="161" y="46"/>
                </a:cubicBezTo>
                <a:cubicBezTo>
                  <a:pt x="161" y="46"/>
                  <a:pt x="155" y="42"/>
                  <a:pt x="155" y="42"/>
                </a:cubicBezTo>
                <a:cubicBezTo>
                  <a:pt x="153" y="42"/>
                  <a:pt x="153" y="42"/>
                  <a:pt x="153" y="42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5"/>
                  <a:pt x="148" y="45"/>
                  <a:pt x="148" y="45"/>
                </a:cubicBezTo>
                <a:cubicBezTo>
                  <a:pt x="148" y="44"/>
                  <a:pt x="147" y="46"/>
                  <a:pt x="147" y="46"/>
                </a:cubicBezTo>
                <a:cubicBezTo>
                  <a:pt x="145" y="45"/>
                  <a:pt x="145" y="45"/>
                  <a:pt x="145" y="45"/>
                </a:cubicBezTo>
                <a:cubicBezTo>
                  <a:pt x="145" y="45"/>
                  <a:pt x="146" y="47"/>
                  <a:pt x="146" y="47"/>
                </a:cubicBezTo>
                <a:cubicBezTo>
                  <a:pt x="146" y="47"/>
                  <a:pt x="145" y="47"/>
                  <a:pt x="145" y="47"/>
                </a:cubicBezTo>
                <a:cubicBezTo>
                  <a:pt x="144" y="48"/>
                  <a:pt x="144" y="49"/>
                  <a:pt x="144" y="49"/>
                </a:cubicBezTo>
                <a:cubicBezTo>
                  <a:pt x="146" y="49"/>
                  <a:pt x="146" y="49"/>
                  <a:pt x="146" y="49"/>
                </a:cubicBezTo>
                <a:cubicBezTo>
                  <a:pt x="144" y="50"/>
                  <a:pt x="144" y="50"/>
                  <a:pt x="144" y="50"/>
                </a:cubicBezTo>
                <a:cubicBezTo>
                  <a:pt x="144" y="50"/>
                  <a:pt x="142" y="50"/>
                  <a:pt x="142" y="50"/>
                </a:cubicBezTo>
                <a:cubicBezTo>
                  <a:pt x="142" y="50"/>
                  <a:pt x="140" y="50"/>
                  <a:pt x="139" y="49"/>
                </a:cubicBezTo>
                <a:cubicBezTo>
                  <a:pt x="139" y="49"/>
                  <a:pt x="137" y="48"/>
                  <a:pt x="137" y="48"/>
                </a:cubicBezTo>
                <a:cubicBezTo>
                  <a:pt x="137" y="48"/>
                  <a:pt x="135" y="48"/>
                  <a:pt x="135" y="48"/>
                </a:cubicBezTo>
                <a:cubicBezTo>
                  <a:pt x="135" y="47"/>
                  <a:pt x="134" y="46"/>
                  <a:pt x="134" y="46"/>
                </a:cubicBezTo>
                <a:cubicBezTo>
                  <a:pt x="134" y="45"/>
                  <a:pt x="133" y="46"/>
                  <a:pt x="133" y="46"/>
                </a:cubicBezTo>
                <a:cubicBezTo>
                  <a:pt x="133" y="46"/>
                  <a:pt x="133" y="46"/>
                  <a:pt x="133" y="46"/>
                </a:cubicBezTo>
                <a:cubicBezTo>
                  <a:pt x="132" y="46"/>
                  <a:pt x="132" y="47"/>
                  <a:pt x="132" y="48"/>
                </a:cubicBezTo>
                <a:cubicBezTo>
                  <a:pt x="132" y="48"/>
                  <a:pt x="132" y="48"/>
                  <a:pt x="132" y="48"/>
                </a:cubicBezTo>
                <a:cubicBezTo>
                  <a:pt x="131" y="48"/>
                  <a:pt x="131" y="48"/>
                  <a:pt x="131" y="48"/>
                </a:cubicBezTo>
                <a:cubicBezTo>
                  <a:pt x="131" y="48"/>
                  <a:pt x="128" y="51"/>
                  <a:pt x="128" y="51"/>
                </a:cubicBezTo>
                <a:cubicBezTo>
                  <a:pt x="128" y="52"/>
                  <a:pt x="127" y="53"/>
                  <a:pt x="127" y="53"/>
                </a:cubicBezTo>
                <a:cubicBezTo>
                  <a:pt x="127" y="53"/>
                  <a:pt x="126" y="53"/>
                  <a:pt x="126" y="53"/>
                </a:cubicBezTo>
                <a:cubicBezTo>
                  <a:pt x="126" y="52"/>
                  <a:pt x="125" y="52"/>
                  <a:pt x="124" y="52"/>
                </a:cubicBezTo>
                <a:cubicBezTo>
                  <a:pt x="124" y="51"/>
                  <a:pt x="123" y="52"/>
                  <a:pt x="123" y="52"/>
                </a:cubicBezTo>
                <a:cubicBezTo>
                  <a:pt x="122" y="53"/>
                  <a:pt x="122" y="53"/>
                  <a:pt x="122" y="53"/>
                </a:cubicBezTo>
                <a:cubicBezTo>
                  <a:pt x="121" y="54"/>
                  <a:pt x="121" y="54"/>
                  <a:pt x="121" y="54"/>
                </a:cubicBezTo>
                <a:cubicBezTo>
                  <a:pt x="120" y="56"/>
                  <a:pt x="120" y="56"/>
                  <a:pt x="120" y="56"/>
                </a:cubicBezTo>
                <a:cubicBezTo>
                  <a:pt x="119" y="56"/>
                  <a:pt x="119" y="56"/>
                  <a:pt x="119" y="56"/>
                </a:cubicBezTo>
                <a:cubicBezTo>
                  <a:pt x="116" y="59"/>
                  <a:pt x="116" y="59"/>
                  <a:pt x="116" y="59"/>
                </a:cubicBezTo>
                <a:cubicBezTo>
                  <a:pt x="116" y="59"/>
                  <a:pt x="114" y="60"/>
                  <a:pt x="114" y="60"/>
                </a:cubicBezTo>
                <a:cubicBezTo>
                  <a:pt x="114" y="60"/>
                  <a:pt x="109" y="63"/>
                  <a:pt x="109" y="63"/>
                </a:cubicBezTo>
                <a:cubicBezTo>
                  <a:pt x="109" y="41"/>
                  <a:pt x="109" y="41"/>
                  <a:pt x="109" y="41"/>
                </a:cubicBezTo>
                <a:cubicBezTo>
                  <a:pt x="74" y="41"/>
                  <a:pt x="74" y="41"/>
                  <a:pt x="74" y="41"/>
                </a:cubicBezTo>
                <a:cubicBezTo>
                  <a:pt x="74" y="0"/>
                  <a:pt x="74" y="0"/>
                  <a:pt x="74" y="0"/>
                </a:cubicBezTo>
                <a:cubicBezTo>
                  <a:pt x="72" y="1"/>
                  <a:pt x="72" y="1"/>
                  <a:pt x="72" y="1"/>
                </a:cubicBezTo>
                <a:cubicBezTo>
                  <a:pt x="70" y="0"/>
                  <a:pt x="70" y="0"/>
                  <a:pt x="70" y="0"/>
                </a:cubicBezTo>
                <a:cubicBezTo>
                  <a:pt x="70" y="0"/>
                  <a:pt x="69" y="0"/>
                  <a:pt x="69" y="0"/>
                </a:cubicBezTo>
                <a:cubicBezTo>
                  <a:pt x="69" y="1"/>
                  <a:pt x="68" y="2"/>
                  <a:pt x="68" y="2"/>
                </a:cubicBezTo>
                <a:cubicBezTo>
                  <a:pt x="68" y="2"/>
                  <a:pt x="70" y="5"/>
                  <a:pt x="70" y="5"/>
                </a:cubicBezTo>
                <a:cubicBezTo>
                  <a:pt x="70" y="5"/>
                  <a:pt x="71" y="7"/>
                  <a:pt x="71" y="7"/>
                </a:cubicBezTo>
                <a:cubicBezTo>
                  <a:pt x="71" y="7"/>
                  <a:pt x="70" y="9"/>
                  <a:pt x="70" y="9"/>
                </a:cubicBezTo>
                <a:cubicBezTo>
                  <a:pt x="70" y="10"/>
                  <a:pt x="69" y="11"/>
                  <a:pt x="69" y="11"/>
                </a:cubicBezTo>
                <a:cubicBezTo>
                  <a:pt x="69" y="12"/>
                  <a:pt x="71" y="15"/>
                  <a:pt x="71" y="15"/>
                </a:cubicBezTo>
                <a:cubicBezTo>
                  <a:pt x="66" y="24"/>
                  <a:pt x="66" y="24"/>
                  <a:pt x="66" y="24"/>
                </a:cubicBezTo>
                <a:cubicBezTo>
                  <a:pt x="66" y="28"/>
                  <a:pt x="66" y="28"/>
                  <a:pt x="66" y="28"/>
                </a:cubicBezTo>
                <a:cubicBezTo>
                  <a:pt x="66" y="32"/>
                  <a:pt x="66" y="32"/>
                  <a:pt x="66" y="32"/>
                </a:cubicBezTo>
                <a:cubicBezTo>
                  <a:pt x="66" y="32"/>
                  <a:pt x="64" y="33"/>
                  <a:pt x="64" y="33"/>
                </a:cubicBezTo>
                <a:cubicBezTo>
                  <a:pt x="64" y="33"/>
                  <a:pt x="64" y="35"/>
                  <a:pt x="64" y="35"/>
                </a:cubicBezTo>
                <a:cubicBezTo>
                  <a:pt x="64" y="35"/>
                  <a:pt x="63" y="37"/>
                  <a:pt x="63" y="37"/>
                </a:cubicBezTo>
                <a:cubicBezTo>
                  <a:pt x="62" y="37"/>
                  <a:pt x="61" y="39"/>
                  <a:pt x="61" y="39"/>
                </a:cubicBezTo>
                <a:cubicBezTo>
                  <a:pt x="61" y="40"/>
                  <a:pt x="63" y="42"/>
                  <a:pt x="63" y="42"/>
                </a:cubicBezTo>
                <a:cubicBezTo>
                  <a:pt x="63" y="42"/>
                  <a:pt x="62" y="42"/>
                  <a:pt x="62" y="43"/>
                </a:cubicBezTo>
                <a:cubicBezTo>
                  <a:pt x="61" y="43"/>
                  <a:pt x="61" y="46"/>
                  <a:pt x="61" y="46"/>
                </a:cubicBezTo>
                <a:cubicBezTo>
                  <a:pt x="61" y="46"/>
                  <a:pt x="59" y="46"/>
                  <a:pt x="59" y="46"/>
                </a:cubicBezTo>
                <a:cubicBezTo>
                  <a:pt x="59" y="46"/>
                  <a:pt x="58" y="48"/>
                  <a:pt x="58" y="48"/>
                </a:cubicBezTo>
                <a:cubicBezTo>
                  <a:pt x="51" y="55"/>
                  <a:pt x="51" y="55"/>
                  <a:pt x="51" y="55"/>
                </a:cubicBezTo>
                <a:cubicBezTo>
                  <a:pt x="51" y="55"/>
                  <a:pt x="46" y="58"/>
                  <a:pt x="46" y="58"/>
                </a:cubicBezTo>
                <a:cubicBezTo>
                  <a:pt x="46" y="58"/>
                  <a:pt x="44" y="58"/>
                  <a:pt x="44" y="58"/>
                </a:cubicBezTo>
                <a:cubicBezTo>
                  <a:pt x="44" y="58"/>
                  <a:pt x="42" y="55"/>
                  <a:pt x="42" y="55"/>
                </a:cubicBezTo>
                <a:cubicBezTo>
                  <a:pt x="42" y="55"/>
                  <a:pt x="41" y="55"/>
                  <a:pt x="41" y="55"/>
                </a:cubicBezTo>
                <a:cubicBezTo>
                  <a:pt x="40" y="55"/>
                  <a:pt x="40" y="57"/>
                  <a:pt x="39" y="57"/>
                </a:cubicBezTo>
                <a:cubicBezTo>
                  <a:pt x="39" y="57"/>
                  <a:pt x="38" y="58"/>
                  <a:pt x="38" y="58"/>
                </a:cubicBezTo>
                <a:cubicBezTo>
                  <a:pt x="38" y="58"/>
                  <a:pt x="37" y="62"/>
                  <a:pt x="37" y="62"/>
                </a:cubicBezTo>
                <a:cubicBezTo>
                  <a:pt x="37" y="62"/>
                  <a:pt x="36" y="61"/>
                  <a:pt x="36" y="61"/>
                </a:cubicBezTo>
                <a:cubicBezTo>
                  <a:pt x="35" y="61"/>
                  <a:pt x="34" y="61"/>
                  <a:pt x="34" y="61"/>
                </a:cubicBezTo>
                <a:cubicBezTo>
                  <a:pt x="34" y="61"/>
                  <a:pt x="33" y="64"/>
                  <a:pt x="33" y="64"/>
                </a:cubicBezTo>
                <a:cubicBezTo>
                  <a:pt x="32" y="64"/>
                  <a:pt x="31" y="65"/>
                  <a:pt x="31" y="65"/>
                </a:cubicBezTo>
                <a:cubicBezTo>
                  <a:pt x="31" y="65"/>
                  <a:pt x="31" y="69"/>
                  <a:pt x="31" y="69"/>
                </a:cubicBezTo>
                <a:cubicBezTo>
                  <a:pt x="31" y="69"/>
                  <a:pt x="30" y="70"/>
                  <a:pt x="30" y="70"/>
                </a:cubicBezTo>
                <a:cubicBezTo>
                  <a:pt x="30" y="70"/>
                  <a:pt x="29" y="70"/>
                  <a:pt x="29" y="71"/>
                </a:cubicBezTo>
                <a:cubicBezTo>
                  <a:pt x="29" y="71"/>
                  <a:pt x="30" y="72"/>
                  <a:pt x="30" y="72"/>
                </a:cubicBezTo>
                <a:cubicBezTo>
                  <a:pt x="30" y="72"/>
                  <a:pt x="30" y="77"/>
                  <a:pt x="30" y="77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6"/>
                  <a:pt x="28" y="77"/>
                  <a:pt x="28" y="78"/>
                </a:cubicBezTo>
                <a:cubicBezTo>
                  <a:pt x="28" y="78"/>
                  <a:pt x="27" y="79"/>
                  <a:pt x="27" y="79"/>
                </a:cubicBezTo>
                <a:cubicBezTo>
                  <a:pt x="27" y="79"/>
                  <a:pt x="25" y="79"/>
                  <a:pt x="25" y="79"/>
                </a:cubicBezTo>
                <a:cubicBezTo>
                  <a:pt x="25" y="79"/>
                  <a:pt x="25" y="77"/>
                  <a:pt x="25" y="77"/>
                </a:cubicBezTo>
                <a:cubicBezTo>
                  <a:pt x="25" y="77"/>
                  <a:pt x="26" y="76"/>
                  <a:pt x="26" y="76"/>
                </a:cubicBezTo>
                <a:cubicBezTo>
                  <a:pt x="26" y="76"/>
                  <a:pt x="25" y="75"/>
                  <a:pt x="25" y="75"/>
                </a:cubicBezTo>
                <a:cubicBezTo>
                  <a:pt x="25" y="75"/>
                  <a:pt x="24" y="74"/>
                  <a:pt x="24" y="74"/>
                </a:cubicBezTo>
                <a:cubicBezTo>
                  <a:pt x="24" y="74"/>
                  <a:pt x="22" y="73"/>
                  <a:pt x="22" y="72"/>
                </a:cubicBezTo>
                <a:cubicBezTo>
                  <a:pt x="22" y="72"/>
                  <a:pt x="21" y="72"/>
                  <a:pt x="21" y="73"/>
                </a:cubicBezTo>
                <a:cubicBezTo>
                  <a:pt x="21" y="73"/>
                  <a:pt x="20" y="74"/>
                  <a:pt x="20" y="74"/>
                </a:cubicBezTo>
                <a:cubicBezTo>
                  <a:pt x="20" y="75"/>
                  <a:pt x="18" y="78"/>
                  <a:pt x="18" y="78"/>
                </a:cubicBezTo>
                <a:cubicBezTo>
                  <a:pt x="18" y="79"/>
                  <a:pt x="17" y="81"/>
                  <a:pt x="17" y="81"/>
                </a:cubicBezTo>
                <a:cubicBezTo>
                  <a:pt x="17" y="81"/>
                  <a:pt x="15" y="83"/>
                  <a:pt x="15" y="83"/>
                </a:cubicBezTo>
                <a:cubicBezTo>
                  <a:pt x="15" y="83"/>
                  <a:pt x="16" y="86"/>
                  <a:pt x="16" y="87"/>
                </a:cubicBezTo>
                <a:cubicBezTo>
                  <a:pt x="16" y="87"/>
                  <a:pt x="17" y="91"/>
                  <a:pt x="17" y="91"/>
                </a:cubicBezTo>
                <a:cubicBezTo>
                  <a:pt x="17" y="91"/>
                  <a:pt x="14" y="91"/>
                  <a:pt x="14" y="91"/>
                </a:cubicBezTo>
                <a:cubicBezTo>
                  <a:pt x="14" y="92"/>
                  <a:pt x="12" y="92"/>
                  <a:pt x="12" y="92"/>
                </a:cubicBezTo>
                <a:cubicBezTo>
                  <a:pt x="12" y="92"/>
                  <a:pt x="12" y="94"/>
                  <a:pt x="12" y="94"/>
                </a:cubicBezTo>
                <a:cubicBezTo>
                  <a:pt x="12" y="95"/>
                  <a:pt x="11" y="97"/>
                  <a:pt x="11" y="97"/>
                </a:cubicBezTo>
                <a:cubicBezTo>
                  <a:pt x="11" y="97"/>
                  <a:pt x="10" y="98"/>
                  <a:pt x="10" y="98"/>
                </a:cubicBezTo>
                <a:cubicBezTo>
                  <a:pt x="9" y="99"/>
                  <a:pt x="6" y="99"/>
                  <a:pt x="6" y="99"/>
                </a:cubicBezTo>
                <a:cubicBezTo>
                  <a:pt x="2" y="100"/>
                  <a:pt x="2" y="100"/>
                  <a:pt x="2" y="100"/>
                </a:cubicBezTo>
                <a:cubicBezTo>
                  <a:pt x="2" y="100"/>
                  <a:pt x="2" y="102"/>
                  <a:pt x="2" y="103"/>
                </a:cubicBezTo>
                <a:cubicBezTo>
                  <a:pt x="2" y="103"/>
                  <a:pt x="2" y="106"/>
                  <a:pt x="2" y="106"/>
                </a:cubicBezTo>
                <a:cubicBezTo>
                  <a:pt x="2" y="106"/>
                  <a:pt x="1" y="107"/>
                  <a:pt x="1" y="107"/>
                </a:cubicBezTo>
                <a:cubicBezTo>
                  <a:pt x="2" y="109"/>
                  <a:pt x="2" y="109"/>
                  <a:pt x="2" y="109"/>
                </a:cubicBezTo>
                <a:cubicBezTo>
                  <a:pt x="1" y="110"/>
                  <a:pt x="1" y="110"/>
                  <a:pt x="1" y="110"/>
                </a:cubicBezTo>
                <a:cubicBezTo>
                  <a:pt x="1" y="110"/>
                  <a:pt x="0" y="111"/>
                  <a:pt x="0" y="112"/>
                </a:cubicBezTo>
                <a:cubicBezTo>
                  <a:pt x="0" y="112"/>
                  <a:pt x="2" y="112"/>
                  <a:pt x="2" y="112"/>
                </a:cubicBezTo>
                <a:cubicBezTo>
                  <a:pt x="2" y="112"/>
                  <a:pt x="3" y="115"/>
                  <a:pt x="3" y="115"/>
                </a:cubicBezTo>
                <a:cubicBezTo>
                  <a:pt x="4" y="115"/>
                  <a:pt x="4" y="117"/>
                  <a:pt x="4" y="117"/>
                </a:cubicBezTo>
                <a:cubicBezTo>
                  <a:pt x="4" y="117"/>
                  <a:pt x="6" y="118"/>
                  <a:pt x="6" y="118"/>
                </a:cubicBezTo>
                <a:cubicBezTo>
                  <a:pt x="6" y="118"/>
                  <a:pt x="6" y="119"/>
                  <a:pt x="6" y="119"/>
                </a:cubicBezTo>
                <a:cubicBezTo>
                  <a:pt x="5" y="121"/>
                  <a:pt x="5" y="121"/>
                  <a:pt x="5" y="121"/>
                </a:cubicBezTo>
                <a:cubicBezTo>
                  <a:pt x="5" y="121"/>
                  <a:pt x="8" y="122"/>
                  <a:pt x="8" y="122"/>
                </a:cubicBezTo>
                <a:cubicBezTo>
                  <a:pt x="8" y="122"/>
                  <a:pt x="9" y="126"/>
                  <a:pt x="9" y="126"/>
                </a:cubicBezTo>
                <a:cubicBezTo>
                  <a:pt x="12" y="128"/>
                  <a:pt x="12" y="128"/>
                  <a:pt x="12" y="128"/>
                </a:cubicBezTo>
                <a:cubicBezTo>
                  <a:pt x="12" y="128"/>
                  <a:pt x="11" y="129"/>
                  <a:pt x="11" y="129"/>
                </a:cubicBezTo>
                <a:cubicBezTo>
                  <a:pt x="11" y="130"/>
                  <a:pt x="11" y="131"/>
                  <a:pt x="11" y="131"/>
                </a:cubicBezTo>
                <a:cubicBezTo>
                  <a:pt x="11" y="131"/>
                  <a:pt x="15" y="134"/>
                  <a:pt x="15" y="134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8" y="137"/>
                  <a:pt x="18" y="137"/>
                  <a:pt x="18" y="137"/>
                </a:cubicBezTo>
                <a:cubicBezTo>
                  <a:pt x="21" y="138"/>
                  <a:pt x="21" y="138"/>
                  <a:pt x="21" y="138"/>
                </a:cubicBezTo>
                <a:cubicBezTo>
                  <a:pt x="23" y="138"/>
                  <a:pt x="23" y="138"/>
                  <a:pt x="23" y="138"/>
                </a:cubicBezTo>
                <a:cubicBezTo>
                  <a:pt x="25" y="139"/>
                  <a:pt x="25" y="139"/>
                  <a:pt x="25" y="139"/>
                </a:cubicBezTo>
                <a:cubicBezTo>
                  <a:pt x="25" y="139"/>
                  <a:pt x="24" y="140"/>
                  <a:pt x="24" y="140"/>
                </a:cubicBezTo>
                <a:cubicBezTo>
                  <a:pt x="24" y="140"/>
                  <a:pt x="23" y="141"/>
                  <a:pt x="23" y="141"/>
                </a:cubicBezTo>
                <a:cubicBezTo>
                  <a:pt x="24" y="142"/>
                  <a:pt x="24" y="142"/>
                  <a:pt x="24" y="142"/>
                </a:cubicBezTo>
                <a:cubicBezTo>
                  <a:pt x="24" y="143"/>
                  <a:pt x="24" y="143"/>
                  <a:pt x="24" y="143"/>
                </a:cubicBezTo>
                <a:cubicBezTo>
                  <a:pt x="24" y="143"/>
                  <a:pt x="25" y="146"/>
                  <a:pt x="25" y="146"/>
                </a:cubicBezTo>
                <a:cubicBezTo>
                  <a:pt x="25" y="146"/>
                  <a:pt x="28" y="148"/>
                  <a:pt x="28" y="148"/>
                </a:cubicBezTo>
                <a:cubicBezTo>
                  <a:pt x="30" y="149"/>
                  <a:pt x="30" y="149"/>
                  <a:pt x="30" y="149"/>
                </a:cubicBezTo>
                <a:cubicBezTo>
                  <a:pt x="30" y="149"/>
                  <a:pt x="32" y="150"/>
                  <a:pt x="32" y="150"/>
                </a:cubicBezTo>
                <a:cubicBezTo>
                  <a:pt x="32" y="150"/>
                  <a:pt x="33" y="152"/>
                  <a:pt x="33" y="152"/>
                </a:cubicBezTo>
                <a:cubicBezTo>
                  <a:pt x="33" y="153"/>
                  <a:pt x="38" y="152"/>
                  <a:pt x="38" y="152"/>
                </a:cubicBezTo>
                <a:cubicBezTo>
                  <a:pt x="44" y="146"/>
                  <a:pt x="44" y="146"/>
                  <a:pt x="44" y="146"/>
                </a:cubicBezTo>
                <a:cubicBezTo>
                  <a:pt x="49" y="151"/>
                  <a:pt x="49" y="151"/>
                  <a:pt x="49" y="151"/>
                </a:cubicBezTo>
                <a:cubicBezTo>
                  <a:pt x="52" y="149"/>
                  <a:pt x="52" y="149"/>
                  <a:pt x="52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61" y="148"/>
                  <a:pt x="61" y="148"/>
                  <a:pt x="61" y="148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5"/>
                  <a:pt x="61" y="145"/>
                  <a:pt x="61" y="145"/>
                </a:cubicBezTo>
                <a:cubicBezTo>
                  <a:pt x="62" y="143"/>
                  <a:pt x="62" y="143"/>
                  <a:pt x="62" y="143"/>
                </a:cubicBezTo>
                <a:cubicBezTo>
                  <a:pt x="63" y="144"/>
                  <a:pt x="63" y="144"/>
                  <a:pt x="63" y="144"/>
                </a:cubicBezTo>
                <a:cubicBezTo>
                  <a:pt x="66" y="145"/>
                  <a:pt x="66" y="145"/>
                  <a:pt x="66" y="145"/>
                </a:cubicBezTo>
                <a:cubicBezTo>
                  <a:pt x="70" y="142"/>
                  <a:pt x="70" y="142"/>
                  <a:pt x="70" y="142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75" y="143"/>
                  <a:pt x="75" y="143"/>
                  <a:pt x="75" y="143"/>
                </a:cubicBezTo>
                <a:cubicBezTo>
                  <a:pt x="81" y="139"/>
                  <a:pt x="81" y="139"/>
                  <a:pt x="81" y="139"/>
                </a:cubicBezTo>
                <a:cubicBezTo>
                  <a:pt x="81" y="139"/>
                  <a:pt x="81" y="138"/>
                  <a:pt x="80" y="138"/>
                </a:cubicBezTo>
                <a:cubicBezTo>
                  <a:pt x="80" y="138"/>
                  <a:pt x="80" y="137"/>
                  <a:pt x="80" y="136"/>
                </a:cubicBezTo>
                <a:cubicBezTo>
                  <a:pt x="80" y="136"/>
                  <a:pt x="83" y="135"/>
                  <a:pt x="83" y="135"/>
                </a:cubicBezTo>
                <a:cubicBezTo>
                  <a:pt x="83" y="134"/>
                  <a:pt x="83" y="134"/>
                  <a:pt x="83" y="134"/>
                </a:cubicBezTo>
                <a:cubicBezTo>
                  <a:pt x="83" y="134"/>
                  <a:pt x="82" y="132"/>
                  <a:pt x="82" y="132"/>
                </a:cubicBezTo>
                <a:cubicBezTo>
                  <a:pt x="82" y="132"/>
                  <a:pt x="82" y="130"/>
                  <a:pt x="82" y="130"/>
                </a:cubicBezTo>
                <a:cubicBezTo>
                  <a:pt x="84" y="125"/>
                  <a:pt x="84" y="125"/>
                  <a:pt x="84" y="125"/>
                </a:cubicBezTo>
                <a:cubicBezTo>
                  <a:pt x="84" y="125"/>
                  <a:pt x="85" y="123"/>
                  <a:pt x="85" y="123"/>
                </a:cubicBezTo>
                <a:cubicBezTo>
                  <a:pt x="85" y="123"/>
                  <a:pt x="88" y="121"/>
                  <a:pt x="88" y="121"/>
                </a:cubicBezTo>
                <a:cubicBezTo>
                  <a:pt x="88" y="120"/>
                  <a:pt x="91" y="117"/>
                  <a:pt x="91" y="117"/>
                </a:cubicBezTo>
                <a:cubicBezTo>
                  <a:pt x="91" y="117"/>
                  <a:pt x="93" y="115"/>
                  <a:pt x="93" y="115"/>
                </a:cubicBezTo>
                <a:cubicBezTo>
                  <a:pt x="93" y="115"/>
                  <a:pt x="94" y="113"/>
                  <a:pt x="94" y="113"/>
                </a:cubicBezTo>
                <a:cubicBezTo>
                  <a:pt x="93" y="111"/>
                  <a:pt x="93" y="111"/>
                  <a:pt x="93" y="111"/>
                </a:cubicBezTo>
                <a:cubicBezTo>
                  <a:pt x="94" y="109"/>
                  <a:pt x="94" y="109"/>
                  <a:pt x="94" y="109"/>
                </a:cubicBezTo>
                <a:cubicBezTo>
                  <a:pt x="95" y="108"/>
                  <a:pt x="95" y="108"/>
                  <a:pt x="95" y="108"/>
                </a:cubicBezTo>
                <a:cubicBezTo>
                  <a:pt x="98" y="106"/>
                  <a:pt x="98" y="106"/>
                  <a:pt x="98" y="106"/>
                </a:cubicBezTo>
                <a:cubicBezTo>
                  <a:pt x="98" y="104"/>
                  <a:pt x="98" y="104"/>
                  <a:pt x="98" y="104"/>
                </a:cubicBezTo>
                <a:cubicBezTo>
                  <a:pt x="98" y="104"/>
                  <a:pt x="101" y="102"/>
                  <a:pt x="101" y="102"/>
                </a:cubicBezTo>
                <a:cubicBezTo>
                  <a:pt x="101" y="101"/>
                  <a:pt x="101" y="101"/>
                  <a:pt x="101" y="101"/>
                </a:cubicBezTo>
                <a:cubicBezTo>
                  <a:pt x="101" y="101"/>
                  <a:pt x="102" y="99"/>
                  <a:pt x="102" y="99"/>
                </a:cubicBezTo>
                <a:cubicBezTo>
                  <a:pt x="103" y="95"/>
                  <a:pt x="103" y="95"/>
                  <a:pt x="103" y="95"/>
                </a:cubicBezTo>
                <a:cubicBezTo>
                  <a:pt x="103" y="91"/>
                  <a:pt x="103" y="91"/>
                  <a:pt x="103" y="91"/>
                </a:cubicBezTo>
                <a:cubicBezTo>
                  <a:pt x="103" y="91"/>
                  <a:pt x="106" y="92"/>
                  <a:pt x="106" y="92"/>
                </a:cubicBezTo>
                <a:cubicBezTo>
                  <a:pt x="107" y="93"/>
                  <a:pt x="108" y="94"/>
                  <a:pt x="108" y="94"/>
                </a:cubicBezTo>
                <a:cubicBezTo>
                  <a:pt x="108" y="94"/>
                  <a:pt x="109" y="97"/>
                  <a:pt x="109" y="97"/>
                </a:cubicBezTo>
                <a:cubicBezTo>
                  <a:pt x="109" y="97"/>
                  <a:pt x="116" y="99"/>
                  <a:pt x="116" y="99"/>
                </a:cubicBezTo>
                <a:cubicBezTo>
                  <a:pt x="116" y="99"/>
                  <a:pt x="121" y="89"/>
                  <a:pt x="121" y="89"/>
                </a:cubicBezTo>
                <a:cubicBezTo>
                  <a:pt x="121" y="88"/>
                  <a:pt x="123" y="89"/>
                  <a:pt x="123" y="89"/>
                </a:cubicBezTo>
                <a:cubicBezTo>
                  <a:pt x="123" y="89"/>
                  <a:pt x="123" y="85"/>
                  <a:pt x="123" y="85"/>
                </a:cubicBezTo>
                <a:cubicBezTo>
                  <a:pt x="123" y="85"/>
                  <a:pt x="126" y="80"/>
                  <a:pt x="126" y="80"/>
                </a:cubicBezTo>
                <a:cubicBezTo>
                  <a:pt x="130" y="84"/>
                  <a:pt x="130" y="84"/>
                  <a:pt x="130" y="84"/>
                </a:cubicBezTo>
                <a:cubicBezTo>
                  <a:pt x="132" y="81"/>
                  <a:pt x="132" y="81"/>
                  <a:pt x="132" y="81"/>
                </a:cubicBezTo>
                <a:cubicBezTo>
                  <a:pt x="133" y="79"/>
                  <a:pt x="133" y="79"/>
                  <a:pt x="133" y="79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35" y="78"/>
                  <a:pt x="135" y="78"/>
                  <a:pt x="135" y="78"/>
                </a:cubicBezTo>
                <a:cubicBezTo>
                  <a:pt x="137" y="76"/>
                  <a:pt x="137" y="76"/>
                  <a:pt x="137" y="76"/>
                </a:cubicBezTo>
                <a:cubicBezTo>
                  <a:pt x="139" y="74"/>
                  <a:pt x="139" y="74"/>
                  <a:pt x="139" y="74"/>
                </a:cubicBezTo>
                <a:cubicBezTo>
                  <a:pt x="139" y="75"/>
                  <a:pt x="139" y="75"/>
                  <a:pt x="139" y="75"/>
                </a:cubicBezTo>
                <a:cubicBezTo>
                  <a:pt x="139" y="75"/>
                  <a:pt x="141" y="72"/>
                  <a:pt x="141" y="72"/>
                </a:cubicBezTo>
                <a:cubicBezTo>
                  <a:pt x="141" y="72"/>
                  <a:pt x="146" y="66"/>
                  <a:pt x="146" y="66"/>
                </a:cubicBezTo>
                <a:cubicBezTo>
                  <a:pt x="146" y="66"/>
                  <a:pt x="146" y="65"/>
                  <a:pt x="146" y="65"/>
                </a:cubicBezTo>
                <a:cubicBezTo>
                  <a:pt x="146" y="65"/>
                  <a:pt x="145" y="64"/>
                  <a:pt x="145" y="64"/>
                </a:cubicBezTo>
                <a:cubicBezTo>
                  <a:pt x="147" y="61"/>
                  <a:pt x="147" y="61"/>
                  <a:pt x="147" y="61"/>
                </a:cubicBezTo>
                <a:cubicBezTo>
                  <a:pt x="149" y="58"/>
                  <a:pt x="149" y="58"/>
                  <a:pt x="149" y="58"/>
                </a:cubicBezTo>
                <a:cubicBezTo>
                  <a:pt x="148" y="57"/>
                  <a:pt x="148" y="57"/>
                  <a:pt x="148" y="57"/>
                </a:cubicBezTo>
                <a:cubicBezTo>
                  <a:pt x="148" y="52"/>
                  <a:pt x="148" y="52"/>
                  <a:pt x="148" y="52"/>
                </a:cubicBezTo>
                <a:cubicBezTo>
                  <a:pt x="166" y="67"/>
                  <a:pt x="166" y="67"/>
                  <a:pt x="166" y="67"/>
                </a:cubicBezTo>
                <a:cubicBezTo>
                  <a:pt x="170" y="59"/>
                  <a:pt x="170" y="59"/>
                  <a:pt x="170" y="59"/>
                </a:cubicBezTo>
                <a:cubicBezTo>
                  <a:pt x="169" y="58"/>
                  <a:pt x="169" y="58"/>
                  <a:pt x="169" y="58"/>
                </a:cubicBezTo>
                <a:lnTo>
                  <a:pt x="169" y="54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1">
            <a:extLst>
              <a:ext uri="{FF2B5EF4-FFF2-40B4-BE49-F238E27FC236}">
                <a16:creationId xmlns:a16="http://schemas.microsoft.com/office/drawing/2014/main" id="{D175C0C1-D53B-4ABA-8AE9-A0C3A7629F7F}"/>
              </a:ext>
            </a:extLst>
          </p:cNvPr>
          <p:cNvSpPr>
            <a:spLocks noEditPoints="1"/>
          </p:cNvSpPr>
          <p:nvPr/>
        </p:nvSpPr>
        <p:spPr bwMode="auto">
          <a:xfrm>
            <a:off x="3996875" y="1258003"/>
            <a:ext cx="1068976" cy="698882"/>
          </a:xfrm>
          <a:custGeom>
            <a:avLst/>
            <a:gdLst>
              <a:gd name="T0" fmla="*/ 65 w 270"/>
              <a:gd name="T1" fmla="*/ 93 h 176"/>
              <a:gd name="T2" fmla="*/ 79 w 270"/>
              <a:gd name="T3" fmla="*/ 83 h 176"/>
              <a:gd name="T4" fmla="*/ 75 w 270"/>
              <a:gd name="T5" fmla="*/ 48 h 176"/>
              <a:gd name="T6" fmla="*/ 72 w 270"/>
              <a:gd name="T7" fmla="*/ 39 h 176"/>
              <a:gd name="T8" fmla="*/ 72 w 270"/>
              <a:gd name="T9" fmla="*/ 33 h 176"/>
              <a:gd name="T10" fmla="*/ 73 w 270"/>
              <a:gd name="T11" fmla="*/ 45 h 176"/>
              <a:gd name="T12" fmla="*/ 78 w 270"/>
              <a:gd name="T13" fmla="*/ 53 h 176"/>
              <a:gd name="T14" fmla="*/ 81 w 270"/>
              <a:gd name="T15" fmla="*/ 51 h 176"/>
              <a:gd name="T16" fmla="*/ 57 w 270"/>
              <a:gd name="T17" fmla="*/ 21 h 176"/>
              <a:gd name="T18" fmla="*/ 65 w 270"/>
              <a:gd name="T19" fmla="*/ 30 h 176"/>
              <a:gd name="T20" fmla="*/ 64 w 270"/>
              <a:gd name="T21" fmla="*/ 30 h 176"/>
              <a:gd name="T22" fmla="*/ 67 w 270"/>
              <a:gd name="T23" fmla="*/ 17 h 176"/>
              <a:gd name="T24" fmla="*/ 63 w 270"/>
              <a:gd name="T25" fmla="*/ 22 h 176"/>
              <a:gd name="T26" fmla="*/ 73 w 270"/>
              <a:gd name="T27" fmla="*/ 25 h 176"/>
              <a:gd name="T28" fmla="*/ 67 w 270"/>
              <a:gd name="T29" fmla="*/ 0 h 176"/>
              <a:gd name="T30" fmla="*/ 68 w 270"/>
              <a:gd name="T31" fmla="*/ 7 h 176"/>
              <a:gd name="T32" fmla="*/ 74 w 270"/>
              <a:gd name="T33" fmla="*/ 12 h 176"/>
              <a:gd name="T34" fmla="*/ 80 w 270"/>
              <a:gd name="T35" fmla="*/ 21 h 176"/>
              <a:gd name="T36" fmla="*/ 75 w 270"/>
              <a:gd name="T37" fmla="*/ 28 h 176"/>
              <a:gd name="T38" fmla="*/ 76 w 270"/>
              <a:gd name="T39" fmla="*/ 32 h 176"/>
              <a:gd name="T40" fmla="*/ 83 w 270"/>
              <a:gd name="T41" fmla="*/ 37 h 176"/>
              <a:gd name="T42" fmla="*/ 76 w 270"/>
              <a:gd name="T43" fmla="*/ 41 h 176"/>
              <a:gd name="T44" fmla="*/ 79 w 270"/>
              <a:gd name="T45" fmla="*/ 46 h 176"/>
              <a:gd name="T46" fmla="*/ 82 w 270"/>
              <a:gd name="T47" fmla="*/ 43 h 176"/>
              <a:gd name="T48" fmla="*/ 86 w 270"/>
              <a:gd name="T49" fmla="*/ 54 h 176"/>
              <a:gd name="T50" fmla="*/ 81 w 270"/>
              <a:gd name="T51" fmla="*/ 66 h 176"/>
              <a:gd name="T52" fmla="*/ 82 w 270"/>
              <a:gd name="T53" fmla="*/ 74 h 176"/>
              <a:gd name="T54" fmla="*/ 83 w 270"/>
              <a:gd name="T55" fmla="*/ 87 h 176"/>
              <a:gd name="T56" fmla="*/ 75 w 270"/>
              <a:gd name="T57" fmla="*/ 92 h 176"/>
              <a:gd name="T58" fmla="*/ 63 w 270"/>
              <a:gd name="T59" fmla="*/ 98 h 176"/>
              <a:gd name="T60" fmla="*/ 62 w 270"/>
              <a:gd name="T61" fmla="*/ 92 h 176"/>
              <a:gd name="T62" fmla="*/ 67 w 270"/>
              <a:gd name="T63" fmla="*/ 91 h 176"/>
              <a:gd name="T64" fmla="*/ 72 w 270"/>
              <a:gd name="T65" fmla="*/ 85 h 176"/>
              <a:gd name="T66" fmla="*/ 77 w 270"/>
              <a:gd name="T67" fmla="*/ 75 h 176"/>
              <a:gd name="T68" fmla="*/ 77 w 270"/>
              <a:gd name="T69" fmla="*/ 59 h 176"/>
              <a:gd name="T70" fmla="*/ 67 w 270"/>
              <a:gd name="T71" fmla="*/ 70 h 176"/>
              <a:gd name="T72" fmla="*/ 66 w 270"/>
              <a:gd name="T73" fmla="*/ 65 h 176"/>
              <a:gd name="T74" fmla="*/ 72 w 270"/>
              <a:gd name="T75" fmla="*/ 61 h 176"/>
              <a:gd name="T76" fmla="*/ 66 w 270"/>
              <a:gd name="T77" fmla="*/ 46 h 176"/>
              <a:gd name="T78" fmla="*/ 61 w 270"/>
              <a:gd name="T79" fmla="*/ 48 h 176"/>
              <a:gd name="T80" fmla="*/ 43 w 270"/>
              <a:gd name="T81" fmla="*/ 46 h 176"/>
              <a:gd name="T82" fmla="*/ 20 w 270"/>
              <a:gd name="T83" fmla="*/ 41 h 176"/>
              <a:gd name="T84" fmla="*/ 1 w 270"/>
              <a:gd name="T85" fmla="*/ 35 h 176"/>
              <a:gd name="T86" fmla="*/ 3 w 270"/>
              <a:gd name="T87" fmla="*/ 56 h 176"/>
              <a:gd name="T88" fmla="*/ 11 w 270"/>
              <a:gd name="T89" fmla="*/ 68 h 176"/>
              <a:gd name="T90" fmla="*/ 14 w 270"/>
              <a:gd name="T91" fmla="*/ 84 h 176"/>
              <a:gd name="T92" fmla="*/ 20 w 270"/>
              <a:gd name="T93" fmla="*/ 101 h 176"/>
              <a:gd name="T94" fmla="*/ 26 w 270"/>
              <a:gd name="T95" fmla="*/ 109 h 176"/>
              <a:gd name="T96" fmla="*/ 25 w 270"/>
              <a:gd name="T97" fmla="*/ 118 h 176"/>
              <a:gd name="T98" fmla="*/ 28 w 270"/>
              <a:gd name="T99" fmla="*/ 125 h 176"/>
              <a:gd name="T100" fmla="*/ 25 w 270"/>
              <a:gd name="T101" fmla="*/ 133 h 176"/>
              <a:gd name="T102" fmla="*/ 24 w 270"/>
              <a:gd name="T103" fmla="*/ 135 h 176"/>
              <a:gd name="T104" fmla="*/ 43 w 270"/>
              <a:gd name="T105" fmla="*/ 140 h 176"/>
              <a:gd name="T106" fmla="*/ 64 w 270"/>
              <a:gd name="T107" fmla="*/ 150 h 176"/>
              <a:gd name="T108" fmla="*/ 81 w 270"/>
              <a:gd name="T109" fmla="*/ 175 h 176"/>
              <a:gd name="T110" fmla="*/ 109 w 270"/>
              <a:gd name="T111" fmla="*/ 168 h 176"/>
              <a:gd name="T112" fmla="*/ 126 w 270"/>
              <a:gd name="T113" fmla="*/ 172 h 176"/>
              <a:gd name="T114" fmla="*/ 154 w 270"/>
              <a:gd name="T115" fmla="*/ 168 h 176"/>
              <a:gd name="T116" fmla="*/ 179 w 270"/>
              <a:gd name="T117" fmla="*/ 158 h 176"/>
              <a:gd name="T118" fmla="*/ 199 w 270"/>
              <a:gd name="T119" fmla="*/ 154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0" h="176">
                <a:moveTo>
                  <a:pt x="63" y="94"/>
                </a:moveTo>
                <a:cubicBezTo>
                  <a:pt x="63" y="94"/>
                  <a:pt x="63" y="94"/>
                  <a:pt x="63" y="94"/>
                </a:cubicBezTo>
                <a:cubicBezTo>
                  <a:pt x="63" y="94"/>
                  <a:pt x="63" y="93"/>
                  <a:pt x="63" y="93"/>
                </a:cubicBezTo>
                <a:cubicBezTo>
                  <a:pt x="63" y="93"/>
                  <a:pt x="63" y="92"/>
                  <a:pt x="63" y="92"/>
                </a:cubicBezTo>
                <a:cubicBezTo>
                  <a:pt x="63" y="92"/>
                  <a:pt x="63" y="91"/>
                  <a:pt x="64" y="91"/>
                </a:cubicBezTo>
                <a:cubicBezTo>
                  <a:pt x="64" y="91"/>
                  <a:pt x="64" y="91"/>
                  <a:pt x="64" y="90"/>
                </a:cubicBezTo>
                <a:cubicBezTo>
                  <a:pt x="64" y="90"/>
                  <a:pt x="64" y="90"/>
                  <a:pt x="64" y="90"/>
                </a:cubicBezTo>
                <a:cubicBezTo>
                  <a:pt x="65" y="90"/>
                  <a:pt x="65" y="90"/>
                  <a:pt x="65" y="90"/>
                </a:cubicBezTo>
                <a:cubicBezTo>
                  <a:pt x="65" y="90"/>
                  <a:pt x="65" y="91"/>
                  <a:pt x="65" y="91"/>
                </a:cubicBezTo>
                <a:cubicBezTo>
                  <a:pt x="65" y="91"/>
                  <a:pt x="65" y="92"/>
                  <a:pt x="65" y="92"/>
                </a:cubicBezTo>
                <a:cubicBezTo>
                  <a:pt x="65" y="93"/>
                  <a:pt x="65" y="93"/>
                  <a:pt x="65" y="93"/>
                </a:cubicBezTo>
                <a:cubicBezTo>
                  <a:pt x="66" y="93"/>
                  <a:pt x="66" y="93"/>
                  <a:pt x="65" y="93"/>
                </a:cubicBezTo>
                <a:cubicBezTo>
                  <a:pt x="65" y="94"/>
                  <a:pt x="65" y="94"/>
                  <a:pt x="65" y="94"/>
                </a:cubicBezTo>
                <a:cubicBezTo>
                  <a:pt x="65" y="94"/>
                  <a:pt x="65" y="95"/>
                  <a:pt x="65" y="95"/>
                </a:cubicBezTo>
                <a:cubicBezTo>
                  <a:pt x="65" y="95"/>
                  <a:pt x="64" y="95"/>
                  <a:pt x="64" y="95"/>
                </a:cubicBezTo>
                <a:cubicBezTo>
                  <a:pt x="64" y="95"/>
                  <a:pt x="64" y="95"/>
                  <a:pt x="63" y="94"/>
                </a:cubicBezTo>
                <a:close/>
                <a:moveTo>
                  <a:pt x="77" y="85"/>
                </a:moveTo>
                <a:cubicBezTo>
                  <a:pt x="77" y="85"/>
                  <a:pt x="77" y="85"/>
                  <a:pt x="77" y="86"/>
                </a:cubicBezTo>
                <a:cubicBezTo>
                  <a:pt x="77" y="86"/>
                  <a:pt x="77" y="87"/>
                  <a:pt x="77" y="87"/>
                </a:cubicBezTo>
                <a:cubicBezTo>
                  <a:pt x="78" y="87"/>
                  <a:pt x="78" y="86"/>
                  <a:pt x="78" y="86"/>
                </a:cubicBezTo>
                <a:cubicBezTo>
                  <a:pt x="78" y="86"/>
                  <a:pt x="79" y="86"/>
                  <a:pt x="79" y="85"/>
                </a:cubicBezTo>
                <a:cubicBezTo>
                  <a:pt x="79" y="85"/>
                  <a:pt x="79" y="84"/>
                  <a:pt x="79" y="83"/>
                </a:cubicBezTo>
                <a:cubicBezTo>
                  <a:pt x="79" y="82"/>
                  <a:pt x="79" y="82"/>
                  <a:pt x="79" y="81"/>
                </a:cubicBezTo>
                <a:cubicBezTo>
                  <a:pt x="79" y="80"/>
                  <a:pt x="79" y="79"/>
                  <a:pt x="78" y="79"/>
                </a:cubicBezTo>
                <a:cubicBezTo>
                  <a:pt x="78" y="79"/>
                  <a:pt x="78" y="80"/>
                  <a:pt x="77" y="81"/>
                </a:cubicBezTo>
                <a:cubicBezTo>
                  <a:pt x="77" y="81"/>
                  <a:pt x="77" y="81"/>
                  <a:pt x="77" y="82"/>
                </a:cubicBezTo>
                <a:cubicBezTo>
                  <a:pt x="77" y="82"/>
                  <a:pt x="77" y="82"/>
                  <a:pt x="77" y="82"/>
                </a:cubicBezTo>
                <a:cubicBezTo>
                  <a:pt x="77" y="83"/>
                  <a:pt x="77" y="84"/>
                  <a:pt x="77" y="85"/>
                </a:cubicBezTo>
                <a:close/>
                <a:moveTo>
                  <a:pt x="77" y="49"/>
                </a:moveTo>
                <a:cubicBezTo>
                  <a:pt x="77" y="49"/>
                  <a:pt x="77" y="50"/>
                  <a:pt x="76" y="50"/>
                </a:cubicBezTo>
                <a:cubicBezTo>
                  <a:pt x="76" y="51"/>
                  <a:pt x="76" y="51"/>
                  <a:pt x="76" y="50"/>
                </a:cubicBezTo>
                <a:cubicBezTo>
                  <a:pt x="76" y="50"/>
                  <a:pt x="76" y="49"/>
                  <a:pt x="76" y="49"/>
                </a:cubicBezTo>
                <a:cubicBezTo>
                  <a:pt x="75" y="49"/>
                  <a:pt x="76" y="48"/>
                  <a:pt x="75" y="48"/>
                </a:cubicBezTo>
                <a:cubicBezTo>
                  <a:pt x="75" y="47"/>
                  <a:pt x="75" y="47"/>
                  <a:pt x="75" y="46"/>
                </a:cubicBezTo>
                <a:cubicBezTo>
                  <a:pt x="75" y="46"/>
                  <a:pt x="75" y="46"/>
                  <a:pt x="75" y="45"/>
                </a:cubicBezTo>
                <a:cubicBezTo>
                  <a:pt x="75" y="45"/>
                  <a:pt x="75" y="45"/>
                  <a:pt x="75" y="45"/>
                </a:cubicBezTo>
                <a:cubicBezTo>
                  <a:pt x="75" y="44"/>
                  <a:pt x="75" y="44"/>
                  <a:pt x="74" y="44"/>
                </a:cubicBezTo>
                <a:cubicBezTo>
                  <a:pt x="74" y="44"/>
                  <a:pt x="74" y="43"/>
                  <a:pt x="74" y="43"/>
                </a:cubicBezTo>
                <a:cubicBezTo>
                  <a:pt x="74" y="43"/>
                  <a:pt x="74" y="43"/>
                  <a:pt x="73" y="42"/>
                </a:cubicBezTo>
                <a:cubicBezTo>
                  <a:pt x="73" y="42"/>
                  <a:pt x="73" y="43"/>
                  <a:pt x="72" y="42"/>
                </a:cubicBezTo>
                <a:cubicBezTo>
                  <a:pt x="72" y="42"/>
                  <a:pt x="72" y="42"/>
                  <a:pt x="72" y="42"/>
                </a:cubicBezTo>
                <a:cubicBezTo>
                  <a:pt x="72" y="42"/>
                  <a:pt x="71" y="41"/>
                  <a:pt x="71" y="41"/>
                </a:cubicBezTo>
                <a:cubicBezTo>
                  <a:pt x="71" y="41"/>
                  <a:pt x="71" y="40"/>
                  <a:pt x="71" y="40"/>
                </a:cubicBezTo>
                <a:cubicBezTo>
                  <a:pt x="72" y="40"/>
                  <a:pt x="72" y="40"/>
                  <a:pt x="72" y="39"/>
                </a:cubicBezTo>
                <a:cubicBezTo>
                  <a:pt x="72" y="39"/>
                  <a:pt x="72" y="39"/>
                  <a:pt x="73" y="39"/>
                </a:cubicBezTo>
                <a:cubicBezTo>
                  <a:pt x="73" y="39"/>
                  <a:pt x="73" y="39"/>
                  <a:pt x="73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4" y="39"/>
                  <a:pt x="74" y="38"/>
                  <a:pt x="74" y="38"/>
                </a:cubicBezTo>
                <a:cubicBezTo>
                  <a:pt x="75" y="38"/>
                  <a:pt x="75" y="38"/>
                  <a:pt x="75" y="38"/>
                </a:cubicBezTo>
                <a:cubicBezTo>
                  <a:pt x="75" y="38"/>
                  <a:pt x="75" y="38"/>
                  <a:pt x="75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7"/>
                  <a:pt x="77" y="37"/>
                  <a:pt x="77" y="36"/>
                </a:cubicBezTo>
                <a:cubicBezTo>
                  <a:pt x="77" y="36"/>
                  <a:pt x="76" y="35"/>
                  <a:pt x="75" y="35"/>
                </a:cubicBezTo>
                <a:cubicBezTo>
                  <a:pt x="74" y="35"/>
                  <a:pt x="74" y="34"/>
                  <a:pt x="73" y="33"/>
                </a:cubicBezTo>
                <a:cubicBezTo>
                  <a:pt x="73" y="33"/>
                  <a:pt x="72" y="33"/>
                  <a:pt x="72" y="33"/>
                </a:cubicBezTo>
                <a:cubicBezTo>
                  <a:pt x="72" y="34"/>
                  <a:pt x="72" y="34"/>
                  <a:pt x="71" y="34"/>
                </a:cubicBezTo>
                <a:cubicBezTo>
                  <a:pt x="71" y="34"/>
                  <a:pt x="71" y="35"/>
                  <a:pt x="71" y="35"/>
                </a:cubicBezTo>
                <a:cubicBezTo>
                  <a:pt x="71" y="36"/>
                  <a:pt x="70" y="36"/>
                  <a:pt x="70" y="36"/>
                </a:cubicBezTo>
                <a:cubicBezTo>
                  <a:pt x="70" y="37"/>
                  <a:pt x="70" y="37"/>
                  <a:pt x="70" y="37"/>
                </a:cubicBezTo>
                <a:cubicBezTo>
                  <a:pt x="70" y="38"/>
                  <a:pt x="70" y="38"/>
                  <a:pt x="70" y="39"/>
                </a:cubicBezTo>
                <a:cubicBezTo>
                  <a:pt x="69" y="39"/>
                  <a:pt x="69" y="39"/>
                  <a:pt x="69" y="40"/>
                </a:cubicBezTo>
                <a:cubicBezTo>
                  <a:pt x="69" y="40"/>
                  <a:pt x="69" y="40"/>
                  <a:pt x="69" y="41"/>
                </a:cubicBezTo>
                <a:cubicBezTo>
                  <a:pt x="69" y="41"/>
                  <a:pt x="69" y="41"/>
                  <a:pt x="69" y="42"/>
                </a:cubicBezTo>
                <a:cubicBezTo>
                  <a:pt x="69" y="42"/>
                  <a:pt x="69" y="42"/>
                  <a:pt x="69" y="43"/>
                </a:cubicBezTo>
                <a:cubicBezTo>
                  <a:pt x="70" y="43"/>
                  <a:pt x="70" y="44"/>
                  <a:pt x="71" y="44"/>
                </a:cubicBezTo>
                <a:cubicBezTo>
                  <a:pt x="71" y="45"/>
                  <a:pt x="72" y="45"/>
                  <a:pt x="73" y="45"/>
                </a:cubicBezTo>
                <a:cubicBezTo>
                  <a:pt x="73" y="45"/>
                  <a:pt x="73" y="45"/>
                  <a:pt x="73" y="46"/>
                </a:cubicBezTo>
                <a:cubicBezTo>
                  <a:pt x="73" y="47"/>
                  <a:pt x="73" y="48"/>
                  <a:pt x="73" y="49"/>
                </a:cubicBezTo>
                <a:cubicBezTo>
                  <a:pt x="74" y="49"/>
                  <a:pt x="74" y="50"/>
                  <a:pt x="74" y="50"/>
                </a:cubicBezTo>
                <a:cubicBezTo>
                  <a:pt x="74" y="50"/>
                  <a:pt x="74" y="50"/>
                  <a:pt x="74" y="51"/>
                </a:cubicBezTo>
                <a:cubicBezTo>
                  <a:pt x="74" y="51"/>
                  <a:pt x="74" y="52"/>
                  <a:pt x="75" y="52"/>
                </a:cubicBezTo>
                <a:cubicBezTo>
                  <a:pt x="75" y="52"/>
                  <a:pt x="75" y="53"/>
                  <a:pt x="75" y="53"/>
                </a:cubicBezTo>
                <a:cubicBezTo>
                  <a:pt x="75" y="53"/>
                  <a:pt x="75" y="53"/>
                  <a:pt x="75" y="53"/>
                </a:cubicBezTo>
                <a:cubicBezTo>
                  <a:pt x="76" y="54"/>
                  <a:pt x="76" y="54"/>
                  <a:pt x="76" y="55"/>
                </a:cubicBezTo>
                <a:cubicBezTo>
                  <a:pt x="76" y="55"/>
                  <a:pt x="76" y="54"/>
                  <a:pt x="76" y="54"/>
                </a:cubicBezTo>
                <a:cubicBezTo>
                  <a:pt x="77" y="54"/>
                  <a:pt x="77" y="54"/>
                  <a:pt x="77" y="54"/>
                </a:cubicBezTo>
                <a:cubicBezTo>
                  <a:pt x="77" y="54"/>
                  <a:pt x="77" y="54"/>
                  <a:pt x="78" y="53"/>
                </a:cubicBezTo>
                <a:cubicBezTo>
                  <a:pt x="78" y="53"/>
                  <a:pt x="78" y="53"/>
                  <a:pt x="79" y="54"/>
                </a:cubicBezTo>
                <a:cubicBezTo>
                  <a:pt x="79" y="54"/>
                  <a:pt x="79" y="55"/>
                  <a:pt x="79" y="55"/>
                </a:cubicBezTo>
                <a:cubicBezTo>
                  <a:pt x="79" y="56"/>
                  <a:pt x="79" y="56"/>
                  <a:pt x="79" y="57"/>
                </a:cubicBezTo>
                <a:cubicBezTo>
                  <a:pt x="79" y="57"/>
                  <a:pt x="79" y="58"/>
                  <a:pt x="80" y="58"/>
                </a:cubicBezTo>
                <a:cubicBezTo>
                  <a:pt x="80" y="58"/>
                  <a:pt x="81" y="57"/>
                  <a:pt x="81" y="57"/>
                </a:cubicBezTo>
                <a:cubicBezTo>
                  <a:pt x="81" y="57"/>
                  <a:pt x="81" y="57"/>
                  <a:pt x="82" y="56"/>
                </a:cubicBezTo>
                <a:cubicBezTo>
                  <a:pt x="82" y="56"/>
                  <a:pt x="82" y="56"/>
                  <a:pt x="82" y="56"/>
                </a:cubicBezTo>
                <a:cubicBezTo>
                  <a:pt x="82" y="55"/>
                  <a:pt x="82" y="54"/>
                  <a:pt x="82" y="54"/>
                </a:cubicBezTo>
                <a:cubicBezTo>
                  <a:pt x="82" y="54"/>
                  <a:pt x="82" y="54"/>
                  <a:pt x="82" y="53"/>
                </a:cubicBezTo>
                <a:cubicBezTo>
                  <a:pt x="82" y="53"/>
                  <a:pt x="81" y="53"/>
                  <a:pt x="81" y="52"/>
                </a:cubicBezTo>
                <a:cubicBezTo>
                  <a:pt x="81" y="52"/>
                  <a:pt x="81" y="51"/>
                  <a:pt x="81" y="51"/>
                </a:cubicBezTo>
                <a:cubicBezTo>
                  <a:pt x="80" y="50"/>
                  <a:pt x="80" y="50"/>
                  <a:pt x="79" y="50"/>
                </a:cubicBezTo>
                <a:cubicBezTo>
                  <a:pt x="79" y="49"/>
                  <a:pt x="78" y="50"/>
                  <a:pt x="78" y="49"/>
                </a:cubicBezTo>
                <a:cubicBezTo>
                  <a:pt x="78" y="49"/>
                  <a:pt x="77" y="49"/>
                  <a:pt x="77" y="49"/>
                </a:cubicBezTo>
                <a:cubicBezTo>
                  <a:pt x="77" y="48"/>
                  <a:pt x="77" y="48"/>
                  <a:pt x="77" y="48"/>
                </a:cubicBezTo>
                <a:cubicBezTo>
                  <a:pt x="77" y="48"/>
                  <a:pt x="77" y="49"/>
                  <a:pt x="77" y="49"/>
                </a:cubicBezTo>
                <a:close/>
                <a:moveTo>
                  <a:pt x="59" y="27"/>
                </a:moveTo>
                <a:cubicBezTo>
                  <a:pt x="59" y="26"/>
                  <a:pt x="60" y="25"/>
                  <a:pt x="59" y="25"/>
                </a:cubicBezTo>
                <a:cubicBezTo>
                  <a:pt x="59" y="25"/>
                  <a:pt x="59" y="24"/>
                  <a:pt x="59" y="24"/>
                </a:cubicBezTo>
                <a:cubicBezTo>
                  <a:pt x="59" y="24"/>
                  <a:pt x="59" y="24"/>
                  <a:pt x="58" y="23"/>
                </a:cubicBezTo>
                <a:cubicBezTo>
                  <a:pt x="58" y="23"/>
                  <a:pt x="57" y="23"/>
                  <a:pt x="57" y="22"/>
                </a:cubicBezTo>
                <a:cubicBezTo>
                  <a:pt x="57" y="22"/>
                  <a:pt x="57" y="21"/>
                  <a:pt x="57" y="21"/>
                </a:cubicBezTo>
                <a:cubicBezTo>
                  <a:pt x="56" y="20"/>
                  <a:pt x="56" y="21"/>
                  <a:pt x="55" y="21"/>
                </a:cubicBezTo>
                <a:cubicBezTo>
                  <a:pt x="55" y="22"/>
                  <a:pt x="54" y="22"/>
                  <a:pt x="55" y="23"/>
                </a:cubicBezTo>
                <a:cubicBezTo>
                  <a:pt x="55" y="23"/>
                  <a:pt x="54" y="23"/>
                  <a:pt x="55" y="24"/>
                </a:cubicBezTo>
                <a:cubicBezTo>
                  <a:pt x="55" y="25"/>
                  <a:pt x="55" y="25"/>
                  <a:pt x="55" y="25"/>
                </a:cubicBezTo>
                <a:cubicBezTo>
                  <a:pt x="55" y="26"/>
                  <a:pt x="55" y="26"/>
                  <a:pt x="56" y="27"/>
                </a:cubicBezTo>
                <a:cubicBezTo>
                  <a:pt x="56" y="27"/>
                  <a:pt x="57" y="27"/>
                  <a:pt x="57" y="28"/>
                </a:cubicBezTo>
                <a:cubicBezTo>
                  <a:pt x="58" y="28"/>
                  <a:pt x="58" y="28"/>
                  <a:pt x="59" y="29"/>
                </a:cubicBezTo>
                <a:cubicBezTo>
                  <a:pt x="60" y="29"/>
                  <a:pt x="59" y="27"/>
                  <a:pt x="59" y="27"/>
                </a:cubicBezTo>
                <a:close/>
                <a:moveTo>
                  <a:pt x="64" y="30"/>
                </a:moveTo>
                <a:cubicBezTo>
                  <a:pt x="64" y="30"/>
                  <a:pt x="64" y="30"/>
                  <a:pt x="65" y="30"/>
                </a:cubicBezTo>
                <a:cubicBezTo>
                  <a:pt x="65" y="30"/>
                  <a:pt x="65" y="31"/>
                  <a:pt x="65" y="30"/>
                </a:cubicBezTo>
                <a:cubicBezTo>
                  <a:pt x="66" y="30"/>
                  <a:pt x="65" y="30"/>
                  <a:pt x="65" y="30"/>
                </a:cubicBezTo>
                <a:cubicBezTo>
                  <a:pt x="65" y="29"/>
                  <a:pt x="65" y="29"/>
                  <a:pt x="65" y="28"/>
                </a:cubicBezTo>
                <a:cubicBezTo>
                  <a:pt x="65" y="28"/>
                  <a:pt x="65" y="27"/>
                  <a:pt x="65" y="26"/>
                </a:cubicBezTo>
                <a:cubicBezTo>
                  <a:pt x="65" y="26"/>
                  <a:pt x="65" y="26"/>
                  <a:pt x="65" y="25"/>
                </a:cubicBezTo>
                <a:cubicBezTo>
                  <a:pt x="65" y="25"/>
                  <a:pt x="65" y="25"/>
                  <a:pt x="65" y="25"/>
                </a:cubicBezTo>
                <a:cubicBezTo>
                  <a:pt x="64" y="25"/>
                  <a:pt x="64" y="25"/>
                  <a:pt x="64" y="26"/>
                </a:cubicBezTo>
                <a:cubicBezTo>
                  <a:pt x="64" y="26"/>
                  <a:pt x="64" y="26"/>
                  <a:pt x="64" y="27"/>
                </a:cubicBezTo>
                <a:cubicBezTo>
                  <a:pt x="64" y="27"/>
                  <a:pt x="63" y="27"/>
                  <a:pt x="63" y="27"/>
                </a:cubicBezTo>
                <a:cubicBezTo>
                  <a:pt x="63" y="28"/>
                  <a:pt x="63" y="28"/>
                  <a:pt x="63" y="29"/>
                </a:cubicBezTo>
                <a:cubicBezTo>
                  <a:pt x="63" y="29"/>
                  <a:pt x="62" y="29"/>
                  <a:pt x="62" y="29"/>
                </a:cubicBezTo>
                <a:cubicBezTo>
                  <a:pt x="63" y="30"/>
                  <a:pt x="63" y="30"/>
                  <a:pt x="64" y="30"/>
                </a:cubicBezTo>
                <a:close/>
                <a:moveTo>
                  <a:pt x="63" y="18"/>
                </a:moveTo>
                <a:cubicBezTo>
                  <a:pt x="63" y="18"/>
                  <a:pt x="63" y="18"/>
                  <a:pt x="64" y="18"/>
                </a:cubicBezTo>
                <a:cubicBezTo>
                  <a:pt x="64" y="17"/>
                  <a:pt x="64" y="18"/>
                  <a:pt x="64" y="18"/>
                </a:cubicBezTo>
                <a:cubicBezTo>
                  <a:pt x="64" y="19"/>
                  <a:pt x="65" y="19"/>
                  <a:pt x="65" y="19"/>
                </a:cubicBezTo>
                <a:cubicBezTo>
                  <a:pt x="65" y="20"/>
                  <a:pt x="65" y="20"/>
                  <a:pt x="66" y="20"/>
                </a:cubicBezTo>
                <a:cubicBezTo>
                  <a:pt x="66" y="21"/>
                  <a:pt x="66" y="21"/>
                  <a:pt x="66" y="21"/>
                </a:cubicBezTo>
                <a:cubicBezTo>
                  <a:pt x="66" y="22"/>
                  <a:pt x="67" y="21"/>
                  <a:pt x="67" y="21"/>
                </a:cubicBezTo>
                <a:cubicBezTo>
                  <a:pt x="67" y="21"/>
                  <a:pt x="68" y="20"/>
                  <a:pt x="68" y="20"/>
                </a:cubicBezTo>
                <a:cubicBezTo>
                  <a:pt x="69" y="20"/>
                  <a:pt x="69" y="19"/>
                  <a:pt x="69" y="19"/>
                </a:cubicBezTo>
                <a:cubicBezTo>
                  <a:pt x="69" y="18"/>
                  <a:pt x="68" y="18"/>
                  <a:pt x="68" y="18"/>
                </a:cubicBezTo>
                <a:cubicBezTo>
                  <a:pt x="67" y="18"/>
                  <a:pt x="67" y="18"/>
                  <a:pt x="67" y="17"/>
                </a:cubicBezTo>
                <a:cubicBezTo>
                  <a:pt x="67" y="17"/>
                  <a:pt x="66" y="17"/>
                  <a:pt x="66" y="17"/>
                </a:cubicBezTo>
                <a:cubicBezTo>
                  <a:pt x="65" y="17"/>
                  <a:pt x="65" y="16"/>
                  <a:pt x="64" y="16"/>
                </a:cubicBezTo>
                <a:cubicBezTo>
                  <a:pt x="64" y="16"/>
                  <a:pt x="63" y="16"/>
                  <a:pt x="62" y="16"/>
                </a:cubicBezTo>
                <a:cubicBezTo>
                  <a:pt x="62" y="16"/>
                  <a:pt x="62" y="17"/>
                  <a:pt x="61" y="17"/>
                </a:cubicBezTo>
                <a:cubicBezTo>
                  <a:pt x="61" y="17"/>
                  <a:pt x="61" y="18"/>
                  <a:pt x="60" y="18"/>
                </a:cubicBezTo>
                <a:cubicBezTo>
                  <a:pt x="60" y="19"/>
                  <a:pt x="59" y="19"/>
                  <a:pt x="60" y="19"/>
                </a:cubicBezTo>
                <a:cubicBezTo>
                  <a:pt x="60" y="20"/>
                  <a:pt x="60" y="20"/>
                  <a:pt x="60" y="20"/>
                </a:cubicBezTo>
                <a:cubicBezTo>
                  <a:pt x="60" y="21"/>
                  <a:pt x="60" y="21"/>
                  <a:pt x="61" y="21"/>
                </a:cubicBezTo>
                <a:cubicBezTo>
                  <a:pt x="61" y="21"/>
                  <a:pt x="61" y="21"/>
                  <a:pt x="61" y="22"/>
                </a:cubicBezTo>
                <a:cubicBezTo>
                  <a:pt x="61" y="22"/>
                  <a:pt x="61" y="22"/>
                  <a:pt x="61" y="22"/>
                </a:cubicBezTo>
                <a:cubicBezTo>
                  <a:pt x="62" y="22"/>
                  <a:pt x="62" y="22"/>
                  <a:pt x="63" y="22"/>
                </a:cubicBezTo>
                <a:cubicBezTo>
                  <a:pt x="63" y="22"/>
                  <a:pt x="63" y="22"/>
                  <a:pt x="64" y="22"/>
                </a:cubicBezTo>
                <a:cubicBezTo>
                  <a:pt x="64" y="22"/>
                  <a:pt x="64" y="22"/>
                  <a:pt x="64" y="21"/>
                </a:cubicBezTo>
                <a:cubicBezTo>
                  <a:pt x="64" y="21"/>
                  <a:pt x="64" y="20"/>
                  <a:pt x="64" y="20"/>
                </a:cubicBezTo>
                <a:cubicBezTo>
                  <a:pt x="64" y="20"/>
                  <a:pt x="63" y="19"/>
                  <a:pt x="63" y="19"/>
                </a:cubicBezTo>
                <a:cubicBezTo>
                  <a:pt x="63" y="19"/>
                  <a:pt x="63" y="19"/>
                  <a:pt x="63" y="18"/>
                </a:cubicBezTo>
                <a:close/>
                <a:moveTo>
                  <a:pt x="74" y="26"/>
                </a:moveTo>
                <a:cubicBezTo>
                  <a:pt x="74" y="26"/>
                  <a:pt x="75" y="25"/>
                  <a:pt x="74" y="25"/>
                </a:cubicBezTo>
                <a:cubicBezTo>
                  <a:pt x="74" y="25"/>
                  <a:pt x="74" y="25"/>
                  <a:pt x="74" y="24"/>
                </a:cubicBezTo>
                <a:cubicBezTo>
                  <a:pt x="74" y="24"/>
                  <a:pt x="73" y="23"/>
                  <a:pt x="73" y="24"/>
                </a:cubicBezTo>
                <a:cubicBezTo>
                  <a:pt x="73" y="24"/>
                  <a:pt x="73" y="24"/>
                  <a:pt x="73" y="24"/>
                </a:cubicBezTo>
                <a:cubicBezTo>
                  <a:pt x="73" y="25"/>
                  <a:pt x="73" y="25"/>
                  <a:pt x="73" y="25"/>
                </a:cubicBezTo>
                <a:cubicBezTo>
                  <a:pt x="73" y="26"/>
                  <a:pt x="74" y="26"/>
                  <a:pt x="74" y="26"/>
                </a:cubicBezTo>
                <a:close/>
                <a:moveTo>
                  <a:pt x="269" y="147"/>
                </a:moveTo>
                <a:cubicBezTo>
                  <a:pt x="269" y="146"/>
                  <a:pt x="270" y="145"/>
                  <a:pt x="269" y="145"/>
                </a:cubicBezTo>
                <a:cubicBezTo>
                  <a:pt x="269" y="145"/>
                  <a:pt x="268" y="145"/>
                  <a:pt x="268" y="144"/>
                </a:cubicBezTo>
                <a:cubicBezTo>
                  <a:pt x="268" y="143"/>
                  <a:pt x="268" y="141"/>
                  <a:pt x="268" y="141"/>
                </a:cubicBezTo>
                <a:cubicBezTo>
                  <a:pt x="268" y="140"/>
                  <a:pt x="268" y="139"/>
                  <a:pt x="267" y="139"/>
                </a:cubicBezTo>
                <a:cubicBezTo>
                  <a:pt x="266" y="138"/>
                  <a:pt x="265" y="137"/>
                  <a:pt x="265" y="137"/>
                </a:cubicBezTo>
                <a:cubicBezTo>
                  <a:pt x="265" y="136"/>
                  <a:pt x="265" y="136"/>
                  <a:pt x="265" y="135"/>
                </a:cubicBezTo>
                <a:cubicBezTo>
                  <a:pt x="265" y="135"/>
                  <a:pt x="266" y="133"/>
                  <a:pt x="266" y="133"/>
                </a:cubicBezTo>
                <a:cubicBezTo>
                  <a:pt x="266" y="0"/>
                  <a:pt x="266" y="0"/>
                  <a:pt x="266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1"/>
                  <a:pt x="69" y="2"/>
                  <a:pt x="69" y="2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3"/>
                  <a:pt x="69" y="3"/>
                  <a:pt x="68" y="3"/>
                </a:cubicBezTo>
                <a:cubicBezTo>
                  <a:pt x="68" y="3"/>
                  <a:pt x="68" y="2"/>
                  <a:pt x="68" y="2"/>
                </a:cubicBezTo>
                <a:cubicBezTo>
                  <a:pt x="67" y="2"/>
                  <a:pt x="67" y="3"/>
                  <a:pt x="67" y="3"/>
                </a:cubicBezTo>
                <a:cubicBezTo>
                  <a:pt x="67" y="3"/>
                  <a:pt x="66" y="3"/>
                  <a:pt x="66" y="4"/>
                </a:cubicBezTo>
                <a:cubicBezTo>
                  <a:pt x="67" y="4"/>
                  <a:pt x="68" y="4"/>
                  <a:pt x="68" y="4"/>
                </a:cubicBezTo>
                <a:cubicBezTo>
                  <a:pt x="69" y="4"/>
                  <a:pt x="68" y="4"/>
                  <a:pt x="68" y="5"/>
                </a:cubicBezTo>
                <a:cubicBezTo>
                  <a:pt x="68" y="5"/>
                  <a:pt x="68" y="5"/>
                  <a:pt x="68" y="6"/>
                </a:cubicBezTo>
                <a:cubicBezTo>
                  <a:pt x="68" y="6"/>
                  <a:pt x="67" y="6"/>
                  <a:pt x="67" y="6"/>
                </a:cubicBezTo>
                <a:cubicBezTo>
                  <a:pt x="67" y="7"/>
                  <a:pt x="68" y="7"/>
                  <a:pt x="68" y="7"/>
                </a:cubicBezTo>
                <a:cubicBezTo>
                  <a:pt x="68" y="8"/>
                  <a:pt x="69" y="8"/>
                  <a:pt x="69" y="8"/>
                </a:cubicBezTo>
                <a:cubicBezTo>
                  <a:pt x="69" y="8"/>
                  <a:pt x="69" y="8"/>
                  <a:pt x="70" y="8"/>
                </a:cubicBezTo>
                <a:cubicBezTo>
                  <a:pt x="70" y="9"/>
                  <a:pt x="70" y="9"/>
                  <a:pt x="70" y="10"/>
                </a:cubicBezTo>
                <a:cubicBezTo>
                  <a:pt x="70" y="10"/>
                  <a:pt x="70" y="11"/>
                  <a:pt x="70" y="11"/>
                </a:cubicBezTo>
                <a:cubicBezTo>
                  <a:pt x="70" y="11"/>
                  <a:pt x="71" y="12"/>
                  <a:pt x="71" y="12"/>
                </a:cubicBezTo>
                <a:cubicBezTo>
                  <a:pt x="71" y="12"/>
                  <a:pt x="71" y="12"/>
                  <a:pt x="72" y="12"/>
                </a:cubicBezTo>
                <a:cubicBezTo>
                  <a:pt x="72" y="12"/>
                  <a:pt x="72" y="12"/>
                  <a:pt x="72" y="13"/>
                </a:cubicBezTo>
                <a:cubicBezTo>
                  <a:pt x="72" y="13"/>
                  <a:pt x="72" y="13"/>
                  <a:pt x="72" y="14"/>
                </a:cubicBezTo>
                <a:cubicBezTo>
                  <a:pt x="72" y="14"/>
                  <a:pt x="73" y="15"/>
                  <a:pt x="73" y="14"/>
                </a:cubicBezTo>
                <a:cubicBezTo>
                  <a:pt x="73" y="14"/>
                  <a:pt x="73" y="14"/>
                  <a:pt x="73" y="13"/>
                </a:cubicBezTo>
                <a:cubicBezTo>
                  <a:pt x="73" y="13"/>
                  <a:pt x="74" y="13"/>
                  <a:pt x="74" y="12"/>
                </a:cubicBezTo>
                <a:cubicBezTo>
                  <a:pt x="74" y="12"/>
                  <a:pt x="75" y="13"/>
                  <a:pt x="76" y="13"/>
                </a:cubicBezTo>
                <a:cubicBezTo>
                  <a:pt x="76" y="13"/>
                  <a:pt x="76" y="13"/>
                  <a:pt x="76" y="13"/>
                </a:cubicBezTo>
                <a:cubicBezTo>
                  <a:pt x="76" y="14"/>
                  <a:pt x="76" y="14"/>
                  <a:pt x="77" y="14"/>
                </a:cubicBezTo>
                <a:cubicBezTo>
                  <a:pt x="77" y="14"/>
                  <a:pt x="78" y="14"/>
                  <a:pt x="78" y="14"/>
                </a:cubicBezTo>
                <a:cubicBezTo>
                  <a:pt x="78" y="14"/>
                  <a:pt x="78" y="15"/>
                  <a:pt x="78" y="15"/>
                </a:cubicBezTo>
                <a:cubicBezTo>
                  <a:pt x="78" y="15"/>
                  <a:pt x="77" y="15"/>
                  <a:pt x="77" y="16"/>
                </a:cubicBezTo>
                <a:cubicBezTo>
                  <a:pt x="77" y="16"/>
                  <a:pt x="77" y="17"/>
                  <a:pt x="77" y="18"/>
                </a:cubicBezTo>
                <a:cubicBezTo>
                  <a:pt x="78" y="18"/>
                  <a:pt x="78" y="18"/>
                  <a:pt x="78" y="18"/>
                </a:cubicBezTo>
                <a:cubicBezTo>
                  <a:pt x="78" y="19"/>
                  <a:pt x="78" y="19"/>
                  <a:pt x="79" y="19"/>
                </a:cubicBezTo>
                <a:cubicBezTo>
                  <a:pt x="79" y="20"/>
                  <a:pt x="79" y="20"/>
                  <a:pt x="79" y="21"/>
                </a:cubicBezTo>
                <a:cubicBezTo>
                  <a:pt x="79" y="21"/>
                  <a:pt x="80" y="21"/>
                  <a:pt x="80" y="21"/>
                </a:cubicBezTo>
                <a:cubicBezTo>
                  <a:pt x="80" y="22"/>
                  <a:pt x="80" y="22"/>
                  <a:pt x="79" y="23"/>
                </a:cubicBezTo>
                <a:cubicBezTo>
                  <a:pt x="79" y="23"/>
                  <a:pt x="78" y="23"/>
                  <a:pt x="78" y="23"/>
                </a:cubicBezTo>
                <a:cubicBezTo>
                  <a:pt x="78" y="23"/>
                  <a:pt x="77" y="24"/>
                  <a:pt x="77" y="24"/>
                </a:cubicBezTo>
                <a:cubicBezTo>
                  <a:pt x="78" y="24"/>
                  <a:pt x="78" y="24"/>
                  <a:pt x="78" y="25"/>
                </a:cubicBezTo>
                <a:cubicBezTo>
                  <a:pt x="78" y="25"/>
                  <a:pt x="78" y="25"/>
                  <a:pt x="78" y="25"/>
                </a:cubicBezTo>
                <a:cubicBezTo>
                  <a:pt x="78" y="26"/>
                  <a:pt x="78" y="27"/>
                  <a:pt x="78" y="28"/>
                </a:cubicBezTo>
                <a:cubicBezTo>
                  <a:pt x="78" y="28"/>
                  <a:pt x="78" y="29"/>
                  <a:pt x="78" y="29"/>
                </a:cubicBezTo>
                <a:cubicBezTo>
                  <a:pt x="78" y="29"/>
                  <a:pt x="77" y="29"/>
                  <a:pt x="77" y="29"/>
                </a:cubicBezTo>
                <a:cubicBezTo>
                  <a:pt x="77" y="29"/>
                  <a:pt x="77" y="29"/>
                  <a:pt x="76" y="29"/>
                </a:cubicBezTo>
                <a:cubicBezTo>
                  <a:pt x="76" y="29"/>
                  <a:pt x="76" y="29"/>
                  <a:pt x="76" y="29"/>
                </a:cubicBezTo>
                <a:cubicBezTo>
                  <a:pt x="76" y="28"/>
                  <a:pt x="76" y="28"/>
                  <a:pt x="75" y="28"/>
                </a:cubicBezTo>
                <a:cubicBezTo>
                  <a:pt x="75" y="27"/>
                  <a:pt x="75" y="27"/>
                  <a:pt x="74" y="27"/>
                </a:cubicBezTo>
                <a:cubicBezTo>
                  <a:pt x="74" y="27"/>
                  <a:pt x="73" y="26"/>
                  <a:pt x="73" y="27"/>
                </a:cubicBezTo>
                <a:cubicBezTo>
                  <a:pt x="72" y="27"/>
                  <a:pt x="72" y="27"/>
                  <a:pt x="72" y="28"/>
                </a:cubicBezTo>
                <a:cubicBezTo>
                  <a:pt x="72" y="28"/>
                  <a:pt x="72" y="29"/>
                  <a:pt x="72" y="29"/>
                </a:cubicBezTo>
                <a:cubicBezTo>
                  <a:pt x="72" y="29"/>
                  <a:pt x="71" y="30"/>
                  <a:pt x="72" y="30"/>
                </a:cubicBezTo>
                <a:cubicBezTo>
                  <a:pt x="72" y="30"/>
                  <a:pt x="72" y="31"/>
                  <a:pt x="72" y="31"/>
                </a:cubicBezTo>
                <a:cubicBezTo>
                  <a:pt x="73" y="31"/>
                  <a:pt x="72" y="32"/>
                  <a:pt x="73" y="32"/>
                </a:cubicBezTo>
                <a:cubicBezTo>
                  <a:pt x="73" y="32"/>
                  <a:pt x="73" y="32"/>
                  <a:pt x="73" y="31"/>
                </a:cubicBezTo>
                <a:cubicBezTo>
                  <a:pt x="74" y="31"/>
                  <a:pt x="74" y="31"/>
                  <a:pt x="74" y="31"/>
                </a:cubicBezTo>
                <a:cubicBezTo>
                  <a:pt x="74" y="31"/>
                  <a:pt x="75" y="31"/>
                  <a:pt x="75" y="31"/>
                </a:cubicBezTo>
                <a:cubicBezTo>
                  <a:pt x="75" y="32"/>
                  <a:pt x="76" y="32"/>
                  <a:pt x="76" y="32"/>
                </a:cubicBezTo>
                <a:cubicBezTo>
                  <a:pt x="76" y="32"/>
                  <a:pt x="76" y="33"/>
                  <a:pt x="76" y="33"/>
                </a:cubicBezTo>
                <a:cubicBezTo>
                  <a:pt x="76" y="33"/>
                  <a:pt x="77" y="33"/>
                  <a:pt x="77" y="34"/>
                </a:cubicBezTo>
                <a:cubicBezTo>
                  <a:pt x="77" y="34"/>
                  <a:pt x="77" y="34"/>
                  <a:pt x="78" y="34"/>
                </a:cubicBezTo>
                <a:cubicBezTo>
                  <a:pt x="78" y="34"/>
                  <a:pt x="78" y="34"/>
                  <a:pt x="79" y="35"/>
                </a:cubicBezTo>
                <a:cubicBezTo>
                  <a:pt x="79" y="35"/>
                  <a:pt x="80" y="35"/>
                  <a:pt x="80" y="35"/>
                </a:cubicBezTo>
                <a:cubicBezTo>
                  <a:pt x="80" y="35"/>
                  <a:pt x="80" y="35"/>
                  <a:pt x="80" y="36"/>
                </a:cubicBezTo>
                <a:cubicBezTo>
                  <a:pt x="80" y="36"/>
                  <a:pt x="81" y="36"/>
                  <a:pt x="81" y="36"/>
                </a:cubicBezTo>
                <a:cubicBezTo>
                  <a:pt x="81" y="36"/>
                  <a:pt x="82" y="36"/>
                  <a:pt x="82" y="36"/>
                </a:cubicBezTo>
                <a:cubicBezTo>
                  <a:pt x="82" y="37"/>
                  <a:pt x="82" y="37"/>
                  <a:pt x="83" y="37"/>
                </a:cubicBezTo>
                <a:cubicBezTo>
                  <a:pt x="83" y="37"/>
                  <a:pt x="83" y="37"/>
                  <a:pt x="83" y="37"/>
                </a:cubicBezTo>
                <a:cubicBezTo>
                  <a:pt x="83" y="37"/>
                  <a:pt x="83" y="37"/>
                  <a:pt x="83" y="37"/>
                </a:cubicBezTo>
                <a:cubicBezTo>
                  <a:pt x="82" y="38"/>
                  <a:pt x="82" y="38"/>
                  <a:pt x="82" y="38"/>
                </a:cubicBezTo>
                <a:cubicBezTo>
                  <a:pt x="82" y="38"/>
                  <a:pt x="82" y="39"/>
                  <a:pt x="81" y="39"/>
                </a:cubicBezTo>
                <a:cubicBezTo>
                  <a:pt x="81" y="39"/>
                  <a:pt x="81" y="40"/>
                  <a:pt x="81" y="40"/>
                </a:cubicBezTo>
                <a:cubicBezTo>
                  <a:pt x="81" y="40"/>
                  <a:pt x="80" y="40"/>
                  <a:pt x="80" y="40"/>
                </a:cubicBezTo>
                <a:cubicBezTo>
                  <a:pt x="80" y="40"/>
                  <a:pt x="80" y="40"/>
                  <a:pt x="80" y="40"/>
                </a:cubicBezTo>
                <a:cubicBezTo>
                  <a:pt x="80" y="39"/>
                  <a:pt x="80" y="40"/>
                  <a:pt x="80" y="39"/>
                </a:cubicBezTo>
                <a:cubicBezTo>
                  <a:pt x="80" y="39"/>
                  <a:pt x="80" y="39"/>
                  <a:pt x="79" y="39"/>
                </a:cubicBezTo>
                <a:cubicBezTo>
                  <a:pt x="79" y="39"/>
                  <a:pt x="79" y="39"/>
                  <a:pt x="78" y="39"/>
                </a:cubicBezTo>
                <a:cubicBezTo>
                  <a:pt x="78" y="39"/>
                  <a:pt x="78" y="39"/>
                  <a:pt x="78" y="39"/>
                </a:cubicBezTo>
                <a:cubicBezTo>
                  <a:pt x="78" y="40"/>
                  <a:pt x="78" y="40"/>
                  <a:pt x="77" y="40"/>
                </a:cubicBezTo>
                <a:cubicBezTo>
                  <a:pt x="77" y="40"/>
                  <a:pt x="76" y="40"/>
                  <a:pt x="76" y="41"/>
                </a:cubicBezTo>
                <a:cubicBezTo>
                  <a:pt x="76" y="41"/>
                  <a:pt x="76" y="42"/>
                  <a:pt x="76" y="42"/>
                </a:cubicBezTo>
                <a:cubicBezTo>
                  <a:pt x="76" y="43"/>
                  <a:pt x="76" y="43"/>
                  <a:pt x="76" y="43"/>
                </a:cubicBezTo>
                <a:cubicBezTo>
                  <a:pt x="77" y="44"/>
                  <a:pt x="77" y="44"/>
                  <a:pt x="77" y="44"/>
                </a:cubicBezTo>
                <a:cubicBezTo>
                  <a:pt x="77" y="45"/>
                  <a:pt x="77" y="45"/>
                  <a:pt x="77" y="46"/>
                </a:cubicBezTo>
                <a:cubicBezTo>
                  <a:pt x="77" y="46"/>
                  <a:pt x="77" y="46"/>
                  <a:pt x="78" y="46"/>
                </a:cubicBezTo>
                <a:cubicBezTo>
                  <a:pt x="78" y="47"/>
                  <a:pt x="78" y="47"/>
                  <a:pt x="78" y="47"/>
                </a:cubicBezTo>
                <a:cubicBezTo>
                  <a:pt x="79" y="47"/>
                  <a:pt x="79" y="47"/>
                  <a:pt x="79" y="47"/>
                </a:cubicBezTo>
                <a:cubicBezTo>
                  <a:pt x="80" y="47"/>
                  <a:pt x="80" y="48"/>
                  <a:pt x="80" y="48"/>
                </a:cubicBezTo>
                <a:cubicBezTo>
                  <a:pt x="80" y="48"/>
                  <a:pt x="80" y="47"/>
                  <a:pt x="80" y="47"/>
                </a:cubicBezTo>
                <a:cubicBezTo>
                  <a:pt x="80" y="47"/>
                  <a:pt x="80" y="47"/>
                  <a:pt x="80" y="47"/>
                </a:cubicBezTo>
                <a:cubicBezTo>
                  <a:pt x="79" y="47"/>
                  <a:pt x="79" y="47"/>
                  <a:pt x="79" y="46"/>
                </a:cubicBezTo>
                <a:cubicBezTo>
                  <a:pt x="79" y="46"/>
                  <a:pt x="79" y="46"/>
                  <a:pt x="79" y="46"/>
                </a:cubicBezTo>
                <a:cubicBezTo>
                  <a:pt x="79" y="46"/>
                  <a:pt x="79" y="45"/>
                  <a:pt x="79" y="45"/>
                </a:cubicBezTo>
                <a:cubicBezTo>
                  <a:pt x="79" y="45"/>
                  <a:pt x="79" y="45"/>
                  <a:pt x="79" y="44"/>
                </a:cubicBezTo>
                <a:cubicBezTo>
                  <a:pt x="79" y="44"/>
                  <a:pt x="79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3"/>
                  <a:pt x="78" y="43"/>
                  <a:pt x="78" y="43"/>
                </a:cubicBezTo>
                <a:cubicBezTo>
                  <a:pt x="79" y="43"/>
                  <a:pt x="79" y="43"/>
                  <a:pt x="79" y="42"/>
                </a:cubicBezTo>
                <a:cubicBezTo>
                  <a:pt x="79" y="42"/>
                  <a:pt x="79" y="42"/>
                  <a:pt x="80" y="42"/>
                </a:cubicBezTo>
                <a:cubicBezTo>
                  <a:pt x="80" y="42"/>
                  <a:pt x="80" y="42"/>
                  <a:pt x="80" y="42"/>
                </a:cubicBezTo>
                <a:cubicBezTo>
                  <a:pt x="80" y="42"/>
                  <a:pt x="81" y="42"/>
                  <a:pt x="81" y="42"/>
                </a:cubicBezTo>
                <a:cubicBezTo>
                  <a:pt x="82" y="42"/>
                  <a:pt x="81" y="43"/>
                  <a:pt x="82" y="43"/>
                </a:cubicBezTo>
                <a:cubicBezTo>
                  <a:pt x="82" y="44"/>
                  <a:pt x="82" y="45"/>
                  <a:pt x="82" y="45"/>
                </a:cubicBezTo>
                <a:cubicBezTo>
                  <a:pt x="82" y="46"/>
                  <a:pt x="82" y="46"/>
                  <a:pt x="82" y="46"/>
                </a:cubicBezTo>
                <a:cubicBezTo>
                  <a:pt x="82" y="46"/>
                  <a:pt x="82" y="47"/>
                  <a:pt x="83" y="47"/>
                </a:cubicBezTo>
                <a:cubicBezTo>
                  <a:pt x="83" y="47"/>
                  <a:pt x="83" y="48"/>
                  <a:pt x="83" y="48"/>
                </a:cubicBezTo>
                <a:cubicBezTo>
                  <a:pt x="83" y="48"/>
                  <a:pt x="84" y="48"/>
                  <a:pt x="84" y="49"/>
                </a:cubicBezTo>
                <a:cubicBezTo>
                  <a:pt x="84" y="49"/>
                  <a:pt x="85" y="49"/>
                  <a:pt x="85" y="50"/>
                </a:cubicBezTo>
                <a:cubicBezTo>
                  <a:pt x="86" y="50"/>
                  <a:pt x="86" y="51"/>
                  <a:pt x="86" y="51"/>
                </a:cubicBezTo>
                <a:cubicBezTo>
                  <a:pt x="86" y="52"/>
                  <a:pt x="87" y="52"/>
                  <a:pt x="87" y="52"/>
                </a:cubicBezTo>
                <a:cubicBezTo>
                  <a:pt x="87" y="52"/>
                  <a:pt x="88" y="52"/>
                  <a:pt x="88" y="52"/>
                </a:cubicBezTo>
                <a:cubicBezTo>
                  <a:pt x="88" y="52"/>
                  <a:pt x="87" y="52"/>
                  <a:pt x="87" y="53"/>
                </a:cubicBezTo>
                <a:cubicBezTo>
                  <a:pt x="87" y="53"/>
                  <a:pt x="86" y="53"/>
                  <a:pt x="86" y="54"/>
                </a:cubicBezTo>
                <a:cubicBezTo>
                  <a:pt x="86" y="54"/>
                  <a:pt x="86" y="54"/>
                  <a:pt x="85" y="55"/>
                </a:cubicBezTo>
                <a:cubicBezTo>
                  <a:pt x="85" y="55"/>
                  <a:pt x="85" y="56"/>
                  <a:pt x="85" y="56"/>
                </a:cubicBezTo>
                <a:cubicBezTo>
                  <a:pt x="84" y="56"/>
                  <a:pt x="84" y="56"/>
                  <a:pt x="84" y="57"/>
                </a:cubicBezTo>
                <a:cubicBezTo>
                  <a:pt x="84" y="57"/>
                  <a:pt x="84" y="57"/>
                  <a:pt x="84" y="57"/>
                </a:cubicBezTo>
                <a:cubicBezTo>
                  <a:pt x="84" y="58"/>
                  <a:pt x="84" y="58"/>
                  <a:pt x="83" y="58"/>
                </a:cubicBezTo>
                <a:cubicBezTo>
                  <a:pt x="83" y="58"/>
                  <a:pt x="83" y="58"/>
                  <a:pt x="83" y="59"/>
                </a:cubicBezTo>
                <a:cubicBezTo>
                  <a:pt x="83" y="59"/>
                  <a:pt x="83" y="60"/>
                  <a:pt x="83" y="60"/>
                </a:cubicBezTo>
                <a:cubicBezTo>
                  <a:pt x="83" y="61"/>
                  <a:pt x="82" y="61"/>
                  <a:pt x="82" y="62"/>
                </a:cubicBezTo>
                <a:cubicBezTo>
                  <a:pt x="82" y="62"/>
                  <a:pt x="82" y="63"/>
                  <a:pt x="81" y="63"/>
                </a:cubicBezTo>
                <a:cubicBezTo>
                  <a:pt x="81" y="64"/>
                  <a:pt x="81" y="64"/>
                  <a:pt x="81" y="64"/>
                </a:cubicBezTo>
                <a:cubicBezTo>
                  <a:pt x="81" y="65"/>
                  <a:pt x="81" y="65"/>
                  <a:pt x="81" y="66"/>
                </a:cubicBezTo>
                <a:cubicBezTo>
                  <a:pt x="82" y="66"/>
                  <a:pt x="82" y="66"/>
                  <a:pt x="82" y="67"/>
                </a:cubicBezTo>
                <a:cubicBezTo>
                  <a:pt x="81" y="67"/>
                  <a:pt x="81" y="67"/>
                  <a:pt x="81" y="68"/>
                </a:cubicBezTo>
                <a:cubicBezTo>
                  <a:pt x="81" y="68"/>
                  <a:pt x="81" y="69"/>
                  <a:pt x="81" y="69"/>
                </a:cubicBezTo>
                <a:cubicBezTo>
                  <a:pt x="81" y="69"/>
                  <a:pt x="80" y="69"/>
                  <a:pt x="80" y="69"/>
                </a:cubicBezTo>
                <a:cubicBezTo>
                  <a:pt x="80" y="69"/>
                  <a:pt x="80" y="70"/>
                  <a:pt x="80" y="70"/>
                </a:cubicBezTo>
                <a:cubicBezTo>
                  <a:pt x="80" y="70"/>
                  <a:pt x="80" y="71"/>
                  <a:pt x="80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71"/>
                  <a:pt x="81" y="72"/>
                  <a:pt x="81" y="72"/>
                </a:cubicBezTo>
                <a:cubicBezTo>
                  <a:pt x="81" y="72"/>
                  <a:pt x="81" y="72"/>
                  <a:pt x="82" y="73"/>
                </a:cubicBezTo>
                <a:cubicBezTo>
                  <a:pt x="82" y="73"/>
                  <a:pt x="82" y="73"/>
                  <a:pt x="82" y="73"/>
                </a:cubicBezTo>
                <a:cubicBezTo>
                  <a:pt x="82" y="74"/>
                  <a:pt x="83" y="74"/>
                  <a:pt x="82" y="74"/>
                </a:cubicBezTo>
                <a:cubicBezTo>
                  <a:pt x="82" y="74"/>
                  <a:pt x="82" y="74"/>
                  <a:pt x="82" y="74"/>
                </a:cubicBezTo>
                <a:cubicBezTo>
                  <a:pt x="81" y="74"/>
                  <a:pt x="80" y="74"/>
                  <a:pt x="80" y="75"/>
                </a:cubicBezTo>
                <a:cubicBezTo>
                  <a:pt x="80" y="75"/>
                  <a:pt x="80" y="76"/>
                  <a:pt x="80" y="76"/>
                </a:cubicBezTo>
                <a:cubicBezTo>
                  <a:pt x="81" y="76"/>
                  <a:pt x="81" y="77"/>
                  <a:pt x="81" y="77"/>
                </a:cubicBezTo>
                <a:cubicBezTo>
                  <a:pt x="81" y="77"/>
                  <a:pt x="81" y="78"/>
                  <a:pt x="81" y="78"/>
                </a:cubicBezTo>
                <a:cubicBezTo>
                  <a:pt x="81" y="79"/>
                  <a:pt x="81" y="79"/>
                  <a:pt x="81" y="79"/>
                </a:cubicBezTo>
                <a:cubicBezTo>
                  <a:pt x="81" y="80"/>
                  <a:pt x="82" y="80"/>
                  <a:pt x="82" y="80"/>
                </a:cubicBezTo>
                <a:cubicBezTo>
                  <a:pt x="82" y="81"/>
                  <a:pt x="83" y="81"/>
                  <a:pt x="83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3" y="86"/>
                  <a:pt x="83" y="86"/>
                  <a:pt x="83" y="86"/>
                </a:cubicBezTo>
                <a:cubicBezTo>
                  <a:pt x="83" y="87"/>
                  <a:pt x="83" y="87"/>
                  <a:pt x="83" y="87"/>
                </a:cubicBezTo>
                <a:cubicBezTo>
                  <a:pt x="83" y="87"/>
                  <a:pt x="82" y="87"/>
                  <a:pt x="82" y="88"/>
                </a:cubicBezTo>
                <a:cubicBezTo>
                  <a:pt x="81" y="88"/>
                  <a:pt x="81" y="88"/>
                  <a:pt x="81" y="88"/>
                </a:cubicBezTo>
                <a:cubicBezTo>
                  <a:pt x="81" y="88"/>
                  <a:pt x="80" y="88"/>
                  <a:pt x="80" y="88"/>
                </a:cubicBezTo>
                <a:cubicBezTo>
                  <a:pt x="80" y="89"/>
                  <a:pt x="80" y="89"/>
                  <a:pt x="81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0" y="91"/>
                  <a:pt x="80" y="90"/>
                  <a:pt x="80" y="90"/>
                </a:cubicBezTo>
                <a:cubicBezTo>
                  <a:pt x="80" y="90"/>
                  <a:pt x="79" y="90"/>
                  <a:pt x="79" y="90"/>
                </a:cubicBezTo>
                <a:cubicBezTo>
                  <a:pt x="79" y="90"/>
                  <a:pt x="79" y="89"/>
                  <a:pt x="78" y="89"/>
                </a:cubicBezTo>
                <a:cubicBezTo>
                  <a:pt x="78" y="89"/>
                  <a:pt x="77" y="89"/>
                  <a:pt x="77" y="89"/>
                </a:cubicBezTo>
                <a:cubicBezTo>
                  <a:pt x="77" y="90"/>
                  <a:pt x="77" y="91"/>
                  <a:pt x="76" y="91"/>
                </a:cubicBezTo>
                <a:cubicBezTo>
                  <a:pt x="76" y="91"/>
                  <a:pt x="75" y="92"/>
                  <a:pt x="75" y="92"/>
                </a:cubicBezTo>
                <a:cubicBezTo>
                  <a:pt x="75" y="93"/>
                  <a:pt x="75" y="93"/>
                  <a:pt x="75" y="94"/>
                </a:cubicBezTo>
                <a:cubicBezTo>
                  <a:pt x="75" y="94"/>
                  <a:pt x="74" y="95"/>
                  <a:pt x="74" y="95"/>
                </a:cubicBezTo>
                <a:cubicBezTo>
                  <a:pt x="73" y="96"/>
                  <a:pt x="73" y="97"/>
                  <a:pt x="72" y="98"/>
                </a:cubicBezTo>
                <a:cubicBezTo>
                  <a:pt x="71" y="99"/>
                  <a:pt x="70" y="99"/>
                  <a:pt x="70" y="99"/>
                </a:cubicBezTo>
                <a:cubicBezTo>
                  <a:pt x="69" y="98"/>
                  <a:pt x="69" y="98"/>
                  <a:pt x="69" y="98"/>
                </a:cubicBezTo>
                <a:cubicBezTo>
                  <a:pt x="68" y="98"/>
                  <a:pt x="68" y="97"/>
                  <a:pt x="68" y="97"/>
                </a:cubicBezTo>
                <a:cubicBezTo>
                  <a:pt x="67" y="97"/>
                  <a:pt x="67" y="96"/>
                  <a:pt x="66" y="96"/>
                </a:cubicBezTo>
                <a:cubicBezTo>
                  <a:pt x="66" y="95"/>
                  <a:pt x="65" y="96"/>
                  <a:pt x="65" y="96"/>
                </a:cubicBezTo>
                <a:cubicBezTo>
                  <a:pt x="65" y="96"/>
                  <a:pt x="65" y="96"/>
                  <a:pt x="64" y="97"/>
                </a:cubicBezTo>
                <a:cubicBezTo>
                  <a:pt x="64" y="97"/>
                  <a:pt x="64" y="96"/>
                  <a:pt x="64" y="97"/>
                </a:cubicBezTo>
                <a:cubicBezTo>
                  <a:pt x="63" y="97"/>
                  <a:pt x="63" y="98"/>
                  <a:pt x="63" y="98"/>
                </a:cubicBezTo>
                <a:cubicBezTo>
                  <a:pt x="63" y="98"/>
                  <a:pt x="64" y="100"/>
                  <a:pt x="63" y="100"/>
                </a:cubicBezTo>
                <a:cubicBezTo>
                  <a:pt x="63" y="100"/>
                  <a:pt x="63" y="99"/>
                  <a:pt x="63" y="99"/>
                </a:cubicBezTo>
                <a:cubicBezTo>
                  <a:pt x="62" y="98"/>
                  <a:pt x="62" y="99"/>
                  <a:pt x="62" y="99"/>
                </a:cubicBezTo>
                <a:cubicBezTo>
                  <a:pt x="61" y="99"/>
                  <a:pt x="61" y="100"/>
                  <a:pt x="60" y="100"/>
                </a:cubicBezTo>
                <a:cubicBezTo>
                  <a:pt x="60" y="99"/>
                  <a:pt x="61" y="99"/>
                  <a:pt x="61" y="99"/>
                </a:cubicBezTo>
                <a:cubicBezTo>
                  <a:pt x="61" y="98"/>
                  <a:pt x="61" y="98"/>
                  <a:pt x="62" y="97"/>
                </a:cubicBezTo>
                <a:cubicBezTo>
                  <a:pt x="62" y="97"/>
                  <a:pt x="62" y="97"/>
                  <a:pt x="62" y="96"/>
                </a:cubicBezTo>
                <a:cubicBezTo>
                  <a:pt x="62" y="96"/>
                  <a:pt x="62" y="96"/>
                  <a:pt x="61" y="96"/>
                </a:cubicBezTo>
                <a:cubicBezTo>
                  <a:pt x="61" y="95"/>
                  <a:pt x="61" y="95"/>
                  <a:pt x="62" y="95"/>
                </a:cubicBezTo>
                <a:cubicBezTo>
                  <a:pt x="62" y="95"/>
                  <a:pt x="62" y="94"/>
                  <a:pt x="62" y="94"/>
                </a:cubicBezTo>
                <a:cubicBezTo>
                  <a:pt x="62" y="93"/>
                  <a:pt x="62" y="93"/>
                  <a:pt x="62" y="92"/>
                </a:cubicBezTo>
                <a:cubicBezTo>
                  <a:pt x="62" y="92"/>
                  <a:pt x="62" y="91"/>
                  <a:pt x="62" y="91"/>
                </a:cubicBezTo>
                <a:cubicBezTo>
                  <a:pt x="63" y="90"/>
                  <a:pt x="63" y="90"/>
                  <a:pt x="63" y="89"/>
                </a:cubicBezTo>
                <a:cubicBezTo>
                  <a:pt x="64" y="89"/>
                  <a:pt x="64" y="88"/>
                  <a:pt x="64" y="88"/>
                </a:cubicBezTo>
                <a:cubicBezTo>
                  <a:pt x="65" y="88"/>
                  <a:pt x="65" y="88"/>
                  <a:pt x="65" y="88"/>
                </a:cubicBezTo>
                <a:cubicBezTo>
                  <a:pt x="66" y="88"/>
                  <a:pt x="66" y="87"/>
                  <a:pt x="66" y="87"/>
                </a:cubicBezTo>
                <a:cubicBezTo>
                  <a:pt x="66" y="87"/>
                  <a:pt x="65" y="86"/>
                  <a:pt x="66" y="86"/>
                </a:cubicBezTo>
                <a:cubicBezTo>
                  <a:pt x="66" y="86"/>
                  <a:pt x="67" y="86"/>
                  <a:pt x="67" y="87"/>
                </a:cubicBezTo>
                <a:cubicBezTo>
                  <a:pt x="67" y="87"/>
                  <a:pt x="67" y="87"/>
                  <a:pt x="67" y="87"/>
                </a:cubicBezTo>
                <a:cubicBezTo>
                  <a:pt x="67" y="88"/>
                  <a:pt x="67" y="88"/>
                  <a:pt x="67" y="88"/>
                </a:cubicBezTo>
                <a:cubicBezTo>
                  <a:pt x="67" y="89"/>
                  <a:pt x="67" y="89"/>
                  <a:pt x="67" y="90"/>
                </a:cubicBezTo>
                <a:cubicBezTo>
                  <a:pt x="67" y="90"/>
                  <a:pt x="67" y="90"/>
                  <a:pt x="67" y="91"/>
                </a:cubicBezTo>
                <a:cubicBezTo>
                  <a:pt x="67" y="91"/>
                  <a:pt x="67" y="92"/>
                  <a:pt x="67" y="92"/>
                </a:cubicBezTo>
                <a:cubicBezTo>
                  <a:pt x="67" y="92"/>
                  <a:pt x="67" y="93"/>
                  <a:pt x="67" y="93"/>
                </a:cubicBezTo>
                <a:cubicBezTo>
                  <a:pt x="67" y="93"/>
                  <a:pt x="67" y="93"/>
                  <a:pt x="67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8" y="95"/>
                  <a:pt x="68" y="95"/>
                  <a:pt x="68" y="95"/>
                </a:cubicBezTo>
                <a:cubicBezTo>
                  <a:pt x="69" y="95"/>
                  <a:pt x="69" y="95"/>
                  <a:pt x="69" y="94"/>
                </a:cubicBezTo>
                <a:cubicBezTo>
                  <a:pt x="69" y="93"/>
                  <a:pt x="69" y="93"/>
                  <a:pt x="69" y="92"/>
                </a:cubicBezTo>
                <a:cubicBezTo>
                  <a:pt x="69" y="91"/>
                  <a:pt x="70" y="90"/>
                  <a:pt x="70" y="89"/>
                </a:cubicBezTo>
                <a:cubicBezTo>
                  <a:pt x="70" y="89"/>
                  <a:pt x="70" y="88"/>
                  <a:pt x="70" y="87"/>
                </a:cubicBezTo>
                <a:cubicBezTo>
                  <a:pt x="70" y="87"/>
                  <a:pt x="70" y="87"/>
                  <a:pt x="71" y="86"/>
                </a:cubicBezTo>
                <a:cubicBezTo>
                  <a:pt x="71" y="86"/>
                  <a:pt x="72" y="85"/>
                  <a:pt x="72" y="85"/>
                </a:cubicBezTo>
                <a:cubicBezTo>
                  <a:pt x="72" y="86"/>
                  <a:pt x="73" y="86"/>
                  <a:pt x="72" y="86"/>
                </a:cubicBezTo>
                <a:cubicBezTo>
                  <a:pt x="72" y="87"/>
                  <a:pt x="72" y="87"/>
                  <a:pt x="72" y="87"/>
                </a:cubicBezTo>
                <a:cubicBezTo>
                  <a:pt x="72" y="88"/>
                  <a:pt x="72" y="88"/>
                  <a:pt x="72" y="89"/>
                </a:cubicBezTo>
                <a:cubicBezTo>
                  <a:pt x="72" y="89"/>
                  <a:pt x="72" y="89"/>
                  <a:pt x="73" y="90"/>
                </a:cubicBezTo>
                <a:cubicBezTo>
                  <a:pt x="73" y="90"/>
                  <a:pt x="73" y="90"/>
                  <a:pt x="74" y="90"/>
                </a:cubicBezTo>
                <a:cubicBezTo>
                  <a:pt x="74" y="91"/>
                  <a:pt x="75" y="91"/>
                  <a:pt x="75" y="90"/>
                </a:cubicBezTo>
                <a:cubicBezTo>
                  <a:pt x="75" y="90"/>
                  <a:pt x="75" y="90"/>
                  <a:pt x="75" y="90"/>
                </a:cubicBezTo>
                <a:cubicBezTo>
                  <a:pt x="75" y="78"/>
                  <a:pt x="75" y="78"/>
                  <a:pt x="75" y="78"/>
                </a:cubicBezTo>
                <a:cubicBezTo>
                  <a:pt x="75" y="75"/>
                  <a:pt x="75" y="75"/>
                  <a:pt x="75" y="75"/>
                </a:cubicBezTo>
                <a:cubicBezTo>
                  <a:pt x="75" y="75"/>
                  <a:pt x="75" y="75"/>
                  <a:pt x="76" y="75"/>
                </a:cubicBezTo>
                <a:cubicBezTo>
                  <a:pt x="76" y="74"/>
                  <a:pt x="76" y="75"/>
                  <a:pt x="77" y="75"/>
                </a:cubicBezTo>
                <a:cubicBezTo>
                  <a:pt x="78" y="75"/>
                  <a:pt x="77" y="73"/>
                  <a:pt x="77" y="73"/>
                </a:cubicBezTo>
                <a:cubicBezTo>
                  <a:pt x="77" y="72"/>
                  <a:pt x="77" y="72"/>
                  <a:pt x="77" y="71"/>
                </a:cubicBezTo>
                <a:cubicBezTo>
                  <a:pt x="77" y="71"/>
                  <a:pt x="77" y="70"/>
                  <a:pt x="77" y="70"/>
                </a:cubicBezTo>
                <a:cubicBezTo>
                  <a:pt x="77" y="70"/>
                  <a:pt x="77" y="70"/>
                  <a:pt x="77" y="70"/>
                </a:cubicBezTo>
                <a:cubicBezTo>
                  <a:pt x="76" y="69"/>
                  <a:pt x="77" y="68"/>
                  <a:pt x="76" y="68"/>
                </a:cubicBezTo>
                <a:cubicBezTo>
                  <a:pt x="76" y="68"/>
                  <a:pt x="75" y="68"/>
                  <a:pt x="76" y="67"/>
                </a:cubicBezTo>
                <a:cubicBezTo>
                  <a:pt x="76" y="67"/>
                  <a:pt x="77" y="67"/>
                  <a:pt x="77" y="67"/>
                </a:cubicBezTo>
                <a:cubicBezTo>
                  <a:pt x="78" y="67"/>
                  <a:pt x="78" y="66"/>
                  <a:pt x="78" y="65"/>
                </a:cubicBezTo>
                <a:cubicBezTo>
                  <a:pt x="78" y="64"/>
                  <a:pt x="78" y="63"/>
                  <a:pt x="78" y="62"/>
                </a:cubicBezTo>
                <a:cubicBezTo>
                  <a:pt x="78" y="62"/>
                  <a:pt x="77" y="61"/>
                  <a:pt x="77" y="61"/>
                </a:cubicBezTo>
                <a:cubicBezTo>
                  <a:pt x="77" y="60"/>
                  <a:pt x="77" y="60"/>
                  <a:pt x="77" y="59"/>
                </a:cubicBezTo>
                <a:cubicBezTo>
                  <a:pt x="77" y="59"/>
                  <a:pt x="77" y="59"/>
                  <a:pt x="77" y="58"/>
                </a:cubicBezTo>
                <a:cubicBezTo>
                  <a:pt x="76" y="58"/>
                  <a:pt x="76" y="58"/>
                  <a:pt x="76" y="58"/>
                </a:cubicBezTo>
                <a:cubicBezTo>
                  <a:pt x="75" y="58"/>
                  <a:pt x="75" y="58"/>
                  <a:pt x="75" y="59"/>
                </a:cubicBezTo>
                <a:cubicBezTo>
                  <a:pt x="74" y="59"/>
                  <a:pt x="74" y="59"/>
                  <a:pt x="74" y="60"/>
                </a:cubicBezTo>
                <a:cubicBezTo>
                  <a:pt x="73" y="60"/>
                  <a:pt x="73" y="60"/>
                  <a:pt x="73" y="61"/>
                </a:cubicBezTo>
                <a:cubicBezTo>
                  <a:pt x="72" y="62"/>
                  <a:pt x="72" y="62"/>
                  <a:pt x="72" y="63"/>
                </a:cubicBezTo>
                <a:cubicBezTo>
                  <a:pt x="71" y="63"/>
                  <a:pt x="71" y="63"/>
                  <a:pt x="71" y="64"/>
                </a:cubicBezTo>
                <a:cubicBezTo>
                  <a:pt x="70" y="65"/>
                  <a:pt x="70" y="65"/>
                  <a:pt x="70" y="66"/>
                </a:cubicBezTo>
                <a:cubicBezTo>
                  <a:pt x="70" y="66"/>
                  <a:pt x="70" y="67"/>
                  <a:pt x="69" y="68"/>
                </a:cubicBezTo>
                <a:cubicBezTo>
                  <a:pt x="69" y="68"/>
                  <a:pt x="69" y="69"/>
                  <a:pt x="69" y="69"/>
                </a:cubicBezTo>
                <a:cubicBezTo>
                  <a:pt x="68" y="70"/>
                  <a:pt x="68" y="70"/>
                  <a:pt x="67" y="70"/>
                </a:cubicBezTo>
                <a:cubicBezTo>
                  <a:pt x="65" y="71"/>
                  <a:pt x="62" y="73"/>
                  <a:pt x="61" y="76"/>
                </a:cubicBezTo>
                <a:cubicBezTo>
                  <a:pt x="61" y="76"/>
                  <a:pt x="61" y="77"/>
                  <a:pt x="60" y="77"/>
                </a:cubicBezTo>
                <a:cubicBezTo>
                  <a:pt x="59" y="77"/>
                  <a:pt x="59" y="77"/>
                  <a:pt x="59" y="76"/>
                </a:cubicBezTo>
                <a:cubicBezTo>
                  <a:pt x="59" y="76"/>
                  <a:pt x="59" y="76"/>
                  <a:pt x="59" y="75"/>
                </a:cubicBezTo>
                <a:cubicBezTo>
                  <a:pt x="60" y="75"/>
                  <a:pt x="60" y="74"/>
                  <a:pt x="60" y="74"/>
                </a:cubicBezTo>
                <a:cubicBezTo>
                  <a:pt x="60" y="74"/>
                  <a:pt x="61" y="73"/>
                  <a:pt x="61" y="73"/>
                </a:cubicBezTo>
                <a:cubicBezTo>
                  <a:pt x="62" y="73"/>
                  <a:pt x="62" y="72"/>
                  <a:pt x="63" y="72"/>
                </a:cubicBezTo>
                <a:cubicBezTo>
                  <a:pt x="63" y="71"/>
                  <a:pt x="63" y="70"/>
                  <a:pt x="63" y="69"/>
                </a:cubicBezTo>
                <a:cubicBezTo>
                  <a:pt x="63" y="69"/>
                  <a:pt x="64" y="68"/>
                  <a:pt x="65" y="67"/>
                </a:cubicBezTo>
                <a:cubicBezTo>
                  <a:pt x="65" y="67"/>
                  <a:pt x="65" y="66"/>
                  <a:pt x="66" y="66"/>
                </a:cubicBezTo>
                <a:cubicBezTo>
                  <a:pt x="66" y="66"/>
                  <a:pt x="66" y="66"/>
                  <a:pt x="66" y="65"/>
                </a:cubicBezTo>
                <a:cubicBezTo>
                  <a:pt x="67" y="65"/>
                  <a:pt x="67" y="65"/>
                  <a:pt x="67" y="65"/>
                </a:cubicBezTo>
                <a:cubicBezTo>
                  <a:pt x="67" y="66"/>
                  <a:pt x="67" y="66"/>
                  <a:pt x="67" y="67"/>
                </a:cubicBezTo>
                <a:cubicBezTo>
                  <a:pt x="67" y="67"/>
                  <a:pt x="66" y="68"/>
                  <a:pt x="67" y="69"/>
                </a:cubicBezTo>
                <a:cubicBezTo>
                  <a:pt x="67" y="70"/>
                  <a:pt x="68" y="69"/>
                  <a:pt x="68" y="68"/>
                </a:cubicBezTo>
                <a:cubicBezTo>
                  <a:pt x="68" y="68"/>
                  <a:pt x="68" y="67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5"/>
                  <a:pt x="69" y="65"/>
                  <a:pt x="69" y="64"/>
                </a:cubicBezTo>
                <a:cubicBezTo>
                  <a:pt x="69" y="64"/>
                  <a:pt x="69" y="64"/>
                  <a:pt x="69" y="63"/>
                </a:cubicBezTo>
                <a:cubicBezTo>
                  <a:pt x="69" y="63"/>
                  <a:pt x="70" y="63"/>
                  <a:pt x="70" y="62"/>
                </a:cubicBezTo>
                <a:cubicBezTo>
                  <a:pt x="70" y="62"/>
                  <a:pt x="71" y="62"/>
                  <a:pt x="71" y="61"/>
                </a:cubicBezTo>
                <a:cubicBezTo>
                  <a:pt x="71" y="61"/>
                  <a:pt x="72" y="61"/>
                  <a:pt x="72" y="61"/>
                </a:cubicBezTo>
                <a:cubicBezTo>
                  <a:pt x="72" y="60"/>
                  <a:pt x="72" y="60"/>
                  <a:pt x="72" y="60"/>
                </a:cubicBezTo>
                <a:cubicBezTo>
                  <a:pt x="72" y="59"/>
                  <a:pt x="72" y="59"/>
                  <a:pt x="72" y="59"/>
                </a:cubicBezTo>
                <a:cubicBezTo>
                  <a:pt x="72" y="58"/>
                  <a:pt x="72" y="58"/>
                  <a:pt x="72" y="58"/>
                </a:cubicBezTo>
                <a:cubicBezTo>
                  <a:pt x="72" y="56"/>
                  <a:pt x="70" y="55"/>
                  <a:pt x="70" y="54"/>
                </a:cubicBezTo>
                <a:cubicBezTo>
                  <a:pt x="70" y="53"/>
                  <a:pt x="70" y="53"/>
                  <a:pt x="70" y="53"/>
                </a:cubicBezTo>
                <a:cubicBezTo>
                  <a:pt x="70" y="52"/>
                  <a:pt x="70" y="52"/>
                  <a:pt x="70" y="52"/>
                </a:cubicBezTo>
                <a:cubicBezTo>
                  <a:pt x="69" y="51"/>
                  <a:pt x="69" y="51"/>
                  <a:pt x="69" y="50"/>
                </a:cubicBezTo>
                <a:cubicBezTo>
                  <a:pt x="68" y="50"/>
                  <a:pt x="68" y="49"/>
                  <a:pt x="67" y="49"/>
                </a:cubicBezTo>
                <a:cubicBezTo>
                  <a:pt x="67" y="48"/>
                  <a:pt x="67" y="48"/>
                  <a:pt x="67" y="47"/>
                </a:cubicBezTo>
                <a:cubicBezTo>
                  <a:pt x="68" y="47"/>
                  <a:pt x="69" y="46"/>
                  <a:pt x="68" y="46"/>
                </a:cubicBezTo>
                <a:cubicBezTo>
                  <a:pt x="68" y="45"/>
                  <a:pt x="67" y="45"/>
                  <a:pt x="66" y="46"/>
                </a:cubicBezTo>
                <a:cubicBezTo>
                  <a:pt x="66" y="46"/>
                  <a:pt x="66" y="46"/>
                  <a:pt x="66" y="46"/>
                </a:cubicBezTo>
                <a:cubicBezTo>
                  <a:pt x="66" y="46"/>
                  <a:pt x="65" y="46"/>
                  <a:pt x="65" y="47"/>
                </a:cubicBezTo>
                <a:cubicBezTo>
                  <a:pt x="65" y="47"/>
                  <a:pt x="65" y="47"/>
                  <a:pt x="65" y="47"/>
                </a:cubicBezTo>
                <a:cubicBezTo>
                  <a:pt x="65" y="48"/>
                  <a:pt x="65" y="48"/>
                  <a:pt x="65" y="48"/>
                </a:cubicBezTo>
                <a:cubicBezTo>
                  <a:pt x="64" y="48"/>
                  <a:pt x="64" y="49"/>
                  <a:pt x="64" y="50"/>
                </a:cubicBezTo>
                <a:cubicBezTo>
                  <a:pt x="64" y="50"/>
                  <a:pt x="65" y="50"/>
                  <a:pt x="65" y="51"/>
                </a:cubicBezTo>
                <a:cubicBezTo>
                  <a:pt x="65" y="51"/>
                  <a:pt x="66" y="52"/>
                  <a:pt x="66" y="52"/>
                </a:cubicBezTo>
                <a:cubicBezTo>
                  <a:pt x="65" y="53"/>
                  <a:pt x="65" y="52"/>
                  <a:pt x="64" y="52"/>
                </a:cubicBezTo>
                <a:cubicBezTo>
                  <a:pt x="64" y="51"/>
                  <a:pt x="64" y="51"/>
                  <a:pt x="63" y="51"/>
                </a:cubicBezTo>
                <a:cubicBezTo>
                  <a:pt x="63" y="50"/>
                  <a:pt x="62" y="50"/>
                  <a:pt x="62" y="49"/>
                </a:cubicBezTo>
                <a:cubicBezTo>
                  <a:pt x="62" y="49"/>
                  <a:pt x="61" y="49"/>
                  <a:pt x="61" y="48"/>
                </a:cubicBezTo>
                <a:cubicBezTo>
                  <a:pt x="61" y="48"/>
                  <a:pt x="61" y="48"/>
                  <a:pt x="60" y="49"/>
                </a:cubicBezTo>
                <a:cubicBezTo>
                  <a:pt x="60" y="49"/>
                  <a:pt x="61" y="50"/>
                  <a:pt x="60" y="51"/>
                </a:cubicBezTo>
                <a:cubicBezTo>
                  <a:pt x="60" y="52"/>
                  <a:pt x="60" y="51"/>
                  <a:pt x="60" y="51"/>
                </a:cubicBezTo>
                <a:cubicBezTo>
                  <a:pt x="59" y="50"/>
                  <a:pt x="59" y="50"/>
                  <a:pt x="59" y="49"/>
                </a:cubicBezTo>
                <a:cubicBezTo>
                  <a:pt x="58" y="49"/>
                  <a:pt x="58" y="48"/>
                  <a:pt x="58" y="48"/>
                </a:cubicBezTo>
                <a:cubicBezTo>
                  <a:pt x="58" y="47"/>
                  <a:pt x="57" y="47"/>
                  <a:pt x="57" y="46"/>
                </a:cubicBezTo>
                <a:cubicBezTo>
                  <a:pt x="56" y="46"/>
                  <a:pt x="56" y="44"/>
                  <a:pt x="55" y="45"/>
                </a:cubicBezTo>
                <a:cubicBezTo>
                  <a:pt x="55" y="46"/>
                  <a:pt x="54" y="46"/>
                  <a:pt x="53" y="46"/>
                </a:cubicBezTo>
                <a:cubicBezTo>
                  <a:pt x="53" y="46"/>
                  <a:pt x="52" y="47"/>
                  <a:pt x="52" y="47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47"/>
                  <a:pt x="44" y="46"/>
                  <a:pt x="43" y="46"/>
                </a:cubicBezTo>
                <a:cubicBezTo>
                  <a:pt x="42" y="46"/>
                  <a:pt x="42" y="45"/>
                  <a:pt x="41" y="45"/>
                </a:cubicBezTo>
                <a:cubicBezTo>
                  <a:pt x="41" y="45"/>
                  <a:pt x="41" y="45"/>
                  <a:pt x="41" y="45"/>
                </a:cubicBezTo>
                <a:cubicBezTo>
                  <a:pt x="27" y="45"/>
                  <a:pt x="27" y="45"/>
                  <a:pt x="27" y="45"/>
                </a:cubicBezTo>
                <a:cubicBezTo>
                  <a:pt x="27" y="45"/>
                  <a:pt x="26" y="45"/>
                  <a:pt x="26" y="44"/>
                </a:cubicBezTo>
                <a:cubicBezTo>
                  <a:pt x="26" y="44"/>
                  <a:pt x="26" y="44"/>
                  <a:pt x="25" y="44"/>
                </a:cubicBezTo>
                <a:cubicBezTo>
                  <a:pt x="25" y="44"/>
                  <a:pt x="25" y="44"/>
                  <a:pt x="24" y="44"/>
                </a:cubicBezTo>
                <a:cubicBezTo>
                  <a:pt x="24" y="44"/>
                  <a:pt x="24" y="44"/>
                  <a:pt x="24" y="44"/>
                </a:cubicBezTo>
                <a:cubicBezTo>
                  <a:pt x="23" y="43"/>
                  <a:pt x="23" y="43"/>
                  <a:pt x="22" y="43"/>
                </a:cubicBezTo>
                <a:cubicBezTo>
                  <a:pt x="22" y="43"/>
                  <a:pt x="22" y="42"/>
                  <a:pt x="22" y="42"/>
                </a:cubicBezTo>
                <a:cubicBezTo>
                  <a:pt x="22" y="42"/>
                  <a:pt x="22" y="42"/>
                  <a:pt x="21" y="42"/>
                </a:cubicBezTo>
                <a:cubicBezTo>
                  <a:pt x="21" y="42"/>
                  <a:pt x="21" y="41"/>
                  <a:pt x="20" y="41"/>
                </a:cubicBezTo>
                <a:cubicBezTo>
                  <a:pt x="20" y="41"/>
                  <a:pt x="19" y="41"/>
                  <a:pt x="19" y="41"/>
                </a:cubicBezTo>
                <a:cubicBezTo>
                  <a:pt x="18" y="40"/>
                  <a:pt x="17" y="40"/>
                  <a:pt x="17" y="40"/>
                </a:cubicBezTo>
                <a:cubicBezTo>
                  <a:pt x="16" y="40"/>
                  <a:pt x="15" y="39"/>
                  <a:pt x="14" y="39"/>
                </a:cubicBezTo>
                <a:cubicBezTo>
                  <a:pt x="13" y="38"/>
                  <a:pt x="12" y="38"/>
                  <a:pt x="11" y="37"/>
                </a:cubicBezTo>
                <a:cubicBezTo>
                  <a:pt x="10" y="36"/>
                  <a:pt x="9" y="36"/>
                  <a:pt x="7" y="35"/>
                </a:cubicBezTo>
                <a:cubicBezTo>
                  <a:pt x="6" y="35"/>
                  <a:pt x="6" y="34"/>
                  <a:pt x="5" y="34"/>
                </a:cubicBezTo>
                <a:cubicBezTo>
                  <a:pt x="4" y="34"/>
                  <a:pt x="3" y="34"/>
                  <a:pt x="2" y="34"/>
                </a:cubicBezTo>
                <a:cubicBezTo>
                  <a:pt x="2" y="34"/>
                  <a:pt x="2" y="34"/>
                  <a:pt x="1" y="33"/>
                </a:cubicBezTo>
                <a:cubicBezTo>
                  <a:pt x="1" y="33"/>
                  <a:pt x="1" y="33"/>
                  <a:pt x="1" y="33"/>
                </a:cubicBezTo>
                <a:cubicBezTo>
                  <a:pt x="0" y="33"/>
                  <a:pt x="1" y="34"/>
                  <a:pt x="1" y="34"/>
                </a:cubicBezTo>
                <a:cubicBezTo>
                  <a:pt x="1" y="34"/>
                  <a:pt x="1" y="35"/>
                  <a:pt x="1" y="35"/>
                </a:cubicBezTo>
                <a:cubicBezTo>
                  <a:pt x="1" y="36"/>
                  <a:pt x="2" y="36"/>
                  <a:pt x="2" y="37"/>
                </a:cubicBezTo>
                <a:cubicBezTo>
                  <a:pt x="2" y="37"/>
                  <a:pt x="2" y="38"/>
                  <a:pt x="2" y="39"/>
                </a:cubicBezTo>
                <a:cubicBezTo>
                  <a:pt x="2" y="40"/>
                  <a:pt x="2" y="40"/>
                  <a:pt x="2" y="41"/>
                </a:cubicBezTo>
                <a:cubicBezTo>
                  <a:pt x="2" y="41"/>
                  <a:pt x="2" y="42"/>
                  <a:pt x="1" y="42"/>
                </a:cubicBezTo>
                <a:cubicBezTo>
                  <a:pt x="1" y="42"/>
                  <a:pt x="1" y="43"/>
                  <a:pt x="1" y="44"/>
                </a:cubicBezTo>
                <a:cubicBezTo>
                  <a:pt x="1" y="45"/>
                  <a:pt x="1" y="45"/>
                  <a:pt x="2" y="46"/>
                </a:cubicBezTo>
                <a:cubicBezTo>
                  <a:pt x="2" y="47"/>
                  <a:pt x="2" y="48"/>
                  <a:pt x="2" y="49"/>
                </a:cubicBezTo>
                <a:cubicBezTo>
                  <a:pt x="2" y="49"/>
                  <a:pt x="2" y="50"/>
                  <a:pt x="2" y="50"/>
                </a:cubicBezTo>
                <a:cubicBezTo>
                  <a:pt x="2" y="51"/>
                  <a:pt x="2" y="51"/>
                  <a:pt x="2" y="51"/>
                </a:cubicBezTo>
                <a:cubicBezTo>
                  <a:pt x="2" y="52"/>
                  <a:pt x="2" y="53"/>
                  <a:pt x="2" y="54"/>
                </a:cubicBezTo>
                <a:cubicBezTo>
                  <a:pt x="3" y="54"/>
                  <a:pt x="3" y="55"/>
                  <a:pt x="3" y="56"/>
                </a:cubicBezTo>
                <a:cubicBezTo>
                  <a:pt x="3" y="56"/>
                  <a:pt x="3" y="56"/>
                  <a:pt x="3" y="56"/>
                </a:cubicBezTo>
                <a:cubicBezTo>
                  <a:pt x="3" y="57"/>
                  <a:pt x="3" y="58"/>
                  <a:pt x="4" y="58"/>
                </a:cubicBezTo>
                <a:cubicBezTo>
                  <a:pt x="4" y="59"/>
                  <a:pt x="4" y="59"/>
                  <a:pt x="4" y="59"/>
                </a:cubicBezTo>
                <a:cubicBezTo>
                  <a:pt x="5" y="60"/>
                  <a:pt x="5" y="60"/>
                  <a:pt x="5" y="60"/>
                </a:cubicBezTo>
                <a:cubicBezTo>
                  <a:pt x="6" y="61"/>
                  <a:pt x="7" y="61"/>
                  <a:pt x="8" y="62"/>
                </a:cubicBezTo>
                <a:cubicBezTo>
                  <a:pt x="8" y="62"/>
                  <a:pt x="9" y="62"/>
                  <a:pt x="9" y="63"/>
                </a:cubicBezTo>
                <a:cubicBezTo>
                  <a:pt x="9" y="63"/>
                  <a:pt x="9" y="64"/>
                  <a:pt x="10" y="64"/>
                </a:cubicBezTo>
                <a:cubicBezTo>
                  <a:pt x="10" y="64"/>
                  <a:pt x="10" y="64"/>
                  <a:pt x="10" y="65"/>
                </a:cubicBezTo>
                <a:cubicBezTo>
                  <a:pt x="10" y="65"/>
                  <a:pt x="10" y="65"/>
                  <a:pt x="10" y="66"/>
                </a:cubicBezTo>
                <a:cubicBezTo>
                  <a:pt x="11" y="66"/>
                  <a:pt x="11" y="66"/>
                  <a:pt x="11" y="67"/>
                </a:cubicBezTo>
                <a:cubicBezTo>
                  <a:pt x="11" y="67"/>
                  <a:pt x="11" y="67"/>
                  <a:pt x="11" y="68"/>
                </a:cubicBezTo>
                <a:cubicBezTo>
                  <a:pt x="11" y="68"/>
                  <a:pt x="11" y="68"/>
                  <a:pt x="11" y="6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0"/>
                  <a:pt x="12" y="71"/>
                  <a:pt x="12" y="71"/>
                </a:cubicBezTo>
                <a:cubicBezTo>
                  <a:pt x="12" y="72"/>
                  <a:pt x="13" y="73"/>
                  <a:pt x="13" y="74"/>
                </a:cubicBezTo>
                <a:cubicBezTo>
                  <a:pt x="13" y="74"/>
                  <a:pt x="12" y="75"/>
                  <a:pt x="13" y="75"/>
                </a:cubicBezTo>
                <a:cubicBezTo>
                  <a:pt x="13" y="75"/>
                  <a:pt x="13" y="75"/>
                  <a:pt x="13" y="76"/>
                </a:cubicBezTo>
                <a:cubicBezTo>
                  <a:pt x="13" y="76"/>
                  <a:pt x="13" y="76"/>
                  <a:pt x="13" y="76"/>
                </a:cubicBezTo>
                <a:cubicBezTo>
                  <a:pt x="13" y="77"/>
                  <a:pt x="13" y="79"/>
                  <a:pt x="13" y="80"/>
                </a:cubicBezTo>
                <a:cubicBezTo>
                  <a:pt x="13" y="80"/>
                  <a:pt x="13" y="81"/>
                  <a:pt x="14" y="81"/>
                </a:cubicBezTo>
                <a:cubicBezTo>
                  <a:pt x="14" y="81"/>
                  <a:pt x="14" y="82"/>
                  <a:pt x="14" y="82"/>
                </a:cubicBezTo>
                <a:cubicBezTo>
                  <a:pt x="14" y="83"/>
                  <a:pt x="14" y="84"/>
                  <a:pt x="14" y="84"/>
                </a:cubicBezTo>
                <a:cubicBezTo>
                  <a:pt x="15" y="85"/>
                  <a:pt x="15" y="86"/>
                  <a:pt x="16" y="87"/>
                </a:cubicBezTo>
                <a:cubicBezTo>
                  <a:pt x="16" y="87"/>
                  <a:pt x="16" y="88"/>
                  <a:pt x="17" y="89"/>
                </a:cubicBezTo>
                <a:cubicBezTo>
                  <a:pt x="17" y="89"/>
                  <a:pt x="18" y="90"/>
                  <a:pt x="18" y="91"/>
                </a:cubicBezTo>
                <a:cubicBezTo>
                  <a:pt x="18" y="92"/>
                  <a:pt x="18" y="92"/>
                  <a:pt x="18" y="93"/>
                </a:cubicBezTo>
                <a:cubicBezTo>
                  <a:pt x="18" y="93"/>
                  <a:pt x="18" y="93"/>
                  <a:pt x="19" y="93"/>
                </a:cubicBezTo>
                <a:cubicBezTo>
                  <a:pt x="19" y="94"/>
                  <a:pt x="19" y="94"/>
                  <a:pt x="19" y="94"/>
                </a:cubicBezTo>
                <a:cubicBezTo>
                  <a:pt x="19" y="95"/>
                  <a:pt x="18" y="95"/>
                  <a:pt x="19" y="96"/>
                </a:cubicBezTo>
                <a:cubicBezTo>
                  <a:pt x="19" y="96"/>
                  <a:pt x="19" y="96"/>
                  <a:pt x="19" y="97"/>
                </a:cubicBezTo>
                <a:cubicBezTo>
                  <a:pt x="19" y="97"/>
                  <a:pt x="19" y="97"/>
                  <a:pt x="19" y="97"/>
                </a:cubicBezTo>
                <a:cubicBezTo>
                  <a:pt x="19" y="98"/>
                  <a:pt x="19" y="98"/>
                  <a:pt x="19" y="99"/>
                </a:cubicBezTo>
                <a:cubicBezTo>
                  <a:pt x="19" y="100"/>
                  <a:pt x="19" y="100"/>
                  <a:pt x="20" y="101"/>
                </a:cubicBezTo>
                <a:cubicBezTo>
                  <a:pt x="20" y="101"/>
                  <a:pt x="20" y="102"/>
                  <a:pt x="20" y="103"/>
                </a:cubicBezTo>
                <a:cubicBezTo>
                  <a:pt x="20" y="103"/>
                  <a:pt x="21" y="103"/>
                  <a:pt x="21" y="103"/>
                </a:cubicBezTo>
                <a:cubicBezTo>
                  <a:pt x="21" y="103"/>
                  <a:pt x="22" y="102"/>
                  <a:pt x="22" y="102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3"/>
                  <a:pt x="24" y="103"/>
                  <a:pt x="24" y="103"/>
                </a:cubicBezTo>
                <a:cubicBezTo>
                  <a:pt x="25" y="104"/>
                  <a:pt x="26" y="104"/>
                  <a:pt x="28" y="105"/>
                </a:cubicBezTo>
                <a:cubicBezTo>
                  <a:pt x="28" y="105"/>
                  <a:pt x="29" y="105"/>
                  <a:pt x="29" y="106"/>
                </a:cubicBezTo>
                <a:cubicBezTo>
                  <a:pt x="30" y="106"/>
                  <a:pt x="30" y="106"/>
                  <a:pt x="30" y="106"/>
                </a:cubicBezTo>
                <a:cubicBezTo>
                  <a:pt x="29" y="107"/>
                  <a:pt x="28" y="107"/>
                  <a:pt x="28" y="108"/>
                </a:cubicBezTo>
                <a:cubicBezTo>
                  <a:pt x="27" y="108"/>
                  <a:pt x="27" y="108"/>
                  <a:pt x="27" y="108"/>
                </a:cubicBezTo>
                <a:cubicBezTo>
                  <a:pt x="26" y="109"/>
                  <a:pt x="26" y="109"/>
                  <a:pt x="26" y="109"/>
                </a:cubicBezTo>
                <a:cubicBezTo>
                  <a:pt x="25" y="109"/>
                  <a:pt x="24" y="110"/>
                  <a:pt x="24" y="110"/>
                </a:cubicBezTo>
                <a:cubicBezTo>
                  <a:pt x="23" y="111"/>
                  <a:pt x="22" y="110"/>
                  <a:pt x="22" y="110"/>
                </a:cubicBezTo>
                <a:cubicBezTo>
                  <a:pt x="22" y="110"/>
                  <a:pt x="22" y="109"/>
                  <a:pt x="21" y="109"/>
                </a:cubicBezTo>
                <a:cubicBezTo>
                  <a:pt x="21" y="109"/>
                  <a:pt x="21" y="110"/>
                  <a:pt x="21" y="110"/>
                </a:cubicBezTo>
                <a:cubicBezTo>
                  <a:pt x="21" y="111"/>
                  <a:pt x="22" y="111"/>
                  <a:pt x="22" y="112"/>
                </a:cubicBezTo>
                <a:cubicBezTo>
                  <a:pt x="22" y="113"/>
                  <a:pt x="22" y="113"/>
                  <a:pt x="22" y="114"/>
                </a:cubicBezTo>
                <a:cubicBezTo>
                  <a:pt x="22" y="114"/>
                  <a:pt x="22" y="115"/>
                  <a:pt x="22" y="115"/>
                </a:cubicBezTo>
                <a:cubicBezTo>
                  <a:pt x="22" y="115"/>
                  <a:pt x="23" y="116"/>
                  <a:pt x="23" y="116"/>
                </a:cubicBezTo>
                <a:cubicBezTo>
                  <a:pt x="23" y="117"/>
                  <a:pt x="23" y="117"/>
                  <a:pt x="23" y="117"/>
                </a:cubicBezTo>
                <a:cubicBezTo>
                  <a:pt x="23" y="118"/>
                  <a:pt x="24" y="118"/>
                  <a:pt x="24" y="118"/>
                </a:cubicBezTo>
                <a:cubicBezTo>
                  <a:pt x="25" y="118"/>
                  <a:pt x="25" y="118"/>
                  <a:pt x="25" y="118"/>
                </a:cubicBezTo>
                <a:cubicBezTo>
                  <a:pt x="25" y="119"/>
                  <a:pt x="26" y="119"/>
                  <a:pt x="27" y="118"/>
                </a:cubicBezTo>
                <a:cubicBezTo>
                  <a:pt x="27" y="118"/>
                  <a:pt x="27" y="118"/>
                  <a:pt x="27" y="117"/>
                </a:cubicBezTo>
                <a:cubicBezTo>
                  <a:pt x="28" y="117"/>
                  <a:pt x="29" y="117"/>
                  <a:pt x="30" y="118"/>
                </a:cubicBezTo>
                <a:cubicBezTo>
                  <a:pt x="31" y="118"/>
                  <a:pt x="31" y="118"/>
                  <a:pt x="31" y="119"/>
                </a:cubicBezTo>
                <a:cubicBezTo>
                  <a:pt x="31" y="119"/>
                  <a:pt x="31" y="119"/>
                  <a:pt x="31" y="120"/>
                </a:cubicBezTo>
                <a:cubicBezTo>
                  <a:pt x="30" y="120"/>
                  <a:pt x="30" y="120"/>
                  <a:pt x="29" y="120"/>
                </a:cubicBezTo>
                <a:cubicBezTo>
                  <a:pt x="29" y="120"/>
                  <a:pt x="29" y="120"/>
                  <a:pt x="28" y="121"/>
                </a:cubicBezTo>
                <a:cubicBezTo>
                  <a:pt x="28" y="121"/>
                  <a:pt x="28" y="121"/>
                  <a:pt x="28" y="122"/>
                </a:cubicBezTo>
                <a:cubicBezTo>
                  <a:pt x="28" y="122"/>
                  <a:pt x="27" y="123"/>
                  <a:pt x="27" y="123"/>
                </a:cubicBezTo>
                <a:cubicBezTo>
                  <a:pt x="27" y="124"/>
                  <a:pt x="27" y="124"/>
                  <a:pt x="27" y="124"/>
                </a:cubicBezTo>
                <a:cubicBezTo>
                  <a:pt x="28" y="125"/>
                  <a:pt x="28" y="125"/>
                  <a:pt x="28" y="125"/>
                </a:cubicBezTo>
                <a:cubicBezTo>
                  <a:pt x="29" y="126"/>
                  <a:pt x="29" y="126"/>
                  <a:pt x="29" y="127"/>
                </a:cubicBezTo>
                <a:cubicBezTo>
                  <a:pt x="29" y="127"/>
                  <a:pt x="29" y="127"/>
                  <a:pt x="29" y="128"/>
                </a:cubicBezTo>
                <a:cubicBezTo>
                  <a:pt x="28" y="128"/>
                  <a:pt x="29" y="129"/>
                  <a:pt x="29" y="129"/>
                </a:cubicBezTo>
                <a:cubicBezTo>
                  <a:pt x="28" y="130"/>
                  <a:pt x="28" y="130"/>
                  <a:pt x="28" y="130"/>
                </a:cubicBezTo>
                <a:cubicBezTo>
                  <a:pt x="28" y="131"/>
                  <a:pt x="28" y="131"/>
                  <a:pt x="28" y="132"/>
                </a:cubicBezTo>
                <a:cubicBezTo>
                  <a:pt x="29" y="132"/>
                  <a:pt x="29" y="132"/>
                  <a:pt x="29" y="133"/>
                </a:cubicBezTo>
                <a:cubicBezTo>
                  <a:pt x="29" y="134"/>
                  <a:pt x="28" y="134"/>
                  <a:pt x="28" y="134"/>
                </a:cubicBezTo>
                <a:cubicBezTo>
                  <a:pt x="28" y="135"/>
                  <a:pt x="28" y="135"/>
                  <a:pt x="27" y="136"/>
                </a:cubicBezTo>
                <a:cubicBezTo>
                  <a:pt x="27" y="136"/>
                  <a:pt x="26" y="136"/>
                  <a:pt x="26" y="136"/>
                </a:cubicBezTo>
                <a:cubicBezTo>
                  <a:pt x="26" y="135"/>
                  <a:pt x="26" y="135"/>
                  <a:pt x="26" y="135"/>
                </a:cubicBezTo>
                <a:cubicBezTo>
                  <a:pt x="25" y="134"/>
                  <a:pt x="25" y="134"/>
                  <a:pt x="25" y="133"/>
                </a:cubicBezTo>
                <a:cubicBezTo>
                  <a:pt x="25" y="133"/>
                  <a:pt x="26" y="132"/>
                  <a:pt x="25" y="132"/>
                </a:cubicBezTo>
                <a:cubicBezTo>
                  <a:pt x="25" y="132"/>
                  <a:pt x="25" y="132"/>
                  <a:pt x="25" y="131"/>
                </a:cubicBezTo>
                <a:cubicBezTo>
                  <a:pt x="25" y="131"/>
                  <a:pt x="25" y="131"/>
                  <a:pt x="25" y="130"/>
                </a:cubicBezTo>
                <a:cubicBezTo>
                  <a:pt x="24" y="129"/>
                  <a:pt x="25" y="128"/>
                  <a:pt x="25" y="126"/>
                </a:cubicBezTo>
                <a:cubicBezTo>
                  <a:pt x="25" y="126"/>
                  <a:pt x="25" y="125"/>
                  <a:pt x="25" y="125"/>
                </a:cubicBezTo>
                <a:cubicBezTo>
                  <a:pt x="25" y="125"/>
                  <a:pt x="24" y="124"/>
                  <a:pt x="24" y="124"/>
                </a:cubicBezTo>
                <a:cubicBezTo>
                  <a:pt x="24" y="124"/>
                  <a:pt x="24" y="123"/>
                  <a:pt x="24" y="123"/>
                </a:cubicBezTo>
                <a:cubicBezTo>
                  <a:pt x="24" y="123"/>
                  <a:pt x="24" y="124"/>
                  <a:pt x="23" y="124"/>
                </a:cubicBezTo>
                <a:cubicBezTo>
                  <a:pt x="23" y="125"/>
                  <a:pt x="23" y="127"/>
                  <a:pt x="23" y="128"/>
                </a:cubicBezTo>
                <a:cubicBezTo>
                  <a:pt x="23" y="129"/>
                  <a:pt x="23" y="131"/>
                  <a:pt x="23" y="132"/>
                </a:cubicBezTo>
                <a:cubicBezTo>
                  <a:pt x="23" y="133"/>
                  <a:pt x="23" y="134"/>
                  <a:pt x="24" y="135"/>
                </a:cubicBezTo>
                <a:cubicBezTo>
                  <a:pt x="24" y="136"/>
                  <a:pt x="24" y="137"/>
                  <a:pt x="24" y="138"/>
                </a:cubicBezTo>
                <a:cubicBezTo>
                  <a:pt x="24" y="139"/>
                  <a:pt x="25" y="139"/>
                  <a:pt x="26" y="139"/>
                </a:cubicBezTo>
                <a:cubicBezTo>
                  <a:pt x="27" y="140"/>
                  <a:pt x="27" y="140"/>
                  <a:pt x="28" y="141"/>
                </a:cubicBezTo>
                <a:cubicBezTo>
                  <a:pt x="28" y="141"/>
                  <a:pt x="28" y="142"/>
                  <a:pt x="29" y="142"/>
                </a:cubicBezTo>
                <a:cubicBezTo>
                  <a:pt x="29" y="142"/>
                  <a:pt x="30" y="141"/>
                  <a:pt x="30" y="141"/>
                </a:cubicBezTo>
                <a:cubicBezTo>
                  <a:pt x="31" y="141"/>
                  <a:pt x="31" y="141"/>
                  <a:pt x="32" y="141"/>
                </a:cubicBezTo>
                <a:cubicBezTo>
                  <a:pt x="33" y="141"/>
                  <a:pt x="34" y="140"/>
                  <a:pt x="35" y="139"/>
                </a:cubicBezTo>
                <a:cubicBezTo>
                  <a:pt x="35" y="139"/>
                  <a:pt x="36" y="139"/>
                  <a:pt x="36" y="140"/>
                </a:cubicBezTo>
                <a:cubicBezTo>
                  <a:pt x="36" y="140"/>
                  <a:pt x="36" y="140"/>
                  <a:pt x="37" y="140"/>
                </a:cubicBezTo>
                <a:cubicBezTo>
                  <a:pt x="38" y="141"/>
                  <a:pt x="39" y="140"/>
                  <a:pt x="40" y="140"/>
                </a:cubicBezTo>
                <a:cubicBezTo>
                  <a:pt x="41" y="140"/>
                  <a:pt x="42" y="140"/>
                  <a:pt x="43" y="140"/>
                </a:cubicBezTo>
                <a:cubicBezTo>
                  <a:pt x="44" y="141"/>
                  <a:pt x="45" y="142"/>
                  <a:pt x="45" y="142"/>
                </a:cubicBezTo>
                <a:cubicBezTo>
                  <a:pt x="46" y="143"/>
                  <a:pt x="47" y="144"/>
                  <a:pt x="48" y="145"/>
                </a:cubicBezTo>
                <a:cubicBezTo>
                  <a:pt x="48" y="145"/>
                  <a:pt x="49" y="146"/>
                  <a:pt x="49" y="146"/>
                </a:cubicBezTo>
                <a:cubicBezTo>
                  <a:pt x="50" y="146"/>
                  <a:pt x="50" y="146"/>
                  <a:pt x="50" y="146"/>
                </a:cubicBezTo>
                <a:cubicBezTo>
                  <a:pt x="51" y="146"/>
                  <a:pt x="51" y="146"/>
                  <a:pt x="52" y="146"/>
                </a:cubicBezTo>
                <a:cubicBezTo>
                  <a:pt x="52" y="146"/>
                  <a:pt x="53" y="145"/>
                  <a:pt x="54" y="145"/>
                </a:cubicBezTo>
                <a:cubicBezTo>
                  <a:pt x="54" y="145"/>
                  <a:pt x="55" y="145"/>
                  <a:pt x="55" y="145"/>
                </a:cubicBezTo>
                <a:cubicBezTo>
                  <a:pt x="56" y="145"/>
                  <a:pt x="57" y="145"/>
                  <a:pt x="58" y="146"/>
                </a:cubicBezTo>
                <a:cubicBezTo>
                  <a:pt x="59" y="146"/>
                  <a:pt x="59" y="147"/>
                  <a:pt x="60" y="147"/>
                </a:cubicBezTo>
                <a:cubicBezTo>
                  <a:pt x="60" y="148"/>
                  <a:pt x="61" y="148"/>
                  <a:pt x="61" y="148"/>
                </a:cubicBezTo>
                <a:cubicBezTo>
                  <a:pt x="62" y="149"/>
                  <a:pt x="63" y="149"/>
                  <a:pt x="64" y="150"/>
                </a:cubicBezTo>
                <a:cubicBezTo>
                  <a:pt x="64" y="151"/>
                  <a:pt x="64" y="152"/>
                  <a:pt x="64" y="153"/>
                </a:cubicBezTo>
                <a:cubicBezTo>
                  <a:pt x="65" y="154"/>
                  <a:pt x="65" y="155"/>
                  <a:pt x="66" y="156"/>
                </a:cubicBezTo>
                <a:cubicBezTo>
                  <a:pt x="66" y="156"/>
                  <a:pt x="67" y="157"/>
                  <a:pt x="67" y="157"/>
                </a:cubicBezTo>
                <a:cubicBezTo>
                  <a:pt x="68" y="158"/>
                  <a:pt x="68" y="159"/>
                  <a:pt x="68" y="161"/>
                </a:cubicBezTo>
                <a:cubicBezTo>
                  <a:pt x="68" y="162"/>
                  <a:pt x="68" y="163"/>
                  <a:pt x="68" y="164"/>
                </a:cubicBezTo>
                <a:cubicBezTo>
                  <a:pt x="68" y="165"/>
                  <a:pt x="69" y="166"/>
                  <a:pt x="69" y="167"/>
                </a:cubicBezTo>
                <a:cubicBezTo>
                  <a:pt x="69" y="167"/>
                  <a:pt x="69" y="168"/>
                  <a:pt x="69" y="168"/>
                </a:cubicBezTo>
                <a:cubicBezTo>
                  <a:pt x="69" y="169"/>
                  <a:pt x="69" y="169"/>
                  <a:pt x="69" y="170"/>
                </a:cubicBezTo>
                <a:cubicBezTo>
                  <a:pt x="70" y="171"/>
                  <a:pt x="70" y="171"/>
                  <a:pt x="71" y="172"/>
                </a:cubicBezTo>
                <a:cubicBezTo>
                  <a:pt x="73" y="174"/>
                  <a:pt x="76" y="174"/>
                  <a:pt x="78" y="175"/>
                </a:cubicBezTo>
                <a:cubicBezTo>
                  <a:pt x="79" y="175"/>
                  <a:pt x="80" y="175"/>
                  <a:pt x="81" y="175"/>
                </a:cubicBezTo>
                <a:cubicBezTo>
                  <a:pt x="82" y="175"/>
                  <a:pt x="82" y="175"/>
                  <a:pt x="83" y="176"/>
                </a:cubicBezTo>
                <a:cubicBezTo>
                  <a:pt x="83" y="176"/>
                  <a:pt x="84" y="176"/>
                  <a:pt x="84" y="176"/>
                </a:cubicBezTo>
                <a:cubicBezTo>
                  <a:pt x="87" y="176"/>
                  <a:pt x="87" y="176"/>
                  <a:pt x="87" y="176"/>
                </a:cubicBezTo>
                <a:cubicBezTo>
                  <a:pt x="88" y="176"/>
                  <a:pt x="89" y="175"/>
                  <a:pt x="90" y="175"/>
                </a:cubicBezTo>
                <a:cubicBezTo>
                  <a:pt x="92" y="174"/>
                  <a:pt x="94" y="173"/>
                  <a:pt x="95" y="172"/>
                </a:cubicBezTo>
                <a:cubicBezTo>
                  <a:pt x="96" y="171"/>
                  <a:pt x="97" y="171"/>
                  <a:pt x="98" y="170"/>
                </a:cubicBezTo>
                <a:cubicBezTo>
                  <a:pt x="99" y="170"/>
                  <a:pt x="100" y="169"/>
                  <a:pt x="101" y="169"/>
                </a:cubicBezTo>
                <a:cubicBezTo>
                  <a:pt x="101" y="169"/>
                  <a:pt x="102" y="169"/>
                  <a:pt x="102" y="169"/>
                </a:cubicBezTo>
                <a:cubicBezTo>
                  <a:pt x="104" y="169"/>
                  <a:pt x="106" y="170"/>
                  <a:pt x="107" y="169"/>
                </a:cubicBezTo>
                <a:cubicBezTo>
                  <a:pt x="107" y="169"/>
                  <a:pt x="108" y="169"/>
                  <a:pt x="108" y="168"/>
                </a:cubicBezTo>
                <a:cubicBezTo>
                  <a:pt x="108" y="168"/>
                  <a:pt x="109" y="168"/>
                  <a:pt x="109" y="168"/>
                </a:cubicBezTo>
                <a:cubicBezTo>
                  <a:pt x="110" y="168"/>
                  <a:pt x="111" y="168"/>
                  <a:pt x="112" y="168"/>
                </a:cubicBezTo>
                <a:cubicBezTo>
                  <a:pt x="113" y="169"/>
                  <a:pt x="113" y="169"/>
                  <a:pt x="113" y="169"/>
                </a:cubicBezTo>
                <a:cubicBezTo>
                  <a:pt x="114" y="169"/>
                  <a:pt x="114" y="169"/>
                  <a:pt x="115" y="169"/>
                </a:cubicBezTo>
                <a:cubicBezTo>
                  <a:pt x="115" y="169"/>
                  <a:pt x="116" y="169"/>
                  <a:pt x="116" y="169"/>
                </a:cubicBezTo>
                <a:cubicBezTo>
                  <a:pt x="116" y="169"/>
                  <a:pt x="117" y="169"/>
                  <a:pt x="117" y="169"/>
                </a:cubicBezTo>
                <a:cubicBezTo>
                  <a:pt x="118" y="169"/>
                  <a:pt x="118" y="169"/>
                  <a:pt x="119" y="170"/>
                </a:cubicBezTo>
                <a:cubicBezTo>
                  <a:pt x="120" y="170"/>
                  <a:pt x="120" y="170"/>
                  <a:pt x="121" y="170"/>
                </a:cubicBezTo>
                <a:cubicBezTo>
                  <a:pt x="121" y="171"/>
                  <a:pt x="121" y="171"/>
                  <a:pt x="121" y="171"/>
                </a:cubicBezTo>
                <a:cubicBezTo>
                  <a:pt x="122" y="172"/>
                  <a:pt x="121" y="173"/>
                  <a:pt x="122" y="173"/>
                </a:cubicBezTo>
                <a:cubicBezTo>
                  <a:pt x="123" y="174"/>
                  <a:pt x="124" y="174"/>
                  <a:pt x="124" y="173"/>
                </a:cubicBezTo>
                <a:cubicBezTo>
                  <a:pt x="125" y="173"/>
                  <a:pt x="125" y="172"/>
                  <a:pt x="126" y="172"/>
                </a:cubicBezTo>
                <a:cubicBezTo>
                  <a:pt x="126" y="171"/>
                  <a:pt x="127" y="171"/>
                  <a:pt x="128" y="171"/>
                </a:cubicBezTo>
                <a:cubicBezTo>
                  <a:pt x="128" y="171"/>
                  <a:pt x="129" y="171"/>
                  <a:pt x="130" y="171"/>
                </a:cubicBezTo>
                <a:cubicBezTo>
                  <a:pt x="131" y="171"/>
                  <a:pt x="132" y="172"/>
                  <a:pt x="133" y="172"/>
                </a:cubicBezTo>
                <a:cubicBezTo>
                  <a:pt x="134" y="171"/>
                  <a:pt x="135" y="171"/>
                  <a:pt x="136" y="170"/>
                </a:cubicBezTo>
                <a:cubicBezTo>
                  <a:pt x="137" y="169"/>
                  <a:pt x="138" y="169"/>
                  <a:pt x="139" y="168"/>
                </a:cubicBezTo>
                <a:cubicBezTo>
                  <a:pt x="139" y="168"/>
                  <a:pt x="140" y="168"/>
                  <a:pt x="141" y="167"/>
                </a:cubicBezTo>
                <a:cubicBezTo>
                  <a:pt x="141" y="167"/>
                  <a:pt x="142" y="167"/>
                  <a:pt x="143" y="167"/>
                </a:cubicBezTo>
                <a:cubicBezTo>
                  <a:pt x="143" y="167"/>
                  <a:pt x="144" y="167"/>
                  <a:pt x="144" y="168"/>
                </a:cubicBezTo>
                <a:cubicBezTo>
                  <a:pt x="145" y="168"/>
                  <a:pt x="145" y="168"/>
                  <a:pt x="146" y="169"/>
                </a:cubicBezTo>
                <a:cubicBezTo>
                  <a:pt x="147" y="169"/>
                  <a:pt x="149" y="169"/>
                  <a:pt x="150" y="169"/>
                </a:cubicBezTo>
                <a:cubicBezTo>
                  <a:pt x="151" y="169"/>
                  <a:pt x="153" y="169"/>
                  <a:pt x="154" y="168"/>
                </a:cubicBezTo>
                <a:cubicBezTo>
                  <a:pt x="155" y="168"/>
                  <a:pt x="156" y="168"/>
                  <a:pt x="157" y="167"/>
                </a:cubicBezTo>
                <a:cubicBezTo>
                  <a:pt x="159" y="166"/>
                  <a:pt x="161" y="164"/>
                  <a:pt x="163" y="164"/>
                </a:cubicBezTo>
                <a:cubicBezTo>
                  <a:pt x="164" y="163"/>
                  <a:pt x="165" y="163"/>
                  <a:pt x="166" y="163"/>
                </a:cubicBezTo>
                <a:cubicBezTo>
                  <a:pt x="167" y="163"/>
                  <a:pt x="167" y="163"/>
                  <a:pt x="168" y="162"/>
                </a:cubicBezTo>
                <a:cubicBezTo>
                  <a:pt x="168" y="162"/>
                  <a:pt x="168" y="162"/>
                  <a:pt x="169" y="162"/>
                </a:cubicBezTo>
                <a:cubicBezTo>
                  <a:pt x="169" y="162"/>
                  <a:pt x="170" y="162"/>
                  <a:pt x="171" y="162"/>
                </a:cubicBezTo>
                <a:cubicBezTo>
                  <a:pt x="171" y="162"/>
                  <a:pt x="172" y="162"/>
                  <a:pt x="172" y="162"/>
                </a:cubicBezTo>
                <a:cubicBezTo>
                  <a:pt x="173" y="161"/>
                  <a:pt x="174" y="161"/>
                  <a:pt x="175" y="160"/>
                </a:cubicBezTo>
                <a:cubicBezTo>
                  <a:pt x="175" y="160"/>
                  <a:pt x="175" y="160"/>
                  <a:pt x="176" y="159"/>
                </a:cubicBezTo>
                <a:cubicBezTo>
                  <a:pt x="176" y="159"/>
                  <a:pt x="176" y="159"/>
                  <a:pt x="177" y="158"/>
                </a:cubicBezTo>
                <a:cubicBezTo>
                  <a:pt x="177" y="158"/>
                  <a:pt x="178" y="158"/>
                  <a:pt x="179" y="158"/>
                </a:cubicBezTo>
                <a:cubicBezTo>
                  <a:pt x="180" y="158"/>
                  <a:pt x="181" y="158"/>
                  <a:pt x="181" y="158"/>
                </a:cubicBezTo>
                <a:cubicBezTo>
                  <a:pt x="182" y="159"/>
                  <a:pt x="182" y="158"/>
                  <a:pt x="183" y="158"/>
                </a:cubicBezTo>
                <a:cubicBezTo>
                  <a:pt x="183" y="158"/>
                  <a:pt x="184" y="158"/>
                  <a:pt x="185" y="158"/>
                </a:cubicBezTo>
                <a:cubicBezTo>
                  <a:pt x="185" y="158"/>
                  <a:pt x="185" y="158"/>
                  <a:pt x="186" y="157"/>
                </a:cubicBezTo>
                <a:cubicBezTo>
                  <a:pt x="186" y="157"/>
                  <a:pt x="187" y="157"/>
                  <a:pt x="187" y="157"/>
                </a:cubicBezTo>
                <a:cubicBezTo>
                  <a:pt x="187" y="157"/>
                  <a:pt x="188" y="157"/>
                  <a:pt x="188" y="157"/>
                </a:cubicBezTo>
                <a:cubicBezTo>
                  <a:pt x="189" y="157"/>
                  <a:pt x="191" y="157"/>
                  <a:pt x="192" y="157"/>
                </a:cubicBezTo>
                <a:cubicBezTo>
                  <a:pt x="193" y="157"/>
                  <a:pt x="193" y="157"/>
                  <a:pt x="194" y="157"/>
                </a:cubicBezTo>
                <a:cubicBezTo>
                  <a:pt x="195" y="156"/>
                  <a:pt x="195" y="156"/>
                  <a:pt x="196" y="155"/>
                </a:cubicBezTo>
                <a:cubicBezTo>
                  <a:pt x="196" y="155"/>
                  <a:pt x="197" y="155"/>
                  <a:pt x="197" y="154"/>
                </a:cubicBezTo>
                <a:cubicBezTo>
                  <a:pt x="198" y="154"/>
                  <a:pt x="198" y="154"/>
                  <a:pt x="199" y="154"/>
                </a:cubicBezTo>
                <a:cubicBezTo>
                  <a:pt x="270" y="154"/>
                  <a:pt x="270" y="154"/>
                  <a:pt x="270" y="154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150"/>
                  <a:pt x="269" y="147"/>
                  <a:pt x="269" y="147"/>
                </a:cubicBez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Freeform 12">
            <a:extLst>
              <a:ext uri="{FF2B5EF4-FFF2-40B4-BE49-F238E27FC236}">
                <a16:creationId xmlns:a16="http://schemas.microsoft.com/office/drawing/2014/main" id="{6A234852-6C39-4039-9DE3-DBB363B31AEF}"/>
              </a:ext>
            </a:extLst>
          </p:cNvPr>
          <p:cNvSpPr>
            <a:spLocks noEditPoints="1"/>
          </p:cNvSpPr>
          <p:nvPr/>
        </p:nvSpPr>
        <p:spPr bwMode="auto">
          <a:xfrm>
            <a:off x="9614367" y="3086994"/>
            <a:ext cx="1151586" cy="510531"/>
          </a:xfrm>
          <a:custGeom>
            <a:avLst/>
            <a:gdLst>
              <a:gd name="T0" fmla="*/ 270 w 291"/>
              <a:gd name="T1" fmla="*/ 129 h 129"/>
              <a:gd name="T2" fmla="*/ 290 w 291"/>
              <a:gd name="T3" fmla="*/ 67 h 129"/>
              <a:gd name="T4" fmla="*/ 288 w 291"/>
              <a:gd name="T5" fmla="*/ 67 h 129"/>
              <a:gd name="T6" fmla="*/ 278 w 291"/>
              <a:gd name="T7" fmla="*/ 65 h 129"/>
              <a:gd name="T8" fmla="*/ 283 w 291"/>
              <a:gd name="T9" fmla="*/ 72 h 129"/>
              <a:gd name="T10" fmla="*/ 276 w 291"/>
              <a:gd name="T11" fmla="*/ 83 h 129"/>
              <a:gd name="T12" fmla="*/ 270 w 291"/>
              <a:gd name="T13" fmla="*/ 93 h 129"/>
              <a:gd name="T14" fmla="*/ 267 w 291"/>
              <a:gd name="T15" fmla="*/ 101 h 129"/>
              <a:gd name="T16" fmla="*/ 264 w 291"/>
              <a:gd name="T17" fmla="*/ 97 h 129"/>
              <a:gd name="T18" fmla="*/ 266 w 291"/>
              <a:gd name="T19" fmla="*/ 88 h 129"/>
              <a:gd name="T20" fmla="*/ 274 w 291"/>
              <a:gd name="T21" fmla="*/ 73 h 129"/>
              <a:gd name="T22" fmla="*/ 278 w 291"/>
              <a:gd name="T23" fmla="*/ 65 h 129"/>
              <a:gd name="T24" fmla="*/ 69 w 291"/>
              <a:gd name="T25" fmla="*/ 126 h 129"/>
              <a:gd name="T26" fmla="*/ 18 w 291"/>
              <a:gd name="T27" fmla="*/ 120 h 129"/>
              <a:gd name="T28" fmla="*/ 28 w 291"/>
              <a:gd name="T29" fmla="*/ 110 h 129"/>
              <a:gd name="T30" fmla="*/ 46 w 291"/>
              <a:gd name="T31" fmla="*/ 97 h 129"/>
              <a:gd name="T32" fmla="*/ 59 w 291"/>
              <a:gd name="T33" fmla="*/ 90 h 129"/>
              <a:gd name="T34" fmla="*/ 68 w 291"/>
              <a:gd name="T35" fmla="*/ 100 h 129"/>
              <a:gd name="T36" fmla="*/ 96 w 291"/>
              <a:gd name="T37" fmla="*/ 96 h 129"/>
              <a:gd name="T38" fmla="*/ 105 w 291"/>
              <a:gd name="T39" fmla="*/ 90 h 129"/>
              <a:gd name="T40" fmla="*/ 118 w 291"/>
              <a:gd name="T41" fmla="*/ 83 h 129"/>
              <a:gd name="T42" fmla="*/ 123 w 291"/>
              <a:gd name="T43" fmla="*/ 69 h 129"/>
              <a:gd name="T44" fmla="*/ 130 w 291"/>
              <a:gd name="T45" fmla="*/ 56 h 129"/>
              <a:gd name="T46" fmla="*/ 138 w 291"/>
              <a:gd name="T47" fmla="*/ 43 h 129"/>
              <a:gd name="T48" fmla="*/ 156 w 291"/>
              <a:gd name="T49" fmla="*/ 37 h 129"/>
              <a:gd name="T50" fmla="*/ 168 w 291"/>
              <a:gd name="T51" fmla="*/ 27 h 129"/>
              <a:gd name="T52" fmla="*/ 176 w 291"/>
              <a:gd name="T53" fmla="*/ 20 h 129"/>
              <a:gd name="T54" fmla="*/ 183 w 291"/>
              <a:gd name="T55" fmla="*/ 5 h 129"/>
              <a:gd name="T56" fmla="*/ 212 w 291"/>
              <a:gd name="T57" fmla="*/ 14 h 129"/>
              <a:gd name="T58" fmla="*/ 224 w 291"/>
              <a:gd name="T59" fmla="*/ 22 h 129"/>
              <a:gd name="T60" fmla="*/ 229 w 291"/>
              <a:gd name="T61" fmla="*/ 28 h 129"/>
              <a:gd name="T62" fmla="*/ 226 w 291"/>
              <a:gd name="T63" fmla="*/ 37 h 129"/>
              <a:gd name="T64" fmla="*/ 221 w 291"/>
              <a:gd name="T65" fmla="*/ 42 h 129"/>
              <a:gd name="T66" fmla="*/ 228 w 291"/>
              <a:gd name="T67" fmla="*/ 50 h 129"/>
              <a:gd name="T68" fmla="*/ 239 w 291"/>
              <a:gd name="T69" fmla="*/ 60 h 129"/>
              <a:gd name="T70" fmla="*/ 250 w 291"/>
              <a:gd name="T71" fmla="*/ 67 h 129"/>
              <a:gd name="T72" fmla="*/ 254 w 291"/>
              <a:gd name="T73" fmla="*/ 73 h 129"/>
              <a:gd name="T74" fmla="*/ 252 w 291"/>
              <a:gd name="T75" fmla="*/ 72 h 129"/>
              <a:gd name="T76" fmla="*/ 253 w 291"/>
              <a:gd name="T77" fmla="*/ 81 h 129"/>
              <a:gd name="T78" fmla="*/ 246 w 291"/>
              <a:gd name="T79" fmla="*/ 79 h 129"/>
              <a:gd name="T80" fmla="*/ 237 w 291"/>
              <a:gd name="T81" fmla="*/ 69 h 129"/>
              <a:gd name="T82" fmla="*/ 239 w 291"/>
              <a:gd name="T83" fmla="*/ 73 h 129"/>
              <a:gd name="T84" fmla="*/ 245 w 291"/>
              <a:gd name="T85" fmla="*/ 81 h 129"/>
              <a:gd name="T86" fmla="*/ 252 w 291"/>
              <a:gd name="T87" fmla="*/ 86 h 129"/>
              <a:gd name="T88" fmla="*/ 255 w 291"/>
              <a:gd name="T89" fmla="*/ 90 h 129"/>
              <a:gd name="T90" fmla="*/ 254 w 291"/>
              <a:gd name="T91" fmla="*/ 95 h 129"/>
              <a:gd name="T92" fmla="*/ 249 w 291"/>
              <a:gd name="T93" fmla="*/ 92 h 129"/>
              <a:gd name="T94" fmla="*/ 251 w 291"/>
              <a:gd name="T95" fmla="*/ 100 h 129"/>
              <a:gd name="T96" fmla="*/ 254 w 291"/>
              <a:gd name="T97" fmla="*/ 109 h 129"/>
              <a:gd name="T98" fmla="*/ 248 w 291"/>
              <a:gd name="T99" fmla="*/ 109 h 129"/>
              <a:gd name="T100" fmla="*/ 241 w 291"/>
              <a:gd name="T101" fmla="*/ 100 h 129"/>
              <a:gd name="T102" fmla="*/ 232 w 291"/>
              <a:gd name="T103" fmla="*/ 99 h 129"/>
              <a:gd name="T104" fmla="*/ 236 w 291"/>
              <a:gd name="T105" fmla="*/ 100 h 129"/>
              <a:gd name="T106" fmla="*/ 245 w 291"/>
              <a:gd name="T107" fmla="*/ 110 h 129"/>
              <a:gd name="T108" fmla="*/ 247 w 291"/>
              <a:gd name="T109" fmla="*/ 116 h 129"/>
              <a:gd name="T110" fmla="*/ 253 w 291"/>
              <a:gd name="T111" fmla="*/ 117 h 129"/>
              <a:gd name="T112" fmla="*/ 259 w 291"/>
              <a:gd name="T113" fmla="*/ 113 h 129"/>
              <a:gd name="T114" fmla="*/ 265 w 291"/>
              <a:gd name="T115" fmla="*/ 115 h 129"/>
              <a:gd name="T116" fmla="*/ 267 w 291"/>
              <a:gd name="T117" fmla="*/ 122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91" h="129">
                <a:moveTo>
                  <a:pt x="270" y="129"/>
                </a:moveTo>
                <a:cubicBezTo>
                  <a:pt x="268" y="129"/>
                  <a:pt x="268" y="129"/>
                  <a:pt x="268" y="129"/>
                </a:cubicBezTo>
                <a:cubicBezTo>
                  <a:pt x="268" y="128"/>
                  <a:pt x="268" y="128"/>
                  <a:pt x="268" y="128"/>
                </a:cubicBezTo>
                <a:cubicBezTo>
                  <a:pt x="268" y="127"/>
                  <a:pt x="268" y="127"/>
                  <a:pt x="268" y="127"/>
                </a:cubicBezTo>
                <a:cubicBezTo>
                  <a:pt x="269" y="126"/>
                  <a:pt x="270" y="128"/>
                  <a:pt x="270" y="128"/>
                </a:cubicBezTo>
                <a:cubicBezTo>
                  <a:pt x="270" y="128"/>
                  <a:pt x="270" y="128"/>
                  <a:pt x="270" y="129"/>
                </a:cubicBezTo>
                <a:close/>
                <a:moveTo>
                  <a:pt x="287" y="71"/>
                </a:moveTo>
                <a:cubicBezTo>
                  <a:pt x="288" y="70"/>
                  <a:pt x="288" y="70"/>
                  <a:pt x="288" y="70"/>
                </a:cubicBezTo>
                <a:cubicBezTo>
                  <a:pt x="288" y="70"/>
                  <a:pt x="288" y="69"/>
                  <a:pt x="288" y="69"/>
                </a:cubicBezTo>
                <a:cubicBezTo>
                  <a:pt x="289" y="69"/>
                  <a:pt x="289" y="68"/>
                  <a:pt x="289" y="68"/>
                </a:cubicBezTo>
                <a:cubicBezTo>
                  <a:pt x="289" y="68"/>
                  <a:pt x="289" y="68"/>
                  <a:pt x="289" y="67"/>
                </a:cubicBezTo>
                <a:cubicBezTo>
                  <a:pt x="289" y="67"/>
                  <a:pt x="290" y="67"/>
                  <a:pt x="290" y="67"/>
                </a:cubicBezTo>
                <a:cubicBezTo>
                  <a:pt x="290" y="67"/>
                  <a:pt x="290" y="66"/>
                  <a:pt x="290" y="66"/>
                </a:cubicBezTo>
                <a:cubicBezTo>
                  <a:pt x="290" y="66"/>
                  <a:pt x="290" y="66"/>
                  <a:pt x="290" y="66"/>
                </a:cubicBezTo>
                <a:cubicBezTo>
                  <a:pt x="291" y="65"/>
                  <a:pt x="291" y="65"/>
                  <a:pt x="291" y="65"/>
                </a:cubicBezTo>
                <a:cubicBezTo>
                  <a:pt x="291" y="65"/>
                  <a:pt x="290" y="65"/>
                  <a:pt x="290" y="65"/>
                </a:cubicBezTo>
                <a:cubicBezTo>
                  <a:pt x="290" y="65"/>
                  <a:pt x="290" y="66"/>
                  <a:pt x="289" y="66"/>
                </a:cubicBezTo>
                <a:cubicBezTo>
                  <a:pt x="289" y="66"/>
                  <a:pt x="289" y="67"/>
                  <a:pt x="288" y="67"/>
                </a:cubicBezTo>
                <a:cubicBezTo>
                  <a:pt x="288" y="67"/>
                  <a:pt x="287" y="68"/>
                  <a:pt x="287" y="68"/>
                </a:cubicBezTo>
                <a:cubicBezTo>
                  <a:pt x="287" y="68"/>
                  <a:pt x="287" y="69"/>
                  <a:pt x="287" y="69"/>
                </a:cubicBezTo>
                <a:cubicBezTo>
                  <a:pt x="287" y="69"/>
                  <a:pt x="287" y="69"/>
                  <a:pt x="287" y="69"/>
                </a:cubicBezTo>
                <a:cubicBezTo>
                  <a:pt x="287" y="70"/>
                  <a:pt x="287" y="70"/>
                  <a:pt x="287" y="70"/>
                </a:cubicBezTo>
                <a:cubicBezTo>
                  <a:pt x="287" y="70"/>
                  <a:pt x="287" y="71"/>
                  <a:pt x="287" y="71"/>
                </a:cubicBezTo>
                <a:close/>
                <a:moveTo>
                  <a:pt x="278" y="65"/>
                </a:moveTo>
                <a:cubicBezTo>
                  <a:pt x="285" y="65"/>
                  <a:pt x="285" y="65"/>
                  <a:pt x="285" y="65"/>
                </a:cubicBezTo>
                <a:cubicBezTo>
                  <a:pt x="285" y="65"/>
                  <a:pt x="285" y="65"/>
                  <a:pt x="285" y="65"/>
                </a:cubicBezTo>
                <a:cubicBezTo>
                  <a:pt x="285" y="66"/>
                  <a:pt x="284" y="67"/>
                  <a:pt x="284" y="68"/>
                </a:cubicBezTo>
                <a:cubicBezTo>
                  <a:pt x="284" y="68"/>
                  <a:pt x="284" y="69"/>
                  <a:pt x="284" y="69"/>
                </a:cubicBezTo>
                <a:cubicBezTo>
                  <a:pt x="284" y="69"/>
                  <a:pt x="284" y="70"/>
                  <a:pt x="284" y="70"/>
                </a:cubicBezTo>
                <a:cubicBezTo>
                  <a:pt x="283" y="71"/>
                  <a:pt x="283" y="71"/>
                  <a:pt x="283" y="72"/>
                </a:cubicBezTo>
                <a:cubicBezTo>
                  <a:pt x="283" y="72"/>
                  <a:pt x="283" y="72"/>
                  <a:pt x="282" y="72"/>
                </a:cubicBezTo>
                <a:cubicBezTo>
                  <a:pt x="282" y="73"/>
                  <a:pt x="282" y="73"/>
                  <a:pt x="282" y="73"/>
                </a:cubicBezTo>
                <a:cubicBezTo>
                  <a:pt x="282" y="74"/>
                  <a:pt x="281" y="74"/>
                  <a:pt x="281" y="75"/>
                </a:cubicBezTo>
                <a:cubicBezTo>
                  <a:pt x="281" y="75"/>
                  <a:pt x="281" y="76"/>
                  <a:pt x="280" y="76"/>
                </a:cubicBezTo>
                <a:cubicBezTo>
                  <a:pt x="279" y="78"/>
                  <a:pt x="278" y="79"/>
                  <a:pt x="277" y="81"/>
                </a:cubicBezTo>
                <a:cubicBezTo>
                  <a:pt x="277" y="82"/>
                  <a:pt x="276" y="82"/>
                  <a:pt x="276" y="83"/>
                </a:cubicBezTo>
                <a:cubicBezTo>
                  <a:pt x="276" y="85"/>
                  <a:pt x="276" y="86"/>
                  <a:pt x="276" y="87"/>
                </a:cubicBezTo>
                <a:cubicBezTo>
                  <a:pt x="276" y="88"/>
                  <a:pt x="276" y="89"/>
                  <a:pt x="274" y="89"/>
                </a:cubicBezTo>
                <a:cubicBezTo>
                  <a:pt x="274" y="89"/>
                  <a:pt x="274" y="89"/>
                  <a:pt x="273" y="89"/>
                </a:cubicBezTo>
                <a:cubicBezTo>
                  <a:pt x="273" y="89"/>
                  <a:pt x="272" y="89"/>
                  <a:pt x="272" y="90"/>
                </a:cubicBezTo>
                <a:cubicBezTo>
                  <a:pt x="271" y="90"/>
                  <a:pt x="271" y="91"/>
                  <a:pt x="271" y="92"/>
                </a:cubicBezTo>
                <a:cubicBezTo>
                  <a:pt x="271" y="92"/>
                  <a:pt x="271" y="92"/>
                  <a:pt x="270" y="93"/>
                </a:cubicBezTo>
                <a:cubicBezTo>
                  <a:pt x="269" y="93"/>
                  <a:pt x="269" y="94"/>
                  <a:pt x="269" y="94"/>
                </a:cubicBezTo>
                <a:cubicBezTo>
                  <a:pt x="268" y="94"/>
                  <a:pt x="268" y="95"/>
                  <a:pt x="268" y="95"/>
                </a:cubicBezTo>
                <a:cubicBezTo>
                  <a:pt x="268" y="96"/>
                  <a:pt x="268" y="96"/>
                  <a:pt x="268" y="96"/>
                </a:cubicBezTo>
                <a:cubicBezTo>
                  <a:pt x="267" y="97"/>
                  <a:pt x="267" y="97"/>
                  <a:pt x="268" y="98"/>
                </a:cubicBezTo>
                <a:cubicBezTo>
                  <a:pt x="268" y="98"/>
                  <a:pt x="268" y="99"/>
                  <a:pt x="268" y="99"/>
                </a:cubicBezTo>
                <a:cubicBezTo>
                  <a:pt x="268" y="100"/>
                  <a:pt x="268" y="101"/>
                  <a:pt x="267" y="101"/>
                </a:cubicBezTo>
                <a:cubicBezTo>
                  <a:pt x="267" y="102"/>
                  <a:pt x="267" y="103"/>
                  <a:pt x="266" y="103"/>
                </a:cubicBezTo>
                <a:cubicBezTo>
                  <a:pt x="266" y="103"/>
                  <a:pt x="266" y="102"/>
                  <a:pt x="266" y="102"/>
                </a:cubicBezTo>
                <a:cubicBezTo>
                  <a:pt x="266" y="101"/>
                  <a:pt x="266" y="101"/>
                  <a:pt x="265" y="101"/>
                </a:cubicBezTo>
                <a:cubicBezTo>
                  <a:pt x="265" y="101"/>
                  <a:pt x="265" y="100"/>
                  <a:pt x="265" y="100"/>
                </a:cubicBezTo>
                <a:cubicBezTo>
                  <a:pt x="264" y="100"/>
                  <a:pt x="264" y="99"/>
                  <a:pt x="264" y="98"/>
                </a:cubicBezTo>
                <a:cubicBezTo>
                  <a:pt x="264" y="98"/>
                  <a:pt x="264" y="97"/>
                  <a:pt x="264" y="97"/>
                </a:cubicBezTo>
                <a:cubicBezTo>
                  <a:pt x="264" y="97"/>
                  <a:pt x="264" y="96"/>
                  <a:pt x="264" y="96"/>
                </a:cubicBezTo>
                <a:cubicBezTo>
                  <a:pt x="264" y="95"/>
                  <a:pt x="265" y="95"/>
                  <a:pt x="265" y="94"/>
                </a:cubicBezTo>
                <a:cubicBezTo>
                  <a:pt x="265" y="93"/>
                  <a:pt x="265" y="93"/>
                  <a:pt x="266" y="92"/>
                </a:cubicBezTo>
                <a:cubicBezTo>
                  <a:pt x="266" y="92"/>
                  <a:pt x="266" y="91"/>
                  <a:pt x="266" y="91"/>
                </a:cubicBezTo>
                <a:cubicBezTo>
                  <a:pt x="266" y="90"/>
                  <a:pt x="266" y="90"/>
                  <a:pt x="266" y="89"/>
                </a:cubicBezTo>
                <a:cubicBezTo>
                  <a:pt x="266" y="89"/>
                  <a:pt x="266" y="89"/>
                  <a:pt x="266" y="88"/>
                </a:cubicBezTo>
                <a:cubicBezTo>
                  <a:pt x="267" y="87"/>
                  <a:pt x="267" y="86"/>
                  <a:pt x="267" y="86"/>
                </a:cubicBezTo>
                <a:cubicBezTo>
                  <a:pt x="267" y="85"/>
                  <a:pt x="268" y="83"/>
                  <a:pt x="268" y="82"/>
                </a:cubicBezTo>
                <a:cubicBezTo>
                  <a:pt x="269" y="82"/>
                  <a:pt x="269" y="81"/>
                  <a:pt x="269" y="81"/>
                </a:cubicBezTo>
                <a:cubicBezTo>
                  <a:pt x="269" y="80"/>
                  <a:pt x="270" y="80"/>
                  <a:pt x="270" y="79"/>
                </a:cubicBezTo>
                <a:cubicBezTo>
                  <a:pt x="271" y="78"/>
                  <a:pt x="272" y="77"/>
                  <a:pt x="272" y="76"/>
                </a:cubicBezTo>
                <a:cubicBezTo>
                  <a:pt x="273" y="75"/>
                  <a:pt x="274" y="74"/>
                  <a:pt x="274" y="73"/>
                </a:cubicBezTo>
                <a:cubicBezTo>
                  <a:pt x="275" y="73"/>
                  <a:pt x="276" y="72"/>
                  <a:pt x="276" y="71"/>
                </a:cubicBezTo>
                <a:cubicBezTo>
                  <a:pt x="276" y="70"/>
                  <a:pt x="274" y="71"/>
                  <a:pt x="274" y="70"/>
                </a:cubicBezTo>
                <a:cubicBezTo>
                  <a:pt x="274" y="69"/>
                  <a:pt x="276" y="69"/>
                  <a:pt x="276" y="69"/>
                </a:cubicBezTo>
                <a:cubicBezTo>
                  <a:pt x="276" y="68"/>
                  <a:pt x="276" y="68"/>
                  <a:pt x="276" y="68"/>
                </a:cubicBezTo>
                <a:cubicBezTo>
                  <a:pt x="276" y="68"/>
                  <a:pt x="276" y="68"/>
                  <a:pt x="276" y="68"/>
                </a:cubicBezTo>
                <a:lnTo>
                  <a:pt x="278" y="65"/>
                </a:lnTo>
                <a:close/>
                <a:moveTo>
                  <a:pt x="266" y="128"/>
                </a:moveTo>
                <a:cubicBezTo>
                  <a:pt x="266" y="129"/>
                  <a:pt x="266" y="129"/>
                  <a:pt x="267" y="129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69" y="127"/>
                  <a:pt x="69" y="127"/>
                  <a:pt x="69" y="127"/>
                </a:cubicBezTo>
                <a:cubicBezTo>
                  <a:pt x="69" y="126"/>
                  <a:pt x="69" y="126"/>
                  <a:pt x="69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0" y="126"/>
                  <a:pt x="0" y="126"/>
                  <a:pt x="0" y="126"/>
                </a:cubicBezTo>
                <a:cubicBezTo>
                  <a:pt x="6" y="123"/>
                  <a:pt x="6" y="123"/>
                  <a:pt x="6" y="123"/>
                </a:cubicBezTo>
                <a:cubicBezTo>
                  <a:pt x="6" y="123"/>
                  <a:pt x="9" y="123"/>
                  <a:pt x="9" y="123"/>
                </a:cubicBezTo>
                <a:cubicBezTo>
                  <a:pt x="9" y="123"/>
                  <a:pt x="13" y="122"/>
                  <a:pt x="14" y="122"/>
                </a:cubicBezTo>
                <a:cubicBezTo>
                  <a:pt x="14" y="121"/>
                  <a:pt x="17" y="121"/>
                  <a:pt x="18" y="120"/>
                </a:cubicBezTo>
                <a:cubicBezTo>
                  <a:pt x="18" y="120"/>
                  <a:pt x="19" y="119"/>
                  <a:pt x="19" y="119"/>
                </a:cubicBezTo>
                <a:cubicBezTo>
                  <a:pt x="19" y="118"/>
                  <a:pt x="20" y="116"/>
                  <a:pt x="20" y="116"/>
                </a:cubicBezTo>
                <a:cubicBezTo>
                  <a:pt x="21" y="116"/>
                  <a:pt x="23" y="115"/>
                  <a:pt x="24" y="115"/>
                </a:cubicBezTo>
                <a:cubicBezTo>
                  <a:pt x="25" y="115"/>
                  <a:pt x="25" y="115"/>
                  <a:pt x="26" y="115"/>
                </a:cubicBezTo>
                <a:cubicBezTo>
                  <a:pt x="26" y="114"/>
                  <a:pt x="27" y="113"/>
                  <a:pt x="28" y="113"/>
                </a:cubicBezTo>
                <a:cubicBezTo>
                  <a:pt x="28" y="112"/>
                  <a:pt x="27" y="110"/>
                  <a:pt x="28" y="110"/>
                </a:cubicBezTo>
                <a:cubicBezTo>
                  <a:pt x="29" y="109"/>
                  <a:pt x="31" y="108"/>
                  <a:pt x="31" y="108"/>
                </a:cubicBezTo>
                <a:cubicBezTo>
                  <a:pt x="32" y="107"/>
                  <a:pt x="32" y="108"/>
                  <a:pt x="32" y="107"/>
                </a:cubicBezTo>
                <a:cubicBezTo>
                  <a:pt x="33" y="106"/>
                  <a:pt x="33" y="105"/>
                  <a:pt x="33" y="104"/>
                </a:cubicBezTo>
                <a:cubicBezTo>
                  <a:pt x="33" y="104"/>
                  <a:pt x="35" y="103"/>
                  <a:pt x="36" y="102"/>
                </a:cubicBezTo>
                <a:cubicBezTo>
                  <a:pt x="37" y="101"/>
                  <a:pt x="40" y="99"/>
                  <a:pt x="41" y="99"/>
                </a:cubicBezTo>
                <a:cubicBezTo>
                  <a:pt x="43" y="98"/>
                  <a:pt x="45" y="98"/>
                  <a:pt x="46" y="97"/>
                </a:cubicBezTo>
                <a:cubicBezTo>
                  <a:pt x="47" y="97"/>
                  <a:pt x="48" y="95"/>
                  <a:pt x="49" y="94"/>
                </a:cubicBezTo>
                <a:cubicBezTo>
                  <a:pt x="50" y="94"/>
                  <a:pt x="58" y="86"/>
                  <a:pt x="58" y="86"/>
                </a:cubicBezTo>
                <a:cubicBezTo>
                  <a:pt x="60" y="87"/>
                  <a:pt x="60" y="87"/>
                  <a:pt x="60" y="87"/>
                </a:cubicBezTo>
                <a:cubicBezTo>
                  <a:pt x="60" y="87"/>
                  <a:pt x="59" y="88"/>
                  <a:pt x="59" y="88"/>
                </a:cubicBezTo>
                <a:cubicBezTo>
                  <a:pt x="59" y="88"/>
                  <a:pt x="58" y="89"/>
                  <a:pt x="58" y="89"/>
                </a:cubicBezTo>
                <a:cubicBezTo>
                  <a:pt x="59" y="90"/>
                  <a:pt x="59" y="90"/>
                  <a:pt x="59" y="90"/>
                </a:cubicBezTo>
                <a:cubicBezTo>
                  <a:pt x="59" y="91"/>
                  <a:pt x="59" y="91"/>
                  <a:pt x="59" y="91"/>
                </a:cubicBezTo>
                <a:cubicBezTo>
                  <a:pt x="59" y="91"/>
                  <a:pt x="60" y="94"/>
                  <a:pt x="60" y="94"/>
                </a:cubicBezTo>
                <a:cubicBezTo>
                  <a:pt x="60" y="94"/>
                  <a:pt x="63" y="96"/>
                  <a:pt x="63" y="96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7" y="98"/>
                  <a:pt x="67" y="98"/>
                </a:cubicBezTo>
                <a:cubicBezTo>
                  <a:pt x="67" y="98"/>
                  <a:pt x="68" y="100"/>
                  <a:pt x="68" y="100"/>
                </a:cubicBezTo>
                <a:cubicBezTo>
                  <a:pt x="68" y="101"/>
                  <a:pt x="73" y="100"/>
                  <a:pt x="73" y="100"/>
                </a:cubicBezTo>
                <a:cubicBezTo>
                  <a:pt x="79" y="94"/>
                  <a:pt x="79" y="94"/>
                  <a:pt x="79" y="94"/>
                </a:cubicBezTo>
                <a:cubicBezTo>
                  <a:pt x="84" y="99"/>
                  <a:pt x="84" y="99"/>
                  <a:pt x="84" y="99"/>
                </a:cubicBezTo>
                <a:cubicBezTo>
                  <a:pt x="87" y="97"/>
                  <a:pt x="87" y="97"/>
                  <a:pt x="87" y="97"/>
                </a:cubicBezTo>
                <a:cubicBezTo>
                  <a:pt x="89" y="97"/>
                  <a:pt x="89" y="97"/>
                  <a:pt x="89" y="97"/>
                </a:cubicBezTo>
                <a:cubicBezTo>
                  <a:pt x="96" y="96"/>
                  <a:pt x="96" y="96"/>
                  <a:pt x="96" y="96"/>
                </a:cubicBezTo>
                <a:cubicBezTo>
                  <a:pt x="97" y="94"/>
                  <a:pt x="97" y="94"/>
                  <a:pt x="97" y="94"/>
                </a:cubicBezTo>
                <a:cubicBezTo>
                  <a:pt x="96" y="93"/>
                  <a:pt x="96" y="93"/>
                  <a:pt x="96" y="93"/>
                </a:cubicBezTo>
                <a:cubicBezTo>
                  <a:pt x="97" y="91"/>
                  <a:pt x="97" y="91"/>
                  <a:pt x="97" y="91"/>
                </a:cubicBezTo>
                <a:cubicBezTo>
                  <a:pt x="98" y="92"/>
                  <a:pt x="98" y="92"/>
                  <a:pt x="98" y="92"/>
                </a:cubicBezTo>
                <a:cubicBezTo>
                  <a:pt x="101" y="93"/>
                  <a:pt x="101" y="93"/>
                  <a:pt x="101" y="93"/>
                </a:cubicBezTo>
                <a:cubicBezTo>
                  <a:pt x="105" y="90"/>
                  <a:pt x="105" y="90"/>
                  <a:pt x="105" y="90"/>
                </a:cubicBezTo>
                <a:cubicBezTo>
                  <a:pt x="108" y="88"/>
                  <a:pt x="108" y="88"/>
                  <a:pt x="108" y="88"/>
                </a:cubicBezTo>
                <a:cubicBezTo>
                  <a:pt x="110" y="91"/>
                  <a:pt x="110" y="91"/>
                  <a:pt x="110" y="91"/>
                </a:cubicBezTo>
                <a:cubicBezTo>
                  <a:pt x="116" y="87"/>
                  <a:pt x="116" y="87"/>
                  <a:pt x="116" y="87"/>
                </a:cubicBezTo>
                <a:cubicBezTo>
                  <a:pt x="116" y="87"/>
                  <a:pt x="116" y="86"/>
                  <a:pt x="115" y="86"/>
                </a:cubicBezTo>
                <a:cubicBezTo>
                  <a:pt x="115" y="86"/>
                  <a:pt x="115" y="85"/>
                  <a:pt x="115" y="84"/>
                </a:cubicBezTo>
                <a:cubicBezTo>
                  <a:pt x="115" y="84"/>
                  <a:pt x="118" y="83"/>
                  <a:pt x="118" y="83"/>
                </a:cubicBezTo>
                <a:cubicBezTo>
                  <a:pt x="118" y="82"/>
                  <a:pt x="118" y="82"/>
                  <a:pt x="118" y="82"/>
                </a:cubicBezTo>
                <a:cubicBezTo>
                  <a:pt x="118" y="82"/>
                  <a:pt x="117" y="80"/>
                  <a:pt x="117" y="80"/>
                </a:cubicBezTo>
                <a:cubicBezTo>
                  <a:pt x="117" y="80"/>
                  <a:pt x="117" y="78"/>
                  <a:pt x="117" y="78"/>
                </a:cubicBezTo>
                <a:cubicBezTo>
                  <a:pt x="119" y="73"/>
                  <a:pt x="119" y="73"/>
                  <a:pt x="119" y="73"/>
                </a:cubicBezTo>
                <a:cubicBezTo>
                  <a:pt x="119" y="73"/>
                  <a:pt x="120" y="71"/>
                  <a:pt x="120" y="71"/>
                </a:cubicBezTo>
                <a:cubicBezTo>
                  <a:pt x="120" y="71"/>
                  <a:pt x="123" y="69"/>
                  <a:pt x="123" y="69"/>
                </a:cubicBezTo>
                <a:cubicBezTo>
                  <a:pt x="123" y="68"/>
                  <a:pt x="126" y="65"/>
                  <a:pt x="126" y="65"/>
                </a:cubicBezTo>
                <a:cubicBezTo>
                  <a:pt x="126" y="65"/>
                  <a:pt x="128" y="63"/>
                  <a:pt x="128" y="63"/>
                </a:cubicBezTo>
                <a:cubicBezTo>
                  <a:pt x="128" y="63"/>
                  <a:pt x="129" y="61"/>
                  <a:pt x="129" y="61"/>
                </a:cubicBezTo>
                <a:cubicBezTo>
                  <a:pt x="128" y="59"/>
                  <a:pt x="128" y="59"/>
                  <a:pt x="128" y="59"/>
                </a:cubicBezTo>
                <a:cubicBezTo>
                  <a:pt x="129" y="57"/>
                  <a:pt x="129" y="57"/>
                  <a:pt x="129" y="57"/>
                </a:cubicBezTo>
                <a:cubicBezTo>
                  <a:pt x="130" y="56"/>
                  <a:pt x="130" y="56"/>
                  <a:pt x="130" y="56"/>
                </a:cubicBezTo>
                <a:cubicBezTo>
                  <a:pt x="133" y="54"/>
                  <a:pt x="133" y="54"/>
                  <a:pt x="133" y="54"/>
                </a:cubicBezTo>
                <a:cubicBezTo>
                  <a:pt x="133" y="52"/>
                  <a:pt x="133" y="52"/>
                  <a:pt x="133" y="52"/>
                </a:cubicBezTo>
                <a:cubicBezTo>
                  <a:pt x="133" y="52"/>
                  <a:pt x="136" y="50"/>
                  <a:pt x="136" y="50"/>
                </a:cubicBezTo>
                <a:cubicBezTo>
                  <a:pt x="136" y="49"/>
                  <a:pt x="136" y="49"/>
                  <a:pt x="136" y="49"/>
                </a:cubicBezTo>
                <a:cubicBezTo>
                  <a:pt x="136" y="49"/>
                  <a:pt x="137" y="47"/>
                  <a:pt x="137" y="47"/>
                </a:cubicBezTo>
                <a:cubicBezTo>
                  <a:pt x="138" y="43"/>
                  <a:pt x="138" y="43"/>
                  <a:pt x="138" y="43"/>
                </a:cubicBezTo>
                <a:cubicBezTo>
                  <a:pt x="138" y="39"/>
                  <a:pt x="138" y="39"/>
                  <a:pt x="138" y="39"/>
                </a:cubicBezTo>
                <a:cubicBezTo>
                  <a:pt x="138" y="39"/>
                  <a:pt x="141" y="40"/>
                  <a:pt x="141" y="40"/>
                </a:cubicBezTo>
                <a:cubicBezTo>
                  <a:pt x="142" y="41"/>
                  <a:pt x="143" y="42"/>
                  <a:pt x="143" y="42"/>
                </a:cubicBezTo>
                <a:cubicBezTo>
                  <a:pt x="143" y="42"/>
                  <a:pt x="144" y="45"/>
                  <a:pt x="144" y="45"/>
                </a:cubicBezTo>
                <a:cubicBezTo>
                  <a:pt x="144" y="45"/>
                  <a:pt x="151" y="47"/>
                  <a:pt x="151" y="47"/>
                </a:cubicBezTo>
                <a:cubicBezTo>
                  <a:pt x="151" y="47"/>
                  <a:pt x="156" y="37"/>
                  <a:pt x="156" y="37"/>
                </a:cubicBezTo>
                <a:cubicBezTo>
                  <a:pt x="156" y="36"/>
                  <a:pt x="158" y="37"/>
                  <a:pt x="158" y="37"/>
                </a:cubicBezTo>
                <a:cubicBezTo>
                  <a:pt x="158" y="37"/>
                  <a:pt x="158" y="33"/>
                  <a:pt x="158" y="33"/>
                </a:cubicBezTo>
                <a:cubicBezTo>
                  <a:pt x="158" y="33"/>
                  <a:pt x="161" y="28"/>
                  <a:pt x="161" y="28"/>
                </a:cubicBezTo>
                <a:cubicBezTo>
                  <a:pt x="165" y="32"/>
                  <a:pt x="165" y="32"/>
                  <a:pt x="165" y="32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68" y="27"/>
                  <a:pt x="168" y="27"/>
                  <a:pt x="168" y="27"/>
                </a:cubicBezTo>
                <a:cubicBezTo>
                  <a:pt x="170" y="24"/>
                  <a:pt x="170" y="24"/>
                  <a:pt x="170" y="24"/>
                </a:cubicBezTo>
                <a:cubicBezTo>
                  <a:pt x="170" y="26"/>
                  <a:pt x="170" y="26"/>
                  <a:pt x="170" y="26"/>
                </a:cubicBezTo>
                <a:cubicBezTo>
                  <a:pt x="172" y="24"/>
                  <a:pt x="172" y="24"/>
                  <a:pt x="172" y="24"/>
                </a:cubicBezTo>
                <a:cubicBezTo>
                  <a:pt x="174" y="22"/>
                  <a:pt x="174" y="22"/>
                  <a:pt x="174" y="22"/>
                </a:cubicBezTo>
                <a:cubicBezTo>
                  <a:pt x="174" y="23"/>
                  <a:pt x="174" y="23"/>
                  <a:pt x="174" y="23"/>
                </a:cubicBezTo>
                <a:cubicBezTo>
                  <a:pt x="174" y="23"/>
                  <a:pt x="176" y="20"/>
                  <a:pt x="176" y="20"/>
                </a:cubicBezTo>
                <a:cubicBezTo>
                  <a:pt x="176" y="20"/>
                  <a:pt x="181" y="14"/>
                  <a:pt x="181" y="14"/>
                </a:cubicBezTo>
                <a:cubicBezTo>
                  <a:pt x="181" y="14"/>
                  <a:pt x="181" y="13"/>
                  <a:pt x="181" y="13"/>
                </a:cubicBezTo>
                <a:cubicBezTo>
                  <a:pt x="181" y="13"/>
                  <a:pt x="180" y="12"/>
                  <a:pt x="180" y="12"/>
                </a:cubicBezTo>
                <a:cubicBezTo>
                  <a:pt x="182" y="9"/>
                  <a:pt x="182" y="9"/>
                  <a:pt x="182" y="9"/>
                </a:cubicBezTo>
                <a:cubicBezTo>
                  <a:pt x="184" y="6"/>
                  <a:pt x="184" y="6"/>
                  <a:pt x="184" y="6"/>
                </a:cubicBezTo>
                <a:cubicBezTo>
                  <a:pt x="183" y="5"/>
                  <a:pt x="183" y="5"/>
                  <a:pt x="183" y="5"/>
                </a:cubicBezTo>
                <a:cubicBezTo>
                  <a:pt x="183" y="0"/>
                  <a:pt x="183" y="0"/>
                  <a:pt x="183" y="0"/>
                </a:cubicBezTo>
                <a:cubicBezTo>
                  <a:pt x="201" y="15"/>
                  <a:pt x="201" y="15"/>
                  <a:pt x="201" y="15"/>
                </a:cubicBezTo>
                <a:cubicBezTo>
                  <a:pt x="205" y="7"/>
                  <a:pt x="205" y="7"/>
                  <a:pt x="205" y="7"/>
                </a:cubicBezTo>
                <a:cubicBezTo>
                  <a:pt x="205" y="7"/>
                  <a:pt x="210" y="7"/>
                  <a:pt x="211" y="8"/>
                </a:cubicBezTo>
                <a:cubicBezTo>
                  <a:pt x="211" y="8"/>
                  <a:pt x="214" y="11"/>
                  <a:pt x="214" y="11"/>
                </a:cubicBezTo>
                <a:cubicBezTo>
                  <a:pt x="214" y="11"/>
                  <a:pt x="212" y="14"/>
                  <a:pt x="212" y="14"/>
                </a:cubicBezTo>
                <a:cubicBezTo>
                  <a:pt x="212" y="14"/>
                  <a:pt x="212" y="16"/>
                  <a:pt x="212" y="16"/>
                </a:cubicBezTo>
                <a:cubicBezTo>
                  <a:pt x="212" y="17"/>
                  <a:pt x="215" y="18"/>
                  <a:pt x="215" y="18"/>
                </a:cubicBezTo>
                <a:cubicBezTo>
                  <a:pt x="216" y="18"/>
                  <a:pt x="219" y="19"/>
                  <a:pt x="219" y="19"/>
                </a:cubicBezTo>
                <a:cubicBezTo>
                  <a:pt x="220" y="19"/>
                  <a:pt x="221" y="20"/>
                  <a:pt x="221" y="20"/>
                </a:cubicBezTo>
                <a:cubicBezTo>
                  <a:pt x="221" y="20"/>
                  <a:pt x="222" y="22"/>
                  <a:pt x="222" y="22"/>
                </a:cubicBezTo>
                <a:cubicBezTo>
                  <a:pt x="222" y="22"/>
                  <a:pt x="224" y="22"/>
                  <a:pt x="224" y="22"/>
                </a:cubicBezTo>
                <a:cubicBezTo>
                  <a:pt x="224" y="22"/>
                  <a:pt x="226" y="24"/>
                  <a:pt x="226" y="24"/>
                </a:cubicBezTo>
                <a:cubicBezTo>
                  <a:pt x="226" y="25"/>
                  <a:pt x="229" y="21"/>
                  <a:pt x="229" y="21"/>
                </a:cubicBezTo>
                <a:cubicBezTo>
                  <a:pt x="232" y="25"/>
                  <a:pt x="232" y="25"/>
                  <a:pt x="232" y="25"/>
                </a:cubicBezTo>
                <a:cubicBezTo>
                  <a:pt x="232" y="27"/>
                  <a:pt x="232" y="27"/>
                  <a:pt x="232" y="27"/>
                </a:cubicBezTo>
                <a:cubicBezTo>
                  <a:pt x="230" y="28"/>
                  <a:pt x="230" y="28"/>
                  <a:pt x="230" y="28"/>
                </a:cubicBezTo>
                <a:cubicBezTo>
                  <a:pt x="229" y="28"/>
                  <a:pt x="229" y="28"/>
                  <a:pt x="229" y="28"/>
                </a:cubicBezTo>
                <a:cubicBezTo>
                  <a:pt x="229" y="33"/>
                  <a:pt x="229" y="33"/>
                  <a:pt x="229" y="33"/>
                </a:cubicBezTo>
                <a:cubicBezTo>
                  <a:pt x="228" y="33"/>
                  <a:pt x="228" y="34"/>
                  <a:pt x="227" y="34"/>
                </a:cubicBezTo>
                <a:cubicBezTo>
                  <a:pt x="227" y="35"/>
                  <a:pt x="226" y="35"/>
                  <a:pt x="225" y="35"/>
                </a:cubicBezTo>
                <a:cubicBezTo>
                  <a:pt x="225" y="36"/>
                  <a:pt x="225" y="36"/>
                  <a:pt x="225" y="36"/>
                </a:cubicBezTo>
                <a:cubicBezTo>
                  <a:pt x="225" y="36"/>
                  <a:pt x="225" y="36"/>
                  <a:pt x="225" y="37"/>
                </a:cubicBezTo>
                <a:cubicBezTo>
                  <a:pt x="226" y="37"/>
                  <a:pt x="226" y="37"/>
                  <a:pt x="226" y="37"/>
                </a:cubicBezTo>
                <a:cubicBezTo>
                  <a:pt x="226" y="37"/>
                  <a:pt x="225" y="38"/>
                  <a:pt x="225" y="38"/>
                </a:cubicBezTo>
                <a:cubicBezTo>
                  <a:pt x="225" y="38"/>
                  <a:pt x="224" y="38"/>
                  <a:pt x="224" y="38"/>
                </a:cubicBezTo>
                <a:cubicBezTo>
                  <a:pt x="224" y="38"/>
                  <a:pt x="223" y="37"/>
                  <a:pt x="223" y="37"/>
                </a:cubicBezTo>
                <a:cubicBezTo>
                  <a:pt x="222" y="37"/>
                  <a:pt x="222" y="38"/>
                  <a:pt x="222" y="38"/>
                </a:cubicBezTo>
                <a:cubicBezTo>
                  <a:pt x="222" y="39"/>
                  <a:pt x="221" y="40"/>
                  <a:pt x="221" y="40"/>
                </a:cubicBezTo>
                <a:cubicBezTo>
                  <a:pt x="221" y="41"/>
                  <a:pt x="221" y="42"/>
                  <a:pt x="221" y="42"/>
                </a:cubicBezTo>
                <a:cubicBezTo>
                  <a:pt x="221" y="44"/>
                  <a:pt x="220" y="45"/>
                  <a:pt x="220" y="47"/>
                </a:cubicBezTo>
                <a:cubicBezTo>
                  <a:pt x="220" y="48"/>
                  <a:pt x="220" y="48"/>
                  <a:pt x="220" y="49"/>
                </a:cubicBezTo>
                <a:cubicBezTo>
                  <a:pt x="220" y="50"/>
                  <a:pt x="221" y="50"/>
                  <a:pt x="222" y="50"/>
                </a:cubicBezTo>
                <a:cubicBezTo>
                  <a:pt x="223" y="51"/>
                  <a:pt x="224" y="51"/>
                  <a:pt x="225" y="50"/>
                </a:cubicBezTo>
                <a:cubicBezTo>
                  <a:pt x="225" y="50"/>
                  <a:pt x="226" y="50"/>
                  <a:pt x="227" y="50"/>
                </a:cubicBezTo>
                <a:cubicBezTo>
                  <a:pt x="227" y="50"/>
                  <a:pt x="228" y="50"/>
                  <a:pt x="228" y="50"/>
                </a:cubicBezTo>
                <a:cubicBezTo>
                  <a:pt x="229" y="49"/>
                  <a:pt x="230" y="49"/>
                  <a:pt x="230" y="49"/>
                </a:cubicBezTo>
                <a:cubicBezTo>
                  <a:pt x="230" y="49"/>
                  <a:pt x="230" y="50"/>
                  <a:pt x="230" y="50"/>
                </a:cubicBezTo>
                <a:cubicBezTo>
                  <a:pt x="230" y="51"/>
                  <a:pt x="230" y="52"/>
                  <a:pt x="230" y="53"/>
                </a:cubicBezTo>
                <a:cubicBezTo>
                  <a:pt x="231" y="54"/>
                  <a:pt x="231" y="55"/>
                  <a:pt x="232" y="56"/>
                </a:cubicBezTo>
                <a:cubicBezTo>
                  <a:pt x="234" y="57"/>
                  <a:pt x="235" y="58"/>
                  <a:pt x="236" y="59"/>
                </a:cubicBezTo>
                <a:cubicBezTo>
                  <a:pt x="237" y="59"/>
                  <a:pt x="238" y="60"/>
                  <a:pt x="239" y="60"/>
                </a:cubicBezTo>
                <a:cubicBezTo>
                  <a:pt x="240" y="60"/>
                  <a:pt x="240" y="60"/>
                  <a:pt x="241" y="60"/>
                </a:cubicBezTo>
                <a:cubicBezTo>
                  <a:pt x="242" y="60"/>
                  <a:pt x="242" y="60"/>
                  <a:pt x="243" y="60"/>
                </a:cubicBezTo>
                <a:cubicBezTo>
                  <a:pt x="243" y="61"/>
                  <a:pt x="244" y="61"/>
                  <a:pt x="244" y="61"/>
                </a:cubicBezTo>
                <a:cubicBezTo>
                  <a:pt x="245" y="62"/>
                  <a:pt x="245" y="63"/>
                  <a:pt x="246" y="63"/>
                </a:cubicBezTo>
                <a:cubicBezTo>
                  <a:pt x="246" y="64"/>
                  <a:pt x="247" y="65"/>
                  <a:pt x="247" y="65"/>
                </a:cubicBezTo>
                <a:cubicBezTo>
                  <a:pt x="248" y="66"/>
                  <a:pt x="249" y="67"/>
                  <a:pt x="250" y="67"/>
                </a:cubicBezTo>
                <a:cubicBezTo>
                  <a:pt x="251" y="68"/>
                  <a:pt x="252" y="68"/>
                  <a:pt x="253" y="69"/>
                </a:cubicBezTo>
                <a:cubicBezTo>
                  <a:pt x="254" y="69"/>
                  <a:pt x="254" y="69"/>
                  <a:pt x="255" y="70"/>
                </a:cubicBezTo>
                <a:cubicBezTo>
                  <a:pt x="255" y="70"/>
                  <a:pt x="255" y="71"/>
                  <a:pt x="255" y="72"/>
                </a:cubicBezTo>
                <a:cubicBezTo>
                  <a:pt x="255" y="72"/>
                  <a:pt x="255" y="72"/>
                  <a:pt x="255" y="73"/>
                </a:cubicBezTo>
                <a:cubicBezTo>
                  <a:pt x="255" y="73"/>
                  <a:pt x="255" y="74"/>
                  <a:pt x="255" y="74"/>
                </a:cubicBezTo>
                <a:cubicBezTo>
                  <a:pt x="255" y="74"/>
                  <a:pt x="255" y="73"/>
                  <a:pt x="254" y="73"/>
                </a:cubicBezTo>
                <a:cubicBezTo>
                  <a:pt x="254" y="73"/>
                  <a:pt x="254" y="72"/>
                  <a:pt x="254" y="72"/>
                </a:cubicBezTo>
                <a:cubicBezTo>
                  <a:pt x="253" y="72"/>
                  <a:pt x="253" y="72"/>
                  <a:pt x="252" y="72"/>
                </a:cubicBezTo>
                <a:cubicBezTo>
                  <a:pt x="251" y="72"/>
                  <a:pt x="251" y="72"/>
                  <a:pt x="251" y="72"/>
                </a:cubicBezTo>
                <a:cubicBezTo>
                  <a:pt x="250" y="71"/>
                  <a:pt x="249" y="71"/>
                  <a:pt x="249" y="72"/>
                </a:cubicBezTo>
                <a:cubicBezTo>
                  <a:pt x="250" y="72"/>
                  <a:pt x="250" y="72"/>
                  <a:pt x="250" y="72"/>
                </a:cubicBezTo>
                <a:cubicBezTo>
                  <a:pt x="251" y="72"/>
                  <a:pt x="251" y="72"/>
                  <a:pt x="252" y="72"/>
                </a:cubicBezTo>
                <a:cubicBezTo>
                  <a:pt x="252" y="73"/>
                  <a:pt x="253" y="73"/>
                  <a:pt x="253" y="73"/>
                </a:cubicBezTo>
                <a:cubicBezTo>
                  <a:pt x="254" y="74"/>
                  <a:pt x="255" y="75"/>
                  <a:pt x="255" y="77"/>
                </a:cubicBezTo>
                <a:cubicBezTo>
                  <a:pt x="255" y="77"/>
                  <a:pt x="255" y="77"/>
                  <a:pt x="255" y="78"/>
                </a:cubicBezTo>
                <a:cubicBezTo>
                  <a:pt x="255" y="78"/>
                  <a:pt x="255" y="79"/>
                  <a:pt x="255" y="79"/>
                </a:cubicBezTo>
                <a:cubicBezTo>
                  <a:pt x="255" y="79"/>
                  <a:pt x="254" y="80"/>
                  <a:pt x="254" y="80"/>
                </a:cubicBezTo>
                <a:cubicBezTo>
                  <a:pt x="254" y="80"/>
                  <a:pt x="254" y="81"/>
                  <a:pt x="253" y="81"/>
                </a:cubicBezTo>
                <a:cubicBezTo>
                  <a:pt x="253" y="82"/>
                  <a:pt x="253" y="83"/>
                  <a:pt x="252" y="82"/>
                </a:cubicBezTo>
                <a:cubicBezTo>
                  <a:pt x="251" y="82"/>
                  <a:pt x="251" y="82"/>
                  <a:pt x="251" y="81"/>
                </a:cubicBezTo>
                <a:cubicBezTo>
                  <a:pt x="250" y="81"/>
                  <a:pt x="249" y="81"/>
                  <a:pt x="248" y="81"/>
                </a:cubicBezTo>
                <a:cubicBezTo>
                  <a:pt x="248" y="81"/>
                  <a:pt x="247" y="81"/>
                  <a:pt x="247" y="80"/>
                </a:cubicBezTo>
                <a:cubicBezTo>
                  <a:pt x="247" y="80"/>
                  <a:pt x="247" y="80"/>
                  <a:pt x="247" y="80"/>
                </a:cubicBezTo>
                <a:cubicBezTo>
                  <a:pt x="247" y="80"/>
                  <a:pt x="246" y="79"/>
                  <a:pt x="246" y="79"/>
                </a:cubicBezTo>
                <a:cubicBezTo>
                  <a:pt x="246" y="79"/>
                  <a:pt x="246" y="78"/>
                  <a:pt x="246" y="77"/>
                </a:cubicBezTo>
                <a:cubicBezTo>
                  <a:pt x="246" y="77"/>
                  <a:pt x="245" y="76"/>
                  <a:pt x="245" y="76"/>
                </a:cubicBezTo>
                <a:cubicBezTo>
                  <a:pt x="243" y="75"/>
                  <a:pt x="242" y="75"/>
                  <a:pt x="241" y="73"/>
                </a:cubicBezTo>
                <a:cubicBezTo>
                  <a:pt x="240" y="73"/>
                  <a:pt x="240" y="72"/>
                  <a:pt x="239" y="72"/>
                </a:cubicBezTo>
                <a:cubicBezTo>
                  <a:pt x="238" y="71"/>
                  <a:pt x="238" y="71"/>
                  <a:pt x="238" y="70"/>
                </a:cubicBezTo>
                <a:cubicBezTo>
                  <a:pt x="237" y="70"/>
                  <a:pt x="237" y="69"/>
                  <a:pt x="237" y="69"/>
                </a:cubicBezTo>
                <a:cubicBezTo>
                  <a:pt x="237" y="68"/>
                  <a:pt x="236" y="67"/>
                  <a:pt x="236" y="67"/>
                </a:cubicBezTo>
                <a:cubicBezTo>
                  <a:pt x="236" y="67"/>
                  <a:pt x="236" y="68"/>
                  <a:pt x="236" y="69"/>
                </a:cubicBezTo>
                <a:cubicBezTo>
                  <a:pt x="236" y="69"/>
                  <a:pt x="236" y="69"/>
                  <a:pt x="236" y="70"/>
                </a:cubicBezTo>
                <a:cubicBezTo>
                  <a:pt x="236" y="71"/>
                  <a:pt x="236" y="71"/>
                  <a:pt x="237" y="71"/>
                </a:cubicBezTo>
                <a:cubicBezTo>
                  <a:pt x="237" y="72"/>
                  <a:pt x="238" y="72"/>
                  <a:pt x="238" y="73"/>
                </a:cubicBezTo>
                <a:cubicBezTo>
                  <a:pt x="238" y="73"/>
                  <a:pt x="239" y="73"/>
                  <a:pt x="239" y="73"/>
                </a:cubicBezTo>
                <a:cubicBezTo>
                  <a:pt x="239" y="74"/>
                  <a:pt x="240" y="74"/>
                  <a:pt x="240" y="74"/>
                </a:cubicBezTo>
                <a:cubicBezTo>
                  <a:pt x="240" y="75"/>
                  <a:pt x="240" y="75"/>
                  <a:pt x="241" y="76"/>
                </a:cubicBezTo>
                <a:cubicBezTo>
                  <a:pt x="241" y="76"/>
                  <a:pt x="242" y="77"/>
                  <a:pt x="242" y="77"/>
                </a:cubicBezTo>
                <a:cubicBezTo>
                  <a:pt x="243" y="78"/>
                  <a:pt x="243" y="78"/>
                  <a:pt x="243" y="78"/>
                </a:cubicBezTo>
                <a:cubicBezTo>
                  <a:pt x="243" y="79"/>
                  <a:pt x="244" y="79"/>
                  <a:pt x="244" y="79"/>
                </a:cubicBezTo>
                <a:cubicBezTo>
                  <a:pt x="244" y="80"/>
                  <a:pt x="245" y="80"/>
                  <a:pt x="245" y="81"/>
                </a:cubicBezTo>
                <a:cubicBezTo>
                  <a:pt x="245" y="81"/>
                  <a:pt x="245" y="82"/>
                  <a:pt x="245" y="82"/>
                </a:cubicBezTo>
                <a:cubicBezTo>
                  <a:pt x="245" y="83"/>
                  <a:pt x="247" y="83"/>
                  <a:pt x="248" y="83"/>
                </a:cubicBezTo>
                <a:cubicBezTo>
                  <a:pt x="248" y="82"/>
                  <a:pt x="249" y="82"/>
                  <a:pt x="250" y="83"/>
                </a:cubicBezTo>
                <a:cubicBezTo>
                  <a:pt x="250" y="83"/>
                  <a:pt x="250" y="83"/>
                  <a:pt x="250" y="83"/>
                </a:cubicBezTo>
                <a:cubicBezTo>
                  <a:pt x="250" y="84"/>
                  <a:pt x="251" y="84"/>
                  <a:pt x="251" y="84"/>
                </a:cubicBezTo>
                <a:cubicBezTo>
                  <a:pt x="251" y="85"/>
                  <a:pt x="251" y="85"/>
                  <a:pt x="252" y="86"/>
                </a:cubicBezTo>
                <a:cubicBezTo>
                  <a:pt x="252" y="86"/>
                  <a:pt x="253" y="86"/>
                  <a:pt x="253" y="86"/>
                </a:cubicBezTo>
                <a:cubicBezTo>
                  <a:pt x="253" y="86"/>
                  <a:pt x="252" y="86"/>
                  <a:pt x="252" y="87"/>
                </a:cubicBezTo>
                <a:cubicBezTo>
                  <a:pt x="252" y="87"/>
                  <a:pt x="251" y="87"/>
                  <a:pt x="251" y="87"/>
                </a:cubicBezTo>
                <a:cubicBezTo>
                  <a:pt x="252" y="88"/>
                  <a:pt x="252" y="88"/>
                  <a:pt x="253" y="88"/>
                </a:cubicBezTo>
                <a:cubicBezTo>
                  <a:pt x="253" y="89"/>
                  <a:pt x="253" y="89"/>
                  <a:pt x="254" y="89"/>
                </a:cubicBezTo>
                <a:cubicBezTo>
                  <a:pt x="254" y="89"/>
                  <a:pt x="254" y="89"/>
                  <a:pt x="255" y="90"/>
                </a:cubicBezTo>
                <a:cubicBezTo>
                  <a:pt x="255" y="90"/>
                  <a:pt x="255" y="90"/>
                  <a:pt x="256" y="90"/>
                </a:cubicBezTo>
                <a:cubicBezTo>
                  <a:pt x="256" y="91"/>
                  <a:pt x="256" y="91"/>
                  <a:pt x="256" y="91"/>
                </a:cubicBezTo>
                <a:cubicBezTo>
                  <a:pt x="256" y="92"/>
                  <a:pt x="256" y="93"/>
                  <a:pt x="256" y="94"/>
                </a:cubicBezTo>
                <a:cubicBezTo>
                  <a:pt x="256" y="94"/>
                  <a:pt x="256" y="95"/>
                  <a:pt x="255" y="95"/>
                </a:cubicBezTo>
                <a:cubicBezTo>
                  <a:pt x="255" y="95"/>
                  <a:pt x="255" y="95"/>
                  <a:pt x="255" y="95"/>
                </a:cubicBezTo>
                <a:cubicBezTo>
                  <a:pt x="254" y="95"/>
                  <a:pt x="254" y="95"/>
                  <a:pt x="254" y="95"/>
                </a:cubicBezTo>
                <a:cubicBezTo>
                  <a:pt x="254" y="94"/>
                  <a:pt x="254" y="94"/>
                  <a:pt x="254" y="94"/>
                </a:cubicBezTo>
                <a:cubicBezTo>
                  <a:pt x="254" y="93"/>
                  <a:pt x="253" y="93"/>
                  <a:pt x="253" y="92"/>
                </a:cubicBezTo>
                <a:cubicBezTo>
                  <a:pt x="252" y="92"/>
                  <a:pt x="251" y="91"/>
                  <a:pt x="251" y="91"/>
                </a:cubicBezTo>
                <a:cubicBezTo>
                  <a:pt x="250" y="92"/>
                  <a:pt x="251" y="93"/>
                  <a:pt x="250" y="93"/>
                </a:cubicBezTo>
                <a:cubicBezTo>
                  <a:pt x="250" y="93"/>
                  <a:pt x="250" y="93"/>
                  <a:pt x="249" y="93"/>
                </a:cubicBezTo>
                <a:cubicBezTo>
                  <a:pt x="249" y="93"/>
                  <a:pt x="249" y="93"/>
                  <a:pt x="249" y="92"/>
                </a:cubicBezTo>
                <a:cubicBezTo>
                  <a:pt x="249" y="93"/>
                  <a:pt x="249" y="93"/>
                  <a:pt x="249" y="94"/>
                </a:cubicBezTo>
                <a:cubicBezTo>
                  <a:pt x="250" y="94"/>
                  <a:pt x="251" y="95"/>
                  <a:pt x="251" y="95"/>
                </a:cubicBezTo>
                <a:cubicBezTo>
                  <a:pt x="251" y="95"/>
                  <a:pt x="251" y="96"/>
                  <a:pt x="251" y="96"/>
                </a:cubicBezTo>
                <a:cubicBezTo>
                  <a:pt x="251" y="96"/>
                  <a:pt x="251" y="96"/>
                  <a:pt x="251" y="97"/>
                </a:cubicBezTo>
                <a:cubicBezTo>
                  <a:pt x="251" y="97"/>
                  <a:pt x="251" y="97"/>
                  <a:pt x="251" y="98"/>
                </a:cubicBezTo>
                <a:cubicBezTo>
                  <a:pt x="251" y="98"/>
                  <a:pt x="251" y="99"/>
                  <a:pt x="251" y="100"/>
                </a:cubicBezTo>
                <a:cubicBezTo>
                  <a:pt x="251" y="101"/>
                  <a:pt x="251" y="101"/>
                  <a:pt x="252" y="102"/>
                </a:cubicBezTo>
                <a:cubicBezTo>
                  <a:pt x="252" y="102"/>
                  <a:pt x="252" y="103"/>
                  <a:pt x="253" y="103"/>
                </a:cubicBezTo>
                <a:cubicBezTo>
                  <a:pt x="253" y="103"/>
                  <a:pt x="253" y="103"/>
                  <a:pt x="254" y="104"/>
                </a:cubicBezTo>
                <a:cubicBezTo>
                  <a:pt x="254" y="105"/>
                  <a:pt x="253" y="106"/>
                  <a:pt x="254" y="107"/>
                </a:cubicBezTo>
                <a:cubicBezTo>
                  <a:pt x="254" y="107"/>
                  <a:pt x="254" y="108"/>
                  <a:pt x="254" y="108"/>
                </a:cubicBezTo>
                <a:cubicBezTo>
                  <a:pt x="255" y="108"/>
                  <a:pt x="255" y="109"/>
                  <a:pt x="254" y="109"/>
                </a:cubicBezTo>
                <a:cubicBezTo>
                  <a:pt x="254" y="110"/>
                  <a:pt x="254" y="110"/>
                  <a:pt x="253" y="110"/>
                </a:cubicBezTo>
                <a:cubicBezTo>
                  <a:pt x="253" y="110"/>
                  <a:pt x="253" y="110"/>
                  <a:pt x="253" y="110"/>
                </a:cubicBezTo>
                <a:cubicBezTo>
                  <a:pt x="253" y="110"/>
                  <a:pt x="253" y="110"/>
                  <a:pt x="252" y="110"/>
                </a:cubicBezTo>
                <a:cubicBezTo>
                  <a:pt x="252" y="111"/>
                  <a:pt x="252" y="111"/>
                  <a:pt x="251" y="111"/>
                </a:cubicBezTo>
                <a:cubicBezTo>
                  <a:pt x="251" y="110"/>
                  <a:pt x="250" y="110"/>
                  <a:pt x="250" y="110"/>
                </a:cubicBezTo>
                <a:cubicBezTo>
                  <a:pt x="250" y="109"/>
                  <a:pt x="249" y="109"/>
                  <a:pt x="248" y="109"/>
                </a:cubicBezTo>
                <a:cubicBezTo>
                  <a:pt x="248" y="108"/>
                  <a:pt x="248" y="108"/>
                  <a:pt x="247" y="108"/>
                </a:cubicBezTo>
                <a:cubicBezTo>
                  <a:pt x="246" y="107"/>
                  <a:pt x="245" y="106"/>
                  <a:pt x="244" y="105"/>
                </a:cubicBezTo>
                <a:cubicBezTo>
                  <a:pt x="244" y="104"/>
                  <a:pt x="244" y="104"/>
                  <a:pt x="244" y="103"/>
                </a:cubicBezTo>
                <a:cubicBezTo>
                  <a:pt x="244" y="102"/>
                  <a:pt x="244" y="102"/>
                  <a:pt x="243" y="101"/>
                </a:cubicBezTo>
                <a:cubicBezTo>
                  <a:pt x="243" y="101"/>
                  <a:pt x="243" y="100"/>
                  <a:pt x="242" y="100"/>
                </a:cubicBezTo>
                <a:cubicBezTo>
                  <a:pt x="242" y="100"/>
                  <a:pt x="241" y="100"/>
                  <a:pt x="241" y="100"/>
                </a:cubicBezTo>
                <a:cubicBezTo>
                  <a:pt x="240" y="101"/>
                  <a:pt x="239" y="100"/>
                  <a:pt x="239" y="100"/>
                </a:cubicBezTo>
                <a:cubicBezTo>
                  <a:pt x="238" y="100"/>
                  <a:pt x="238" y="100"/>
                  <a:pt x="238" y="100"/>
                </a:cubicBezTo>
                <a:cubicBezTo>
                  <a:pt x="237" y="100"/>
                  <a:pt x="237" y="100"/>
                  <a:pt x="236" y="100"/>
                </a:cubicBezTo>
                <a:cubicBezTo>
                  <a:pt x="236" y="100"/>
                  <a:pt x="236" y="99"/>
                  <a:pt x="235" y="99"/>
                </a:cubicBezTo>
                <a:cubicBezTo>
                  <a:pt x="235" y="99"/>
                  <a:pt x="234" y="99"/>
                  <a:pt x="234" y="99"/>
                </a:cubicBezTo>
                <a:cubicBezTo>
                  <a:pt x="233" y="99"/>
                  <a:pt x="233" y="99"/>
                  <a:pt x="232" y="99"/>
                </a:cubicBezTo>
                <a:cubicBezTo>
                  <a:pt x="232" y="99"/>
                  <a:pt x="232" y="98"/>
                  <a:pt x="231" y="98"/>
                </a:cubicBezTo>
                <a:cubicBezTo>
                  <a:pt x="231" y="98"/>
                  <a:pt x="231" y="97"/>
                  <a:pt x="231" y="98"/>
                </a:cubicBezTo>
                <a:cubicBezTo>
                  <a:pt x="230" y="98"/>
                  <a:pt x="231" y="98"/>
                  <a:pt x="231" y="98"/>
                </a:cubicBezTo>
                <a:cubicBezTo>
                  <a:pt x="231" y="99"/>
                  <a:pt x="232" y="99"/>
                  <a:pt x="232" y="99"/>
                </a:cubicBezTo>
                <a:cubicBezTo>
                  <a:pt x="233" y="100"/>
                  <a:pt x="233" y="100"/>
                  <a:pt x="234" y="100"/>
                </a:cubicBezTo>
                <a:cubicBezTo>
                  <a:pt x="235" y="100"/>
                  <a:pt x="236" y="100"/>
                  <a:pt x="236" y="100"/>
                </a:cubicBezTo>
                <a:cubicBezTo>
                  <a:pt x="237" y="101"/>
                  <a:pt x="238" y="102"/>
                  <a:pt x="239" y="102"/>
                </a:cubicBezTo>
                <a:cubicBezTo>
                  <a:pt x="240" y="102"/>
                  <a:pt x="241" y="103"/>
                  <a:pt x="241" y="104"/>
                </a:cubicBezTo>
                <a:cubicBezTo>
                  <a:pt x="242" y="105"/>
                  <a:pt x="241" y="107"/>
                  <a:pt x="242" y="108"/>
                </a:cubicBezTo>
                <a:cubicBezTo>
                  <a:pt x="242" y="108"/>
                  <a:pt x="243" y="108"/>
                  <a:pt x="243" y="108"/>
                </a:cubicBezTo>
                <a:cubicBezTo>
                  <a:pt x="244" y="109"/>
                  <a:pt x="244" y="109"/>
                  <a:pt x="244" y="109"/>
                </a:cubicBezTo>
                <a:cubicBezTo>
                  <a:pt x="245" y="109"/>
                  <a:pt x="245" y="110"/>
                  <a:pt x="245" y="110"/>
                </a:cubicBezTo>
                <a:cubicBezTo>
                  <a:pt x="246" y="110"/>
                  <a:pt x="246" y="110"/>
                  <a:pt x="247" y="111"/>
                </a:cubicBezTo>
                <a:cubicBezTo>
                  <a:pt x="248" y="111"/>
                  <a:pt x="248" y="111"/>
                  <a:pt x="248" y="112"/>
                </a:cubicBezTo>
                <a:cubicBezTo>
                  <a:pt x="248" y="112"/>
                  <a:pt x="248" y="113"/>
                  <a:pt x="248" y="113"/>
                </a:cubicBezTo>
                <a:cubicBezTo>
                  <a:pt x="248" y="113"/>
                  <a:pt x="248" y="114"/>
                  <a:pt x="248" y="114"/>
                </a:cubicBezTo>
                <a:cubicBezTo>
                  <a:pt x="247" y="114"/>
                  <a:pt x="246" y="115"/>
                  <a:pt x="246" y="116"/>
                </a:cubicBezTo>
                <a:cubicBezTo>
                  <a:pt x="245" y="116"/>
                  <a:pt x="246" y="117"/>
                  <a:pt x="247" y="116"/>
                </a:cubicBezTo>
                <a:cubicBezTo>
                  <a:pt x="247" y="116"/>
                  <a:pt x="247" y="116"/>
                  <a:pt x="247" y="115"/>
                </a:cubicBezTo>
                <a:cubicBezTo>
                  <a:pt x="248" y="115"/>
                  <a:pt x="248" y="115"/>
                  <a:pt x="248" y="114"/>
                </a:cubicBezTo>
                <a:cubicBezTo>
                  <a:pt x="249" y="114"/>
                  <a:pt x="250" y="114"/>
                  <a:pt x="252" y="114"/>
                </a:cubicBezTo>
                <a:cubicBezTo>
                  <a:pt x="252" y="114"/>
                  <a:pt x="253" y="114"/>
                  <a:pt x="252" y="115"/>
                </a:cubicBezTo>
                <a:cubicBezTo>
                  <a:pt x="252" y="115"/>
                  <a:pt x="252" y="116"/>
                  <a:pt x="252" y="116"/>
                </a:cubicBezTo>
                <a:cubicBezTo>
                  <a:pt x="251" y="116"/>
                  <a:pt x="252" y="117"/>
                  <a:pt x="253" y="117"/>
                </a:cubicBezTo>
                <a:cubicBezTo>
                  <a:pt x="253" y="116"/>
                  <a:pt x="254" y="116"/>
                  <a:pt x="255" y="115"/>
                </a:cubicBezTo>
                <a:cubicBezTo>
                  <a:pt x="255" y="115"/>
                  <a:pt x="255" y="114"/>
                  <a:pt x="255" y="114"/>
                </a:cubicBezTo>
                <a:cubicBezTo>
                  <a:pt x="255" y="114"/>
                  <a:pt x="254" y="113"/>
                  <a:pt x="254" y="113"/>
                </a:cubicBezTo>
                <a:cubicBezTo>
                  <a:pt x="254" y="113"/>
                  <a:pt x="254" y="112"/>
                  <a:pt x="255" y="111"/>
                </a:cubicBezTo>
                <a:cubicBezTo>
                  <a:pt x="256" y="111"/>
                  <a:pt x="256" y="112"/>
                  <a:pt x="257" y="112"/>
                </a:cubicBezTo>
                <a:cubicBezTo>
                  <a:pt x="258" y="112"/>
                  <a:pt x="258" y="112"/>
                  <a:pt x="259" y="113"/>
                </a:cubicBezTo>
                <a:cubicBezTo>
                  <a:pt x="259" y="113"/>
                  <a:pt x="260" y="113"/>
                  <a:pt x="260" y="113"/>
                </a:cubicBezTo>
                <a:cubicBezTo>
                  <a:pt x="261" y="113"/>
                  <a:pt x="262" y="113"/>
                  <a:pt x="263" y="113"/>
                </a:cubicBezTo>
                <a:cubicBezTo>
                  <a:pt x="264" y="114"/>
                  <a:pt x="264" y="113"/>
                  <a:pt x="265" y="113"/>
                </a:cubicBezTo>
                <a:cubicBezTo>
                  <a:pt x="266" y="113"/>
                  <a:pt x="266" y="113"/>
                  <a:pt x="265" y="114"/>
                </a:cubicBezTo>
                <a:cubicBezTo>
                  <a:pt x="265" y="114"/>
                  <a:pt x="265" y="114"/>
                  <a:pt x="265" y="114"/>
                </a:cubicBezTo>
                <a:cubicBezTo>
                  <a:pt x="265" y="115"/>
                  <a:pt x="265" y="115"/>
                  <a:pt x="265" y="115"/>
                </a:cubicBezTo>
                <a:cubicBezTo>
                  <a:pt x="266" y="116"/>
                  <a:pt x="265" y="116"/>
                  <a:pt x="266" y="116"/>
                </a:cubicBezTo>
                <a:cubicBezTo>
                  <a:pt x="266" y="117"/>
                  <a:pt x="266" y="117"/>
                  <a:pt x="266" y="118"/>
                </a:cubicBezTo>
                <a:cubicBezTo>
                  <a:pt x="266" y="118"/>
                  <a:pt x="266" y="118"/>
                  <a:pt x="267" y="119"/>
                </a:cubicBezTo>
                <a:cubicBezTo>
                  <a:pt x="267" y="119"/>
                  <a:pt x="266" y="119"/>
                  <a:pt x="267" y="120"/>
                </a:cubicBezTo>
                <a:cubicBezTo>
                  <a:pt x="267" y="120"/>
                  <a:pt x="267" y="120"/>
                  <a:pt x="267" y="120"/>
                </a:cubicBezTo>
                <a:cubicBezTo>
                  <a:pt x="267" y="121"/>
                  <a:pt x="267" y="121"/>
                  <a:pt x="267" y="122"/>
                </a:cubicBezTo>
                <a:cubicBezTo>
                  <a:pt x="266" y="122"/>
                  <a:pt x="266" y="123"/>
                  <a:pt x="266" y="124"/>
                </a:cubicBezTo>
                <a:cubicBezTo>
                  <a:pt x="266" y="124"/>
                  <a:pt x="266" y="125"/>
                  <a:pt x="265" y="125"/>
                </a:cubicBezTo>
                <a:cubicBezTo>
                  <a:pt x="265" y="126"/>
                  <a:pt x="265" y="126"/>
                  <a:pt x="265" y="127"/>
                </a:cubicBezTo>
                <a:cubicBezTo>
                  <a:pt x="265" y="128"/>
                  <a:pt x="265" y="128"/>
                  <a:pt x="266" y="128"/>
                </a:cubicBez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D68CB3A1-FE60-48A9-A167-E4FBDC6F2922}"/>
              </a:ext>
            </a:extLst>
          </p:cNvPr>
          <p:cNvSpPr>
            <a:spLocks/>
          </p:cNvSpPr>
          <p:nvPr/>
        </p:nvSpPr>
        <p:spPr bwMode="auto">
          <a:xfrm>
            <a:off x="11012132" y="2059322"/>
            <a:ext cx="264353" cy="436182"/>
          </a:xfrm>
          <a:custGeom>
            <a:avLst/>
            <a:gdLst>
              <a:gd name="T0" fmla="*/ 2 w 67"/>
              <a:gd name="T1" fmla="*/ 8 h 110"/>
              <a:gd name="T2" fmla="*/ 3 w 67"/>
              <a:gd name="T3" fmla="*/ 13 h 110"/>
              <a:gd name="T4" fmla="*/ 2 w 67"/>
              <a:gd name="T5" fmla="*/ 21 h 110"/>
              <a:gd name="T6" fmla="*/ 4 w 67"/>
              <a:gd name="T7" fmla="*/ 28 h 110"/>
              <a:gd name="T8" fmla="*/ 4 w 67"/>
              <a:gd name="T9" fmla="*/ 37 h 110"/>
              <a:gd name="T10" fmla="*/ 1 w 67"/>
              <a:gd name="T11" fmla="*/ 41 h 110"/>
              <a:gd name="T12" fmla="*/ 0 w 67"/>
              <a:gd name="T13" fmla="*/ 47 h 110"/>
              <a:gd name="T14" fmla="*/ 1 w 67"/>
              <a:gd name="T15" fmla="*/ 53 h 110"/>
              <a:gd name="T16" fmla="*/ 3 w 67"/>
              <a:gd name="T17" fmla="*/ 61 h 110"/>
              <a:gd name="T18" fmla="*/ 0 w 67"/>
              <a:gd name="T19" fmla="*/ 68 h 110"/>
              <a:gd name="T20" fmla="*/ 2 w 67"/>
              <a:gd name="T21" fmla="*/ 70 h 110"/>
              <a:gd name="T22" fmla="*/ 3 w 67"/>
              <a:gd name="T23" fmla="*/ 68 h 110"/>
              <a:gd name="T24" fmla="*/ 5 w 67"/>
              <a:gd name="T25" fmla="*/ 70 h 110"/>
              <a:gd name="T26" fmla="*/ 5 w 67"/>
              <a:gd name="T27" fmla="*/ 105 h 110"/>
              <a:gd name="T28" fmla="*/ 33 w 67"/>
              <a:gd name="T29" fmla="*/ 110 h 110"/>
              <a:gd name="T30" fmla="*/ 31 w 67"/>
              <a:gd name="T31" fmla="*/ 106 h 110"/>
              <a:gd name="T32" fmla="*/ 31 w 67"/>
              <a:gd name="T33" fmla="*/ 101 h 110"/>
              <a:gd name="T34" fmla="*/ 33 w 67"/>
              <a:gd name="T35" fmla="*/ 97 h 110"/>
              <a:gd name="T36" fmla="*/ 33 w 67"/>
              <a:gd name="T37" fmla="*/ 90 h 110"/>
              <a:gd name="T38" fmla="*/ 36 w 67"/>
              <a:gd name="T39" fmla="*/ 83 h 110"/>
              <a:gd name="T40" fmla="*/ 36 w 67"/>
              <a:gd name="T41" fmla="*/ 77 h 110"/>
              <a:gd name="T42" fmla="*/ 37 w 67"/>
              <a:gd name="T43" fmla="*/ 68 h 110"/>
              <a:gd name="T44" fmla="*/ 39 w 67"/>
              <a:gd name="T45" fmla="*/ 63 h 110"/>
              <a:gd name="T46" fmla="*/ 42 w 67"/>
              <a:gd name="T47" fmla="*/ 57 h 110"/>
              <a:gd name="T48" fmla="*/ 46 w 67"/>
              <a:gd name="T49" fmla="*/ 52 h 110"/>
              <a:gd name="T50" fmla="*/ 48 w 67"/>
              <a:gd name="T51" fmla="*/ 46 h 110"/>
              <a:gd name="T52" fmla="*/ 48 w 67"/>
              <a:gd name="T53" fmla="*/ 36 h 110"/>
              <a:gd name="T54" fmla="*/ 51 w 67"/>
              <a:gd name="T55" fmla="*/ 33 h 110"/>
              <a:gd name="T56" fmla="*/ 56 w 67"/>
              <a:gd name="T57" fmla="*/ 32 h 110"/>
              <a:gd name="T58" fmla="*/ 60 w 67"/>
              <a:gd name="T59" fmla="*/ 29 h 110"/>
              <a:gd name="T60" fmla="*/ 63 w 67"/>
              <a:gd name="T61" fmla="*/ 26 h 110"/>
              <a:gd name="T62" fmla="*/ 64 w 67"/>
              <a:gd name="T63" fmla="*/ 23 h 110"/>
              <a:gd name="T64" fmla="*/ 66 w 67"/>
              <a:gd name="T65" fmla="*/ 21 h 110"/>
              <a:gd name="T66" fmla="*/ 62 w 67"/>
              <a:gd name="T67" fmla="*/ 14 h 110"/>
              <a:gd name="T68" fmla="*/ 64 w 67"/>
              <a:gd name="T69" fmla="*/ 10 h 110"/>
              <a:gd name="T70" fmla="*/ 67 w 67"/>
              <a:gd name="T71" fmla="*/ 6 h 110"/>
              <a:gd name="T72" fmla="*/ 66 w 67"/>
              <a:gd name="T73" fmla="*/ 3 h 110"/>
              <a:gd name="T74" fmla="*/ 10 w 67"/>
              <a:gd name="T75" fmla="*/ 0 h 110"/>
              <a:gd name="T76" fmla="*/ 3 w 67"/>
              <a:gd name="T77" fmla="*/ 5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7" h="110">
                <a:moveTo>
                  <a:pt x="3" y="5"/>
                </a:moveTo>
                <a:cubicBezTo>
                  <a:pt x="3" y="6"/>
                  <a:pt x="2" y="7"/>
                  <a:pt x="2" y="8"/>
                </a:cubicBezTo>
                <a:cubicBezTo>
                  <a:pt x="1" y="9"/>
                  <a:pt x="2" y="9"/>
                  <a:pt x="3" y="10"/>
                </a:cubicBezTo>
                <a:cubicBezTo>
                  <a:pt x="3" y="11"/>
                  <a:pt x="3" y="12"/>
                  <a:pt x="3" y="13"/>
                </a:cubicBezTo>
                <a:cubicBezTo>
                  <a:pt x="3" y="13"/>
                  <a:pt x="3" y="15"/>
                  <a:pt x="2" y="16"/>
                </a:cubicBezTo>
                <a:cubicBezTo>
                  <a:pt x="2" y="18"/>
                  <a:pt x="2" y="20"/>
                  <a:pt x="2" y="21"/>
                </a:cubicBezTo>
                <a:cubicBezTo>
                  <a:pt x="1" y="22"/>
                  <a:pt x="3" y="24"/>
                  <a:pt x="4" y="25"/>
                </a:cubicBezTo>
                <a:cubicBezTo>
                  <a:pt x="4" y="26"/>
                  <a:pt x="4" y="28"/>
                  <a:pt x="4" y="28"/>
                </a:cubicBezTo>
                <a:cubicBezTo>
                  <a:pt x="4" y="29"/>
                  <a:pt x="4" y="31"/>
                  <a:pt x="4" y="32"/>
                </a:cubicBezTo>
                <a:cubicBezTo>
                  <a:pt x="3" y="32"/>
                  <a:pt x="4" y="37"/>
                  <a:pt x="4" y="37"/>
                </a:cubicBezTo>
                <a:cubicBezTo>
                  <a:pt x="4" y="37"/>
                  <a:pt x="3" y="38"/>
                  <a:pt x="3" y="39"/>
                </a:cubicBezTo>
                <a:cubicBezTo>
                  <a:pt x="2" y="39"/>
                  <a:pt x="1" y="40"/>
                  <a:pt x="1" y="41"/>
                </a:cubicBezTo>
                <a:cubicBezTo>
                  <a:pt x="1" y="41"/>
                  <a:pt x="1" y="43"/>
                  <a:pt x="0" y="44"/>
                </a:cubicBezTo>
                <a:cubicBezTo>
                  <a:pt x="0" y="44"/>
                  <a:pt x="0" y="47"/>
                  <a:pt x="0" y="47"/>
                </a:cubicBezTo>
                <a:cubicBezTo>
                  <a:pt x="0" y="47"/>
                  <a:pt x="1" y="49"/>
                  <a:pt x="1" y="49"/>
                </a:cubicBezTo>
                <a:cubicBezTo>
                  <a:pt x="1" y="49"/>
                  <a:pt x="1" y="52"/>
                  <a:pt x="1" y="53"/>
                </a:cubicBezTo>
                <a:cubicBezTo>
                  <a:pt x="1" y="53"/>
                  <a:pt x="1" y="58"/>
                  <a:pt x="1" y="58"/>
                </a:cubicBezTo>
                <a:cubicBezTo>
                  <a:pt x="3" y="61"/>
                  <a:pt x="3" y="61"/>
                  <a:pt x="3" y="61"/>
                </a:cubicBezTo>
                <a:cubicBezTo>
                  <a:pt x="3" y="61"/>
                  <a:pt x="1" y="65"/>
                  <a:pt x="1" y="65"/>
                </a:cubicBezTo>
                <a:cubicBezTo>
                  <a:pt x="1" y="66"/>
                  <a:pt x="0" y="68"/>
                  <a:pt x="0" y="68"/>
                </a:cubicBezTo>
                <a:cubicBezTo>
                  <a:pt x="0" y="68"/>
                  <a:pt x="1" y="69"/>
                  <a:pt x="1" y="70"/>
                </a:cubicBezTo>
                <a:cubicBezTo>
                  <a:pt x="1" y="70"/>
                  <a:pt x="2" y="70"/>
                  <a:pt x="2" y="70"/>
                </a:cubicBezTo>
                <a:cubicBezTo>
                  <a:pt x="2" y="69"/>
                  <a:pt x="2" y="69"/>
                  <a:pt x="2" y="69"/>
                </a:cubicBezTo>
                <a:cubicBezTo>
                  <a:pt x="2" y="69"/>
                  <a:pt x="3" y="68"/>
                  <a:pt x="3" y="68"/>
                </a:cubicBezTo>
                <a:cubicBezTo>
                  <a:pt x="3" y="68"/>
                  <a:pt x="4" y="68"/>
                  <a:pt x="4" y="68"/>
                </a:cubicBezTo>
                <a:cubicBezTo>
                  <a:pt x="5" y="68"/>
                  <a:pt x="5" y="69"/>
                  <a:pt x="5" y="70"/>
                </a:cubicBezTo>
                <a:cubicBezTo>
                  <a:pt x="5" y="70"/>
                  <a:pt x="6" y="71"/>
                  <a:pt x="6" y="71"/>
                </a:cubicBezTo>
                <a:cubicBezTo>
                  <a:pt x="5" y="105"/>
                  <a:pt x="5" y="105"/>
                  <a:pt x="5" y="105"/>
                </a:cubicBezTo>
                <a:cubicBezTo>
                  <a:pt x="6" y="109"/>
                  <a:pt x="6" y="109"/>
                  <a:pt x="6" y="109"/>
                </a:cubicBezTo>
                <a:cubicBezTo>
                  <a:pt x="33" y="110"/>
                  <a:pt x="33" y="110"/>
                  <a:pt x="33" y="110"/>
                </a:cubicBezTo>
                <a:cubicBezTo>
                  <a:pt x="31" y="107"/>
                  <a:pt x="31" y="107"/>
                  <a:pt x="31" y="107"/>
                </a:cubicBezTo>
                <a:cubicBezTo>
                  <a:pt x="31" y="107"/>
                  <a:pt x="31" y="106"/>
                  <a:pt x="31" y="106"/>
                </a:cubicBezTo>
                <a:cubicBezTo>
                  <a:pt x="31" y="106"/>
                  <a:pt x="30" y="104"/>
                  <a:pt x="30" y="103"/>
                </a:cubicBezTo>
                <a:cubicBezTo>
                  <a:pt x="30" y="103"/>
                  <a:pt x="31" y="101"/>
                  <a:pt x="31" y="101"/>
                </a:cubicBezTo>
                <a:cubicBezTo>
                  <a:pt x="31" y="101"/>
                  <a:pt x="31" y="99"/>
                  <a:pt x="31" y="99"/>
                </a:cubicBezTo>
                <a:cubicBezTo>
                  <a:pt x="31" y="99"/>
                  <a:pt x="33" y="97"/>
                  <a:pt x="33" y="97"/>
                </a:cubicBezTo>
                <a:cubicBezTo>
                  <a:pt x="33" y="96"/>
                  <a:pt x="34" y="92"/>
                  <a:pt x="34" y="92"/>
                </a:cubicBezTo>
                <a:cubicBezTo>
                  <a:pt x="34" y="91"/>
                  <a:pt x="33" y="90"/>
                  <a:pt x="33" y="90"/>
                </a:cubicBezTo>
                <a:cubicBezTo>
                  <a:pt x="33" y="89"/>
                  <a:pt x="34" y="89"/>
                  <a:pt x="34" y="88"/>
                </a:cubicBezTo>
                <a:cubicBezTo>
                  <a:pt x="34" y="88"/>
                  <a:pt x="36" y="83"/>
                  <a:pt x="36" y="83"/>
                </a:cubicBezTo>
                <a:cubicBezTo>
                  <a:pt x="36" y="83"/>
                  <a:pt x="35" y="82"/>
                  <a:pt x="35" y="81"/>
                </a:cubicBezTo>
                <a:cubicBezTo>
                  <a:pt x="35" y="80"/>
                  <a:pt x="36" y="78"/>
                  <a:pt x="36" y="77"/>
                </a:cubicBezTo>
                <a:cubicBezTo>
                  <a:pt x="36" y="77"/>
                  <a:pt x="35" y="73"/>
                  <a:pt x="35" y="73"/>
                </a:cubicBezTo>
                <a:cubicBezTo>
                  <a:pt x="35" y="72"/>
                  <a:pt x="37" y="68"/>
                  <a:pt x="37" y="68"/>
                </a:cubicBezTo>
                <a:cubicBezTo>
                  <a:pt x="38" y="67"/>
                  <a:pt x="39" y="65"/>
                  <a:pt x="39" y="64"/>
                </a:cubicBezTo>
                <a:cubicBezTo>
                  <a:pt x="39" y="64"/>
                  <a:pt x="39" y="63"/>
                  <a:pt x="39" y="63"/>
                </a:cubicBezTo>
                <a:cubicBezTo>
                  <a:pt x="39" y="63"/>
                  <a:pt x="41" y="61"/>
                  <a:pt x="42" y="60"/>
                </a:cubicBezTo>
                <a:cubicBezTo>
                  <a:pt x="42" y="60"/>
                  <a:pt x="42" y="58"/>
                  <a:pt x="42" y="57"/>
                </a:cubicBezTo>
                <a:cubicBezTo>
                  <a:pt x="43" y="57"/>
                  <a:pt x="44" y="54"/>
                  <a:pt x="45" y="54"/>
                </a:cubicBezTo>
                <a:cubicBezTo>
                  <a:pt x="45" y="53"/>
                  <a:pt x="46" y="52"/>
                  <a:pt x="46" y="52"/>
                </a:cubicBezTo>
                <a:cubicBezTo>
                  <a:pt x="46" y="52"/>
                  <a:pt x="46" y="49"/>
                  <a:pt x="46" y="49"/>
                </a:cubicBezTo>
                <a:cubicBezTo>
                  <a:pt x="46" y="49"/>
                  <a:pt x="48" y="46"/>
                  <a:pt x="48" y="46"/>
                </a:cubicBezTo>
                <a:cubicBezTo>
                  <a:pt x="48" y="45"/>
                  <a:pt x="48" y="40"/>
                  <a:pt x="48" y="40"/>
                </a:cubicBezTo>
                <a:cubicBezTo>
                  <a:pt x="48" y="40"/>
                  <a:pt x="48" y="37"/>
                  <a:pt x="48" y="36"/>
                </a:cubicBezTo>
                <a:cubicBezTo>
                  <a:pt x="48" y="36"/>
                  <a:pt x="48" y="34"/>
                  <a:pt x="48" y="34"/>
                </a:cubicBezTo>
                <a:cubicBezTo>
                  <a:pt x="49" y="34"/>
                  <a:pt x="51" y="33"/>
                  <a:pt x="51" y="33"/>
                </a:cubicBezTo>
                <a:cubicBezTo>
                  <a:pt x="51" y="33"/>
                  <a:pt x="53" y="33"/>
                  <a:pt x="53" y="33"/>
                </a:cubicBezTo>
                <a:cubicBezTo>
                  <a:pt x="54" y="33"/>
                  <a:pt x="56" y="32"/>
                  <a:pt x="56" y="32"/>
                </a:cubicBezTo>
                <a:cubicBezTo>
                  <a:pt x="57" y="30"/>
                  <a:pt x="57" y="30"/>
                  <a:pt x="57" y="30"/>
                </a:cubicBezTo>
                <a:cubicBezTo>
                  <a:pt x="57" y="30"/>
                  <a:pt x="60" y="29"/>
                  <a:pt x="60" y="29"/>
                </a:cubicBezTo>
                <a:cubicBezTo>
                  <a:pt x="61" y="29"/>
                  <a:pt x="61" y="28"/>
                  <a:pt x="62" y="27"/>
                </a:cubicBezTo>
                <a:cubicBezTo>
                  <a:pt x="62" y="27"/>
                  <a:pt x="63" y="26"/>
                  <a:pt x="63" y="26"/>
                </a:cubicBezTo>
                <a:cubicBezTo>
                  <a:pt x="64" y="26"/>
                  <a:pt x="64" y="25"/>
                  <a:pt x="64" y="25"/>
                </a:cubicBezTo>
                <a:cubicBezTo>
                  <a:pt x="64" y="25"/>
                  <a:pt x="64" y="24"/>
                  <a:pt x="64" y="23"/>
                </a:cubicBezTo>
                <a:cubicBezTo>
                  <a:pt x="64" y="23"/>
                  <a:pt x="64" y="22"/>
                  <a:pt x="64" y="22"/>
                </a:cubicBezTo>
                <a:cubicBezTo>
                  <a:pt x="64" y="22"/>
                  <a:pt x="66" y="21"/>
                  <a:pt x="66" y="21"/>
                </a:cubicBezTo>
                <a:cubicBezTo>
                  <a:pt x="66" y="21"/>
                  <a:pt x="64" y="17"/>
                  <a:pt x="64" y="16"/>
                </a:cubicBezTo>
                <a:cubicBezTo>
                  <a:pt x="63" y="16"/>
                  <a:pt x="62" y="14"/>
                  <a:pt x="62" y="14"/>
                </a:cubicBezTo>
                <a:cubicBezTo>
                  <a:pt x="62" y="13"/>
                  <a:pt x="63" y="12"/>
                  <a:pt x="63" y="12"/>
                </a:cubicBezTo>
                <a:cubicBezTo>
                  <a:pt x="64" y="12"/>
                  <a:pt x="64" y="11"/>
                  <a:pt x="64" y="10"/>
                </a:cubicBezTo>
                <a:cubicBezTo>
                  <a:pt x="65" y="10"/>
                  <a:pt x="65" y="7"/>
                  <a:pt x="66" y="7"/>
                </a:cubicBezTo>
                <a:cubicBezTo>
                  <a:pt x="66" y="7"/>
                  <a:pt x="67" y="6"/>
                  <a:pt x="67" y="6"/>
                </a:cubicBezTo>
                <a:cubicBezTo>
                  <a:pt x="67" y="6"/>
                  <a:pt x="67" y="5"/>
                  <a:pt x="67" y="5"/>
                </a:cubicBezTo>
                <a:cubicBezTo>
                  <a:pt x="67" y="4"/>
                  <a:pt x="66" y="3"/>
                  <a:pt x="66" y="3"/>
                </a:cubicBezTo>
                <a:cubicBezTo>
                  <a:pt x="66" y="3"/>
                  <a:pt x="67" y="0"/>
                  <a:pt x="67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0"/>
                  <a:pt x="3" y="4"/>
                  <a:pt x="3" y="5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Freeform 14">
            <a:extLst>
              <a:ext uri="{FF2B5EF4-FFF2-40B4-BE49-F238E27FC236}">
                <a16:creationId xmlns:a16="http://schemas.microsoft.com/office/drawing/2014/main" id="{B02A40E2-1179-4B15-A893-9F45B44F13A7}"/>
              </a:ext>
            </a:extLst>
          </p:cNvPr>
          <p:cNvSpPr>
            <a:spLocks/>
          </p:cNvSpPr>
          <p:nvPr/>
        </p:nvSpPr>
        <p:spPr bwMode="auto">
          <a:xfrm>
            <a:off x="5459076" y="2630985"/>
            <a:ext cx="684012" cy="887234"/>
          </a:xfrm>
          <a:custGeom>
            <a:avLst/>
            <a:gdLst>
              <a:gd name="T0" fmla="*/ 414 w 414"/>
              <a:gd name="T1" fmla="*/ 537 h 537"/>
              <a:gd name="T2" fmla="*/ 0 w 414"/>
              <a:gd name="T3" fmla="*/ 537 h 537"/>
              <a:gd name="T4" fmla="*/ 0 w 414"/>
              <a:gd name="T5" fmla="*/ 0 h 537"/>
              <a:gd name="T6" fmla="*/ 247 w 414"/>
              <a:gd name="T7" fmla="*/ 0 h 537"/>
              <a:gd name="T8" fmla="*/ 247 w 414"/>
              <a:gd name="T9" fmla="*/ 110 h 537"/>
              <a:gd name="T10" fmla="*/ 412 w 414"/>
              <a:gd name="T11" fmla="*/ 110 h 537"/>
              <a:gd name="T12" fmla="*/ 414 w 414"/>
              <a:gd name="T13" fmla="*/ 537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4" h="537">
                <a:moveTo>
                  <a:pt x="414" y="537"/>
                </a:moveTo>
                <a:lnTo>
                  <a:pt x="0" y="537"/>
                </a:lnTo>
                <a:lnTo>
                  <a:pt x="0" y="0"/>
                </a:lnTo>
                <a:lnTo>
                  <a:pt x="247" y="0"/>
                </a:lnTo>
                <a:lnTo>
                  <a:pt x="247" y="110"/>
                </a:lnTo>
                <a:lnTo>
                  <a:pt x="412" y="110"/>
                </a:lnTo>
                <a:lnTo>
                  <a:pt x="414" y="537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Freeform 15">
            <a:extLst>
              <a:ext uri="{FF2B5EF4-FFF2-40B4-BE49-F238E27FC236}">
                <a16:creationId xmlns:a16="http://schemas.microsoft.com/office/drawing/2014/main" id="{6A1A14D2-ED1D-45BF-8118-2BA275D2089E}"/>
              </a:ext>
            </a:extLst>
          </p:cNvPr>
          <p:cNvSpPr>
            <a:spLocks noEditPoints="1"/>
          </p:cNvSpPr>
          <p:nvPr/>
        </p:nvSpPr>
        <p:spPr bwMode="auto">
          <a:xfrm>
            <a:off x="6471876" y="3602482"/>
            <a:ext cx="1790989" cy="1711685"/>
          </a:xfrm>
          <a:custGeom>
            <a:avLst/>
            <a:gdLst>
              <a:gd name="T0" fmla="*/ 345 w 452"/>
              <a:gd name="T1" fmla="*/ 339 h 432"/>
              <a:gd name="T2" fmla="*/ 348 w 452"/>
              <a:gd name="T3" fmla="*/ 339 h 432"/>
              <a:gd name="T4" fmla="*/ 335 w 452"/>
              <a:gd name="T5" fmla="*/ 350 h 432"/>
              <a:gd name="T6" fmla="*/ 324 w 452"/>
              <a:gd name="T7" fmla="*/ 369 h 432"/>
              <a:gd name="T8" fmla="*/ 323 w 452"/>
              <a:gd name="T9" fmla="*/ 367 h 432"/>
              <a:gd name="T10" fmla="*/ 321 w 452"/>
              <a:gd name="T11" fmla="*/ 379 h 432"/>
              <a:gd name="T12" fmla="*/ 320 w 452"/>
              <a:gd name="T13" fmla="*/ 397 h 432"/>
              <a:gd name="T14" fmla="*/ 321 w 452"/>
              <a:gd name="T15" fmla="*/ 397 h 432"/>
              <a:gd name="T16" fmla="*/ 447 w 452"/>
              <a:gd name="T17" fmla="*/ 217 h 432"/>
              <a:gd name="T18" fmla="*/ 435 w 452"/>
              <a:gd name="T19" fmla="*/ 189 h 432"/>
              <a:gd name="T20" fmla="*/ 426 w 452"/>
              <a:gd name="T21" fmla="*/ 124 h 432"/>
              <a:gd name="T22" fmla="*/ 417 w 452"/>
              <a:gd name="T23" fmla="*/ 121 h 432"/>
              <a:gd name="T24" fmla="*/ 410 w 452"/>
              <a:gd name="T25" fmla="*/ 117 h 432"/>
              <a:gd name="T26" fmla="*/ 398 w 452"/>
              <a:gd name="T27" fmla="*/ 110 h 432"/>
              <a:gd name="T28" fmla="*/ 382 w 452"/>
              <a:gd name="T29" fmla="*/ 111 h 432"/>
              <a:gd name="T30" fmla="*/ 370 w 452"/>
              <a:gd name="T31" fmla="*/ 112 h 432"/>
              <a:gd name="T32" fmla="*/ 356 w 452"/>
              <a:gd name="T33" fmla="*/ 118 h 432"/>
              <a:gd name="T34" fmla="*/ 340 w 452"/>
              <a:gd name="T35" fmla="*/ 113 h 432"/>
              <a:gd name="T36" fmla="*/ 331 w 452"/>
              <a:gd name="T37" fmla="*/ 113 h 432"/>
              <a:gd name="T38" fmla="*/ 324 w 452"/>
              <a:gd name="T39" fmla="*/ 112 h 432"/>
              <a:gd name="T40" fmla="*/ 309 w 452"/>
              <a:gd name="T41" fmla="*/ 107 h 432"/>
              <a:gd name="T42" fmla="*/ 295 w 452"/>
              <a:gd name="T43" fmla="*/ 105 h 432"/>
              <a:gd name="T44" fmla="*/ 269 w 452"/>
              <a:gd name="T45" fmla="*/ 100 h 432"/>
              <a:gd name="T46" fmla="*/ 254 w 452"/>
              <a:gd name="T47" fmla="*/ 90 h 432"/>
              <a:gd name="T48" fmla="*/ 238 w 452"/>
              <a:gd name="T49" fmla="*/ 90 h 432"/>
              <a:gd name="T50" fmla="*/ 0 w 452"/>
              <a:gd name="T51" fmla="*/ 190 h 432"/>
              <a:gd name="T52" fmla="*/ 19 w 452"/>
              <a:gd name="T53" fmla="*/ 212 h 432"/>
              <a:gd name="T54" fmla="*/ 52 w 452"/>
              <a:gd name="T55" fmla="*/ 239 h 432"/>
              <a:gd name="T56" fmla="*/ 80 w 452"/>
              <a:gd name="T57" fmla="*/ 288 h 432"/>
              <a:gd name="T58" fmla="*/ 112 w 452"/>
              <a:gd name="T59" fmla="*/ 309 h 432"/>
              <a:gd name="T60" fmla="*/ 129 w 452"/>
              <a:gd name="T61" fmla="*/ 297 h 432"/>
              <a:gd name="T62" fmla="*/ 147 w 452"/>
              <a:gd name="T63" fmla="*/ 276 h 432"/>
              <a:gd name="T64" fmla="*/ 175 w 452"/>
              <a:gd name="T65" fmla="*/ 278 h 432"/>
              <a:gd name="T66" fmla="*/ 186 w 452"/>
              <a:gd name="T67" fmla="*/ 288 h 432"/>
              <a:gd name="T68" fmla="*/ 216 w 452"/>
              <a:gd name="T69" fmla="*/ 330 h 432"/>
              <a:gd name="T70" fmla="*/ 244 w 452"/>
              <a:gd name="T71" fmla="*/ 363 h 432"/>
              <a:gd name="T72" fmla="*/ 254 w 452"/>
              <a:gd name="T73" fmla="*/ 393 h 432"/>
              <a:gd name="T74" fmla="*/ 270 w 452"/>
              <a:gd name="T75" fmla="*/ 411 h 432"/>
              <a:gd name="T76" fmla="*/ 295 w 452"/>
              <a:gd name="T77" fmla="*/ 423 h 432"/>
              <a:gd name="T78" fmla="*/ 327 w 452"/>
              <a:gd name="T79" fmla="*/ 428 h 432"/>
              <a:gd name="T80" fmla="*/ 321 w 452"/>
              <a:gd name="T81" fmla="*/ 415 h 432"/>
              <a:gd name="T82" fmla="*/ 314 w 452"/>
              <a:gd name="T83" fmla="*/ 394 h 432"/>
              <a:gd name="T84" fmla="*/ 317 w 452"/>
              <a:gd name="T85" fmla="*/ 380 h 432"/>
              <a:gd name="T86" fmla="*/ 311 w 452"/>
              <a:gd name="T87" fmla="*/ 376 h 432"/>
              <a:gd name="T88" fmla="*/ 321 w 452"/>
              <a:gd name="T89" fmla="*/ 369 h 432"/>
              <a:gd name="T90" fmla="*/ 319 w 452"/>
              <a:gd name="T91" fmla="*/ 356 h 432"/>
              <a:gd name="T92" fmla="*/ 327 w 452"/>
              <a:gd name="T93" fmla="*/ 354 h 432"/>
              <a:gd name="T94" fmla="*/ 329 w 452"/>
              <a:gd name="T95" fmla="*/ 343 h 432"/>
              <a:gd name="T96" fmla="*/ 340 w 452"/>
              <a:gd name="T97" fmla="*/ 336 h 432"/>
              <a:gd name="T98" fmla="*/ 352 w 452"/>
              <a:gd name="T99" fmla="*/ 329 h 432"/>
              <a:gd name="T100" fmla="*/ 351 w 452"/>
              <a:gd name="T101" fmla="*/ 324 h 432"/>
              <a:gd name="T102" fmla="*/ 360 w 452"/>
              <a:gd name="T103" fmla="*/ 323 h 432"/>
              <a:gd name="T104" fmla="*/ 368 w 452"/>
              <a:gd name="T105" fmla="*/ 325 h 432"/>
              <a:gd name="T106" fmla="*/ 370 w 452"/>
              <a:gd name="T107" fmla="*/ 323 h 432"/>
              <a:gd name="T108" fmla="*/ 397 w 452"/>
              <a:gd name="T109" fmla="*/ 307 h 432"/>
              <a:gd name="T110" fmla="*/ 406 w 452"/>
              <a:gd name="T111" fmla="*/ 297 h 432"/>
              <a:gd name="T112" fmla="*/ 401 w 452"/>
              <a:gd name="T113" fmla="*/ 285 h 432"/>
              <a:gd name="T114" fmla="*/ 407 w 452"/>
              <a:gd name="T115" fmla="*/ 281 h 432"/>
              <a:gd name="T116" fmla="*/ 419 w 452"/>
              <a:gd name="T117" fmla="*/ 288 h 432"/>
              <a:gd name="T118" fmla="*/ 435 w 452"/>
              <a:gd name="T119" fmla="*/ 283 h 432"/>
              <a:gd name="T120" fmla="*/ 446 w 452"/>
              <a:gd name="T121" fmla="*/ 258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52" h="432">
                <a:moveTo>
                  <a:pt x="331" y="354"/>
                </a:moveTo>
                <a:cubicBezTo>
                  <a:pt x="331" y="353"/>
                  <a:pt x="331" y="352"/>
                  <a:pt x="332" y="352"/>
                </a:cubicBezTo>
                <a:cubicBezTo>
                  <a:pt x="332" y="351"/>
                  <a:pt x="333" y="349"/>
                  <a:pt x="334" y="349"/>
                </a:cubicBezTo>
                <a:cubicBezTo>
                  <a:pt x="334" y="348"/>
                  <a:pt x="334" y="347"/>
                  <a:pt x="335" y="347"/>
                </a:cubicBezTo>
                <a:cubicBezTo>
                  <a:pt x="335" y="347"/>
                  <a:pt x="335" y="346"/>
                  <a:pt x="336" y="346"/>
                </a:cubicBezTo>
                <a:cubicBezTo>
                  <a:pt x="336" y="346"/>
                  <a:pt x="336" y="346"/>
                  <a:pt x="336" y="345"/>
                </a:cubicBezTo>
                <a:cubicBezTo>
                  <a:pt x="336" y="345"/>
                  <a:pt x="337" y="345"/>
                  <a:pt x="338" y="344"/>
                </a:cubicBezTo>
                <a:cubicBezTo>
                  <a:pt x="339" y="344"/>
                  <a:pt x="339" y="343"/>
                  <a:pt x="340" y="342"/>
                </a:cubicBezTo>
                <a:cubicBezTo>
                  <a:pt x="340" y="342"/>
                  <a:pt x="340" y="341"/>
                  <a:pt x="341" y="341"/>
                </a:cubicBezTo>
                <a:cubicBezTo>
                  <a:pt x="341" y="341"/>
                  <a:pt x="342" y="341"/>
                  <a:pt x="342" y="340"/>
                </a:cubicBezTo>
                <a:cubicBezTo>
                  <a:pt x="343" y="340"/>
                  <a:pt x="343" y="340"/>
                  <a:pt x="344" y="339"/>
                </a:cubicBezTo>
                <a:cubicBezTo>
                  <a:pt x="344" y="339"/>
                  <a:pt x="344" y="339"/>
                  <a:pt x="345" y="339"/>
                </a:cubicBezTo>
                <a:cubicBezTo>
                  <a:pt x="346" y="338"/>
                  <a:pt x="346" y="338"/>
                  <a:pt x="347" y="338"/>
                </a:cubicBezTo>
                <a:cubicBezTo>
                  <a:pt x="347" y="338"/>
                  <a:pt x="348" y="337"/>
                  <a:pt x="348" y="337"/>
                </a:cubicBezTo>
                <a:cubicBezTo>
                  <a:pt x="349" y="336"/>
                  <a:pt x="350" y="336"/>
                  <a:pt x="350" y="336"/>
                </a:cubicBezTo>
                <a:cubicBezTo>
                  <a:pt x="351" y="335"/>
                  <a:pt x="351" y="335"/>
                  <a:pt x="351" y="335"/>
                </a:cubicBezTo>
                <a:cubicBezTo>
                  <a:pt x="352" y="335"/>
                  <a:pt x="352" y="334"/>
                  <a:pt x="352" y="334"/>
                </a:cubicBezTo>
                <a:cubicBezTo>
                  <a:pt x="352" y="334"/>
                  <a:pt x="353" y="333"/>
                  <a:pt x="353" y="334"/>
                </a:cubicBezTo>
                <a:cubicBezTo>
                  <a:pt x="353" y="334"/>
                  <a:pt x="353" y="335"/>
                  <a:pt x="353" y="335"/>
                </a:cubicBezTo>
                <a:cubicBezTo>
                  <a:pt x="353" y="336"/>
                  <a:pt x="353" y="336"/>
                  <a:pt x="352" y="337"/>
                </a:cubicBezTo>
                <a:cubicBezTo>
                  <a:pt x="352" y="337"/>
                  <a:pt x="352" y="337"/>
                  <a:pt x="351" y="337"/>
                </a:cubicBezTo>
                <a:cubicBezTo>
                  <a:pt x="351" y="337"/>
                  <a:pt x="351" y="337"/>
                  <a:pt x="350" y="337"/>
                </a:cubicBezTo>
                <a:cubicBezTo>
                  <a:pt x="350" y="338"/>
                  <a:pt x="349" y="338"/>
                  <a:pt x="348" y="338"/>
                </a:cubicBezTo>
                <a:cubicBezTo>
                  <a:pt x="348" y="338"/>
                  <a:pt x="348" y="339"/>
                  <a:pt x="348" y="339"/>
                </a:cubicBezTo>
                <a:cubicBezTo>
                  <a:pt x="348" y="339"/>
                  <a:pt x="347" y="339"/>
                  <a:pt x="347" y="339"/>
                </a:cubicBezTo>
                <a:cubicBezTo>
                  <a:pt x="346" y="340"/>
                  <a:pt x="346" y="340"/>
                  <a:pt x="345" y="341"/>
                </a:cubicBezTo>
                <a:cubicBezTo>
                  <a:pt x="345" y="341"/>
                  <a:pt x="344" y="341"/>
                  <a:pt x="344" y="342"/>
                </a:cubicBezTo>
                <a:cubicBezTo>
                  <a:pt x="344" y="342"/>
                  <a:pt x="343" y="342"/>
                  <a:pt x="343" y="342"/>
                </a:cubicBezTo>
                <a:cubicBezTo>
                  <a:pt x="343" y="342"/>
                  <a:pt x="343" y="342"/>
                  <a:pt x="342" y="343"/>
                </a:cubicBezTo>
                <a:cubicBezTo>
                  <a:pt x="342" y="343"/>
                  <a:pt x="342" y="343"/>
                  <a:pt x="341" y="343"/>
                </a:cubicBezTo>
                <a:cubicBezTo>
                  <a:pt x="341" y="344"/>
                  <a:pt x="341" y="344"/>
                  <a:pt x="341" y="344"/>
                </a:cubicBezTo>
                <a:cubicBezTo>
                  <a:pt x="340" y="344"/>
                  <a:pt x="340" y="344"/>
                  <a:pt x="340" y="345"/>
                </a:cubicBezTo>
                <a:cubicBezTo>
                  <a:pt x="339" y="345"/>
                  <a:pt x="338" y="346"/>
                  <a:pt x="337" y="346"/>
                </a:cubicBezTo>
                <a:cubicBezTo>
                  <a:pt x="337" y="347"/>
                  <a:pt x="336" y="348"/>
                  <a:pt x="336" y="348"/>
                </a:cubicBezTo>
                <a:cubicBezTo>
                  <a:pt x="336" y="348"/>
                  <a:pt x="336" y="348"/>
                  <a:pt x="336" y="349"/>
                </a:cubicBezTo>
                <a:cubicBezTo>
                  <a:pt x="336" y="349"/>
                  <a:pt x="336" y="349"/>
                  <a:pt x="335" y="350"/>
                </a:cubicBezTo>
                <a:cubicBezTo>
                  <a:pt x="334" y="351"/>
                  <a:pt x="332" y="352"/>
                  <a:pt x="331" y="354"/>
                </a:cubicBezTo>
                <a:cubicBezTo>
                  <a:pt x="331" y="354"/>
                  <a:pt x="331" y="355"/>
                  <a:pt x="331" y="354"/>
                </a:cubicBezTo>
                <a:close/>
                <a:moveTo>
                  <a:pt x="330" y="356"/>
                </a:moveTo>
                <a:cubicBezTo>
                  <a:pt x="330" y="356"/>
                  <a:pt x="330" y="356"/>
                  <a:pt x="330" y="356"/>
                </a:cubicBezTo>
                <a:cubicBezTo>
                  <a:pt x="330" y="356"/>
                  <a:pt x="330" y="356"/>
                  <a:pt x="330" y="356"/>
                </a:cubicBezTo>
                <a:cubicBezTo>
                  <a:pt x="331" y="356"/>
                  <a:pt x="331" y="355"/>
                  <a:pt x="330" y="355"/>
                </a:cubicBezTo>
                <a:cubicBezTo>
                  <a:pt x="330" y="355"/>
                  <a:pt x="330" y="356"/>
                  <a:pt x="330" y="356"/>
                </a:cubicBezTo>
                <a:close/>
                <a:moveTo>
                  <a:pt x="321" y="375"/>
                </a:moveTo>
                <a:cubicBezTo>
                  <a:pt x="322" y="374"/>
                  <a:pt x="322" y="374"/>
                  <a:pt x="322" y="374"/>
                </a:cubicBezTo>
                <a:cubicBezTo>
                  <a:pt x="322" y="373"/>
                  <a:pt x="322" y="373"/>
                  <a:pt x="322" y="372"/>
                </a:cubicBezTo>
                <a:cubicBezTo>
                  <a:pt x="323" y="372"/>
                  <a:pt x="323" y="371"/>
                  <a:pt x="323" y="370"/>
                </a:cubicBezTo>
                <a:cubicBezTo>
                  <a:pt x="323" y="370"/>
                  <a:pt x="323" y="369"/>
                  <a:pt x="324" y="369"/>
                </a:cubicBezTo>
                <a:cubicBezTo>
                  <a:pt x="324" y="368"/>
                  <a:pt x="325" y="367"/>
                  <a:pt x="325" y="366"/>
                </a:cubicBezTo>
                <a:cubicBezTo>
                  <a:pt x="325" y="365"/>
                  <a:pt x="326" y="365"/>
                  <a:pt x="326" y="364"/>
                </a:cubicBezTo>
                <a:cubicBezTo>
                  <a:pt x="326" y="364"/>
                  <a:pt x="326" y="363"/>
                  <a:pt x="327" y="363"/>
                </a:cubicBezTo>
                <a:cubicBezTo>
                  <a:pt x="327" y="362"/>
                  <a:pt x="327" y="361"/>
                  <a:pt x="328" y="360"/>
                </a:cubicBezTo>
                <a:cubicBezTo>
                  <a:pt x="328" y="360"/>
                  <a:pt x="329" y="359"/>
                  <a:pt x="329" y="359"/>
                </a:cubicBezTo>
                <a:cubicBezTo>
                  <a:pt x="329" y="358"/>
                  <a:pt x="330" y="357"/>
                  <a:pt x="329" y="357"/>
                </a:cubicBezTo>
                <a:cubicBezTo>
                  <a:pt x="329" y="357"/>
                  <a:pt x="329" y="357"/>
                  <a:pt x="329" y="358"/>
                </a:cubicBezTo>
                <a:cubicBezTo>
                  <a:pt x="328" y="358"/>
                  <a:pt x="328" y="358"/>
                  <a:pt x="328" y="358"/>
                </a:cubicBezTo>
                <a:cubicBezTo>
                  <a:pt x="327" y="359"/>
                  <a:pt x="327" y="360"/>
                  <a:pt x="327" y="360"/>
                </a:cubicBezTo>
                <a:cubicBezTo>
                  <a:pt x="326" y="361"/>
                  <a:pt x="326" y="361"/>
                  <a:pt x="325" y="362"/>
                </a:cubicBezTo>
                <a:cubicBezTo>
                  <a:pt x="325" y="363"/>
                  <a:pt x="324" y="364"/>
                  <a:pt x="324" y="365"/>
                </a:cubicBezTo>
                <a:cubicBezTo>
                  <a:pt x="324" y="366"/>
                  <a:pt x="324" y="366"/>
                  <a:pt x="323" y="367"/>
                </a:cubicBezTo>
                <a:cubicBezTo>
                  <a:pt x="323" y="367"/>
                  <a:pt x="323" y="367"/>
                  <a:pt x="323" y="368"/>
                </a:cubicBezTo>
                <a:cubicBezTo>
                  <a:pt x="322" y="369"/>
                  <a:pt x="322" y="370"/>
                  <a:pt x="322" y="371"/>
                </a:cubicBezTo>
                <a:cubicBezTo>
                  <a:pt x="321" y="371"/>
                  <a:pt x="321" y="371"/>
                  <a:pt x="321" y="372"/>
                </a:cubicBezTo>
                <a:cubicBezTo>
                  <a:pt x="321" y="372"/>
                  <a:pt x="321" y="372"/>
                  <a:pt x="321" y="373"/>
                </a:cubicBezTo>
                <a:cubicBezTo>
                  <a:pt x="321" y="374"/>
                  <a:pt x="321" y="375"/>
                  <a:pt x="321" y="375"/>
                </a:cubicBezTo>
                <a:cubicBezTo>
                  <a:pt x="321" y="375"/>
                  <a:pt x="321" y="375"/>
                  <a:pt x="321" y="375"/>
                </a:cubicBezTo>
                <a:close/>
                <a:moveTo>
                  <a:pt x="321" y="379"/>
                </a:moveTo>
                <a:cubicBezTo>
                  <a:pt x="321" y="379"/>
                  <a:pt x="321" y="378"/>
                  <a:pt x="321" y="378"/>
                </a:cubicBezTo>
                <a:cubicBezTo>
                  <a:pt x="321" y="377"/>
                  <a:pt x="321" y="377"/>
                  <a:pt x="321" y="377"/>
                </a:cubicBezTo>
                <a:cubicBezTo>
                  <a:pt x="321" y="377"/>
                  <a:pt x="321" y="377"/>
                  <a:pt x="321" y="376"/>
                </a:cubicBezTo>
                <a:cubicBezTo>
                  <a:pt x="320" y="377"/>
                  <a:pt x="320" y="377"/>
                  <a:pt x="320" y="378"/>
                </a:cubicBezTo>
                <a:cubicBezTo>
                  <a:pt x="320" y="378"/>
                  <a:pt x="320" y="379"/>
                  <a:pt x="321" y="379"/>
                </a:cubicBezTo>
                <a:close/>
                <a:moveTo>
                  <a:pt x="320" y="387"/>
                </a:moveTo>
                <a:cubicBezTo>
                  <a:pt x="320" y="386"/>
                  <a:pt x="320" y="386"/>
                  <a:pt x="320" y="386"/>
                </a:cubicBezTo>
                <a:cubicBezTo>
                  <a:pt x="320" y="385"/>
                  <a:pt x="320" y="384"/>
                  <a:pt x="320" y="384"/>
                </a:cubicBezTo>
                <a:cubicBezTo>
                  <a:pt x="320" y="383"/>
                  <a:pt x="320" y="382"/>
                  <a:pt x="320" y="382"/>
                </a:cubicBezTo>
                <a:cubicBezTo>
                  <a:pt x="320" y="381"/>
                  <a:pt x="320" y="381"/>
                  <a:pt x="320" y="381"/>
                </a:cubicBezTo>
                <a:cubicBezTo>
                  <a:pt x="320" y="380"/>
                  <a:pt x="319" y="380"/>
                  <a:pt x="319" y="381"/>
                </a:cubicBezTo>
                <a:cubicBezTo>
                  <a:pt x="319" y="381"/>
                  <a:pt x="319" y="381"/>
                  <a:pt x="319" y="382"/>
                </a:cubicBezTo>
                <a:cubicBezTo>
                  <a:pt x="319" y="382"/>
                  <a:pt x="319" y="383"/>
                  <a:pt x="319" y="384"/>
                </a:cubicBezTo>
                <a:cubicBezTo>
                  <a:pt x="319" y="385"/>
                  <a:pt x="319" y="385"/>
                  <a:pt x="319" y="386"/>
                </a:cubicBezTo>
                <a:cubicBezTo>
                  <a:pt x="319" y="386"/>
                  <a:pt x="319" y="386"/>
                  <a:pt x="319" y="386"/>
                </a:cubicBezTo>
                <a:cubicBezTo>
                  <a:pt x="320" y="387"/>
                  <a:pt x="320" y="387"/>
                  <a:pt x="320" y="387"/>
                </a:cubicBezTo>
                <a:close/>
                <a:moveTo>
                  <a:pt x="320" y="397"/>
                </a:moveTo>
                <a:cubicBezTo>
                  <a:pt x="320" y="397"/>
                  <a:pt x="320" y="398"/>
                  <a:pt x="320" y="398"/>
                </a:cubicBezTo>
                <a:cubicBezTo>
                  <a:pt x="320" y="399"/>
                  <a:pt x="320" y="399"/>
                  <a:pt x="321" y="399"/>
                </a:cubicBezTo>
                <a:cubicBezTo>
                  <a:pt x="321" y="399"/>
                  <a:pt x="321" y="399"/>
                  <a:pt x="321" y="400"/>
                </a:cubicBezTo>
                <a:cubicBezTo>
                  <a:pt x="321" y="400"/>
                  <a:pt x="321" y="400"/>
                  <a:pt x="321" y="400"/>
                </a:cubicBezTo>
                <a:cubicBezTo>
                  <a:pt x="321" y="400"/>
                  <a:pt x="321" y="401"/>
                  <a:pt x="322" y="401"/>
                </a:cubicBezTo>
                <a:cubicBezTo>
                  <a:pt x="322" y="402"/>
                  <a:pt x="322" y="402"/>
                  <a:pt x="322" y="403"/>
                </a:cubicBezTo>
                <a:cubicBezTo>
                  <a:pt x="322" y="403"/>
                  <a:pt x="322" y="404"/>
                  <a:pt x="323" y="404"/>
                </a:cubicBezTo>
                <a:cubicBezTo>
                  <a:pt x="323" y="404"/>
                  <a:pt x="322" y="402"/>
                  <a:pt x="322" y="402"/>
                </a:cubicBezTo>
                <a:cubicBezTo>
                  <a:pt x="322" y="402"/>
                  <a:pt x="322" y="401"/>
                  <a:pt x="322" y="400"/>
                </a:cubicBezTo>
                <a:cubicBezTo>
                  <a:pt x="322" y="400"/>
                  <a:pt x="322" y="400"/>
                  <a:pt x="322" y="400"/>
                </a:cubicBezTo>
                <a:cubicBezTo>
                  <a:pt x="321" y="399"/>
                  <a:pt x="321" y="399"/>
                  <a:pt x="321" y="399"/>
                </a:cubicBezTo>
                <a:cubicBezTo>
                  <a:pt x="321" y="398"/>
                  <a:pt x="321" y="398"/>
                  <a:pt x="321" y="397"/>
                </a:cubicBezTo>
                <a:cubicBezTo>
                  <a:pt x="320" y="397"/>
                  <a:pt x="321" y="397"/>
                  <a:pt x="320" y="396"/>
                </a:cubicBezTo>
                <a:cubicBezTo>
                  <a:pt x="320" y="396"/>
                  <a:pt x="320" y="397"/>
                  <a:pt x="320" y="397"/>
                </a:cubicBezTo>
                <a:close/>
                <a:moveTo>
                  <a:pt x="451" y="229"/>
                </a:moveTo>
                <a:cubicBezTo>
                  <a:pt x="451" y="229"/>
                  <a:pt x="451" y="229"/>
                  <a:pt x="451" y="228"/>
                </a:cubicBezTo>
                <a:cubicBezTo>
                  <a:pt x="452" y="228"/>
                  <a:pt x="452" y="227"/>
                  <a:pt x="452" y="227"/>
                </a:cubicBezTo>
                <a:cubicBezTo>
                  <a:pt x="452" y="226"/>
                  <a:pt x="452" y="225"/>
                  <a:pt x="451" y="225"/>
                </a:cubicBezTo>
                <a:cubicBezTo>
                  <a:pt x="451" y="225"/>
                  <a:pt x="452" y="224"/>
                  <a:pt x="452" y="223"/>
                </a:cubicBezTo>
                <a:cubicBezTo>
                  <a:pt x="452" y="223"/>
                  <a:pt x="452" y="222"/>
                  <a:pt x="452" y="222"/>
                </a:cubicBezTo>
                <a:cubicBezTo>
                  <a:pt x="452" y="222"/>
                  <a:pt x="451" y="223"/>
                  <a:pt x="451" y="223"/>
                </a:cubicBezTo>
                <a:cubicBezTo>
                  <a:pt x="451" y="223"/>
                  <a:pt x="450" y="222"/>
                  <a:pt x="450" y="222"/>
                </a:cubicBezTo>
                <a:cubicBezTo>
                  <a:pt x="450" y="221"/>
                  <a:pt x="450" y="221"/>
                  <a:pt x="450" y="220"/>
                </a:cubicBezTo>
                <a:cubicBezTo>
                  <a:pt x="450" y="220"/>
                  <a:pt x="448" y="218"/>
                  <a:pt x="447" y="217"/>
                </a:cubicBezTo>
                <a:cubicBezTo>
                  <a:pt x="447" y="217"/>
                  <a:pt x="447" y="216"/>
                  <a:pt x="447" y="216"/>
                </a:cubicBezTo>
                <a:cubicBezTo>
                  <a:pt x="447" y="216"/>
                  <a:pt x="448" y="215"/>
                  <a:pt x="448" y="214"/>
                </a:cubicBezTo>
                <a:cubicBezTo>
                  <a:pt x="448" y="214"/>
                  <a:pt x="447" y="214"/>
                  <a:pt x="447" y="213"/>
                </a:cubicBezTo>
                <a:cubicBezTo>
                  <a:pt x="447" y="213"/>
                  <a:pt x="447" y="212"/>
                  <a:pt x="447" y="211"/>
                </a:cubicBezTo>
                <a:cubicBezTo>
                  <a:pt x="446" y="211"/>
                  <a:pt x="445" y="210"/>
                  <a:pt x="445" y="210"/>
                </a:cubicBezTo>
                <a:cubicBezTo>
                  <a:pt x="445" y="210"/>
                  <a:pt x="445" y="209"/>
                  <a:pt x="446" y="209"/>
                </a:cubicBezTo>
                <a:cubicBezTo>
                  <a:pt x="446" y="209"/>
                  <a:pt x="446" y="209"/>
                  <a:pt x="446" y="209"/>
                </a:cubicBezTo>
                <a:cubicBezTo>
                  <a:pt x="446" y="208"/>
                  <a:pt x="443" y="207"/>
                  <a:pt x="443" y="206"/>
                </a:cubicBezTo>
                <a:cubicBezTo>
                  <a:pt x="442" y="206"/>
                  <a:pt x="443" y="204"/>
                  <a:pt x="443" y="204"/>
                </a:cubicBezTo>
                <a:cubicBezTo>
                  <a:pt x="443" y="204"/>
                  <a:pt x="443" y="202"/>
                  <a:pt x="443" y="201"/>
                </a:cubicBezTo>
                <a:cubicBezTo>
                  <a:pt x="443" y="200"/>
                  <a:pt x="441" y="196"/>
                  <a:pt x="441" y="196"/>
                </a:cubicBezTo>
                <a:cubicBezTo>
                  <a:pt x="441" y="195"/>
                  <a:pt x="435" y="189"/>
                  <a:pt x="435" y="189"/>
                </a:cubicBezTo>
                <a:cubicBezTo>
                  <a:pt x="435" y="127"/>
                  <a:pt x="435" y="127"/>
                  <a:pt x="435" y="127"/>
                </a:cubicBezTo>
                <a:cubicBezTo>
                  <a:pt x="435" y="126"/>
                  <a:pt x="434" y="126"/>
                  <a:pt x="434" y="125"/>
                </a:cubicBezTo>
                <a:cubicBezTo>
                  <a:pt x="434" y="125"/>
                  <a:pt x="434" y="124"/>
                  <a:pt x="434" y="124"/>
                </a:cubicBezTo>
                <a:cubicBezTo>
                  <a:pt x="434" y="123"/>
                  <a:pt x="433" y="124"/>
                  <a:pt x="433" y="124"/>
                </a:cubicBezTo>
                <a:cubicBezTo>
                  <a:pt x="432" y="125"/>
                  <a:pt x="432" y="125"/>
                  <a:pt x="431" y="125"/>
                </a:cubicBezTo>
                <a:cubicBezTo>
                  <a:pt x="431" y="124"/>
                  <a:pt x="431" y="124"/>
                  <a:pt x="431" y="124"/>
                </a:cubicBezTo>
                <a:cubicBezTo>
                  <a:pt x="431" y="124"/>
                  <a:pt x="431" y="124"/>
                  <a:pt x="430" y="124"/>
                </a:cubicBezTo>
                <a:cubicBezTo>
                  <a:pt x="429" y="123"/>
                  <a:pt x="429" y="124"/>
                  <a:pt x="429" y="125"/>
                </a:cubicBezTo>
                <a:cubicBezTo>
                  <a:pt x="429" y="125"/>
                  <a:pt x="428" y="125"/>
                  <a:pt x="428" y="125"/>
                </a:cubicBezTo>
                <a:cubicBezTo>
                  <a:pt x="428" y="124"/>
                  <a:pt x="428" y="124"/>
                  <a:pt x="427" y="124"/>
                </a:cubicBezTo>
                <a:cubicBezTo>
                  <a:pt x="427" y="124"/>
                  <a:pt x="427" y="125"/>
                  <a:pt x="427" y="125"/>
                </a:cubicBezTo>
                <a:cubicBezTo>
                  <a:pt x="427" y="125"/>
                  <a:pt x="426" y="125"/>
                  <a:pt x="426" y="124"/>
                </a:cubicBezTo>
                <a:cubicBezTo>
                  <a:pt x="426" y="124"/>
                  <a:pt x="426" y="124"/>
                  <a:pt x="425" y="125"/>
                </a:cubicBezTo>
                <a:cubicBezTo>
                  <a:pt x="425" y="124"/>
                  <a:pt x="425" y="125"/>
                  <a:pt x="424" y="125"/>
                </a:cubicBezTo>
                <a:cubicBezTo>
                  <a:pt x="424" y="125"/>
                  <a:pt x="424" y="125"/>
                  <a:pt x="424" y="125"/>
                </a:cubicBezTo>
                <a:cubicBezTo>
                  <a:pt x="424" y="125"/>
                  <a:pt x="424" y="125"/>
                  <a:pt x="424" y="125"/>
                </a:cubicBezTo>
                <a:cubicBezTo>
                  <a:pt x="423" y="126"/>
                  <a:pt x="423" y="125"/>
                  <a:pt x="423" y="125"/>
                </a:cubicBezTo>
                <a:cubicBezTo>
                  <a:pt x="422" y="125"/>
                  <a:pt x="423" y="125"/>
                  <a:pt x="423" y="124"/>
                </a:cubicBezTo>
                <a:cubicBezTo>
                  <a:pt x="423" y="123"/>
                  <a:pt x="422" y="124"/>
                  <a:pt x="421" y="124"/>
                </a:cubicBezTo>
                <a:cubicBezTo>
                  <a:pt x="421" y="124"/>
                  <a:pt x="420" y="123"/>
                  <a:pt x="420" y="123"/>
                </a:cubicBezTo>
                <a:cubicBezTo>
                  <a:pt x="420" y="123"/>
                  <a:pt x="420" y="123"/>
                  <a:pt x="421" y="122"/>
                </a:cubicBezTo>
                <a:cubicBezTo>
                  <a:pt x="421" y="122"/>
                  <a:pt x="420" y="121"/>
                  <a:pt x="420" y="121"/>
                </a:cubicBezTo>
                <a:cubicBezTo>
                  <a:pt x="418" y="123"/>
                  <a:pt x="418" y="123"/>
                  <a:pt x="418" y="123"/>
                </a:cubicBezTo>
                <a:cubicBezTo>
                  <a:pt x="418" y="122"/>
                  <a:pt x="418" y="122"/>
                  <a:pt x="417" y="121"/>
                </a:cubicBezTo>
                <a:cubicBezTo>
                  <a:pt x="417" y="121"/>
                  <a:pt x="417" y="121"/>
                  <a:pt x="416" y="121"/>
                </a:cubicBezTo>
                <a:cubicBezTo>
                  <a:pt x="416" y="120"/>
                  <a:pt x="416" y="120"/>
                  <a:pt x="416" y="120"/>
                </a:cubicBezTo>
                <a:cubicBezTo>
                  <a:pt x="416" y="120"/>
                  <a:pt x="415" y="120"/>
                  <a:pt x="415" y="120"/>
                </a:cubicBezTo>
                <a:cubicBezTo>
                  <a:pt x="415" y="120"/>
                  <a:pt x="415" y="120"/>
                  <a:pt x="414" y="120"/>
                </a:cubicBezTo>
                <a:cubicBezTo>
                  <a:pt x="414" y="119"/>
                  <a:pt x="414" y="119"/>
                  <a:pt x="414" y="119"/>
                </a:cubicBezTo>
                <a:cubicBezTo>
                  <a:pt x="413" y="119"/>
                  <a:pt x="413" y="120"/>
                  <a:pt x="413" y="120"/>
                </a:cubicBezTo>
                <a:cubicBezTo>
                  <a:pt x="413" y="120"/>
                  <a:pt x="412" y="120"/>
                  <a:pt x="411" y="119"/>
                </a:cubicBezTo>
                <a:cubicBezTo>
                  <a:pt x="411" y="119"/>
                  <a:pt x="411" y="119"/>
                  <a:pt x="411" y="119"/>
                </a:cubicBezTo>
                <a:cubicBezTo>
                  <a:pt x="411" y="119"/>
                  <a:pt x="410" y="119"/>
                  <a:pt x="410" y="118"/>
                </a:cubicBezTo>
                <a:cubicBezTo>
                  <a:pt x="410" y="118"/>
                  <a:pt x="410" y="118"/>
                  <a:pt x="410" y="117"/>
                </a:cubicBezTo>
                <a:cubicBezTo>
                  <a:pt x="410" y="117"/>
                  <a:pt x="409" y="117"/>
                  <a:pt x="409" y="117"/>
                </a:cubicBezTo>
                <a:cubicBezTo>
                  <a:pt x="409" y="117"/>
                  <a:pt x="410" y="117"/>
                  <a:pt x="410" y="117"/>
                </a:cubicBezTo>
                <a:cubicBezTo>
                  <a:pt x="409" y="116"/>
                  <a:pt x="408" y="117"/>
                  <a:pt x="408" y="117"/>
                </a:cubicBezTo>
                <a:cubicBezTo>
                  <a:pt x="408" y="117"/>
                  <a:pt x="408" y="118"/>
                  <a:pt x="407" y="118"/>
                </a:cubicBezTo>
                <a:cubicBezTo>
                  <a:pt x="407" y="118"/>
                  <a:pt x="407" y="117"/>
                  <a:pt x="407" y="117"/>
                </a:cubicBezTo>
                <a:cubicBezTo>
                  <a:pt x="406" y="117"/>
                  <a:pt x="406" y="116"/>
                  <a:pt x="406" y="116"/>
                </a:cubicBezTo>
                <a:cubicBezTo>
                  <a:pt x="406" y="116"/>
                  <a:pt x="405" y="116"/>
                  <a:pt x="405" y="116"/>
                </a:cubicBezTo>
                <a:cubicBezTo>
                  <a:pt x="405" y="116"/>
                  <a:pt x="405" y="116"/>
                  <a:pt x="404" y="115"/>
                </a:cubicBezTo>
                <a:cubicBezTo>
                  <a:pt x="404" y="115"/>
                  <a:pt x="404" y="115"/>
                  <a:pt x="404" y="115"/>
                </a:cubicBezTo>
                <a:cubicBezTo>
                  <a:pt x="404" y="114"/>
                  <a:pt x="404" y="114"/>
                  <a:pt x="403" y="114"/>
                </a:cubicBezTo>
                <a:cubicBezTo>
                  <a:pt x="403" y="114"/>
                  <a:pt x="403" y="113"/>
                  <a:pt x="403" y="113"/>
                </a:cubicBezTo>
                <a:cubicBezTo>
                  <a:pt x="403" y="112"/>
                  <a:pt x="402" y="112"/>
                  <a:pt x="401" y="112"/>
                </a:cubicBezTo>
                <a:cubicBezTo>
                  <a:pt x="400" y="112"/>
                  <a:pt x="399" y="112"/>
                  <a:pt x="399" y="111"/>
                </a:cubicBezTo>
                <a:cubicBezTo>
                  <a:pt x="399" y="110"/>
                  <a:pt x="399" y="110"/>
                  <a:pt x="398" y="110"/>
                </a:cubicBezTo>
                <a:cubicBezTo>
                  <a:pt x="398" y="110"/>
                  <a:pt x="398" y="111"/>
                  <a:pt x="398" y="111"/>
                </a:cubicBezTo>
                <a:cubicBezTo>
                  <a:pt x="397" y="111"/>
                  <a:pt x="397" y="109"/>
                  <a:pt x="397" y="109"/>
                </a:cubicBezTo>
                <a:cubicBezTo>
                  <a:pt x="396" y="108"/>
                  <a:pt x="395" y="108"/>
                  <a:pt x="394" y="108"/>
                </a:cubicBezTo>
                <a:cubicBezTo>
                  <a:pt x="393" y="108"/>
                  <a:pt x="393" y="109"/>
                  <a:pt x="393" y="110"/>
                </a:cubicBezTo>
                <a:cubicBezTo>
                  <a:pt x="393" y="110"/>
                  <a:pt x="393" y="110"/>
                  <a:pt x="393" y="110"/>
                </a:cubicBezTo>
                <a:cubicBezTo>
                  <a:pt x="392" y="110"/>
                  <a:pt x="392" y="111"/>
                  <a:pt x="392" y="111"/>
                </a:cubicBezTo>
                <a:cubicBezTo>
                  <a:pt x="391" y="112"/>
                  <a:pt x="390" y="112"/>
                  <a:pt x="389" y="112"/>
                </a:cubicBezTo>
                <a:cubicBezTo>
                  <a:pt x="388" y="112"/>
                  <a:pt x="387" y="112"/>
                  <a:pt x="386" y="112"/>
                </a:cubicBezTo>
                <a:cubicBezTo>
                  <a:pt x="385" y="112"/>
                  <a:pt x="385" y="112"/>
                  <a:pt x="385" y="111"/>
                </a:cubicBezTo>
                <a:cubicBezTo>
                  <a:pt x="385" y="111"/>
                  <a:pt x="384" y="111"/>
                  <a:pt x="384" y="111"/>
                </a:cubicBezTo>
                <a:cubicBezTo>
                  <a:pt x="384" y="111"/>
                  <a:pt x="384" y="111"/>
                  <a:pt x="383" y="111"/>
                </a:cubicBezTo>
                <a:cubicBezTo>
                  <a:pt x="383" y="111"/>
                  <a:pt x="383" y="111"/>
                  <a:pt x="382" y="111"/>
                </a:cubicBezTo>
                <a:cubicBezTo>
                  <a:pt x="382" y="110"/>
                  <a:pt x="382" y="110"/>
                  <a:pt x="382" y="110"/>
                </a:cubicBezTo>
                <a:cubicBezTo>
                  <a:pt x="381" y="109"/>
                  <a:pt x="381" y="109"/>
                  <a:pt x="381" y="109"/>
                </a:cubicBezTo>
                <a:cubicBezTo>
                  <a:pt x="380" y="109"/>
                  <a:pt x="380" y="110"/>
                  <a:pt x="379" y="110"/>
                </a:cubicBezTo>
                <a:cubicBezTo>
                  <a:pt x="379" y="110"/>
                  <a:pt x="379" y="110"/>
                  <a:pt x="379" y="110"/>
                </a:cubicBezTo>
                <a:cubicBezTo>
                  <a:pt x="378" y="111"/>
                  <a:pt x="377" y="110"/>
                  <a:pt x="376" y="111"/>
                </a:cubicBezTo>
                <a:cubicBezTo>
                  <a:pt x="376" y="111"/>
                  <a:pt x="376" y="111"/>
                  <a:pt x="376" y="112"/>
                </a:cubicBezTo>
                <a:cubicBezTo>
                  <a:pt x="376" y="112"/>
                  <a:pt x="376" y="112"/>
                  <a:pt x="375" y="112"/>
                </a:cubicBezTo>
                <a:cubicBezTo>
                  <a:pt x="375" y="112"/>
                  <a:pt x="374" y="112"/>
                  <a:pt x="374" y="112"/>
                </a:cubicBezTo>
                <a:cubicBezTo>
                  <a:pt x="373" y="113"/>
                  <a:pt x="373" y="113"/>
                  <a:pt x="373" y="113"/>
                </a:cubicBezTo>
                <a:cubicBezTo>
                  <a:pt x="373" y="113"/>
                  <a:pt x="372" y="113"/>
                  <a:pt x="372" y="113"/>
                </a:cubicBezTo>
                <a:cubicBezTo>
                  <a:pt x="372" y="113"/>
                  <a:pt x="372" y="113"/>
                  <a:pt x="371" y="112"/>
                </a:cubicBezTo>
                <a:cubicBezTo>
                  <a:pt x="371" y="112"/>
                  <a:pt x="370" y="112"/>
                  <a:pt x="370" y="112"/>
                </a:cubicBezTo>
                <a:cubicBezTo>
                  <a:pt x="370" y="112"/>
                  <a:pt x="370" y="111"/>
                  <a:pt x="370" y="111"/>
                </a:cubicBezTo>
                <a:cubicBezTo>
                  <a:pt x="369" y="111"/>
                  <a:pt x="369" y="112"/>
                  <a:pt x="368" y="112"/>
                </a:cubicBezTo>
                <a:cubicBezTo>
                  <a:pt x="368" y="112"/>
                  <a:pt x="368" y="111"/>
                  <a:pt x="367" y="111"/>
                </a:cubicBezTo>
                <a:cubicBezTo>
                  <a:pt x="367" y="112"/>
                  <a:pt x="367" y="112"/>
                  <a:pt x="367" y="112"/>
                </a:cubicBezTo>
                <a:cubicBezTo>
                  <a:pt x="366" y="113"/>
                  <a:pt x="366" y="113"/>
                  <a:pt x="365" y="113"/>
                </a:cubicBezTo>
                <a:cubicBezTo>
                  <a:pt x="365" y="113"/>
                  <a:pt x="364" y="113"/>
                  <a:pt x="363" y="113"/>
                </a:cubicBezTo>
                <a:cubicBezTo>
                  <a:pt x="363" y="113"/>
                  <a:pt x="362" y="113"/>
                  <a:pt x="362" y="114"/>
                </a:cubicBezTo>
                <a:cubicBezTo>
                  <a:pt x="361" y="114"/>
                  <a:pt x="361" y="114"/>
                  <a:pt x="361" y="115"/>
                </a:cubicBezTo>
                <a:cubicBezTo>
                  <a:pt x="361" y="115"/>
                  <a:pt x="361" y="116"/>
                  <a:pt x="361" y="116"/>
                </a:cubicBezTo>
                <a:cubicBezTo>
                  <a:pt x="360" y="117"/>
                  <a:pt x="359" y="116"/>
                  <a:pt x="359" y="116"/>
                </a:cubicBezTo>
                <a:cubicBezTo>
                  <a:pt x="358" y="116"/>
                  <a:pt x="357" y="116"/>
                  <a:pt x="357" y="116"/>
                </a:cubicBezTo>
                <a:cubicBezTo>
                  <a:pt x="356" y="116"/>
                  <a:pt x="356" y="117"/>
                  <a:pt x="356" y="118"/>
                </a:cubicBezTo>
                <a:cubicBezTo>
                  <a:pt x="356" y="118"/>
                  <a:pt x="356" y="119"/>
                  <a:pt x="355" y="120"/>
                </a:cubicBezTo>
                <a:cubicBezTo>
                  <a:pt x="355" y="120"/>
                  <a:pt x="354" y="118"/>
                  <a:pt x="354" y="118"/>
                </a:cubicBezTo>
                <a:cubicBezTo>
                  <a:pt x="353" y="117"/>
                  <a:pt x="353" y="116"/>
                  <a:pt x="352" y="116"/>
                </a:cubicBezTo>
                <a:cubicBezTo>
                  <a:pt x="351" y="116"/>
                  <a:pt x="350" y="116"/>
                  <a:pt x="350" y="116"/>
                </a:cubicBezTo>
                <a:cubicBezTo>
                  <a:pt x="349" y="116"/>
                  <a:pt x="349" y="115"/>
                  <a:pt x="349" y="115"/>
                </a:cubicBezTo>
                <a:cubicBezTo>
                  <a:pt x="349" y="115"/>
                  <a:pt x="349" y="114"/>
                  <a:pt x="348" y="114"/>
                </a:cubicBezTo>
                <a:cubicBezTo>
                  <a:pt x="348" y="114"/>
                  <a:pt x="344" y="113"/>
                  <a:pt x="345" y="112"/>
                </a:cubicBezTo>
                <a:cubicBezTo>
                  <a:pt x="346" y="112"/>
                  <a:pt x="346" y="112"/>
                  <a:pt x="346" y="111"/>
                </a:cubicBezTo>
                <a:cubicBezTo>
                  <a:pt x="346" y="110"/>
                  <a:pt x="345" y="109"/>
                  <a:pt x="344" y="110"/>
                </a:cubicBezTo>
                <a:cubicBezTo>
                  <a:pt x="344" y="111"/>
                  <a:pt x="344" y="111"/>
                  <a:pt x="344" y="111"/>
                </a:cubicBezTo>
                <a:cubicBezTo>
                  <a:pt x="343" y="112"/>
                  <a:pt x="343" y="112"/>
                  <a:pt x="343" y="113"/>
                </a:cubicBezTo>
                <a:cubicBezTo>
                  <a:pt x="342" y="113"/>
                  <a:pt x="341" y="114"/>
                  <a:pt x="340" y="113"/>
                </a:cubicBezTo>
                <a:cubicBezTo>
                  <a:pt x="340" y="113"/>
                  <a:pt x="340" y="112"/>
                  <a:pt x="339" y="112"/>
                </a:cubicBezTo>
                <a:cubicBezTo>
                  <a:pt x="339" y="112"/>
                  <a:pt x="339" y="112"/>
                  <a:pt x="338" y="112"/>
                </a:cubicBezTo>
                <a:cubicBezTo>
                  <a:pt x="338" y="112"/>
                  <a:pt x="338" y="112"/>
                  <a:pt x="337" y="112"/>
                </a:cubicBezTo>
                <a:cubicBezTo>
                  <a:pt x="337" y="113"/>
                  <a:pt x="337" y="112"/>
                  <a:pt x="337" y="112"/>
                </a:cubicBezTo>
                <a:cubicBezTo>
                  <a:pt x="337" y="112"/>
                  <a:pt x="337" y="112"/>
                  <a:pt x="337" y="111"/>
                </a:cubicBezTo>
                <a:cubicBezTo>
                  <a:pt x="337" y="111"/>
                  <a:pt x="336" y="110"/>
                  <a:pt x="336" y="109"/>
                </a:cubicBezTo>
                <a:cubicBezTo>
                  <a:pt x="335" y="109"/>
                  <a:pt x="335" y="109"/>
                  <a:pt x="335" y="109"/>
                </a:cubicBezTo>
                <a:cubicBezTo>
                  <a:pt x="335" y="109"/>
                  <a:pt x="334" y="109"/>
                  <a:pt x="333" y="109"/>
                </a:cubicBezTo>
                <a:cubicBezTo>
                  <a:pt x="333" y="109"/>
                  <a:pt x="333" y="110"/>
                  <a:pt x="333" y="110"/>
                </a:cubicBezTo>
                <a:cubicBezTo>
                  <a:pt x="333" y="111"/>
                  <a:pt x="333" y="111"/>
                  <a:pt x="333" y="112"/>
                </a:cubicBezTo>
                <a:cubicBezTo>
                  <a:pt x="332" y="112"/>
                  <a:pt x="331" y="112"/>
                  <a:pt x="331" y="113"/>
                </a:cubicBezTo>
                <a:cubicBezTo>
                  <a:pt x="331" y="113"/>
                  <a:pt x="331" y="113"/>
                  <a:pt x="331" y="113"/>
                </a:cubicBezTo>
                <a:cubicBezTo>
                  <a:pt x="331" y="113"/>
                  <a:pt x="330" y="113"/>
                  <a:pt x="330" y="113"/>
                </a:cubicBezTo>
                <a:cubicBezTo>
                  <a:pt x="330" y="113"/>
                  <a:pt x="329" y="114"/>
                  <a:pt x="329" y="114"/>
                </a:cubicBezTo>
                <a:cubicBezTo>
                  <a:pt x="329" y="115"/>
                  <a:pt x="329" y="115"/>
                  <a:pt x="329" y="116"/>
                </a:cubicBezTo>
                <a:cubicBezTo>
                  <a:pt x="330" y="116"/>
                  <a:pt x="329" y="116"/>
                  <a:pt x="329" y="117"/>
                </a:cubicBezTo>
                <a:cubicBezTo>
                  <a:pt x="329" y="117"/>
                  <a:pt x="329" y="118"/>
                  <a:pt x="329" y="118"/>
                </a:cubicBezTo>
                <a:cubicBezTo>
                  <a:pt x="327" y="118"/>
                  <a:pt x="326" y="117"/>
                  <a:pt x="326" y="116"/>
                </a:cubicBezTo>
                <a:cubicBezTo>
                  <a:pt x="326" y="115"/>
                  <a:pt x="326" y="115"/>
                  <a:pt x="326" y="114"/>
                </a:cubicBezTo>
                <a:cubicBezTo>
                  <a:pt x="326" y="114"/>
                  <a:pt x="326" y="113"/>
                  <a:pt x="326" y="113"/>
                </a:cubicBezTo>
                <a:cubicBezTo>
                  <a:pt x="326" y="112"/>
                  <a:pt x="326" y="112"/>
                  <a:pt x="326" y="111"/>
                </a:cubicBezTo>
                <a:cubicBezTo>
                  <a:pt x="326" y="111"/>
                  <a:pt x="326" y="110"/>
                  <a:pt x="325" y="110"/>
                </a:cubicBezTo>
                <a:cubicBezTo>
                  <a:pt x="325" y="110"/>
                  <a:pt x="325" y="111"/>
                  <a:pt x="324" y="111"/>
                </a:cubicBezTo>
                <a:cubicBezTo>
                  <a:pt x="324" y="112"/>
                  <a:pt x="324" y="112"/>
                  <a:pt x="324" y="112"/>
                </a:cubicBezTo>
                <a:cubicBezTo>
                  <a:pt x="323" y="112"/>
                  <a:pt x="323" y="112"/>
                  <a:pt x="323" y="112"/>
                </a:cubicBezTo>
                <a:cubicBezTo>
                  <a:pt x="322" y="111"/>
                  <a:pt x="322" y="111"/>
                  <a:pt x="321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20" y="113"/>
                  <a:pt x="320" y="113"/>
                  <a:pt x="320" y="113"/>
                </a:cubicBezTo>
                <a:cubicBezTo>
                  <a:pt x="320" y="114"/>
                  <a:pt x="319" y="114"/>
                  <a:pt x="318" y="114"/>
                </a:cubicBezTo>
                <a:cubicBezTo>
                  <a:pt x="317" y="114"/>
                  <a:pt x="317" y="113"/>
                  <a:pt x="316" y="113"/>
                </a:cubicBezTo>
                <a:cubicBezTo>
                  <a:pt x="316" y="112"/>
                  <a:pt x="317" y="112"/>
                  <a:pt x="317" y="111"/>
                </a:cubicBezTo>
                <a:cubicBezTo>
                  <a:pt x="316" y="110"/>
                  <a:pt x="314" y="111"/>
                  <a:pt x="313" y="111"/>
                </a:cubicBezTo>
                <a:cubicBezTo>
                  <a:pt x="313" y="111"/>
                  <a:pt x="313" y="111"/>
                  <a:pt x="312" y="110"/>
                </a:cubicBezTo>
                <a:cubicBezTo>
                  <a:pt x="312" y="110"/>
                  <a:pt x="312" y="109"/>
                  <a:pt x="312" y="109"/>
                </a:cubicBezTo>
                <a:cubicBezTo>
                  <a:pt x="312" y="108"/>
                  <a:pt x="311" y="108"/>
                  <a:pt x="310" y="108"/>
                </a:cubicBezTo>
                <a:cubicBezTo>
                  <a:pt x="310" y="107"/>
                  <a:pt x="310" y="107"/>
                  <a:pt x="309" y="107"/>
                </a:cubicBezTo>
                <a:cubicBezTo>
                  <a:pt x="309" y="107"/>
                  <a:pt x="308" y="107"/>
                  <a:pt x="308" y="108"/>
                </a:cubicBezTo>
                <a:cubicBezTo>
                  <a:pt x="308" y="108"/>
                  <a:pt x="307" y="108"/>
                  <a:pt x="307" y="109"/>
                </a:cubicBezTo>
                <a:cubicBezTo>
                  <a:pt x="306" y="109"/>
                  <a:pt x="306" y="109"/>
                  <a:pt x="306" y="110"/>
                </a:cubicBezTo>
                <a:cubicBezTo>
                  <a:pt x="305" y="110"/>
                  <a:pt x="304" y="111"/>
                  <a:pt x="303" y="111"/>
                </a:cubicBezTo>
                <a:cubicBezTo>
                  <a:pt x="303" y="112"/>
                  <a:pt x="303" y="112"/>
                  <a:pt x="302" y="112"/>
                </a:cubicBezTo>
                <a:cubicBezTo>
                  <a:pt x="301" y="112"/>
                  <a:pt x="301" y="112"/>
                  <a:pt x="300" y="111"/>
                </a:cubicBezTo>
                <a:cubicBezTo>
                  <a:pt x="300" y="111"/>
                  <a:pt x="299" y="111"/>
                  <a:pt x="299" y="110"/>
                </a:cubicBezTo>
                <a:cubicBezTo>
                  <a:pt x="298" y="110"/>
                  <a:pt x="299" y="108"/>
                  <a:pt x="299" y="108"/>
                </a:cubicBezTo>
                <a:cubicBezTo>
                  <a:pt x="299" y="108"/>
                  <a:pt x="299" y="107"/>
                  <a:pt x="299" y="107"/>
                </a:cubicBezTo>
                <a:cubicBezTo>
                  <a:pt x="299" y="107"/>
                  <a:pt x="299" y="107"/>
                  <a:pt x="298" y="107"/>
                </a:cubicBezTo>
                <a:cubicBezTo>
                  <a:pt x="297" y="107"/>
                  <a:pt x="296" y="106"/>
                  <a:pt x="296" y="106"/>
                </a:cubicBezTo>
                <a:cubicBezTo>
                  <a:pt x="295" y="106"/>
                  <a:pt x="295" y="106"/>
                  <a:pt x="295" y="105"/>
                </a:cubicBezTo>
                <a:cubicBezTo>
                  <a:pt x="295" y="104"/>
                  <a:pt x="294" y="103"/>
                  <a:pt x="294" y="102"/>
                </a:cubicBezTo>
                <a:cubicBezTo>
                  <a:pt x="294" y="102"/>
                  <a:pt x="294" y="101"/>
                  <a:pt x="294" y="100"/>
                </a:cubicBezTo>
                <a:cubicBezTo>
                  <a:pt x="293" y="100"/>
                  <a:pt x="293" y="101"/>
                  <a:pt x="292" y="102"/>
                </a:cubicBezTo>
                <a:cubicBezTo>
                  <a:pt x="291" y="102"/>
                  <a:pt x="290" y="101"/>
                  <a:pt x="289" y="101"/>
                </a:cubicBezTo>
                <a:cubicBezTo>
                  <a:pt x="288" y="100"/>
                  <a:pt x="287" y="100"/>
                  <a:pt x="286" y="100"/>
                </a:cubicBezTo>
                <a:cubicBezTo>
                  <a:pt x="285" y="100"/>
                  <a:pt x="285" y="101"/>
                  <a:pt x="285" y="101"/>
                </a:cubicBezTo>
                <a:cubicBezTo>
                  <a:pt x="284" y="102"/>
                  <a:pt x="284" y="102"/>
                  <a:pt x="284" y="102"/>
                </a:cubicBezTo>
                <a:cubicBezTo>
                  <a:pt x="283" y="103"/>
                  <a:pt x="282" y="103"/>
                  <a:pt x="281" y="103"/>
                </a:cubicBezTo>
                <a:cubicBezTo>
                  <a:pt x="280" y="102"/>
                  <a:pt x="279" y="101"/>
                  <a:pt x="278" y="100"/>
                </a:cubicBezTo>
                <a:cubicBezTo>
                  <a:pt x="277" y="99"/>
                  <a:pt x="275" y="100"/>
                  <a:pt x="273" y="100"/>
                </a:cubicBezTo>
                <a:cubicBezTo>
                  <a:pt x="273" y="101"/>
                  <a:pt x="272" y="101"/>
                  <a:pt x="271" y="101"/>
                </a:cubicBezTo>
                <a:cubicBezTo>
                  <a:pt x="271" y="101"/>
                  <a:pt x="270" y="99"/>
                  <a:pt x="269" y="100"/>
                </a:cubicBezTo>
                <a:cubicBezTo>
                  <a:pt x="269" y="100"/>
                  <a:pt x="268" y="100"/>
                  <a:pt x="268" y="100"/>
                </a:cubicBezTo>
                <a:cubicBezTo>
                  <a:pt x="267" y="100"/>
                  <a:pt x="267" y="99"/>
                  <a:pt x="266" y="99"/>
                </a:cubicBezTo>
                <a:cubicBezTo>
                  <a:pt x="266" y="99"/>
                  <a:pt x="265" y="98"/>
                  <a:pt x="265" y="98"/>
                </a:cubicBezTo>
                <a:cubicBezTo>
                  <a:pt x="265" y="98"/>
                  <a:pt x="264" y="97"/>
                  <a:pt x="264" y="97"/>
                </a:cubicBezTo>
                <a:cubicBezTo>
                  <a:pt x="263" y="97"/>
                  <a:pt x="263" y="97"/>
                  <a:pt x="263" y="98"/>
                </a:cubicBezTo>
                <a:cubicBezTo>
                  <a:pt x="262" y="98"/>
                  <a:pt x="262" y="98"/>
                  <a:pt x="261" y="98"/>
                </a:cubicBezTo>
                <a:cubicBezTo>
                  <a:pt x="260" y="98"/>
                  <a:pt x="259" y="97"/>
                  <a:pt x="258" y="97"/>
                </a:cubicBezTo>
                <a:cubicBezTo>
                  <a:pt x="258" y="97"/>
                  <a:pt x="257" y="97"/>
                  <a:pt x="257" y="97"/>
                </a:cubicBezTo>
                <a:cubicBezTo>
                  <a:pt x="256" y="96"/>
                  <a:pt x="256" y="94"/>
                  <a:pt x="256" y="93"/>
                </a:cubicBezTo>
                <a:cubicBezTo>
                  <a:pt x="256" y="93"/>
                  <a:pt x="256" y="92"/>
                  <a:pt x="255" y="92"/>
                </a:cubicBezTo>
                <a:cubicBezTo>
                  <a:pt x="255" y="92"/>
                  <a:pt x="255" y="91"/>
                  <a:pt x="254" y="91"/>
                </a:cubicBezTo>
                <a:cubicBezTo>
                  <a:pt x="254" y="90"/>
                  <a:pt x="254" y="90"/>
                  <a:pt x="254" y="90"/>
                </a:cubicBezTo>
                <a:cubicBezTo>
                  <a:pt x="254" y="89"/>
                  <a:pt x="253" y="90"/>
                  <a:pt x="253" y="89"/>
                </a:cubicBezTo>
                <a:cubicBezTo>
                  <a:pt x="253" y="89"/>
                  <a:pt x="252" y="89"/>
                  <a:pt x="252" y="88"/>
                </a:cubicBezTo>
                <a:cubicBezTo>
                  <a:pt x="252" y="88"/>
                  <a:pt x="252" y="88"/>
                  <a:pt x="251" y="88"/>
                </a:cubicBezTo>
                <a:cubicBezTo>
                  <a:pt x="251" y="87"/>
                  <a:pt x="251" y="87"/>
                  <a:pt x="251" y="87"/>
                </a:cubicBezTo>
                <a:cubicBezTo>
                  <a:pt x="250" y="88"/>
                  <a:pt x="250" y="88"/>
                  <a:pt x="250" y="89"/>
                </a:cubicBezTo>
                <a:cubicBezTo>
                  <a:pt x="250" y="89"/>
                  <a:pt x="250" y="90"/>
                  <a:pt x="249" y="91"/>
                </a:cubicBezTo>
                <a:cubicBezTo>
                  <a:pt x="249" y="91"/>
                  <a:pt x="248" y="90"/>
                  <a:pt x="248" y="90"/>
                </a:cubicBezTo>
                <a:cubicBezTo>
                  <a:pt x="247" y="90"/>
                  <a:pt x="246" y="89"/>
                  <a:pt x="246" y="89"/>
                </a:cubicBezTo>
                <a:cubicBezTo>
                  <a:pt x="245" y="89"/>
                  <a:pt x="245" y="89"/>
                  <a:pt x="244" y="89"/>
                </a:cubicBezTo>
                <a:cubicBezTo>
                  <a:pt x="244" y="89"/>
                  <a:pt x="243" y="90"/>
                  <a:pt x="243" y="90"/>
                </a:cubicBezTo>
                <a:cubicBezTo>
                  <a:pt x="242" y="90"/>
                  <a:pt x="241" y="90"/>
                  <a:pt x="240" y="90"/>
                </a:cubicBezTo>
                <a:cubicBezTo>
                  <a:pt x="240" y="90"/>
                  <a:pt x="239" y="90"/>
                  <a:pt x="238" y="90"/>
                </a:cubicBezTo>
                <a:cubicBezTo>
                  <a:pt x="238" y="90"/>
                  <a:pt x="238" y="89"/>
                  <a:pt x="238" y="89"/>
                </a:cubicBezTo>
                <a:cubicBezTo>
                  <a:pt x="237" y="88"/>
                  <a:pt x="236" y="87"/>
                  <a:pt x="236" y="87"/>
                </a:cubicBezTo>
                <a:cubicBezTo>
                  <a:pt x="235" y="86"/>
                  <a:pt x="234" y="85"/>
                  <a:pt x="233" y="84"/>
                </a:cubicBezTo>
                <a:cubicBezTo>
                  <a:pt x="233" y="83"/>
                  <a:pt x="232" y="83"/>
                  <a:pt x="231" y="82"/>
                </a:cubicBezTo>
                <a:cubicBezTo>
                  <a:pt x="231" y="82"/>
                  <a:pt x="231" y="82"/>
                  <a:pt x="230" y="82"/>
                </a:cubicBezTo>
                <a:cubicBezTo>
                  <a:pt x="230" y="83"/>
                  <a:pt x="229" y="83"/>
                  <a:pt x="229" y="82"/>
                </a:cubicBezTo>
                <a:cubicBezTo>
                  <a:pt x="229" y="0"/>
                  <a:pt x="229" y="0"/>
                  <a:pt x="229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3" y="189"/>
                  <a:pt x="123" y="189"/>
                  <a:pt x="123" y="189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1" y="191"/>
                  <a:pt x="1" y="191"/>
                  <a:pt x="1" y="191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3"/>
                  <a:pt x="0" y="193"/>
                </a:cubicBezTo>
                <a:cubicBezTo>
                  <a:pt x="0" y="193"/>
                  <a:pt x="0" y="194"/>
                  <a:pt x="0" y="195"/>
                </a:cubicBezTo>
                <a:cubicBezTo>
                  <a:pt x="1" y="195"/>
                  <a:pt x="2" y="196"/>
                  <a:pt x="2" y="196"/>
                </a:cubicBezTo>
                <a:cubicBezTo>
                  <a:pt x="3" y="196"/>
                  <a:pt x="4" y="197"/>
                  <a:pt x="4" y="197"/>
                </a:cubicBezTo>
                <a:cubicBezTo>
                  <a:pt x="5" y="199"/>
                  <a:pt x="5" y="199"/>
                  <a:pt x="5" y="199"/>
                </a:cubicBezTo>
                <a:cubicBezTo>
                  <a:pt x="6" y="198"/>
                  <a:pt x="6" y="198"/>
                  <a:pt x="6" y="198"/>
                </a:cubicBezTo>
                <a:cubicBezTo>
                  <a:pt x="9" y="201"/>
                  <a:pt x="9" y="201"/>
                  <a:pt x="9" y="201"/>
                </a:cubicBezTo>
                <a:cubicBezTo>
                  <a:pt x="12" y="206"/>
                  <a:pt x="12" y="206"/>
                  <a:pt x="12" y="206"/>
                </a:cubicBezTo>
                <a:cubicBezTo>
                  <a:pt x="15" y="210"/>
                  <a:pt x="15" y="210"/>
                  <a:pt x="15" y="210"/>
                </a:cubicBezTo>
                <a:cubicBezTo>
                  <a:pt x="15" y="210"/>
                  <a:pt x="19" y="212"/>
                  <a:pt x="19" y="212"/>
                </a:cubicBezTo>
                <a:cubicBezTo>
                  <a:pt x="19" y="212"/>
                  <a:pt x="22" y="214"/>
                  <a:pt x="22" y="214"/>
                </a:cubicBezTo>
                <a:cubicBezTo>
                  <a:pt x="24" y="215"/>
                  <a:pt x="24" y="215"/>
                  <a:pt x="24" y="215"/>
                </a:cubicBezTo>
                <a:cubicBezTo>
                  <a:pt x="28" y="220"/>
                  <a:pt x="28" y="220"/>
                  <a:pt x="28" y="220"/>
                </a:cubicBezTo>
                <a:cubicBezTo>
                  <a:pt x="30" y="223"/>
                  <a:pt x="30" y="223"/>
                  <a:pt x="30" y="223"/>
                </a:cubicBezTo>
                <a:cubicBezTo>
                  <a:pt x="36" y="226"/>
                  <a:pt x="36" y="226"/>
                  <a:pt x="36" y="226"/>
                </a:cubicBezTo>
                <a:cubicBezTo>
                  <a:pt x="37" y="230"/>
                  <a:pt x="37" y="230"/>
                  <a:pt x="37" y="230"/>
                </a:cubicBezTo>
                <a:cubicBezTo>
                  <a:pt x="42" y="233"/>
                  <a:pt x="42" y="233"/>
                  <a:pt x="42" y="233"/>
                </a:cubicBezTo>
                <a:cubicBezTo>
                  <a:pt x="42" y="235"/>
                  <a:pt x="42" y="235"/>
                  <a:pt x="42" y="235"/>
                </a:cubicBezTo>
                <a:cubicBezTo>
                  <a:pt x="47" y="237"/>
                  <a:pt x="47" y="237"/>
                  <a:pt x="47" y="237"/>
                </a:cubicBezTo>
                <a:cubicBezTo>
                  <a:pt x="49" y="237"/>
                  <a:pt x="49" y="237"/>
                  <a:pt x="49" y="237"/>
                </a:cubicBezTo>
                <a:cubicBezTo>
                  <a:pt x="49" y="237"/>
                  <a:pt x="49" y="238"/>
                  <a:pt x="49" y="238"/>
                </a:cubicBezTo>
                <a:cubicBezTo>
                  <a:pt x="49" y="238"/>
                  <a:pt x="52" y="239"/>
                  <a:pt x="52" y="239"/>
                </a:cubicBezTo>
                <a:cubicBezTo>
                  <a:pt x="52" y="239"/>
                  <a:pt x="54" y="242"/>
                  <a:pt x="54" y="242"/>
                </a:cubicBezTo>
                <a:cubicBezTo>
                  <a:pt x="56" y="242"/>
                  <a:pt x="56" y="242"/>
                  <a:pt x="56" y="242"/>
                </a:cubicBezTo>
                <a:cubicBezTo>
                  <a:pt x="57" y="245"/>
                  <a:pt x="57" y="245"/>
                  <a:pt x="57" y="245"/>
                </a:cubicBezTo>
                <a:cubicBezTo>
                  <a:pt x="59" y="245"/>
                  <a:pt x="59" y="245"/>
                  <a:pt x="59" y="245"/>
                </a:cubicBezTo>
                <a:cubicBezTo>
                  <a:pt x="61" y="249"/>
                  <a:pt x="61" y="249"/>
                  <a:pt x="61" y="249"/>
                </a:cubicBezTo>
                <a:cubicBezTo>
                  <a:pt x="61" y="254"/>
                  <a:pt x="61" y="254"/>
                  <a:pt x="61" y="254"/>
                </a:cubicBezTo>
                <a:cubicBezTo>
                  <a:pt x="67" y="260"/>
                  <a:pt x="67" y="260"/>
                  <a:pt x="67" y="260"/>
                </a:cubicBezTo>
                <a:cubicBezTo>
                  <a:pt x="67" y="272"/>
                  <a:pt x="67" y="272"/>
                  <a:pt x="67" y="272"/>
                </a:cubicBezTo>
                <a:cubicBezTo>
                  <a:pt x="67" y="272"/>
                  <a:pt x="71" y="277"/>
                  <a:pt x="71" y="277"/>
                </a:cubicBezTo>
                <a:cubicBezTo>
                  <a:pt x="71" y="277"/>
                  <a:pt x="72" y="283"/>
                  <a:pt x="72" y="283"/>
                </a:cubicBezTo>
                <a:cubicBezTo>
                  <a:pt x="75" y="286"/>
                  <a:pt x="75" y="286"/>
                  <a:pt x="75" y="286"/>
                </a:cubicBezTo>
                <a:cubicBezTo>
                  <a:pt x="75" y="286"/>
                  <a:pt x="80" y="288"/>
                  <a:pt x="80" y="288"/>
                </a:cubicBezTo>
                <a:cubicBezTo>
                  <a:pt x="80" y="288"/>
                  <a:pt x="83" y="289"/>
                  <a:pt x="83" y="289"/>
                </a:cubicBezTo>
                <a:cubicBezTo>
                  <a:pt x="83" y="289"/>
                  <a:pt x="85" y="293"/>
                  <a:pt x="85" y="293"/>
                </a:cubicBezTo>
                <a:cubicBezTo>
                  <a:pt x="85" y="293"/>
                  <a:pt x="89" y="296"/>
                  <a:pt x="89" y="296"/>
                </a:cubicBezTo>
                <a:cubicBezTo>
                  <a:pt x="91" y="297"/>
                  <a:pt x="91" y="297"/>
                  <a:pt x="91" y="297"/>
                </a:cubicBezTo>
                <a:cubicBezTo>
                  <a:pt x="98" y="298"/>
                  <a:pt x="98" y="298"/>
                  <a:pt x="98" y="298"/>
                </a:cubicBezTo>
                <a:cubicBezTo>
                  <a:pt x="98" y="300"/>
                  <a:pt x="98" y="300"/>
                  <a:pt x="98" y="300"/>
                </a:cubicBezTo>
                <a:cubicBezTo>
                  <a:pt x="98" y="300"/>
                  <a:pt x="100" y="300"/>
                  <a:pt x="100" y="300"/>
                </a:cubicBezTo>
                <a:cubicBezTo>
                  <a:pt x="100" y="300"/>
                  <a:pt x="100" y="302"/>
                  <a:pt x="100" y="302"/>
                </a:cubicBezTo>
                <a:cubicBezTo>
                  <a:pt x="100" y="302"/>
                  <a:pt x="103" y="302"/>
                  <a:pt x="103" y="302"/>
                </a:cubicBezTo>
                <a:cubicBezTo>
                  <a:pt x="103" y="302"/>
                  <a:pt x="106" y="302"/>
                  <a:pt x="106" y="302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12" y="309"/>
                  <a:pt x="112" y="309"/>
                  <a:pt x="112" y="309"/>
                </a:cubicBezTo>
                <a:cubicBezTo>
                  <a:pt x="114" y="307"/>
                  <a:pt x="114" y="307"/>
                  <a:pt x="114" y="307"/>
                </a:cubicBezTo>
                <a:cubicBezTo>
                  <a:pt x="115" y="310"/>
                  <a:pt x="115" y="310"/>
                  <a:pt x="115" y="310"/>
                </a:cubicBezTo>
                <a:cubicBezTo>
                  <a:pt x="121" y="310"/>
                  <a:pt x="121" y="310"/>
                  <a:pt x="121" y="310"/>
                </a:cubicBezTo>
                <a:cubicBezTo>
                  <a:pt x="122" y="307"/>
                  <a:pt x="122" y="307"/>
                  <a:pt x="122" y="307"/>
                </a:cubicBezTo>
                <a:cubicBezTo>
                  <a:pt x="122" y="307"/>
                  <a:pt x="125" y="304"/>
                  <a:pt x="125" y="304"/>
                </a:cubicBezTo>
                <a:cubicBezTo>
                  <a:pt x="125" y="304"/>
                  <a:pt x="125" y="303"/>
                  <a:pt x="125" y="303"/>
                </a:cubicBezTo>
                <a:cubicBezTo>
                  <a:pt x="125" y="303"/>
                  <a:pt x="126" y="301"/>
                  <a:pt x="126" y="301"/>
                </a:cubicBezTo>
                <a:cubicBezTo>
                  <a:pt x="126" y="301"/>
                  <a:pt x="127" y="302"/>
                  <a:pt x="127" y="302"/>
                </a:cubicBezTo>
                <a:cubicBezTo>
                  <a:pt x="130" y="300"/>
                  <a:pt x="130" y="300"/>
                  <a:pt x="130" y="300"/>
                </a:cubicBezTo>
                <a:cubicBezTo>
                  <a:pt x="130" y="300"/>
                  <a:pt x="129" y="299"/>
                  <a:pt x="129" y="299"/>
                </a:cubicBezTo>
                <a:cubicBezTo>
                  <a:pt x="128" y="298"/>
                  <a:pt x="128" y="298"/>
                  <a:pt x="129" y="298"/>
                </a:cubicBezTo>
                <a:cubicBezTo>
                  <a:pt x="129" y="298"/>
                  <a:pt x="129" y="297"/>
                  <a:pt x="129" y="297"/>
                </a:cubicBezTo>
                <a:cubicBezTo>
                  <a:pt x="129" y="297"/>
                  <a:pt x="129" y="296"/>
                  <a:pt x="129" y="296"/>
                </a:cubicBezTo>
                <a:cubicBezTo>
                  <a:pt x="129" y="295"/>
                  <a:pt x="130" y="294"/>
                  <a:pt x="130" y="294"/>
                </a:cubicBezTo>
                <a:cubicBezTo>
                  <a:pt x="130" y="294"/>
                  <a:pt x="132" y="293"/>
                  <a:pt x="132" y="293"/>
                </a:cubicBezTo>
                <a:cubicBezTo>
                  <a:pt x="132" y="288"/>
                  <a:pt x="132" y="288"/>
                  <a:pt x="132" y="288"/>
                </a:cubicBezTo>
                <a:cubicBezTo>
                  <a:pt x="137" y="279"/>
                  <a:pt x="137" y="279"/>
                  <a:pt x="137" y="279"/>
                </a:cubicBezTo>
                <a:cubicBezTo>
                  <a:pt x="138" y="280"/>
                  <a:pt x="138" y="280"/>
                  <a:pt x="138" y="280"/>
                </a:cubicBezTo>
                <a:cubicBezTo>
                  <a:pt x="140" y="278"/>
                  <a:pt x="140" y="278"/>
                  <a:pt x="140" y="278"/>
                </a:cubicBezTo>
                <a:cubicBezTo>
                  <a:pt x="141" y="279"/>
                  <a:pt x="141" y="279"/>
                  <a:pt x="141" y="279"/>
                </a:cubicBezTo>
                <a:cubicBezTo>
                  <a:pt x="143" y="277"/>
                  <a:pt x="143" y="277"/>
                  <a:pt x="143" y="277"/>
                </a:cubicBezTo>
                <a:cubicBezTo>
                  <a:pt x="143" y="277"/>
                  <a:pt x="145" y="278"/>
                  <a:pt x="145" y="278"/>
                </a:cubicBezTo>
                <a:cubicBezTo>
                  <a:pt x="145" y="278"/>
                  <a:pt x="146" y="279"/>
                  <a:pt x="146" y="279"/>
                </a:cubicBezTo>
                <a:cubicBezTo>
                  <a:pt x="147" y="276"/>
                  <a:pt x="147" y="276"/>
                  <a:pt x="147" y="276"/>
                </a:cubicBezTo>
                <a:cubicBezTo>
                  <a:pt x="149" y="274"/>
                  <a:pt x="149" y="274"/>
                  <a:pt x="149" y="274"/>
                </a:cubicBezTo>
                <a:cubicBezTo>
                  <a:pt x="158" y="278"/>
                  <a:pt x="158" y="278"/>
                  <a:pt x="158" y="278"/>
                </a:cubicBezTo>
                <a:cubicBezTo>
                  <a:pt x="160" y="276"/>
                  <a:pt x="160" y="276"/>
                  <a:pt x="160" y="276"/>
                </a:cubicBezTo>
                <a:cubicBezTo>
                  <a:pt x="162" y="278"/>
                  <a:pt x="162" y="278"/>
                  <a:pt x="162" y="278"/>
                </a:cubicBezTo>
                <a:cubicBezTo>
                  <a:pt x="164" y="277"/>
                  <a:pt x="164" y="277"/>
                  <a:pt x="164" y="277"/>
                </a:cubicBezTo>
                <a:cubicBezTo>
                  <a:pt x="166" y="277"/>
                  <a:pt x="166" y="277"/>
                  <a:pt x="166" y="277"/>
                </a:cubicBezTo>
                <a:cubicBezTo>
                  <a:pt x="167" y="277"/>
                  <a:pt x="167" y="277"/>
                  <a:pt x="167" y="277"/>
                </a:cubicBezTo>
                <a:cubicBezTo>
                  <a:pt x="167" y="278"/>
                  <a:pt x="167" y="278"/>
                  <a:pt x="167" y="278"/>
                </a:cubicBezTo>
                <a:cubicBezTo>
                  <a:pt x="167" y="278"/>
                  <a:pt x="169" y="278"/>
                  <a:pt x="169" y="278"/>
                </a:cubicBezTo>
                <a:cubicBezTo>
                  <a:pt x="170" y="278"/>
                  <a:pt x="171" y="279"/>
                  <a:pt x="171" y="279"/>
                </a:cubicBezTo>
                <a:cubicBezTo>
                  <a:pt x="171" y="279"/>
                  <a:pt x="173" y="279"/>
                  <a:pt x="173" y="279"/>
                </a:cubicBezTo>
                <a:cubicBezTo>
                  <a:pt x="173" y="279"/>
                  <a:pt x="175" y="278"/>
                  <a:pt x="175" y="278"/>
                </a:cubicBezTo>
                <a:cubicBezTo>
                  <a:pt x="176" y="277"/>
                  <a:pt x="176" y="277"/>
                  <a:pt x="176" y="277"/>
                </a:cubicBezTo>
                <a:cubicBezTo>
                  <a:pt x="176" y="279"/>
                  <a:pt x="176" y="279"/>
                  <a:pt x="176" y="279"/>
                </a:cubicBezTo>
                <a:cubicBezTo>
                  <a:pt x="176" y="279"/>
                  <a:pt x="178" y="278"/>
                  <a:pt x="178" y="278"/>
                </a:cubicBezTo>
                <a:cubicBezTo>
                  <a:pt x="178" y="278"/>
                  <a:pt x="178" y="278"/>
                  <a:pt x="178" y="278"/>
                </a:cubicBezTo>
                <a:cubicBezTo>
                  <a:pt x="179" y="279"/>
                  <a:pt x="179" y="279"/>
                  <a:pt x="179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0" y="280"/>
                  <a:pt x="180" y="280"/>
                  <a:pt x="180" y="280"/>
                </a:cubicBezTo>
                <a:cubicBezTo>
                  <a:pt x="182" y="283"/>
                  <a:pt x="182" y="283"/>
                  <a:pt x="182" y="283"/>
                </a:cubicBezTo>
                <a:cubicBezTo>
                  <a:pt x="184" y="283"/>
                  <a:pt x="184" y="283"/>
                  <a:pt x="184" y="283"/>
                </a:cubicBezTo>
                <a:cubicBezTo>
                  <a:pt x="184" y="286"/>
                  <a:pt x="184" y="286"/>
                  <a:pt x="184" y="286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86" y="288"/>
                  <a:pt x="186" y="288"/>
                  <a:pt x="186" y="288"/>
                </a:cubicBezTo>
                <a:cubicBezTo>
                  <a:pt x="192" y="290"/>
                  <a:pt x="192" y="290"/>
                  <a:pt x="192" y="290"/>
                </a:cubicBezTo>
                <a:cubicBezTo>
                  <a:pt x="194" y="294"/>
                  <a:pt x="194" y="294"/>
                  <a:pt x="194" y="294"/>
                </a:cubicBezTo>
                <a:cubicBezTo>
                  <a:pt x="201" y="298"/>
                  <a:pt x="201" y="298"/>
                  <a:pt x="201" y="298"/>
                </a:cubicBezTo>
                <a:cubicBezTo>
                  <a:pt x="202" y="302"/>
                  <a:pt x="202" y="302"/>
                  <a:pt x="202" y="302"/>
                </a:cubicBezTo>
                <a:cubicBezTo>
                  <a:pt x="206" y="305"/>
                  <a:pt x="206" y="305"/>
                  <a:pt x="206" y="305"/>
                </a:cubicBezTo>
                <a:cubicBezTo>
                  <a:pt x="206" y="311"/>
                  <a:pt x="206" y="311"/>
                  <a:pt x="206" y="311"/>
                </a:cubicBezTo>
                <a:cubicBezTo>
                  <a:pt x="210" y="316"/>
                  <a:pt x="210" y="316"/>
                  <a:pt x="210" y="316"/>
                </a:cubicBezTo>
                <a:cubicBezTo>
                  <a:pt x="211" y="321"/>
                  <a:pt x="211" y="321"/>
                  <a:pt x="211" y="321"/>
                </a:cubicBezTo>
                <a:cubicBezTo>
                  <a:pt x="215" y="325"/>
                  <a:pt x="215" y="325"/>
                  <a:pt x="215" y="325"/>
                </a:cubicBezTo>
                <a:cubicBezTo>
                  <a:pt x="215" y="328"/>
                  <a:pt x="215" y="328"/>
                  <a:pt x="215" y="328"/>
                </a:cubicBezTo>
                <a:cubicBezTo>
                  <a:pt x="218" y="328"/>
                  <a:pt x="218" y="328"/>
                  <a:pt x="218" y="328"/>
                </a:cubicBezTo>
                <a:cubicBezTo>
                  <a:pt x="216" y="330"/>
                  <a:pt x="216" y="330"/>
                  <a:pt x="216" y="330"/>
                </a:cubicBezTo>
                <a:cubicBezTo>
                  <a:pt x="217" y="332"/>
                  <a:pt x="217" y="332"/>
                  <a:pt x="217" y="332"/>
                </a:cubicBezTo>
                <a:cubicBezTo>
                  <a:pt x="218" y="335"/>
                  <a:pt x="218" y="335"/>
                  <a:pt x="218" y="335"/>
                </a:cubicBezTo>
                <a:cubicBezTo>
                  <a:pt x="219" y="337"/>
                  <a:pt x="219" y="337"/>
                  <a:pt x="219" y="337"/>
                </a:cubicBezTo>
                <a:cubicBezTo>
                  <a:pt x="221" y="339"/>
                  <a:pt x="221" y="339"/>
                  <a:pt x="221" y="339"/>
                </a:cubicBezTo>
                <a:cubicBezTo>
                  <a:pt x="221" y="340"/>
                  <a:pt x="221" y="340"/>
                  <a:pt x="221" y="340"/>
                </a:cubicBezTo>
                <a:cubicBezTo>
                  <a:pt x="226" y="342"/>
                  <a:pt x="226" y="342"/>
                  <a:pt x="226" y="342"/>
                </a:cubicBezTo>
                <a:cubicBezTo>
                  <a:pt x="229" y="348"/>
                  <a:pt x="229" y="348"/>
                  <a:pt x="229" y="348"/>
                </a:cubicBezTo>
                <a:cubicBezTo>
                  <a:pt x="231" y="349"/>
                  <a:pt x="231" y="349"/>
                  <a:pt x="231" y="349"/>
                </a:cubicBezTo>
                <a:cubicBezTo>
                  <a:pt x="234" y="357"/>
                  <a:pt x="234" y="357"/>
                  <a:pt x="234" y="357"/>
                </a:cubicBezTo>
                <a:cubicBezTo>
                  <a:pt x="236" y="357"/>
                  <a:pt x="236" y="357"/>
                  <a:pt x="236" y="357"/>
                </a:cubicBezTo>
                <a:cubicBezTo>
                  <a:pt x="239" y="361"/>
                  <a:pt x="239" y="361"/>
                  <a:pt x="239" y="361"/>
                </a:cubicBezTo>
                <a:cubicBezTo>
                  <a:pt x="244" y="363"/>
                  <a:pt x="244" y="363"/>
                  <a:pt x="244" y="363"/>
                </a:cubicBezTo>
                <a:cubicBezTo>
                  <a:pt x="245" y="365"/>
                  <a:pt x="245" y="365"/>
                  <a:pt x="245" y="365"/>
                </a:cubicBezTo>
                <a:cubicBezTo>
                  <a:pt x="247" y="370"/>
                  <a:pt x="247" y="370"/>
                  <a:pt x="247" y="370"/>
                </a:cubicBezTo>
                <a:cubicBezTo>
                  <a:pt x="247" y="370"/>
                  <a:pt x="246" y="372"/>
                  <a:pt x="246" y="372"/>
                </a:cubicBezTo>
                <a:cubicBezTo>
                  <a:pt x="246" y="372"/>
                  <a:pt x="245" y="375"/>
                  <a:pt x="245" y="375"/>
                </a:cubicBezTo>
                <a:cubicBezTo>
                  <a:pt x="248" y="377"/>
                  <a:pt x="248" y="377"/>
                  <a:pt x="248" y="377"/>
                </a:cubicBezTo>
                <a:cubicBezTo>
                  <a:pt x="249" y="383"/>
                  <a:pt x="249" y="383"/>
                  <a:pt x="249" y="383"/>
                </a:cubicBezTo>
                <a:cubicBezTo>
                  <a:pt x="248" y="385"/>
                  <a:pt x="248" y="385"/>
                  <a:pt x="248" y="385"/>
                </a:cubicBezTo>
                <a:cubicBezTo>
                  <a:pt x="250" y="388"/>
                  <a:pt x="250" y="388"/>
                  <a:pt x="250" y="388"/>
                </a:cubicBezTo>
                <a:cubicBezTo>
                  <a:pt x="250" y="389"/>
                  <a:pt x="250" y="389"/>
                  <a:pt x="250" y="389"/>
                </a:cubicBezTo>
                <a:cubicBezTo>
                  <a:pt x="252" y="390"/>
                  <a:pt x="252" y="390"/>
                  <a:pt x="252" y="390"/>
                </a:cubicBezTo>
                <a:cubicBezTo>
                  <a:pt x="252" y="392"/>
                  <a:pt x="252" y="392"/>
                  <a:pt x="252" y="392"/>
                </a:cubicBezTo>
                <a:cubicBezTo>
                  <a:pt x="254" y="393"/>
                  <a:pt x="254" y="393"/>
                  <a:pt x="254" y="393"/>
                </a:cubicBezTo>
                <a:cubicBezTo>
                  <a:pt x="256" y="397"/>
                  <a:pt x="256" y="397"/>
                  <a:pt x="256" y="397"/>
                </a:cubicBezTo>
                <a:cubicBezTo>
                  <a:pt x="256" y="397"/>
                  <a:pt x="257" y="399"/>
                  <a:pt x="257" y="400"/>
                </a:cubicBezTo>
                <a:cubicBezTo>
                  <a:pt x="257" y="400"/>
                  <a:pt x="257" y="405"/>
                  <a:pt x="257" y="405"/>
                </a:cubicBezTo>
                <a:cubicBezTo>
                  <a:pt x="260" y="407"/>
                  <a:pt x="260" y="407"/>
                  <a:pt x="260" y="407"/>
                </a:cubicBezTo>
                <a:cubicBezTo>
                  <a:pt x="260" y="407"/>
                  <a:pt x="259" y="409"/>
                  <a:pt x="259" y="409"/>
                </a:cubicBezTo>
                <a:cubicBezTo>
                  <a:pt x="259" y="409"/>
                  <a:pt x="260" y="410"/>
                  <a:pt x="260" y="410"/>
                </a:cubicBezTo>
                <a:cubicBezTo>
                  <a:pt x="264" y="410"/>
                  <a:pt x="264" y="410"/>
                  <a:pt x="264" y="410"/>
                </a:cubicBezTo>
                <a:cubicBezTo>
                  <a:pt x="265" y="411"/>
                  <a:pt x="265" y="411"/>
                  <a:pt x="265" y="411"/>
                </a:cubicBezTo>
                <a:cubicBezTo>
                  <a:pt x="266" y="410"/>
                  <a:pt x="266" y="410"/>
                  <a:pt x="266" y="410"/>
                </a:cubicBezTo>
                <a:cubicBezTo>
                  <a:pt x="267" y="412"/>
                  <a:pt x="267" y="412"/>
                  <a:pt x="267" y="412"/>
                </a:cubicBezTo>
                <a:cubicBezTo>
                  <a:pt x="268" y="412"/>
                  <a:pt x="268" y="412"/>
                  <a:pt x="268" y="412"/>
                </a:cubicBezTo>
                <a:cubicBezTo>
                  <a:pt x="270" y="411"/>
                  <a:pt x="270" y="411"/>
                  <a:pt x="270" y="411"/>
                </a:cubicBezTo>
                <a:cubicBezTo>
                  <a:pt x="275" y="417"/>
                  <a:pt x="275" y="417"/>
                  <a:pt x="275" y="417"/>
                </a:cubicBezTo>
                <a:cubicBezTo>
                  <a:pt x="278" y="416"/>
                  <a:pt x="278" y="416"/>
                  <a:pt x="278" y="416"/>
                </a:cubicBezTo>
                <a:cubicBezTo>
                  <a:pt x="281" y="418"/>
                  <a:pt x="281" y="418"/>
                  <a:pt x="281" y="418"/>
                </a:cubicBezTo>
                <a:cubicBezTo>
                  <a:pt x="283" y="417"/>
                  <a:pt x="283" y="417"/>
                  <a:pt x="283" y="417"/>
                </a:cubicBezTo>
                <a:cubicBezTo>
                  <a:pt x="284" y="419"/>
                  <a:pt x="284" y="419"/>
                  <a:pt x="284" y="419"/>
                </a:cubicBezTo>
                <a:cubicBezTo>
                  <a:pt x="286" y="419"/>
                  <a:pt x="286" y="419"/>
                  <a:pt x="286" y="419"/>
                </a:cubicBezTo>
                <a:cubicBezTo>
                  <a:pt x="287" y="422"/>
                  <a:pt x="287" y="422"/>
                  <a:pt x="287" y="422"/>
                </a:cubicBezTo>
                <a:cubicBezTo>
                  <a:pt x="288" y="421"/>
                  <a:pt x="288" y="421"/>
                  <a:pt x="288" y="421"/>
                </a:cubicBezTo>
                <a:cubicBezTo>
                  <a:pt x="288" y="422"/>
                  <a:pt x="288" y="422"/>
                  <a:pt x="288" y="422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93" y="423"/>
                  <a:pt x="293" y="423"/>
                  <a:pt x="293" y="423"/>
                </a:cubicBezTo>
                <a:cubicBezTo>
                  <a:pt x="295" y="423"/>
                  <a:pt x="295" y="423"/>
                  <a:pt x="295" y="423"/>
                </a:cubicBezTo>
                <a:cubicBezTo>
                  <a:pt x="295" y="424"/>
                  <a:pt x="295" y="424"/>
                  <a:pt x="295" y="424"/>
                </a:cubicBezTo>
                <a:cubicBezTo>
                  <a:pt x="297" y="423"/>
                  <a:pt x="297" y="423"/>
                  <a:pt x="297" y="423"/>
                </a:cubicBezTo>
                <a:cubicBezTo>
                  <a:pt x="303" y="423"/>
                  <a:pt x="303" y="423"/>
                  <a:pt x="303" y="423"/>
                </a:cubicBezTo>
                <a:cubicBezTo>
                  <a:pt x="306" y="424"/>
                  <a:pt x="306" y="424"/>
                  <a:pt x="306" y="424"/>
                </a:cubicBezTo>
                <a:cubicBezTo>
                  <a:pt x="310" y="425"/>
                  <a:pt x="310" y="425"/>
                  <a:pt x="310" y="425"/>
                </a:cubicBezTo>
                <a:cubicBezTo>
                  <a:pt x="310" y="425"/>
                  <a:pt x="318" y="432"/>
                  <a:pt x="318" y="432"/>
                </a:cubicBezTo>
                <a:cubicBezTo>
                  <a:pt x="318" y="432"/>
                  <a:pt x="318" y="431"/>
                  <a:pt x="318" y="431"/>
                </a:cubicBezTo>
                <a:cubicBezTo>
                  <a:pt x="318" y="430"/>
                  <a:pt x="319" y="432"/>
                  <a:pt x="319" y="432"/>
                </a:cubicBezTo>
                <a:cubicBezTo>
                  <a:pt x="319" y="432"/>
                  <a:pt x="320" y="431"/>
                  <a:pt x="320" y="430"/>
                </a:cubicBezTo>
                <a:cubicBezTo>
                  <a:pt x="320" y="430"/>
                  <a:pt x="320" y="428"/>
                  <a:pt x="320" y="428"/>
                </a:cubicBezTo>
                <a:cubicBezTo>
                  <a:pt x="320" y="428"/>
                  <a:pt x="324" y="428"/>
                  <a:pt x="324" y="428"/>
                </a:cubicBezTo>
                <a:cubicBezTo>
                  <a:pt x="325" y="428"/>
                  <a:pt x="327" y="428"/>
                  <a:pt x="327" y="428"/>
                </a:cubicBezTo>
                <a:cubicBezTo>
                  <a:pt x="327" y="428"/>
                  <a:pt x="327" y="427"/>
                  <a:pt x="327" y="426"/>
                </a:cubicBezTo>
                <a:cubicBezTo>
                  <a:pt x="328" y="426"/>
                  <a:pt x="327" y="426"/>
                  <a:pt x="327" y="426"/>
                </a:cubicBezTo>
                <a:cubicBezTo>
                  <a:pt x="327" y="426"/>
                  <a:pt x="326" y="427"/>
                  <a:pt x="326" y="427"/>
                </a:cubicBezTo>
                <a:cubicBezTo>
                  <a:pt x="326" y="427"/>
                  <a:pt x="325" y="427"/>
                  <a:pt x="325" y="426"/>
                </a:cubicBezTo>
                <a:cubicBezTo>
                  <a:pt x="325" y="426"/>
                  <a:pt x="326" y="426"/>
                  <a:pt x="326" y="425"/>
                </a:cubicBezTo>
                <a:cubicBezTo>
                  <a:pt x="326" y="425"/>
                  <a:pt x="326" y="424"/>
                  <a:pt x="326" y="424"/>
                </a:cubicBezTo>
                <a:cubicBezTo>
                  <a:pt x="326" y="423"/>
                  <a:pt x="326" y="423"/>
                  <a:pt x="325" y="423"/>
                </a:cubicBezTo>
                <a:cubicBezTo>
                  <a:pt x="324" y="423"/>
                  <a:pt x="324" y="423"/>
                  <a:pt x="323" y="422"/>
                </a:cubicBezTo>
                <a:cubicBezTo>
                  <a:pt x="323" y="421"/>
                  <a:pt x="322" y="421"/>
                  <a:pt x="322" y="420"/>
                </a:cubicBezTo>
                <a:cubicBezTo>
                  <a:pt x="322" y="420"/>
                  <a:pt x="322" y="419"/>
                  <a:pt x="322" y="418"/>
                </a:cubicBezTo>
                <a:cubicBezTo>
                  <a:pt x="321" y="418"/>
                  <a:pt x="322" y="417"/>
                  <a:pt x="322" y="416"/>
                </a:cubicBezTo>
                <a:cubicBezTo>
                  <a:pt x="321" y="415"/>
                  <a:pt x="321" y="415"/>
                  <a:pt x="321" y="415"/>
                </a:cubicBezTo>
                <a:cubicBezTo>
                  <a:pt x="321" y="415"/>
                  <a:pt x="321" y="414"/>
                  <a:pt x="321" y="413"/>
                </a:cubicBezTo>
                <a:cubicBezTo>
                  <a:pt x="321" y="413"/>
                  <a:pt x="320" y="412"/>
                  <a:pt x="320" y="411"/>
                </a:cubicBezTo>
                <a:cubicBezTo>
                  <a:pt x="319" y="410"/>
                  <a:pt x="318" y="409"/>
                  <a:pt x="318" y="409"/>
                </a:cubicBezTo>
                <a:cubicBezTo>
                  <a:pt x="318" y="409"/>
                  <a:pt x="318" y="407"/>
                  <a:pt x="318" y="407"/>
                </a:cubicBezTo>
                <a:cubicBezTo>
                  <a:pt x="318" y="407"/>
                  <a:pt x="318" y="407"/>
                  <a:pt x="318" y="406"/>
                </a:cubicBezTo>
                <a:cubicBezTo>
                  <a:pt x="319" y="406"/>
                  <a:pt x="318" y="405"/>
                  <a:pt x="318" y="404"/>
                </a:cubicBezTo>
                <a:cubicBezTo>
                  <a:pt x="318" y="404"/>
                  <a:pt x="318" y="404"/>
                  <a:pt x="318" y="403"/>
                </a:cubicBezTo>
                <a:cubicBezTo>
                  <a:pt x="317" y="403"/>
                  <a:pt x="318" y="402"/>
                  <a:pt x="318" y="402"/>
                </a:cubicBezTo>
                <a:cubicBezTo>
                  <a:pt x="318" y="402"/>
                  <a:pt x="318" y="401"/>
                  <a:pt x="317" y="401"/>
                </a:cubicBezTo>
                <a:cubicBezTo>
                  <a:pt x="317" y="400"/>
                  <a:pt x="317" y="400"/>
                  <a:pt x="317" y="399"/>
                </a:cubicBezTo>
                <a:cubicBezTo>
                  <a:pt x="317" y="399"/>
                  <a:pt x="317" y="397"/>
                  <a:pt x="316" y="397"/>
                </a:cubicBezTo>
                <a:cubicBezTo>
                  <a:pt x="316" y="396"/>
                  <a:pt x="314" y="395"/>
                  <a:pt x="314" y="394"/>
                </a:cubicBezTo>
                <a:cubicBezTo>
                  <a:pt x="313" y="393"/>
                  <a:pt x="313" y="393"/>
                  <a:pt x="313" y="393"/>
                </a:cubicBezTo>
                <a:cubicBezTo>
                  <a:pt x="313" y="392"/>
                  <a:pt x="314" y="393"/>
                  <a:pt x="314" y="392"/>
                </a:cubicBezTo>
                <a:cubicBezTo>
                  <a:pt x="314" y="392"/>
                  <a:pt x="314" y="392"/>
                  <a:pt x="314" y="392"/>
                </a:cubicBezTo>
                <a:cubicBezTo>
                  <a:pt x="314" y="391"/>
                  <a:pt x="314" y="389"/>
                  <a:pt x="314" y="389"/>
                </a:cubicBezTo>
                <a:cubicBezTo>
                  <a:pt x="314" y="389"/>
                  <a:pt x="314" y="388"/>
                  <a:pt x="314" y="388"/>
                </a:cubicBezTo>
                <a:cubicBezTo>
                  <a:pt x="315" y="387"/>
                  <a:pt x="317" y="388"/>
                  <a:pt x="317" y="388"/>
                </a:cubicBezTo>
                <a:cubicBezTo>
                  <a:pt x="317" y="388"/>
                  <a:pt x="317" y="387"/>
                  <a:pt x="317" y="387"/>
                </a:cubicBezTo>
                <a:cubicBezTo>
                  <a:pt x="317" y="387"/>
                  <a:pt x="317" y="386"/>
                  <a:pt x="317" y="386"/>
                </a:cubicBezTo>
                <a:cubicBezTo>
                  <a:pt x="317" y="386"/>
                  <a:pt x="316" y="385"/>
                  <a:pt x="316" y="385"/>
                </a:cubicBezTo>
                <a:cubicBezTo>
                  <a:pt x="316" y="385"/>
                  <a:pt x="317" y="384"/>
                  <a:pt x="317" y="384"/>
                </a:cubicBezTo>
                <a:cubicBezTo>
                  <a:pt x="317" y="384"/>
                  <a:pt x="317" y="383"/>
                  <a:pt x="317" y="381"/>
                </a:cubicBezTo>
                <a:cubicBezTo>
                  <a:pt x="317" y="381"/>
                  <a:pt x="317" y="381"/>
                  <a:pt x="317" y="380"/>
                </a:cubicBezTo>
                <a:cubicBezTo>
                  <a:pt x="317" y="380"/>
                  <a:pt x="317" y="380"/>
                  <a:pt x="317" y="380"/>
                </a:cubicBezTo>
                <a:cubicBezTo>
                  <a:pt x="317" y="379"/>
                  <a:pt x="318" y="379"/>
                  <a:pt x="318" y="379"/>
                </a:cubicBezTo>
                <a:cubicBezTo>
                  <a:pt x="318" y="378"/>
                  <a:pt x="316" y="378"/>
                  <a:pt x="316" y="378"/>
                </a:cubicBezTo>
                <a:cubicBezTo>
                  <a:pt x="315" y="378"/>
                  <a:pt x="315" y="379"/>
                  <a:pt x="315" y="379"/>
                </a:cubicBezTo>
                <a:cubicBezTo>
                  <a:pt x="315" y="379"/>
                  <a:pt x="314" y="378"/>
                  <a:pt x="314" y="378"/>
                </a:cubicBezTo>
                <a:cubicBezTo>
                  <a:pt x="313" y="378"/>
                  <a:pt x="312" y="378"/>
                  <a:pt x="311" y="378"/>
                </a:cubicBezTo>
                <a:cubicBezTo>
                  <a:pt x="311" y="378"/>
                  <a:pt x="310" y="378"/>
                  <a:pt x="309" y="378"/>
                </a:cubicBezTo>
                <a:cubicBezTo>
                  <a:pt x="309" y="377"/>
                  <a:pt x="309" y="377"/>
                  <a:pt x="309" y="377"/>
                </a:cubicBezTo>
                <a:cubicBezTo>
                  <a:pt x="309" y="377"/>
                  <a:pt x="309" y="377"/>
                  <a:pt x="309" y="377"/>
                </a:cubicBezTo>
                <a:cubicBezTo>
                  <a:pt x="308" y="377"/>
                  <a:pt x="308" y="377"/>
                  <a:pt x="309" y="377"/>
                </a:cubicBezTo>
                <a:cubicBezTo>
                  <a:pt x="309" y="376"/>
                  <a:pt x="310" y="377"/>
                  <a:pt x="310" y="376"/>
                </a:cubicBezTo>
                <a:cubicBezTo>
                  <a:pt x="310" y="376"/>
                  <a:pt x="311" y="376"/>
                  <a:pt x="311" y="376"/>
                </a:cubicBezTo>
                <a:cubicBezTo>
                  <a:pt x="312" y="376"/>
                  <a:pt x="312" y="376"/>
                  <a:pt x="313" y="375"/>
                </a:cubicBezTo>
                <a:cubicBezTo>
                  <a:pt x="313" y="375"/>
                  <a:pt x="314" y="374"/>
                  <a:pt x="315" y="375"/>
                </a:cubicBezTo>
                <a:cubicBezTo>
                  <a:pt x="315" y="375"/>
                  <a:pt x="314" y="376"/>
                  <a:pt x="314" y="376"/>
                </a:cubicBezTo>
                <a:cubicBezTo>
                  <a:pt x="314" y="376"/>
                  <a:pt x="315" y="377"/>
                  <a:pt x="315" y="377"/>
                </a:cubicBezTo>
                <a:cubicBezTo>
                  <a:pt x="315" y="376"/>
                  <a:pt x="315" y="376"/>
                  <a:pt x="316" y="376"/>
                </a:cubicBezTo>
                <a:cubicBezTo>
                  <a:pt x="316" y="376"/>
                  <a:pt x="317" y="376"/>
                  <a:pt x="317" y="376"/>
                </a:cubicBezTo>
                <a:cubicBezTo>
                  <a:pt x="318" y="376"/>
                  <a:pt x="318" y="375"/>
                  <a:pt x="318" y="375"/>
                </a:cubicBezTo>
                <a:cubicBezTo>
                  <a:pt x="319" y="375"/>
                  <a:pt x="319" y="375"/>
                  <a:pt x="319" y="375"/>
                </a:cubicBezTo>
                <a:cubicBezTo>
                  <a:pt x="319" y="374"/>
                  <a:pt x="319" y="374"/>
                  <a:pt x="319" y="374"/>
                </a:cubicBezTo>
                <a:cubicBezTo>
                  <a:pt x="319" y="373"/>
                  <a:pt x="319" y="373"/>
                  <a:pt x="320" y="372"/>
                </a:cubicBezTo>
                <a:cubicBezTo>
                  <a:pt x="320" y="372"/>
                  <a:pt x="320" y="372"/>
                  <a:pt x="320" y="371"/>
                </a:cubicBezTo>
                <a:cubicBezTo>
                  <a:pt x="320" y="371"/>
                  <a:pt x="320" y="370"/>
                  <a:pt x="321" y="369"/>
                </a:cubicBezTo>
                <a:cubicBezTo>
                  <a:pt x="321" y="369"/>
                  <a:pt x="320" y="368"/>
                  <a:pt x="321" y="367"/>
                </a:cubicBezTo>
                <a:cubicBezTo>
                  <a:pt x="321" y="367"/>
                  <a:pt x="321" y="366"/>
                  <a:pt x="322" y="366"/>
                </a:cubicBezTo>
                <a:cubicBezTo>
                  <a:pt x="322" y="365"/>
                  <a:pt x="322" y="365"/>
                  <a:pt x="322" y="365"/>
                </a:cubicBezTo>
                <a:cubicBezTo>
                  <a:pt x="323" y="364"/>
                  <a:pt x="323" y="364"/>
                  <a:pt x="323" y="363"/>
                </a:cubicBezTo>
                <a:cubicBezTo>
                  <a:pt x="323" y="363"/>
                  <a:pt x="323" y="362"/>
                  <a:pt x="324" y="362"/>
                </a:cubicBezTo>
                <a:cubicBezTo>
                  <a:pt x="324" y="362"/>
                  <a:pt x="324" y="361"/>
                  <a:pt x="324" y="361"/>
                </a:cubicBezTo>
                <a:cubicBezTo>
                  <a:pt x="324" y="361"/>
                  <a:pt x="323" y="360"/>
                  <a:pt x="323" y="360"/>
                </a:cubicBezTo>
                <a:cubicBezTo>
                  <a:pt x="323" y="360"/>
                  <a:pt x="322" y="360"/>
                  <a:pt x="321" y="360"/>
                </a:cubicBezTo>
                <a:cubicBezTo>
                  <a:pt x="321" y="359"/>
                  <a:pt x="320" y="359"/>
                  <a:pt x="320" y="358"/>
                </a:cubicBezTo>
                <a:cubicBezTo>
                  <a:pt x="320" y="358"/>
                  <a:pt x="320" y="358"/>
                  <a:pt x="320" y="358"/>
                </a:cubicBezTo>
                <a:cubicBezTo>
                  <a:pt x="320" y="357"/>
                  <a:pt x="319" y="357"/>
                  <a:pt x="319" y="357"/>
                </a:cubicBezTo>
                <a:cubicBezTo>
                  <a:pt x="319" y="357"/>
                  <a:pt x="319" y="356"/>
                  <a:pt x="319" y="356"/>
                </a:cubicBezTo>
                <a:cubicBezTo>
                  <a:pt x="319" y="356"/>
                  <a:pt x="319" y="356"/>
                  <a:pt x="319" y="355"/>
                </a:cubicBezTo>
                <a:cubicBezTo>
                  <a:pt x="319" y="355"/>
                  <a:pt x="318" y="355"/>
                  <a:pt x="318" y="354"/>
                </a:cubicBezTo>
                <a:cubicBezTo>
                  <a:pt x="318" y="354"/>
                  <a:pt x="318" y="354"/>
                  <a:pt x="319" y="354"/>
                </a:cubicBezTo>
                <a:cubicBezTo>
                  <a:pt x="319" y="354"/>
                  <a:pt x="320" y="354"/>
                  <a:pt x="321" y="354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21" y="353"/>
                  <a:pt x="322" y="353"/>
                  <a:pt x="322" y="353"/>
                </a:cubicBezTo>
                <a:cubicBezTo>
                  <a:pt x="323" y="353"/>
                  <a:pt x="323" y="353"/>
                  <a:pt x="324" y="353"/>
                </a:cubicBezTo>
                <a:cubicBezTo>
                  <a:pt x="324" y="354"/>
                  <a:pt x="324" y="354"/>
                  <a:pt x="325" y="354"/>
                </a:cubicBezTo>
                <a:cubicBezTo>
                  <a:pt x="325" y="355"/>
                  <a:pt x="325" y="355"/>
                  <a:pt x="326" y="355"/>
                </a:cubicBezTo>
                <a:cubicBezTo>
                  <a:pt x="326" y="355"/>
                  <a:pt x="327" y="355"/>
                  <a:pt x="327" y="355"/>
                </a:cubicBezTo>
                <a:cubicBezTo>
                  <a:pt x="327" y="355"/>
                  <a:pt x="327" y="355"/>
                  <a:pt x="327" y="355"/>
                </a:cubicBezTo>
                <a:cubicBezTo>
                  <a:pt x="327" y="354"/>
                  <a:pt x="327" y="354"/>
                  <a:pt x="327" y="354"/>
                </a:cubicBezTo>
                <a:cubicBezTo>
                  <a:pt x="328" y="353"/>
                  <a:pt x="329" y="352"/>
                  <a:pt x="329" y="351"/>
                </a:cubicBezTo>
                <a:cubicBezTo>
                  <a:pt x="330" y="350"/>
                  <a:pt x="330" y="349"/>
                  <a:pt x="331" y="348"/>
                </a:cubicBezTo>
                <a:cubicBezTo>
                  <a:pt x="331" y="347"/>
                  <a:pt x="331" y="346"/>
                  <a:pt x="331" y="346"/>
                </a:cubicBezTo>
                <a:cubicBezTo>
                  <a:pt x="331" y="346"/>
                  <a:pt x="331" y="346"/>
                  <a:pt x="330" y="346"/>
                </a:cubicBezTo>
                <a:cubicBezTo>
                  <a:pt x="330" y="346"/>
                  <a:pt x="330" y="346"/>
                  <a:pt x="329" y="346"/>
                </a:cubicBezTo>
                <a:cubicBezTo>
                  <a:pt x="329" y="346"/>
                  <a:pt x="329" y="347"/>
                  <a:pt x="329" y="347"/>
                </a:cubicBezTo>
                <a:cubicBezTo>
                  <a:pt x="328" y="347"/>
                  <a:pt x="328" y="347"/>
                  <a:pt x="327" y="347"/>
                </a:cubicBezTo>
                <a:cubicBezTo>
                  <a:pt x="326" y="346"/>
                  <a:pt x="326" y="346"/>
                  <a:pt x="326" y="345"/>
                </a:cubicBezTo>
                <a:cubicBezTo>
                  <a:pt x="325" y="345"/>
                  <a:pt x="326" y="345"/>
                  <a:pt x="326" y="345"/>
                </a:cubicBezTo>
                <a:cubicBezTo>
                  <a:pt x="327" y="345"/>
                  <a:pt x="327" y="344"/>
                  <a:pt x="328" y="344"/>
                </a:cubicBezTo>
                <a:cubicBezTo>
                  <a:pt x="328" y="344"/>
                  <a:pt x="328" y="343"/>
                  <a:pt x="329" y="343"/>
                </a:cubicBezTo>
                <a:cubicBezTo>
                  <a:pt x="329" y="343"/>
                  <a:pt x="329" y="343"/>
                  <a:pt x="329" y="343"/>
                </a:cubicBezTo>
                <a:cubicBezTo>
                  <a:pt x="330" y="343"/>
                  <a:pt x="330" y="343"/>
                  <a:pt x="330" y="342"/>
                </a:cubicBezTo>
                <a:cubicBezTo>
                  <a:pt x="330" y="342"/>
                  <a:pt x="331" y="342"/>
                  <a:pt x="331" y="342"/>
                </a:cubicBezTo>
                <a:cubicBezTo>
                  <a:pt x="331" y="342"/>
                  <a:pt x="331" y="341"/>
                  <a:pt x="332" y="341"/>
                </a:cubicBezTo>
                <a:cubicBezTo>
                  <a:pt x="332" y="341"/>
                  <a:pt x="333" y="341"/>
                  <a:pt x="333" y="341"/>
                </a:cubicBezTo>
                <a:cubicBezTo>
                  <a:pt x="333" y="342"/>
                  <a:pt x="333" y="342"/>
                  <a:pt x="333" y="343"/>
                </a:cubicBezTo>
                <a:cubicBezTo>
                  <a:pt x="333" y="343"/>
                  <a:pt x="333" y="343"/>
                  <a:pt x="334" y="343"/>
                </a:cubicBezTo>
                <a:cubicBezTo>
                  <a:pt x="334" y="343"/>
                  <a:pt x="335" y="343"/>
                  <a:pt x="336" y="343"/>
                </a:cubicBezTo>
                <a:cubicBezTo>
                  <a:pt x="336" y="343"/>
                  <a:pt x="337" y="342"/>
                  <a:pt x="338" y="342"/>
                </a:cubicBezTo>
                <a:cubicBezTo>
                  <a:pt x="338" y="341"/>
                  <a:pt x="339" y="340"/>
                  <a:pt x="340" y="340"/>
                </a:cubicBezTo>
                <a:cubicBezTo>
                  <a:pt x="340" y="339"/>
                  <a:pt x="340" y="339"/>
                  <a:pt x="340" y="338"/>
                </a:cubicBezTo>
                <a:cubicBezTo>
                  <a:pt x="340" y="338"/>
                  <a:pt x="340" y="338"/>
                  <a:pt x="340" y="337"/>
                </a:cubicBezTo>
                <a:cubicBezTo>
                  <a:pt x="340" y="337"/>
                  <a:pt x="340" y="337"/>
                  <a:pt x="340" y="336"/>
                </a:cubicBezTo>
                <a:cubicBezTo>
                  <a:pt x="340" y="336"/>
                  <a:pt x="340" y="336"/>
                  <a:pt x="340" y="336"/>
                </a:cubicBezTo>
                <a:cubicBezTo>
                  <a:pt x="339" y="336"/>
                  <a:pt x="340" y="335"/>
                  <a:pt x="340" y="335"/>
                </a:cubicBezTo>
                <a:cubicBezTo>
                  <a:pt x="340" y="334"/>
                  <a:pt x="339" y="334"/>
                  <a:pt x="339" y="333"/>
                </a:cubicBezTo>
                <a:cubicBezTo>
                  <a:pt x="338" y="333"/>
                  <a:pt x="338" y="333"/>
                  <a:pt x="339" y="332"/>
                </a:cubicBezTo>
                <a:cubicBezTo>
                  <a:pt x="340" y="332"/>
                  <a:pt x="342" y="332"/>
                  <a:pt x="343" y="333"/>
                </a:cubicBezTo>
                <a:cubicBezTo>
                  <a:pt x="343" y="333"/>
                  <a:pt x="343" y="334"/>
                  <a:pt x="343" y="335"/>
                </a:cubicBezTo>
                <a:cubicBezTo>
                  <a:pt x="343" y="336"/>
                  <a:pt x="343" y="335"/>
                  <a:pt x="344" y="335"/>
                </a:cubicBezTo>
                <a:cubicBezTo>
                  <a:pt x="345" y="335"/>
                  <a:pt x="345" y="336"/>
                  <a:pt x="346" y="335"/>
                </a:cubicBezTo>
                <a:cubicBezTo>
                  <a:pt x="347" y="335"/>
                  <a:pt x="348" y="334"/>
                  <a:pt x="348" y="334"/>
                </a:cubicBezTo>
                <a:cubicBezTo>
                  <a:pt x="349" y="333"/>
                  <a:pt x="350" y="333"/>
                  <a:pt x="351" y="332"/>
                </a:cubicBezTo>
                <a:cubicBezTo>
                  <a:pt x="352" y="332"/>
                  <a:pt x="353" y="332"/>
                  <a:pt x="353" y="331"/>
                </a:cubicBezTo>
                <a:cubicBezTo>
                  <a:pt x="353" y="330"/>
                  <a:pt x="352" y="330"/>
                  <a:pt x="352" y="329"/>
                </a:cubicBezTo>
                <a:cubicBezTo>
                  <a:pt x="352" y="329"/>
                  <a:pt x="352" y="329"/>
                  <a:pt x="351" y="328"/>
                </a:cubicBezTo>
                <a:cubicBezTo>
                  <a:pt x="351" y="328"/>
                  <a:pt x="350" y="327"/>
                  <a:pt x="349" y="327"/>
                </a:cubicBezTo>
                <a:cubicBezTo>
                  <a:pt x="349" y="326"/>
                  <a:pt x="348" y="326"/>
                  <a:pt x="347" y="326"/>
                </a:cubicBezTo>
                <a:cubicBezTo>
                  <a:pt x="347" y="326"/>
                  <a:pt x="347" y="326"/>
                  <a:pt x="347" y="325"/>
                </a:cubicBezTo>
                <a:cubicBezTo>
                  <a:pt x="346" y="325"/>
                  <a:pt x="346" y="325"/>
                  <a:pt x="346" y="325"/>
                </a:cubicBezTo>
                <a:cubicBezTo>
                  <a:pt x="346" y="325"/>
                  <a:pt x="346" y="324"/>
                  <a:pt x="346" y="324"/>
                </a:cubicBezTo>
                <a:cubicBezTo>
                  <a:pt x="346" y="323"/>
                  <a:pt x="346" y="322"/>
                  <a:pt x="346" y="322"/>
                </a:cubicBezTo>
                <a:cubicBezTo>
                  <a:pt x="346" y="322"/>
                  <a:pt x="346" y="321"/>
                  <a:pt x="347" y="321"/>
                </a:cubicBezTo>
                <a:cubicBezTo>
                  <a:pt x="347" y="321"/>
                  <a:pt x="347" y="320"/>
                  <a:pt x="347" y="321"/>
                </a:cubicBezTo>
                <a:cubicBezTo>
                  <a:pt x="348" y="321"/>
                  <a:pt x="347" y="322"/>
                  <a:pt x="348" y="323"/>
                </a:cubicBezTo>
                <a:cubicBezTo>
                  <a:pt x="348" y="323"/>
                  <a:pt x="349" y="323"/>
                  <a:pt x="349" y="323"/>
                </a:cubicBezTo>
                <a:cubicBezTo>
                  <a:pt x="350" y="323"/>
                  <a:pt x="351" y="323"/>
                  <a:pt x="351" y="324"/>
                </a:cubicBezTo>
                <a:cubicBezTo>
                  <a:pt x="352" y="324"/>
                  <a:pt x="351" y="324"/>
                  <a:pt x="352" y="324"/>
                </a:cubicBezTo>
                <a:cubicBezTo>
                  <a:pt x="352" y="324"/>
                  <a:pt x="353" y="324"/>
                  <a:pt x="353" y="324"/>
                </a:cubicBezTo>
                <a:cubicBezTo>
                  <a:pt x="354" y="324"/>
                  <a:pt x="353" y="323"/>
                  <a:pt x="353" y="322"/>
                </a:cubicBezTo>
                <a:cubicBezTo>
                  <a:pt x="353" y="322"/>
                  <a:pt x="354" y="321"/>
                  <a:pt x="354" y="321"/>
                </a:cubicBezTo>
                <a:cubicBezTo>
                  <a:pt x="354" y="321"/>
                  <a:pt x="355" y="322"/>
                  <a:pt x="355" y="322"/>
                </a:cubicBezTo>
                <a:cubicBezTo>
                  <a:pt x="355" y="323"/>
                  <a:pt x="355" y="323"/>
                  <a:pt x="355" y="323"/>
                </a:cubicBezTo>
                <a:cubicBezTo>
                  <a:pt x="356" y="323"/>
                  <a:pt x="356" y="323"/>
                  <a:pt x="356" y="323"/>
                </a:cubicBezTo>
                <a:cubicBezTo>
                  <a:pt x="357" y="323"/>
                  <a:pt x="357" y="322"/>
                  <a:pt x="357" y="322"/>
                </a:cubicBezTo>
                <a:cubicBezTo>
                  <a:pt x="358" y="322"/>
                  <a:pt x="358" y="321"/>
                  <a:pt x="359" y="321"/>
                </a:cubicBezTo>
                <a:cubicBezTo>
                  <a:pt x="359" y="321"/>
                  <a:pt x="360" y="320"/>
                  <a:pt x="360" y="321"/>
                </a:cubicBezTo>
                <a:cubicBezTo>
                  <a:pt x="360" y="321"/>
                  <a:pt x="360" y="321"/>
                  <a:pt x="360" y="322"/>
                </a:cubicBezTo>
                <a:cubicBezTo>
                  <a:pt x="360" y="322"/>
                  <a:pt x="360" y="323"/>
                  <a:pt x="360" y="323"/>
                </a:cubicBezTo>
                <a:cubicBezTo>
                  <a:pt x="360" y="324"/>
                  <a:pt x="360" y="324"/>
                  <a:pt x="360" y="324"/>
                </a:cubicBezTo>
                <a:cubicBezTo>
                  <a:pt x="360" y="325"/>
                  <a:pt x="360" y="325"/>
                  <a:pt x="360" y="325"/>
                </a:cubicBezTo>
                <a:cubicBezTo>
                  <a:pt x="360" y="326"/>
                  <a:pt x="360" y="325"/>
                  <a:pt x="361" y="325"/>
                </a:cubicBezTo>
                <a:cubicBezTo>
                  <a:pt x="361" y="325"/>
                  <a:pt x="361" y="325"/>
                  <a:pt x="362" y="325"/>
                </a:cubicBezTo>
                <a:cubicBezTo>
                  <a:pt x="362" y="325"/>
                  <a:pt x="363" y="325"/>
                  <a:pt x="363" y="325"/>
                </a:cubicBezTo>
                <a:cubicBezTo>
                  <a:pt x="363" y="325"/>
                  <a:pt x="363" y="324"/>
                  <a:pt x="364" y="324"/>
                </a:cubicBezTo>
                <a:cubicBezTo>
                  <a:pt x="364" y="324"/>
                  <a:pt x="365" y="324"/>
                  <a:pt x="365" y="324"/>
                </a:cubicBezTo>
                <a:cubicBezTo>
                  <a:pt x="366" y="324"/>
                  <a:pt x="366" y="324"/>
                  <a:pt x="366" y="324"/>
                </a:cubicBezTo>
                <a:cubicBezTo>
                  <a:pt x="366" y="323"/>
                  <a:pt x="367" y="323"/>
                  <a:pt x="367" y="323"/>
                </a:cubicBezTo>
                <a:cubicBezTo>
                  <a:pt x="367" y="323"/>
                  <a:pt x="367" y="323"/>
                  <a:pt x="367" y="323"/>
                </a:cubicBezTo>
                <a:cubicBezTo>
                  <a:pt x="368" y="323"/>
                  <a:pt x="368" y="323"/>
                  <a:pt x="368" y="323"/>
                </a:cubicBezTo>
                <a:cubicBezTo>
                  <a:pt x="368" y="324"/>
                  <a:pt x="368" y="324"/>
                  <a:pt x="368" y="325"/>
                </a:cubicBezTo>
                <a:cubicBezTo>
                  <a:pt x="367" y="325"/>
                  <a:pt x="367" y="325"/>
                  <a:pt x="366" y="326"/>
                </a:cubicBezTo>
                <a:cubicBezTo>
                  <a:pt x="365" y="326"/>
                  <a:pt x="365" y="326"/>
                  <a:pt x="364" y="327"/>
                </a:cubicBezTo>
                <a:cubicBezTo>
                  <a:pt x="362" y="327"/>
                  <a:pt x="361" y="328"/>
                  <a:pt x="359" y="329"/>
                </a:cubicBezTo>
                <a:cubicBezTo>
                  <a:pt x="359" y="329"/>
                  <a:pt x="358" y="330"/>
                  <a:pt x="357" y="330"/>
                </a:cubicBezTo>
                <a:cubicBezTo>
                  <a:pt x="357" y="330"/>
                  <a:pt x="356" y="331"/>
                  <a:pt x="357" y="331"/>
                </a:cubicBezTo>
                <a:cubicBezTo>
                  <a:pt x="357" y="332"/>
                  <a:pt x="357" y="331"/>
                  <a:pt x="357" y="331"/>
                </a:cubicBezTo>
                <a:cubicBezTo>
                  <a:pt x="358" y="331"/>
                  <a:pt x="359" y="330"/>
                  <a:pt x="359" y="330"/>
                </a:cubicBezTo>
                <a:cubicBezTo>
                  <a:pt x="360" y="330"/>
                  <a:pt x="361" y="329"/>
                  <a:pt x="362" y="328"/>
                </a:cubicBezTo>
                <a:cubicBezTo>
                  <a:pt x="363" y="328"/>
                  <a:pt x="364" y="327"/>
                  <a:pt x="365" y="327"/>
                </a:cubicBezTo>
                <a:cubicBezTo>
                  <a:pt x="366" y="326"/>
                  <a:pt x="367" y="326"/>
                  <a:pt x="368" y="326"/>
                </a:cubicBezTo>
                <a:cubicBezTo>
                  <a:pt x="369" y="325"/>
                  <a:pt x="369" y="325"/>
                  <a:pt x="370" y="324"/>
                </a:cubicBezTo>
                <a:cubicBezTo>
                  <a:pt x="370" y="324"/>
                  <a:pt x="370" y="324"/>
                  <a:pt x="370" y="323"/>
                </a:cubicBezTo>
                <a:cubicBezTo>
                  <a:pt x="370" y="323"/>
                  <a:pt x="370" y="323"/>
                  <a:pt x="370" y="323"/>
                </a:cubicBezTo>
                <a:cubicBezTo>
                  <a:pt x="370" y="321"/>
                  <a:pt x="372" y="320"/>
                  <a:pt x="374" y="320"/>
                </a:cubicBezTo>
                <a:cubicBezTo>
                  <a:pt x="375" y="319"/>
                  <a:pt x="375" y="319"/>
                  <a:pt x="376" y="319"/>
                </a:cubicBezTo>
                <a:cubicBezTo>
                  <a:pt x="377" y="319"/>
                  <a:pt x="378" y="319"/>
                  <a:pt x="379" y="319"/>
                </a:cubicBezTo>
                <a:cubicBezTo>
                  <a:pt x="380" y="318"/>
                  <a:pt x="381" y="318"/>
                  <a:pt x="381" y="318"/>
                </a:cubicBezTo>
                <a:cubicBezTo>
                  <a:pt x="382" y="317"/>
                  <a:pt x="383" y="317"/>
                  <a:pt x="383" y="316"/>
                </a:cubicBezTo>
                <a:cubicBezTo>
                  <a:pt x="384" y="316"/>
                  <a:pt x="385" y="315"/>
                  <a:pt x="386" y="315"/>
                </a:cubicBezTo>
                <a:cubicBezTo>
                  <a:pt x="388" y="314"/>
                  <a:pt x="389" y="314"/>
                  <a:pt x="389" y="314"/>
                </a:cubicBezTo>
                <a:cubicBezTo>
                  <a:pt x="391" y="313"/>
                  <a:pt x="392" y="312"/>
                  <a:pt x="393" y="311"/>
                </a:cubicBezTo>
                <a:cubicBezTo>
                  <a:pt x="393" y="310"/>
                  <a:pt x="393" y="310"/>
                  <a:pt x="394" y="310"/>
                </a:cubicBezTo>
                <a:cubicBezTo>
                  <a:pt x="394" y="309"/>
                  <a:pt x="395" y="309"/>
                  <a:pt x="395" y="309"/>
                </a:cubicBezTo>
                <a:cubicBezTo>
                  <a:pt x="396" y="309"/>
                  <a:pt x="397" y="308"/>
                  <a:pt x="397" y="307"/>
                </a:cubicBezTo>
                <a:cubicBezTo>
                  <a:pt x="397" y="307"/>
                  <a:pt x="397" y="306"/>
                  <a:pt x="397" y="306"/>
                </a:cubicBezTo>
                <a:cubicBezTo>
                  <a:pt x="397" y="306"/>
                  <a:pt x="397" y="306"/>
                  <a:pt x="396" y="306"/>
                </a:cubicBezTo>
                <a:cubicBezTo>
                  <a:pt x="396" y="306"/>
                  <a:pt x="396" y="306"/>
                  <a:pt x="396" y="305"/>
                </a:cubicBezTo>
                <a:cubicBezTo>
                  <a:pt x="396" y="305"/>
                  <a:pt x="395" y="305"/>
                  <a:pt x="395" y="305"/>
                </a:cubicBezTo>
                <a:cubicBezTo>
                  <a:pt x="395" y="305"/>
                  <a:pt x="396" y="304"/>
                  <a:pt x="396" y="304"/>
                </a:cubicBezTo>
                <a:cubicBezTo>
                  <a:pt x="396" y="304"/>
                  <a:pt x="396" y="303"/>
                  <a:pt x="396" y="303"/>
                </a:cubicBezTo>
                <a:cubicBezTo>
                  <a:pt x="397" y="303"/>
                  <a:pt x="397" y="303"/>
                  <a:pt x="398" y="302"/>
                </a:cubicBezTo>
                <a:cubicBezTo>
                  <a:pt x="399" y="302"/>
                  <a:pt x="400" y="302"/>
                  <a:pt x="400" y="301"/>
                </a:cubicBezTo>
                <a:cubicBezTo>
                  <a:pt x="401" y="300"/>
                  <a:pt x="402" y="300"/>
                  <a:pt x="402" y="299"/>
                </a:cubicBezTo>
                <a:cubicBezTo>
                  <a:pt x="403" y="299"/>
                  <a:pt x="403" y="299"/>
                  <a:pt x="403" y="299"/>
                </a:cubicBezTo>
                <a:cubicBezTo>
                  <a:pt x="403" y="298"/>
                  <a:pt x="404" y="298"/>
                  <a:pt x="404" y="298"/>
                </a:cubicBezTo>
                <a:cubicBezTo>
                  <a:pt x="404" y="298"/>
                  <a:pt x="405" y="298"/>
                  <a:pt x="406" y="297"/>
                </a:cubicBezTo>
                <a:cubicBezTo>
                  <a:pt x="406" y="297"/>
                  <a:pt x="406" y="296"/>
                  <a:pt x="406" y="296"/>
                </a:cubicBezTo>
                <a:cubicBezTo>
                  <a:pt x="406" y="295"/>
                  <a:pt x="406" y="295"/>
                  <a:pt x="406" y="294"/>
                </a:cubicBezTo>
                <a:cubicBezTo>
                  <a:pt x="406" y="293"/>
                  <a:pt x="406" y="293"/>
                  <a:pt x="405" y="292"/>
                </a:cubicBezTo>
                <a:cubicBezTo>
                  <a:pt x="405" y="292"/>
                  <a:pt x="405" y="292"/>
                  <a:pt x="405" y="292"/>
                </a:cubicBezTo>
                <a:cubicBezTo>
                  <a:pt x="405" y="292"/>
                  <a:pt x="404" y="292"/>
                  <a:pt x="404" y="291"/>
                </a:cubicBezTo>
                <a:cubicBezTo>
                  <a:pt x="403" y="291"/>
                  <a:pt x="404" y="291"/>
                  <a:pt x="404" y="290"/>
                </a:cubicBezTo>
                <a:cubicBezTo>
                  <a:pt x="404" y="290"/>
                  <a:pt x="405" y="290"/>
                  <a:pt x="404" y="289"/>
                </a:cubicBezTo>
                <a:cubicBezTo>
                  <a:pt x="404" y="289"/>
                  <a:pt x="403" y="289"/>
                  <a:pt x="403" y="289"/>
                </a:cubicBezTo>
                <a:cubicBezTo>
                  <a:pt x="403" y="289"/>
                  <a:pt x="403" y="289"/>
                  <a:pt x="402" y="289"/>
                </a:cubicBezTo>
                <a:cubicBezTo>
                  <a:pt x="402" y="288"/>
                  <a:pt x="402" y="288"/>
                  <a:pt x="401" y="287"/>
                </a:cubicBezTo>
                <a:cubicBezTo>
                  <a:pt x="402" y="287"/>
                  <a:pt x="402" y="287"/>
                  <a:pt x="402" y="286"/>
                </a:cubicBezTo>
                <a:cubicBezTo>
                  <a:pt x="402" y="286"/>
                  <a:pt x="402" y="285"/>
                  <a:pt x="401" y="285"/>
                </a:cubicBezTo>
                <a:cubicBezTo>
                  <a:pt x="402" y="285"/>
                  <a:pt x="402" y="285"/>
                  <a:pt x="402" y="284"/>
                </a:cubicBezTo>
                <a:cubicBezTo>
                  <a:pt x="402" y="284"/>
                  <a:pt x="402" y="283"/>
                  <a:pt x="402" y="283"/>
                </a:cubicBezTo>
                <a:cubicBezTo>
                  <a:pt x="402" y="281"/>
                  <a:pt x="401" y="281"/>
                  <a:pt x="400" y="281"/>
                </a:cubicBezTo>
                <a:cubicBezTo>
                  <a:pt x="400" y="281"/>
                  <a:pt x="399" y="280"/>
                  <a:pt x="399" y="280"/>
                </a:cubicBezTo>
                <a:cubicBezTo>
                  <a:pt x="399" y="279"/>
                  <a:pt x="399" y="279"/>
                  <a:pt x="399" y="279"/>
                </a:cubicBezTo>
                <a:cubicBezTo>
                  <a:pt x="399" y="278"/>
                  <a:pt x="399" y="277"/>
                  <a:pt x="399" y="277"/>
                </a:cubicBezTo>
                <a:cubicBezTo>
                  <a:pt x="400" y="276"/>
                  <a:pt x="400" y="277"/>
                  <a:pt x="400" y="278"/>
                </a:cubicBezTo>
                <a:cubicBezTo>
                  <a:pt x="401" y="278"/>
                  <a:pt x="401" y="279"/>
                  <a:pt x="401" y="279"/>
                </a:cubicBezTo>
                <a:cubicBezTo>
                  <a:pt x="401" y="280"/>
                  <a:pt x="402" y="280"/>
                  <a:pt x="402" y="280"/>
                </a:cubicBezTo>
                <a:cubicBezTo>
                  <a:pt x="403" y="281"/>
                  <a:pt x="404" y="282"/>
                  <a:pt x="404" y="282"/>
                </a:cubicBezTo>
                <a:cubicBezTo>
                  <a:pt x="405" y="283"/>
                  <a:pt x="406" y="283"/>
                  <a:pt x="407" y="282"/>
                </a:cubicBezTo>
                <a:cubicBezTo>
                  <a:pt x="407" y="282"/>
                  <a:pt x="407" y="281"/>
                  <a:pt x="407" y="281"/>
                </a:cubicBezTo>
                <a:cubicBezTo>
                  <a:pt x="408" y="280"/>
                  <a:pt x="408" y="279"/>
                  <a:pt x="409" y="279"/>
                </a:cubicBezTo>
                <a:cubicBezTo>
                  <a:pt x="410" y="279"/>
                  <a:pt x="411" y="279"/>
                  <a:pt x="412" y="279"/>
                </a:cubicBezTo>
                <a:cubicBezTo>
                  <a:pt x="412" y="279"/>
                  <a:pt x="412" y="279"/>
                  <a:pt x="412" y="280"/>
                </a:cubicBezTo>
                <a:cubicBezTo>
                  <a:pt x="413" y="280"/>
                  <a:pt x="412" y="281"/>
                  <a:pt x="412" y="281"/>
                </a:cubicBezTo>
                <a:cubicBezTo>
                  <a:pt x="412" y="282"/>
                  <a:pt x="412" y="282"/>
                  <a:pt x="412" y="283"/>
                </a:cubicBezTo>
                <a:cubicBezTo>
                  <a:pt x="412" y="283"/>
                  <a:pt x="412" y="284"/>
                  <a:pt x="412" y="285"/>
                </a:cubicBezTo>
                <a:cubicBezTo>
                  <a:pt x="412" y="285"/>
                  <a:pt x="411" y="286"/>
                  <a:pt x="411" y="286"/>
                </a:cubicBezTo>
                <a:cubicBezTo>
                  <a:pt x="411" y="287"/>
                  <a:pt x="411" y="287"/>
                  <a:pt x="411" y="288"/>
                </a:cubicBezTo>
                <a:cubicBezTo>
                  <a:pt x="411" y="289"/>
                  <a:pt x="412" y="288"/>
                  <a:pt x="412" y="288"/>
                </a:cubicBezTo>
                <a:cubicBezTo>
                  <a:pt x="413" y="288"/>
                  <a:pt x="414" y="288"/>
                  <a:pt x="415" y="287"/>
                </a:cubicBezTo>
                <a:cubicBezTo>
                  <a:pt x="416" y="287"/>
                  <a:pt x="417" y="287"/>
                  <a:pt x="417" y="287"/>
                </a:cubicBezTo>
                <a:cubicBezTo>
                  <a:pt x="418" y="287"/>
                  <a:pt x="419" y="287"/>
                  <a:pt x="419" y="288"/>
                </a:cubicBezTo>
                <a:cubicBezTo>
                  <a:pt x="419" y="288"/>
                  <a:pt x="418" y="288"/>
                  <a:pt x="418" y="289"/>
                </a:cubicBezTo>
                <a:cubicBezTo>
                  <a:pt x="417" y="289"/>
                  <a:pt x="416" y="290"/>
                  <a:pt x="416" y="290"/>
                </a:cubicBezTo>
                <a:cubicBezTo>
                  <a:pt x="415" y="291"/>
                  <a:pt x="413" y="291"/>
                  <a:pt x="412" y="291"/>
                </a:cubicBezTo>
                <a:cubicBezTo>
                  <a:pt x="412" y="292"/>
                  <a:pt x="411" y="293"/>
                  <a:pt x="411" y="293"/>
                </a:cubicBezTo>
                <a:cubicBezTo>
                  <a:pt x="410" y="293"/>
                  <a:pt x="410" y="294"/>
                  <a:pt x="410" y="294"/>
                </a:cubicBezTo>
                <a:cubicBezTo>
                  <a:pt x="410" y="294"/>
                  <a:pt x="411" y="293"/>
                  <a:pt x="412" y="293"/>
                </a:cubicBezTo>
                <a:cubicBezTo>
                  <a:pt x="413" y="293"/>
                  <a:pt x="414" y="292"/>
                  <a:pt x="415" y="291"/>
                </a:cubicBezTo>
                <a:cubicBezTo>
                  <a:pt x="417" y="290"/>
                  <a:pt x="419" y="289"/>
                  <a:pt x="421" y="289"/>
                </a:cubicBezTo>
                <a:cubicBezTo>
                  <a:pt x="423" y="288"/>
                  <a:pt x="425" y="287"/>
                  <a:pt x="427" y="286"/>
                </a:cubicBezTo>
                <a:cubicBezTo>
                  <a:pt x="428" y="286"/>
                  <a:pt x="429" y="285"/>
                  <a:pt x="431" y="284"/>
                </a:cubicBezTo>
                <a:cubicBezTo>
                  <a:pt x="432" y="284"/>
                  <a:pt x="433" y="284"/>
                  <a:pt x="434" y="283"/>
                </a:cubicBezTo>
                <a:cubicBezTo>
                  <a:pt x="434" y="283"/>
                  <a:pt x="435" y="283"/>
                  <a:pt x="435" y="283"/>
                </a:cubicBezTo>
                <a:cubicBezTo>
                  <a:pt x="436" y="282"/>
                  <a:pt x="438" y="282"/>
                  <a:pt x="439" y="282"/>
                </a:cubicBezTo>
                <a:cubicBezTo>
                  <a:pt x="440" y="283"/>
                  <a:pt x="441" y="283"/>
                  <a:pt x="441" y="282"/>
                </a:cubicBezTo>
                <a:cubicBezTo>
                  <a:pt x="442" y="281"/>
                  <a:pt x="441" y="281"/>
                  <a:pt x="441" y="280"/>
                </a:cubicBezTo>
                <a:cubicBezTo>
                  <a:pt x="440" y="280"/>
                  <a:pt x="439" y="279"/>
                  <a:pt x="439" y="279"/>
                </a:cubicBezTo>
                <a:cubicBezTo>
                  <a:pt x="439" y="278"/>
                  <a:pt x="439" y="277"/>
                  <a:pt x="439" y="277"/>
                </a:cubicBezTo>
                <a:cubicBezTo>
                  <a:pt x="439" y="276"/>
                  <a:pt x="439" y="276"/>
                  <a:pt x="440" y="275"/>
                </a:cubicBezTo>
                <a:cubicBezTo>
                  <a:pt x="440" y="274"/>
                  <a:pt x="440" y="274"/>
                  <a:pt x="441" y="273"/>
                </a:cubicBezTo>
                <a:cubicBezTo>
                  <a:pt x="441" y="272"/>
                  <a:pt x="440" y="272"/>
                  <a:pt x="441" y="271"/>
                </a:cubicBezTo>
                <a:cubicBezTo>
                  <a:pt x="441" y="270"/>
                  <a:pt x="443" y="270"/>
                  <a:pt x="443" y="271"/>
                </a:cubicBezTo>
                <a:cubicBezTo>
                  <a:pt x="444" y="269"/>
                  <a:pt x="446" y="267"/>
                  <a:pt x="446" y="267"/>
                </a:cubicBezTo>
                <a:cubicBezTo>
                  <a:pt x="446" y="266"/>
                  <a:pt x="446" y="262"/>
                  <a:pt x="446" y="262"/>
                </a:cubicBezTo>
                <a:cubicBezTo>
                  <a:pt x="446" y="261"/>
                  <a:pt x="446" y="259"/>
                  <a:pt x="446" y="258"/>
                </a:cubicBezTo>
                <a:cubicBezTo>
                  <a:pt x="446" y="258"/>
                  <a:pt x="445" y="257"/>
                  <a:pt x="444" y="256"/>
                </a:cubicBezTo>
                <a:cubicBezTo>
                  <a:pt x="444" y="255"/>
                  <a:pt x="445" y="255"/>
                  <a:pt x="445" y="254"/>
                </a:cubicBezTo>
                <a:cubicBezTo>
                  <a:pt x="445" y="254"/>
                  <a:pt x="446" y="253"/>
                  <a:pt x="446" y="252"/>
                </a:cubicBezTo>
                <a:cubicBezTo>
                  <a:pt x="446" y="252"/>
                  <a:pt x="446" y="249"/>
                  <a:pt x="446" y="249"/>
                </a:cubicBezTo>
                <a:cubicBezTo>
                  <a:pt x="446" y="248"/>
                  <a:pt x="445" y="247"/>
                  <a:pt x="445" y="247"/>
                </a:cubicBezTo>
                <a:cubicBezTo>
                  <a:pt x="445" y="246"/>
                  <a:pt x="447" y="246"/>
                  <a:pt x="447" y="245"/>
                </a:cubicBezTo>
                <a:cubicBezTo>
                  <a:pt x="448" y="245"/>
                  <a:pt x="449" y="242"/>
                  <a:pt x="450" y="241"/>
                </a:cubicBezTo>
                <a:cubicBezTo>
                  <a:pt x="450" y="240"/>
                  <a:pt x="451" y="237"/>
                  <a:pt x="451" y="237"/>
                </a:cubicBezTo>
                <a:cubicBezTo>
                  <a:pt x="451" y="236"/>
                  <a:pt x="452" y="234"/>
                  <a:pt x="452" y="234"/>
                </a:cubicBezTo>
                <a:cubicBezTo>
                  <a:pt x="452" y="233"/>
                  <a:pt x="452" y="232"/>
                  <a:pt x="452" y="232"/>
                </a:cubicBezTo>
                <a:cubicBezTo>
                  <a:pt x="452" y="231"/>
                  <a:pt x="451" y="230"/>
                  <a:pt x="451" y="229"/>
                </a:cubicBez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8" name="Freeform 16">
            <a:extLst>
              <a:ext uri="{FF2B5EF4-FFF2-40B4-BE49-F238E27FC236}">
                <a16:creationId xmlns:a16="http://schemas.microsoft.com/office/drawing/2014/main" id="{4D9A052D-2182-4373-B50B-4E5598E58FE5}"/>
              </a:ext>
            </a:extLst>
          </p:cNvPr>
          <p:cNvSpPr>
            <a:spLocks/>
          </p:cNvSpPr>
          <p:nvPr/>
        </p:nvSpPr>
        <p:spPr bwMode="auto">
          <a:xfrm>
            <a:off x="8707308" y="3574395"/>
            <a:ext cx="1179673" cy="284179"/>
          </a:xfrm>
          <a:custGeom>
            <a:avLst/>
            <a:gdLst>
              <a:gd name="T0" fmla="*/ 211 w 298"/>
              <a:gd name="T1" fmla="*/ 62 h 72"/>
              <a:gd name="T2" fmla="*/ 216 w 298"/>
              <a:gd name="T3" fmla="*/ 58 h 72"/>
              <a:gd name="T4" fmla="*/ 217 w 298"/>
              <a:gd name="T5" fmla="*/ 54 h 72"/>
              <a:gd name="T6" fmla="*/ 226 w 298"/>
              <a:gd name="T7" fmla="*/ 48 h 72"/>
              <a:gd name="T8" fmla="*/ 240 w 298"/>
              <a:gd name="T9" fmla="*/ 44 h 72"/>
              <a:gd name="T10" fmla="*/ 243 w 298"/>
              <a:gd name="T11" fmla="*/ 41 h 72"/>
              <a:gd name="T12" fmla="*/ 248 w 298"/>
              <a:gd name="T13" fmla="*/ 38 h 72"/>
              <a:gd name="T14" fmla="*/ 254 w 298"/>
              <a:gd name="T15" fmla="*/ 37 h 72"/>
              <a:gd name="T16" fmla="*/ 257 w 298"/>
              <a:gd name="T17" fmla="*/ 31 h 72"/>
              <a:gd name="T18" fmla="*/ 263 w 298"/>
              <a:gd name="T19" fmla="*/ 27 h 72"/>
              <a:gd name="T20" fmla="*/ 265 w 298"/>
              <a:gd name="T21" fmla="*/ 30 h 72"/>
              <a:gd name="T22" fmla="*/ 272 w 298"/>
              <a:gd name="T23" fmla="*/ 26 h 72"/>
              <a:gd name="T24" fmla="*/ 279 w 298"/>
              <a:gd name="T25" fmla="*/ 22 h 72"/>
              <a:gd name="T26" fmla="*/ 286 w 298"/>
              <a:gd name="T27" fmla="*/ 23 h 72"/>
              <a:gd name="T28" fmla="*/ 293 w 298"/>
              <a:gd name="T29" fmla="*/ 14 h 72"/>
              <a:gd name="T30" fmla="*/ 296 w 298"/>
              <a:gd name="T31" fmla="*/ 11 h 72"/>
              <a:gd name="T32" fmla="*/ 298 w 298"/>
              <a:gd name="T33" fmla="*/ 4 h 72"/>
              <a:gd name="T34" fmla="*/ 214 w 298"/>
              <a:gd name="T35" fmla="*/ 3 h 72"/>
              <a:gd name="T36" fmla="*/ 104 w 298"/>
              <a:gd name="T37" fmla="*/ 2 h 72"/>
              <a:gd name="T38" fmla="*/ 77 w 298"/>
              <a:gd name="T39" fmla="*/ 0 h 72"/>
              <a:gd name="T40" fmla="*/ 30 w 298"/>
              <a:gd name="T41" fmla="*/ 8 h 72"/>
              <a:gd name="T42" fmla="*/ 28 w 298"/>
              <a:gd name="T43" fmla="*/ 8 h 72"/>
              <a:gd name="T44" fmla="*/ 28 w 298"/>
              <a:gd name="T45" fmla="*/ 5 h 72"/>
              <a:gd name="T46" fmla="*/ 26 w 298"/>
              <a:gd name="T47" fmla="*/ 6 h 72"/>
              <a:gd name="T48" fmla="*/ 25 w 298"/>
              <a:gd name="T49" fmla="*/ 14 h 72"/>
              <a:gd name="T50" fmla="*/ 25 w 298"/>
              <a:gd name="T51" fmla="*/ 17 h 72"/>
              <a:gd name="T52" fmla="*/ 22 w 298"/>
              <a:gd name="T53" fmla="*/ 18 h 72"/>
              <a:gd name="T54" fmla="*/ 23 w 298"/>
              <a:gd name="T55" fmla="*/ 20 h 72"/>
              <a:gd name="T56" fmla="*/ 22 w 298"/>
              <a:gd name="T57" fmla="*/ 25 h 72"/>
              <a:gd name="T58" fmla="*/ 21 w 298"/>
              <a:gd name="T59" fmla="*/ 27 h 72"/>
              <a:gd name="T60" fmla="*/ 20 w 298"/>
              <a:gd name="T61" fmla="*/ 29 h 72"/>
              <a:gd name="T62" fmla="*/ 21 w 298"/>
              <a:gd name="T63" fmla="*/ 34 h 72"/>
              <a:gd name="T64" fmla="*/ 19 w 298"/>
              <a:gd name="T65" fmla="*/ 36 h 72"/>
              <a:gd name="T66" fmla="*/ 17 w 298"/>
              <a:gd name="T67" fmla="*/ 38 h 72"/>
              <a:gd name="T68" fmla="*/ 14 w 298"/>
              <a:gd name="T69" fmla="*/ 40 h 72"/>
              <a:gd name="T70" fmla="*/ 13 w 298"/>
              <a:gd name="T71" fmla="*/ 43 h 72"/>
              <a:gd name="T72" fmla="*/ 14 w 298"/>
              <a:gd name="T73" fmla="*/ 46 h 72"/>
              <a:gd name="T74" fmla="*/ 13 w 298"/>
              <a:gd name="T75" fmla="*/ 49 h 72"/>
              <a:gd name="T76" fmla="*/ 9 w 298"/>
              <a:gd name="T77" fmla="*/ 49 h 72"/>
              <a:gd name="T78" fmla="*/ 8 w 298"/>
              <a:gd name="T79" fmla="*/ 54 h 72"/>
              <a:gd name="T80" fmla="*/ 8 w 298"/>
              <a:gd name="T81" fmla="*/ 51 h 72"/>
              <a:gd name="T82" fmla="*/ 6 w 298"/>
              <a:gd name="T83" fmla="*/ 55 h 72"/>
              <a:gd name="T84" fmla="*/ 8 w 298"/>
              <a:gd name="T85" fmla="*/ 56 h 72"/>
              <a:gd name="T86" fmla="*/ 6 w 298"/>
              <a:gd name="T87" fmla="*/ 59 h 72"/>
              <a:gd name="T88" fmla="*/ 6 w 298"/>
              <a:gd name="T89" fmla="*/ 62 h 72"/>
              <a:gd name="T90" fmla="*/ 7 w 298"/>
              <a:gd name="T91" fmla="*/ 64 h 72"/>
              <a:gd name="T92" fmla="*/ 5 w 298"/>
              <a:gd name="T93" fmla="*/ 66 h 72"/>
              <a:gd name="T94" fmla="*/ 0 w 298"/>
              <a:gd name="T95" fmla="*/ 72 h 72"/>
              <a:gd name="T96" fmla="*/ 207 w 298"/>
              <a:gd name="T97" fmla="*/ 6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98" h="72">
                <a:moveTo>
                  <a:pt x="207" y="62"/>
                </a:moveTo>
                <a:cubicBezTo>
                  <a:pt x="208" y="61"/>
                  <a:pt x="209" y="60"/>
                  <a:pt x="210" y="60"/>
                </a:cubicBezTo>
                <a:cubicBezTo>
                  <a:pt x="210" y="60"/>
                  <a:pt x="211" y="62"/>
                  <a:pt x="211" y="62"/>
                </a:cubicBezTo>
                <a:cubicBezTo>
                  <a:pt x="211" y="62"/>
                  <a:pt x="213" y="61"/>
                  <a:pt x="213" y="61"/>
                </a:cubicBezTo>
                <a:cubicBezTo>
                  <a:pt x="214" y="61"/>
                  <a:pt x="215" y="60"/>
                  <a:pt x="216" y="60"/>
                </a:cubicBezTo>
                <a:cubicBezTo>
                  <a:pt x="216" y="60"/>
                  <a:pt x="217" y="59"/>
                  <a:pt x="216" y="58"/>
                </a:cubicBezTo>
                <a:cubicBezTo>
                  <a:pt x="216" y="58"/>
                  <a:pt x="216" y="57"/>
                  <a:pt x="216" y="57"/>
                </a:cubicBezTo>
                <a:cubicBezTo>
                  <a:pt x="216" y="57"/>
                  <a:pt x="217" y="56"/>
                  <a:pt x="217" y="56"/>
                </a:cubicBezTo>
                <a:cubicBezTo>
                  <a:pt x="217" y="55"/>
                  <a:pt x="217" y="54"/>
                  <a:pt x="217" y="54"/>
                </a:cubicBezTo>
                <a:cubicBezTo>
                  <a:pt x="217" y="54"/>
                  <a:pt x="220" y="51"/>
                  <a:pt x="220" y="51"/>
                </a:cubicBezTo>
                <a:cubicBezTo>
                  <a:pt x="220" y="51"/>
                  <a:pt x="224" y="48"/>
                  <a:pt x="224" y="48"/>
                </a:cubicBezTo>
                <a:cubicBezTo>
                  <a:pt x="224" y="48"/>
                  <a:pt x="226" y="48"/>
                  <a:pt x="226" y="48"/>
                </a:cubicBezTo>
                <a:cubicBezTo>
                  <a:pt x="235" y="48"/>
                  <a:pt x="235" y="48"/>
                  <a:pt x="235" y="48"/>
                </a:cubicBezTo>
                <a:cubicBezTo>
                  <a:pt x="235" y="48"/>
                  <a:pt x="238" y="45"/>
                  <a:pt x="238" y="45"/>
                </a:cubicBezTo>
                <a:cubicBezTo>
                  <a:pt x="239" y="44"/>
                  <a:pt x="240" y="44"/>
                  <a:pt x="240" y="44"/>
                </a:cubicBezTo>
                <a:cubicBezTo>
                  <a:pt x="240" y="43"/>
                  <a:pt x="242" y="43"/>
                  <a:pt x="242" y="43"/>
                </a:cubicBezTo>
                <a:cubicBezTo>
                  <a:pt x="242" y="43"/>
                  <a:pt x="243" y="43"/>
                  <a:pt x="243" y="42"/>
                </a:cubicBezTo>
                <a:cubicBezTo>
                  <a:pt x="243" y="42"/>
                  <a:pt x="243" y="41"/>
                  <a:pt x="243" y="41"/>
                </a:cubicBezTo>
                <a:cubicBezTo>
                  <a:pt x="244" y="41"/>
                  <a:pt x="245" y="41"/>
                  <a:pt x="245" y="41"/>
                </a:cubicBezTo>
                <a:cubicBezTo>
                  <a:pt x="245" y="40"/>
                  <a:pt x="246" y="40"/>
                  <a:pt x="247" y="39"/>
                </a:cubicBezTo>
                <a:cubicBezTo>
                  <a:pt x="247" y="39"/>
                  <a:pt x="247" y="39"/>
                  <a:pt x="248" y="38"/>
                </a:cubicBezTo>
                <a:cubicBezTo>
                  <a:pt x="248" y="38"/>
                  <a:pt x="250" y="38"/>
                  <a:pt x="250" y="38"/>
                </a:cubicBezTo>
                <a:cubicBezTo>
                  <a:pt x="251" y="38"/>
                  <a:pt x="252" y="38"/>
                  <a:pt x="252" y="38"/>
                </a:cubicBezTo>
                <a:cubicBezTo>
                  <a:pt x="253" y="38"/>
                  <a:pt x="253" y="37"/>
                  <a:pt x="254" y="37"/>
                </a:cubicBezTo>
                <a:cubicBezTo>
                  <a:pt x="254" y="36"/>
                  <a:pt x="255" y="35"/>
                  <a:pt x="255" y="34"/>
                </a:cubicBezTo>
                <a:cubicBezTo>
                  <a:pt x="255" y="34"/>
                  <a:pt x="255" y="33"/>
                  <a:pt x="255" y="32"/>
                </a:cubicBezTo>
                <a:cubicBezTo>
                  <a:pt x="256" y="32"/>
                  <a:pt x="257" y="31"/>
                  <a:pt x="257" y="31"/>
                </a:cubicBezTo>
                <a:cubicBezTo>
                  <a:pt x="258" y="32"/>
                  <a:pt x="259" y="32"/>
                  <a:pt x="259" y="32"/>
                </a:cubicBezTo>
                <a:cubicBezTo>
                  <a:pt x="260" y="29"/>
                  <a:pt x="260" y="29"/>
                  <a:pt x="260" y="29"/>
                </a:cubicBezTo>
                <a:cubicBezTo>
                  <a:pt x="260" y="29"/>
                  <a:pt x="262" y="27"/>
                  <a:pt x="263" y="27"/>
                </a:cubicBezTo>
                <a:cubicBezTo>
                  <a:pt x="263" y="27"/>
                  <a:pt x="264" y="26"/>
                  <a:pt x="265" y="26"/>
                </a:cubicBezTo>
                <a:cubicBezTo>
                  <a:pt x="265" y="26"/>
                  <a:pt x="266" y="28"/>
                  <a:pt x="266" y="28"/>
                </a:cubicBezTo>
                <a:cubicBezTo>
                  <a:pt x="266" y="28"/>
                  <a:pt x="265" y="29"/>
                  <a:pt x="265" y="30"/>
                </a:cubicBezTo>
                <a:cubicBezTo>
                  <a:pt x="265" y="30"/>
                  <a:pt x="267" y="31"/>
                  <a:pt x="268" y="31"/>
                </a:cubicBezTo>
                <a:cubicBezTo>
                  <a:pt x="269" y="30"/>
                  <a:pt x="270" y="30"/>
                  <a:pt x="271" y="29"/>
                </a:cubicBezTo>
                <a:cubicBezTo>
                  <a:pt x="271" y="28"/>
                  <a:pt x="271" y="27"/>
                  <a:pt x="272" y="26"/>
                </a:cubicBezTo>
                <a:cubicBezTo>
                  <a:pt x="273" y="25"/>
                  <a:pt x="273" y="24"/>
                  <a:pt x="274" y="24"/>
                </a:cubicBezTo>
                <a:cubicBezTo>
                  <a:pt x="276" y="23"/>
                  <a:pt x="277" y="24"/>
                  <a:pt x="278" y="23"/>
                </a:cubicBezTo>
                <a:cubicBezTo>
                  <a:pt x="278" y="23"/>
                  <a:pt x="279" y="23"/>
                  <a:pt x="279" y="22"/>
                </a:cubicBezTo>
                <a:cubicBezTo>
                  <a:pt x="280" y="22"/>
                  <a:pt x="280" y="23"/>
                  <a:pt x="281" y="23"/>
                </a:cubicBezTo>
                <a:cubicBezTo>
                  <a:pt x="282" y="24"/>
                  <a:pt x="283" y="25"/>
                  <a:pt x="284" y="25"/>
                </a:cubicBezTo>
                <a:cubicBezTo>
                  <a:pt x="284" y="24"/>
                  <a:pt x="285" y="24"/>
                  <a:pt x="286" y="23"/>
                </a:cubicBezTo>
                <a:cubicBezTo>
                  <a:pt x="286" y="23"/>
                  <a:pt x="288" y="18"/>
                  <a:pt x="289" y="17"/>
                </a:cubicBezTo>
                <a:cubicBezTo>
                  <a:pt x="290" y="16"/>
                  <a:pt x="291" y="15"/>
                  <a:pt x="292" y="15"/>
                </a:cubicBezTo>
                <a:cubicBezTo>
                  <a:pt x="292" y="14"/>
                  <a:pt x="293" y="13"/>
                  <a:pt x="293" y="14"/>
                </a:cubicBezTo>
                <a:cubicBezTo>
                  <a:pt x="294" y="14"/>
                  <a:pt x="296" y="14"/>
                  <a:pt x="296" y="15"/>
                </a:cubicBezTo>
                <a:cubicBezTo>
                  <a:pt x="297" y="15"/>
                  <a:pt x="296" y="13"/>
                  <a:pt x="296" y="13"/>
                </a:cubicBezTo>
                <a:cubicBezTo>
                  <a:pt x="296" y="12"/>
                  <a:pt x="295" y="12"/>
                  <a:pt x="296" y="11"/>
                </a:cubicBezTo>
                <a:cubicBezTo>
                  <a:pt x="296" y="10"/>
                  <a:pt x="297" y="10"/>
                  <a:pt x="297" y="9"/>
                </a:cubicBezTo>
                <a:cubicBezTo>
                  <a:pt x="297" y="9"/>
                  <a:pt x="296" y="7"/>
                  <a:pt x="296" y="7"/>
                </a:cubicBezTo>
                <a:cubicBezTo>
                  <a:pt x="296" y="6"/>
                  <a:pt x="298" y="4"/>
                  <a:pt x="298" y="4"/>
                </a:cubicBezTo>
                <a:cubicBezTo>
                  <a:pt x="298" y="3"/>
                  <a:pt x="298" y="3"/>
                  <a:pt x="298" y="3"/>
                </a:cubicBezTo>
                <a:cubicBezTo>
                  <a:pt x="260" y="3"/>
                  <a:pt x="260" y="3"/>
                  <a:pt x="260" y="3"/>
                </a:cubicBezTo>
                <a:cubicBezTo>
                  <a:pt x="214" y="3"/>
                  <a:pt x="214" y="3"/>
                  <a:pt x="214" y="3"/>
                </a:cubicBezTo>
                <a:cubicBezTo>
                  <a:pt x="172" y="3"/>
                  <a:pt x="172" y="3"/>
                  <a:pt x="172" y="3"/>
                </a:cubicBezTo>
                <a:cubicBezTo>
                  <a:pt x="127" y="1"/>
                  <a:pt x="127" y="1"/>
                  <a:pt x="127" y="1"/>
                </a:cubicBezTo>
                <a:cubicBezTo>
                  <a:pt x="104" y="2"/>
                  <a:pt x="104" y="2"/>
                  <a:pt x="104" y="2"/>
                </a:cubicBezTo>
                <a:cubicBezTo>
                  <a:pt x="85" y="2"/>
                  <a:pt x="85" y="2"/>
                  <a:pt x="85" y="2"/>
                </a:cubicBezTo>
                <a:cubicBezTo>
                  <a:pt x="84" y="0"/>
                  <a:pt x="84" y="0"/>
                  <a:pt x="84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8" y="3"/>
                  <a:pt x="78" y="3"/>
                  <a:pt x="78" y="3"/>
                </a:cubicBezTo>
                <a:cubicBezTo>
                  <a:pt x="77" y="8"/>
                  <a:pt x="77" y="8"/>
                  <a:pt x="77" y="8"/>
                </a:cubicBezTo>
                <a:cubicBezTo>
                  <a:pt x="30" y="8"/>
                  <a:pt x="30" y="8"/>
                  <a:pt x="30" y="8"/>
                </a:cubicBezTo>
                <a:cubicBezTo>
                  <a:pt x="30" y="8"/>
                  <a:pt x="30" y="9"/>
                  <a:pt x="29" y="9"/>
                </a:cubicBezTo>
                <a:cubicBezTo>
                  <a:pt x="29" y="9"/>
                  <a:pt x="29" y="10"/>
                  <a:pt x="28" y="9"/>
                </a:cubicBezTo>
                <a:cubicBezTo>
                  <a:pt x="28" y="9"/>
                  <a:pt x="28" y="9"/>
                  <a:pt x="28" y="8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8" y="7"/>
                  <a:pt x="28" y="7"/>
                </a:cubicBezTo>
                <a:cubicBezTo>
                  <a:pt x="28" y="6"/>
                  <a:pt x="28" y="5"/>
                  <a:pt x="28" y="5"/>
                </a:cubicBezTo>
                <a:cubicBezTo>
                  <a:pt x="28" y="4"/>
                  <a:pt x="27" y="4"/>
                  <a:pt x="26" y="4"/>
                </a:cubicBezTo>
                <a:cubicBezTo>
                  <a:pt x="26" y="5"/>
                  <a:pt x="26" y="5"/>
                  <a:pt x="26" y="5"/>
                </a:cubicBezTo>
                <a:cubicBezTo>
                  <a:pt x="26" y="6"/>
                  <a:pt x="26" y="6"/>
                  <a:pt x="26" y="6"/>
                </a:cubicBezTo>
                <a:cubicBezTo>
                  <a:pt x="25" y="7"/>
                  <a:pt x="26" y="8"/>
                  <a:pt x="26" y="8"/>
                </a:cubicBezTo>
                <a:cubicBezTo>
                  <a:pt x="27" y="10"/>
                  <a:pt x="27" y="12"/>
                  <a:pt x="27" y="14"/>
                </a:cubicBezTo>
                <a:cubicBezTo>
                  <a:pt x="26" y="14"/>
                  <a:pt x="26" y="14"/>
                  <a:pt x="25" y="14"/>
                </a:cubicBezTo>
                <a:cubicBezTo>
                  <a:pt x="24" y="14"/>
                  <a:pt x="24" y="14"/>
                  <a:pt x="24" y="14"/>
                </a:cubicBezTo>
                <a:cubicBezTo>
                  <a:pt x="24" y="14"/>
                  <a:pt x="24" y="14"/>
                  <a:pt x="24" y="15"/>
                </a:cubicBezTo>
                <a:cubicBezTo>
                  <a:pt x="24" y="16"/>
                  <a:pt x="24" y="16"/>
                  <a:pt x="25" y="17"/>
                </a:cubicBezTo>
                <a:cubicBezTo>
                  <a:pt x="25" y="17"/>
                  <a:pt x="26" y="18"/>
                  <a:pt x="26" y="18"/>
                </a:cubicBezTo>
                <a:cubicBezTo>
                  <a:pt x="26" y="18"/>
                  <a:pt x="25" y="18"/>
                  <a:pt x="25" y="18"/>
                </a:cubicBezTo>
                <a:cubicBezTo>
                  <a:pt x="24" y="18"/>
                  <a:pt x="23" y="18"/>
                  <a:pt x="22" y="18"/>
                </a:cubicBezTo>
                <a:cubicBezTo>
                  <a:pt x="22" y="18"/>
                  <a:pt x="21" y="18"/>
                  <a:pt x="21" y="18"/>
                </a:cubicBezTo>
                <a:cubicBezTo>
                  <a:pt x="21" y="18"/>
                  <a:pt x="21" y="19"/>
                  <a:pt x="22" y="19"/>
                </a:cubicBezTo>
                <a:cubicBezTo>
                  <a:pt x="22" y="20"/>
                  <a:pt x="23" y="20"/>
                  <a:pt x="23" y="20"/>
                </a:cubicBezTo>
                <a:cubicBezTo>
                  <a:pt x="23" y="21"/>
                  <a:pt x="24" y="21"/>
                  <a:pt x="24" y="22"/>
                </a:cubicBezTo>
                <a:cubicBezTo>
                  <a:pt x="24" y="22"/>
                  <a:pt x="24" y="23"/>
                  <a:pt x="24" y="24"/>
                </a:cubicBezTo>
                <a:cubicBezTo>
                  <a:pt x="23" y="24"/>
                  <a:pt x="23" y="24"/>
                  <a:pt x="22" y="25"/>
                </a:cubicBezTo>
                <a:cubicBezTo>
                  <a:pt x="22" y="25"/>
                  <a:pt x="22" y="26"/>
                  <a:pt x="22" y="26"/>
                </a:cubicBezTo>
                <a:cubicBezTo>
                  <a:pt x="22" y="26"/>
                  <a:pt x="21" y="26"/>
                  <a:pt x="21" y="26"/>
                </a:cubicBezTo>
                <a:cubicBezTo>
                  <a:pt x="21" y="26"/>
                  <a:pt x="21" y="26"/>
                  <a:pt x="21" y="27"/>
                </a:cubicBezTo>
                <a:cubicBezTo>
                  <a:pt x="21" y="27"/>
                  <a:pt x="21" y="28"/>
                  <a:pt x="20" y="28"/>
                </a:cubicBezTo>
                <a:cubicBezTo>
                  <a:pt x="20" y="28"/>
                  <a:pt x="20" y="28"/>
                  <a:pt x="20" y="28"/>
                </a:cubicBezTo>
                <a:cubicBezTo>
                  <a:pt x="20" y="28"/>
                  <a:pt x="20" y="29"/>
                  <a:pt x="20" y="29"/>
                </a:cubicBezTo>
                <a:cubicBezTo>
                  <a:pt x="20" y="29"/>
                  <a:pt x="22" y="32"/>
                  <a:pt x="22" y="33"/>
                </a:cubicBezTo>
                <a:cubicBezTo>
                  <a:pt x="22" y="33"/>
                  <a:pt x="23" y="33"/>
                  <a:pt x="22" y="34"/>
                </a:cubicBezTo>
                <a:cubicBezTo>
                  <a:pt x="22" y="34"/>
                  <a:pt x="22" y="34"/>
                  <a:pt x="21" y="34"/>
                </a:cubicBezTo>
                <a:cubicBezTo>
                  <a:pt x="21" y="33"/>
                  <a:pt x="21" y="33"/>
                  <a:pt x="20" y="33"/>
                </a:cubicBezTo>
                <a:cubicBezTo>
                  <a:pt x="20" y="33"/>
                  <a:pt x="19" y="33"/>
                  <a:pt x="18" y="34"/>
                </a:cubicBezTo>
                <a:cubicBezTo>
                  <a:pt x="18" y="34"/>
                  <a:pt x="18" y="35"/>
                  <a:pt x="19" y="36"/>
                </a:cubicBezTo>
                <a:cubicBezTo>
                  <a:pt x="19" y="36"/>
                  <a:pt x="20" y="36"/>
                  <a:pt x="20" y="36"/>
                </a:cubicBezTo>
                <a:cubicBezTo>
                  <a:pt x="20" y="37"/>
                  <a:pt x="19" y="37"/>
                  <a:pt x="19" y="37"/>
                </a:cubicBezTo>
                <a:cubicBezTo>
                  <a:pt x="18" y="37"/>
                  <a:pt x="18" y="37"/>
                  <a:pt x="17" y="38"/>
                </a:cubicBezTo>
                <a:cubicBezTo>
                  <a:pt x="17" y="38"/>
                  <a:pt x="17" y="38"/>
                  <a:pt x="16" y="39"/>
                </a:cubicBezTo>
                <a:cubicBezTo>
                  <a:pt x="16" y="39"/>
                  <a:pt x="16" y="40"/>
                  <a:pt x="15" y="40"/>
                </a:cubicBezTo>
                <a:cubicBezTo>
                  <a:pt x="15" y="40"/>
                  <a:pt x="14" y="40"/>
                  <a:pt x="14" y="40"/>
                </a:cubicBezTo>
                <a:cubicBezTo>
                  <a:pt x="13" y="40"/>
                  <a:pt x="13" y="39"/>
                  <a:pt x="12" y="40"/>
                </a:cubicBezTo>
                <a:cubicBezTo>
                  <a:pt x="12" y="41"/>
                  <a:pt x="12" y="42"/>
                  <a:pt x="12" y="42"/>
                </a:cubicBezTo>
                <a:cubicBezTo>
                  <a:pt x="13" y="43"/>
                  <a:pt x="13" y="43"/>
                  <a:pt x="13" y="43"/>
                </a:cubicBezTo>
                <a:cubicBezTo>
                  <a:pt x="14" y="43"/>
                  <a:pt x="14" y="43"/>
                  <a:pt x="15" y="43"/>
                </a:cubicBezTo>
                <a:cubicBezTo>
                  <a:pt x="15" y="44"/>
                  <a:pt x="15" y="44"/>
                  <a:pt x="15" y="45"/>
                </a:cubicBezTo>
                <a:cubicBezTo>
                  <a:pt x="15" y="45"/>
                  <a:pt x="14" y="45"/>
                  <a:pt x="14" y="46"/>
                </a:cubicBezTo>
                <a:cubicBezTo>
                  <a:pt x="13" y="46"/>
                  <a:pt x="12" y="46"/>
                  <a:pt x="12" y="47"/>
                </a:cubicBezTo>
                <a:cubicBezTo>
                  <a:pt x="12" y="48"/>
                  <a:pt x="13" y="48"/>
                  <a:pt x="13" y="48"/>
                </a:cubicBezTo>
                <a:cubicBezTo>
                  <a:pt x="13" y="48"/>
                  <a:pt x="13" y="49"/>
                  <a:pt x="13" y="49"/>
                </a:cubicBezTo>
                <a:cubicBezTo>
                  <a:pt x="13" y="49"/>
                  <a:pt x="12" y="49"/>
                  <a:pt x="12" y="49"/>
                </a:cubicBezTo>
                <a:cubicBezTo>
                  <a:pt x="12" y="49"/>
                  <a:pt x="11" y="48"/>
                  <a:pt x="11" y="48"/>
                </a:cubicBezTo>
                <a:cubicBezTo>
                  <a:pt x="10" y="48"/>
                  <a:pt x="10" y="48"/>
                  <a:pt x="9" y="49"/>
                </a:cubicBezTo>
                <a:cubicBezTo>
                  <a:pt x="9" y="49"/>
                  <a:pt x="9" y="50"/>
                  <a:pt x="9" y="51"/>
                </a:cubicBezTo>
                <a:cubicBezTo>
                  <a:pt x="10" y="52"/>
                  <a:pt x="10" y="52"/>
                  <a:pt x="9" y="53"/>
                </a:cubicBezTo>
                <a:cubicBezTo>
                  <a:pt x="9" y="53"/>
                  <a:pt x="8" y="54"/>
                  <a:pt x="8" y="54"/>
                </a:cubicBezTo>
                <a:cubicBezTo>
                  <a:pt x="8" y="54"/>
                  <a:pt x="8" y="54"/>
                  <a:pt x="8" y="53"/>
                </a:cubicBezTo>
                <a:cubicBezTo>
                  <a:pt x="8" y="53"/>
                  <a:pt x="8" y="53"/>
                  <a:pt x="8" y="52"/>
                </a:cubicBezTo>
                <a:cubicBezTo>
                  <a:pt x="8" y="52"/>
                  <a:pt x="8" y="52"/>
                  <a:pt x="8" y="51"/>
                </a:cubicBezTo>
                <a:cubicBezTo>
                  <a:pt x="6" y="51"/>
                  <a:pt x="6" y="52"/>
                  <a:pt x="6" y="53"/>
                </a:cubicBezTo>
                <a:cubicBezTo>
                  <a:pt x="5" y="54"/>
                  <a:pt x="4" y="54"/>
                  <a:pt x="4" y="55"/>
                </a:cubicBezTo>
                <a:cubicBezTo>
                  <a:pt x="5" y="55"/>
                  <a:pt x="5" y="55"/>
                  <a:pt x="6" y="55"/>
                </a:cubicBezTo>
                <a:cubicBezTo>
                  <a:pt x="6" y="55"/>
                  <a:pt x="6" y="54"/>
                  <a:pt x="7" y="54"/>
                </a:cubicBezTo>
                <a:cubicBezTo>
                  <a:pt x="7" y="55"/>
                  <a:pt x="7" y="55"/>
                  <a:pt x="7" y="55"/>
                </a:cubicBezTo>
                <a:cubicBezTo>
                  <a:pt x="7" y="55"/>
                  <a:pt x="7" y="55"/>
                  <a:pt x="8" y="56"/>
                </a:cubicBezTo>
                <a:cubicBezTo>
                  <a:pt x="8" y="56"/>
                  <a:pt x="7" y="57"/>
                  <a:pt x="7" y="57"/>
                </a:cubicBezTo>
                <a:cubicBezTo>
                  <a:pt x="7" y="57"/>
                  <a:pt x="7" y="58"/>
                  <a:pt x="7" y="58"/>
                </a:cubicBezTo>
                <a:cubicBezTo>
                  <a:pt x="7" y="58"/>
                  <a:pt x="6" y="59"/>
                  <a:pt x="6" y="59"/>
                </a:cubicBezTo>
                <a:cubicBezTo>
                  <a:pt x="6" y="59"/>
                  <a:pt x="5" y="59"/>
                  <a:pt x="5" y="59"/>
                </a:cubicBezTo>
                <a:cubicBezTo>
                  <a:pt x="5" y="60"/>
                  <a:pt x="5" y="60"/>
                  <a:pt x="5" y="60"/>
                </a:cubicBezTo>
                <a:cubicBezTo>
                  <a:pt x="5" y="61"/>
                  <a:pt x="6" y="61"/>
                  <a:pt x="6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7" y="63"/>
                  <a:pt x="7" y="63"/>
                  <a:pt x="7" y="63"/>
                </a:cubicBezTo>
                <a:cubicBezTo>
                  <a:pt x="7" y="64"/>
                  <a:pt x="7" y="64"/>
                  <a:pt x="7" y="64"/>
                </a:cubicBezTo>
                <a:cubicBezTo>
                  <a:pt x="7" y="64"/>
                  <a:pt x="7" y="65"/>
                  <a:pt x="7" y="65"/>
                </a:cubicBezTo>
                <a:cubicBezTo>
                  <a:pt x="7" y="65"/>
                  <a:pt x="7" y="66"/>
                  <a:pt x="7" y="66"/>
                </a:cubicBezTo>
                <a:cubicBezTo>
                  <a:pt x="6" y="66"/>
                  <a:pt x="5" y="66"/>
                  <a:pt x="5" y="66"/>
                </a:cubicBezTo>
                <a:cubicBezTo>
                  <a:pt x="4" y="67"/>
                  <a:pt x="4" y="69"/>
                  <a:pt x="4" y="69"/>
                </a:cubicBezTo>
                <a:cubicBezTo>
                  <a:pt x="3" y="70"/>
                  <a:pt x="1" y="69"/>
                  <a:pt x="0" y="70"/>
                </a:cubicBezTo>
                <a:cubicBezTo>
                  <a:pt x="0" y="71"/>
                  <a:pt x="0" y="71"/>
                  <a:pt x="0" y="72"/>
                </a:cubicBezTo>
                <a:cubicBezTo>
                  <a:pt x="206" y="72"/>
                  <a:pt x="206" y="72"/>
                  <a:pt x="206" y="72"/>
                </a:cubicBezTo>
                <a:cubicBezTo>
                  <a:pt x="206" y="72"/>
                  <a:pt x="207" y="65"/>
                  <a:pt x="207" y="65"/>
                </a:cubicBezTo>
                <a:cubicBezTo>
                  <a:pt x="207" y="64"/>
                  <a:pt x="207" y="62"/>
                  <a:pt x="207" y="62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9" name="Freeform 17">
            <a:extLst>
              <a:ext uri="{FF2B5EF4-FFF2-40B4-BE49-F238E27FC236}">
                <a16:creationId xmlns:a16="http://schemas.microsoft.com/office/drawing/2014/main" id="{4AA02263-3B88-46FB-9833-E18BD29FD786}"/>
              </a:ext>
            </a:extLst>
          </p:cNvPr>
          <p:cNvSpPr>
            <a:spLocks/>
          </p:cNvSpPr>
          <p:nvPr/>
        </p:nvSpPr>
        <p:spPr bwMode="auto">
          <a:xfrm>
            <a:off x="6825448" y="1877579"/>
            <a:ext cx="1040888" cy="660882"/>
          </a:xfrm>
          <a:custGeom>
            <a:avLst/>
            <a:gdLst>
              <a:gd name="T0" fmla="*/ 193 w 263"/>
              <a:gd name="T1" fmla="*/ 147 h 167"/>
              <a:gd name="T2" fmla="*/ 203 w 263"/>
              <a:gd name="T3" fmla="*/ 150 h 167"/>
              <a:gd name="T4" fmla="*/ 207 w 263"/>
              <a:gd name="T5" fmla="*/ 154 h 167"/>
              <a:gd name="T6" fmla="*/ 212 w 263"/>
              <a:gd name="T7" fmla="*/ 153 h 167"/>
              <a:gd name="T8" fmla="*/ 214 w 263"/>
              <a:gd name="T9" fmla="*/ 149 h 167"/>
              <a:gd name="T10" fmla="*/ 219 w 263"/>
              <a:gd name="T11" fmla="*/ 151 h 167"/>
              <a:gd name="T12" fmla="*/ 222 w 263"/>
              <a:gd name="T13" fmla="*/ 151 h 167"/>
              <a:gd name="T14" fmla="*/ 227 w 263"/>
              <a:gd name="T15" fmla="*/ 150 h 167"/>
              <a:gd name="T16" fmla="*/ 229 w 263"/>
              <a:gd name="T17" fmla="*/ 149 h 167"/>
              <a:gd name="T18" fmla="*/ 232 w 263"/>
              <a:gd name="T19" fmla="*/ 150 h 167"/>
              <a:gd name="T20" fmla="*/ 235 w 263"/>
              <a:gd name="T21" fmla="*/ 150 h 167"/>
              <a:gd name="T22" fmla="*/ 236 w 263"/>
              <a:gd name="T23" fmla="*/ 152 h 167"/>
              <a:gd name="T24" fmla="*/ 239 w 263"/>
              <a:gd name="T25" fmla="*/ 154 h 167"/>
              <a:gd name="T26" fmla="*/ 244 w 263"/>
              <a:gd name="T27" fmla="*/ 155 h 167"/>
              <a:gd name="T28" fmla="*/ 244 w 263"/>
              <a:gd name="T29" fmla="*/ 156 h 167"/>
              <a:gd name="T30" fmla="*/ 249 w 263"/>
              <a:gd name="T31" fmla="*/ 156 h 167"/>
              <a:gd name="T32" fmla="*/ 251 w 263"/>
              <a:gd name="T33" fmla="*/ 159 h 167"/>
              <a:gd name="T34" fmla="*/ 254 w 263"/>
              <a:gd name="T35" fmla="*/ 159 h 167"/>
              <a:gd name="T36" fmla="*/ 253 w 263"/>
              <a:gd name="T37" fmla="*/ 162 h 167"/>
              <a:gd name="T38" fmla="*/ 257 w 263"/>
              <a:gd name="T39" fmla="*/ 166 h 167"/>
              <a:gd name="T40" fmla="*/ 258 w 263"/>
              <a:gd name="T41" fmla="*/ 166 h 167"/>
              <a:gd name="T42" fmla="*/ 261 w 263"/>
              <a:gd name="T43" fmla="*/ 167 h 167"/>
              <a:gd name="T44" fmla="*/ 262 w 263"/>
              <a:gd name="T45" fmla="*/ 165 h 167"/>
              <a:gd name="T46" fmla="*/ 260 w 263"/>
              <a:gd name="T47" fmla="*/ 162 h 167"/>
              <a:gd name="T48" fmla="*/ 260 w 263"/>
              <a:gd name="T49" fmla="*/ 160 h 167"/>
              <a:gd name="T50" fmla="*/ 256 w 263"/>
              <a:gd name="T51" fmla="*/ 156 h 167"/>
              <a:gd name="T52" fmla="*/ 256 w 263"/>
              <a:gd name="T53" fmla="*/ 154 h 167"/>
              <a:gd name="T54" fmla="*/ 259 w 263"/>
              <a:gd name="T55" fmla="*/ 151 h 167"/>
              <a:gd name="T56" fmla="*/ 259 w 263"/>
              <a:gd name="T57" fmla="*/ 147 h 167"/>
              <a:gd name="T58" fmla="*/ 261 w 263"/>
              <a:gd name="T59" fmla="*/ 146 h 167"/>
              <a:gd name="T60" fmla="*/ 260 w 263"/>
              <a:gd name="T61" fmla="*/ 142 h 167"/>
              <a:gd name="T62" fmla="*/ 261 w 263"/>
              <a:gd name="T63" fmla="*/ 141 h 167"/>
              <a:gd name="T64" fmla="*/ 263 w 263"/>
              <a:gd name="T65" fmla="*/ 140 h 167"/>
              <a:gd name="T66" fmla="*/ 263 w 263"/>
              <a:gd name="T67" fmla="*/ 138 h 167"/>
              <a:gd name="T68" fmla="*/ 262 w 263"/>
              <a:gd name="T69" fmla="*/ 133 h 167"/>
              <a:gd name="T70" fmla="*/ 258 w 263"/>
              <a:gd name="T71" fmla="*/ 132 h 167"/>
              <a:gd name="T72" fmla="*/ 258 w 263"/>
              <a:gd name="T73" fmla="*/ 130 h 167"/>
              <a:gd name="T74" fmla="*/ 258 w 263"/>
              <a:gd name="T75" fmla="*/ 129 h 167"/>
              <a:gd name="T76" fmla="*/ 260 w 263"/>
              <a:gd name="T77" fmla="*/ 128 h 167"/>
              <a:gd name="T78" fmla="*/ 260 w 263"/>
              <a:gd name="T79" fmla="*/ 124 h 167"/>
              <a:gd name="T80" fmla="*/ 257 w 263"/>
              <a:gd name="T81" fmla="*/ 122 h 167"/>
              <a:gd name="T82" fmla="*/ 257 w 263"/>
              <a:gd name="T83" fmla="*/ 120 h 167"/>
              <a:gd name="T84" fmla="*/ 262 w 263"/>
              <a:gd name="T85" fmla="*/ 120 h 167"/>
              <a:gd name="T86" fmla="*/ 262 w 263"/>
              <a:gd name="T87" fmla="*/ 32 h 167"/>
              <a:gd name="T88" fmla="*/ 261 w 263"/>
              <a:gd name="T89" fmla="*/ 30 h 167"/>
              <a:gd name="T90" fmla="*/ 258 w 263"/>
              <a:gd name="T91" fmla="*/ 28 h 167"/>
              <a:gd name="T92" fmla="*/ 254 w 263"/>
              <a:gd name="T93" fmla="*/ 27 h 167"/>
              <a:gd name="T94" fmla="*/ 251 w 263"/>
              <a:gd name="T95" fmla="*/ 21 h 167"/>
              <a:gd name="T96" fmla="*/ 249 w 263"/>
              <a:gd name="T97" fmla="*/ 17 h 167"/>
              <a:gd name="T98" fmla="*/ 249 w 263"/>
              <a:gd name="T99" fmla="*/ 15 h 167"/>
              <a:gd name="T100" fmla="*/ 251 w 263"/>
              <a:gd name="T101" fmla="*/ 14 h 167"/>
              <a:gd name="T102" fmla="*/ 255 w 263"/>
              <a:gd name="T103" fmla="*/ 11 h 167"/>
              <a:gd name="T104" fmla="*/ 258 w 263"/>
              <a:gd name="T105" fmla="*/ 6 h 167"/>
              <a:gd name="T106" fmla="*/ 258 w 263"/>
              <a:gd name="T107" fmla="*/ 0 h 167"/>
              <a:gd name="T108" fmla="*/ 0 w 263"/>
              <a:gd name="T109" fmla="*/ 0 h 167"/>
              <a:gd name="T110" fmla="*/ 0 w 263"/>
              <a:gd name="T111" fmla="*/ 47 h 167"/>
              <a:gd name="T112" fmla="*/ 0 w 263"/>
              <a:gd name="T113" fmla="*/ 143 h 167"/>
              <a:gd name="T114" fmla="*/ 192 w 263"/>
              <a:gd name="T115" fmla="*/ 143 h 167"/>
              <a:gd name="T116" fmla="*/ 193 w 263"/>
              <a:gd name="T117" fmla="*/ 14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3" h="167">
                <a:moveTo>
                  <a:pt x="193" y="147"/>
                </a:moveTo>
                <a:cubicBezTo>
                  <a:pt x="193" y="147"/>
                  <a:pt x="203" y="150"/>
                  <a:pt x="203" y="150"/>
                </a:cubicBezTo>
                <a:cubicBezTo>
                  <a:pt x="203" y="150"/>
                  <a:pt x="207" y="154"/>
                  <a:pt x="207" y="154"/>
                </a:cubicBezTo>
                <a:cubicBezTo>
                  <a:pt x="207" y="155"/>
                  <a:pt x="212" y="153"/>
                  <a:pt x="212" y="153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14" y="149"/>
                  <a:pt x="219" y="151"/>
                  <a:pt x="219" y="151"/>
                </a:cubicBezTo>
                <a:cubicBezTo>
                  <a:pt x="220" y="151"/>
                  <a:pt x="221" y="151"/>
                  <a:pt x="222" y="151"/>
                </a:cubicBezTo>
                <a:cubicBezTo>
                  <a:pt x="222" y="151"/>
                  <a:pt x="227" y="150"/>
                  <a:pt x="227" y="150"/>
                </a:cubicBezTo>
                <a:cubicBezTo>
                  <a:pt x="228" y="150"/>
                  <a:pt x="229" y="149"/>
                  <a:pt x="229" y="149"/>
                </a:cubicBezTo>
                <a:cubicBezTo>
                  <a:pt x="232" y="150"/>
                  <a:pt x="232" y="150"/>
                  <a:pt x="232" y="150"/>
                </a:cubicBezTo>
                <a:cubicBezTo>
                  <a:pt x="235" y="150"/>
                  <a:pt x="235" y="150"/>
                  <a:pt x="235" y="150"/>
                </a:cubicBezTo>
                <a:cubicBezTo>
                  <a:pt x="235" y="150"/>
                  <a:pt x="236" y="152"/>
                  <a:pt x="236" y="152"/>
                </a:cubicBezTo>
                <a:cubicBezTo>
                  <a:pt x="236" y="153"/>
                  <a:pt x="239" y="154"/>
                  <a:pt x="239" y="154"/>
                </a:cubicBezTo>
                <a:cubicBezTo>
                  <a:pt x="244" y="155"/>
                  <a:pt x="244" y="155"/>
                  <a:pt x="244" y="155"/>
                </a:cubicBezTo>
                <a:cubicBezTo>
                  <a:pt x="244" y="156"/>
                  <a:pt x="244" y="156"/>
                  <a:pt x="244" y="156"/>
                </a:cubicBezTo>
                <a:cubicBezTo>
                  <a:pt x="249" y="156"/>
                  <a:pt x="249" y="156"/>
                  <a:pt x="249" y="156"/>
                </a:cubicBezTo>
                <a:cubicBezTo>
                  <a:pt x="249" y="156"/>
                  <a:pt x="251" y="159"/>
                  <a:pt x="251" y="159"/>
                </a:cubicBezTo>
                <a:cubicBezTo>
                  <a:pt x="251" y="159"/>
                  <a:pt x="254" y="159"/>
                  <a:pt x="254" y="159"/>
                </a:cubicBezTo>
                <a:cubicBezTo>
                  <a:pt x="254" y="159"/>
                  <a:pt x="253" y="162"/>
                  <a:pt x="253" y="162"/>
                </a:cubicBezTo>
                <a:cubicBezTo>
                  <a:pt x="253" y="162"/>
                  <a:pt x="257" y="166"/>
                  <a:pt x="257" y="166"/>
                </a:cubicBezTo>
                <a:cubicBezTo>
                  <a:pt x="258" y="166"/>
                  <a:pt x="258" y="166"/>
                  <a:pt x="258" y="166"/>
                </a:cubicBezTo>
                <a:cubicBezTo>
                  <a:pt x="261" y="167"/>
                  <a:pt x="261" y="167"/>
                  <a:pt x="261" y="167"/>
                </a:cubicBezTo>
                <a:cubicBezTo>
                  <a:pt x="261" y="167"/>
                  <a:pt x="262" y="165"/>
                  <a:pt x="262" y="165"/>
                </a:cubicBezTo>
                <a:cubicBezTo>
                  <a:pt x="262" y="165"/>
                  <a:pt x="260" y="162"/>
                  <a:pt x="260" y="162"/>
                </a:cubicBezTo>
                <a:cubicBezTo>
                  <a:pt x="260" y="161"/>
                  <a:pt x="260" y="161"/>
                  <a:pt x="260" y="160"/>
                </a:cubicBezTo>
                <a:cubicBezTo>
                  <a:pt x="260" y="160"/>
                  <a:pt x="256" y="157"/>
                  <a:pt x="256" y="156"/>
                </a:cubicBezTo>
                <a:cubicBezTo>
                  <a:pt x="256" y="156"/>
                  <a:pt x="256" y="154"/>
                  <a:pt x="256" y="154"/>
                </a:cubicBezTo>
                <a:cubicBezTo>
                  <a:pt x="256" y="154"/>
                  <a:pt x="259" y="151"/>
                  <a:pt x="259" y="151"/>
                </a:cubicBezTo>
                <a:cubicBezTo>
                  <a:pt x="259" y="151"/>
                  <a:pt x="259" y="148"/>
                  <a:pt x="259" y="147"/>
                </a:cubicBezTo>
                <a:cubicBezTo>
                  <a:pt x="259" y="147"/>
                  <a:pt x="261" y="146"/>
                  <a:pt x="261" y="146"/>
                </a:cubicBezTo>
                <a:cubicBezTo>
                  <a:pt x="261" y="145"/>
                  <a:pt x="260" y="142"/>
                  <a:pt x="260" y="142"/>
                </a:cubicBezTo>
                <a:cubicBezTo>
                  <a:pt x="260" y="141"/>
                  <a:pt x="261" y="141"/>
                  <a:pt x="261" y="141"/>
                </a:cubicBezTo>
                <a:cubicBezTo>
                  <a:pt x="262" y="140"/>
                  <a:pt x="263" y="140"/>
                  <a:pt x="263" y="140"/>
                </a:cubicBezTo>
                <a:cubicBezTo>
                  <a:pt x="263" y="139"/>
                  <a:pt x="263" y="138"/>
                  <a:pt x="263" y="138"/>
                </a:cubicBezTo>
                <a:cubicBezTo>
                  <a:pt x="263" y="137"/>
                  <a:pt x="262" y="133"/>
                  <a:pt x="262" y="133"/>
                </a:cubicBezTo>
                <a:cubicBezTo>
                  <a:pt x="262" y="133"/>
                  <a:pt x="258" y="132"/>
                  <a:pt x="258" y="132"/>
                </a:cubicBezTo>
                <a:cubicBezTo>
                  <a:pt x="258" y="130"/>
                  <a:pt x="258" y="130"/>
                  <a:pt x="258" y="130"/>
                </a:cubicBezTo>
                <a:cubicBezTo>
                  <a:pt x="258" y="129"/>
                  <a:pt x="258" y="129"/>
                  <a:pt x="258" y="129"/>
                </a:cubicBezTo>
                <a:cubicBezTo>
                  <a:pt x="260" y="128"/>
                  <a:pt x="260" y="128"/>
                  <a:pt x="260" y="128"/>
                </a:cubicBezTo>
                <a:cubicBezTo>
                  <a:pt x="260" y="128"/>
                  <a:pt x="260" y="125"/>
                  <a:pt x="260" y="124"/>
                </a:cubicBezTo>
                <a:cubicBezTo>
                  <a:pt x="260" y="124"/>
                  <a:pt x="258" y="122"/>
                  <a:pt x="257" y="122"/>
                </a:cubicBezTo>
                <a:cubicBezTo>
                  <a:pt x="257" y="121"/>
                  <a:pt x="257" y="120"/>
                  <a:pt x="257" y="120"/>
                </a:cubicBezTo>
                <a:cubicBezTo>
                  <a:pt x="262" y="120"/>
                  <a:pt x="262" y="120"/>
                  <a:pt x="262" y="120"/>
                </a:cubicBezTo>
                <a:cubicBezTo>
                  <a:pt x="262" y="32"/>
                  <a:pt x="262" y="32"/>
                  <a:pt x="262" y="32"/>
                </a:cubicBezTo>
                <a:cubicBezTo>
                  <a:pt x="262" y="32"/>
                  <a:pt x="262" y="30"/>
                  <a:pt x="261" y="30"/>
                </a:cubicBezTo>
                <a:cubicBezTo>
                  <a:pt x="261" y="29"/>
                  <a:pt x="258" y="28"/>
                  <a:pt x="258" y="28"/>
                </a:cubicBezTo>
                <a:cubicBezTo>
                  <a:pt x="258" y="28"/>
                  <a:pt x="254" y="27"/>
                  <a:pt x="254" y="27"/>
                </a:cubicBezTo>
                <a:cubicBezTo>
                  <a:pt x="254" y="27"/>
                  <a:pt x="251" y="22"/>
                  <a:pt x="251" y="21"/>
                </a:cubicBezTo>
                <a:cubicBezTo>
                  <a:pt x="250" y="21"/>
                  <a:pt x="249" y="17"/>
                  <a:pt x="249" y="17"/>
                </a:cubicBezTo>
                <a:cubicBezTo>
                  <a:pt x="249" y="17"/>
                  <a:pt x="249" y="15"/>
                  <a:pt x="249" y="15"/>
                </a:cubicBezTo>
                <a:cubicBezTo>
                  <a:pt x="249" y="15"/>
                  <a:pt x="250" y="15"/>
                  <a:pt x="251" y="14"/>
                </a:cubicBezTo>
                <a:cubicBezTo>
                  <a:pt x="251" y="14"/>
                  <a:pt x="255" y="11"/>
                  <a:pt x="255" y="11"/>
                </a:cubicBezTo>
                <a:cubicBezTo>
                  <a:pt x="255" y="11"/>
                  <a:pt x="258" y="6"/>
                  <a:pt x="258" y="6"/>
                </a:cubicBezTo>
                <a:cubicBezTo>
                  <a:pt x="259" y="6"/>
                  <a:pt x="258" y="0"/>
                  <a:pt x="25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143"/>
                  <a:pt x="0" y="143"/>
                  <a:pt x="0" y="143"/>
                </a:cubicBezTo>
                <a:cubicBezTo>
                  <a:pt x="192" y="143"/>
                  <a:pt x="192" y="143"/>
                  <a:pt x="192" y="143"/>
                </a:cubicBezTo>
                <a:lnTo>
                  <a:pt x="193" y="147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" name="Freeform 18">
            <a:extLst>
              <a:ext uri="{FF2B5EF4-FFF2-40B4-BE49-F238E27FC236}">
                <a16:creationId xmlns:a16="http://schemas.microsoft.com/office/drawing/2014/main" id="{7A590DE0-712E-46D3-91C9-59AE3DC0C3DC}"/>
              </a:ext>
            </a:extLst>
          </p:cNvPr>
          <p:cNvSpPr>
            <a:spLocks/>
          </p:cNvSpPr>
          <p:nvPr/>
        </p:nvSpPr>
        <p:spPr bwMode="auto">
          <a:xfrm>
            <a:off x="9652369" y="3823877"/>
            <a:ext cx="662534" cy="515488"/>
          </a:xfrm>
          <a:custGeom>
            <a:avLst/>
            <a:gdLst>
              <a:gd name="T0" fmla="*/ 84 w 167"/>
              <a:gd name="T1" fmla="*/ 5 h 130"/>
              <a:gd name="T2" fmla="*/ 81 w 167"/>
              <a:gd name="T3" fmla="*/ 2 h 130"/>
              <a:gd name="T4" fmla="*/ 37 w 167"/>
              <a:gd name="T5" fmla="*/ 0 h 130"/>
              <a:gd name="T6" fmla="*/ 25 w 167"/>
              <a:gd name="T7" fmla="*/ 3 h 130"/>
              <a:gd name="T8" fmla="*/ 9 w 167"/>
              <a:gd name="T9" fmla="*/ 9 h 130"/>
              <a:gd name="T10" fmla="*/ 2 w 167"/>
              <a:gd name="T11" fmla="*/ 22 h 130"/>
              <a:gd name="T12" fmla="*/ 16 w 167"/>
              <a:gd name="T13" fmla="*/ 30 h 130"/>
              <a:gd name="T14" fmla="*/ 24 w 167"/>
              <a:gd name="T15" fmla="*/ 45 h 130"/>
              <a:gd name="T16" fmla="*/ 41 w 167"/>
              <a:gd name="T17" fmla="*/ 66 h 130"/>
              <a:gd name="T18" fmla="*/ 50 w 167"/>
              <a:gd name="T19" fmla="*/ 78 h 130"/>
              <a:gd name="T20" fmla="*/ 55 w 167"/>
              <a:gd name="T21" fmla="*/ 83 h 130"/>
              <a:gd name="T22" fmla="*/ 65 w 167"/>
              <a:gd name="T23" fmla="*/ 97 h 130"/>
              <a:gd name="T24" fmla="*/ 75 w 167"/>
              <a:gd name="T25" fmla="*/ 114 h 130"/>
              <a:gd name="T26" fmla="*/ 78 w 167"/>
              <a:gd name="T27" fmla="*/ 124 h 130"/>
              <a:gd name="T28" fmla="*/ 84 w 167"/>
              <a:gd name="T29" fmla="*/ 129 h 130"/>
              <a:gd name="T30" fmla="*/ 88 w 167"/>
              <a:gd name="T31" fmla="*/ 124 h 130"/>
              <a:gd name="T32" fmla="*/ 93 w 167"/>
              <a:gd name="T33" fmla="*/ 125 h 130"/>
              <a:gd name="T34" fmla="*/ 91 w 167"/>
              <a:gd name="T35" fmla="*/ 123 h 130"/>
              <a:gd name="T36" fmla="*/ 88 w 167"/>
              <a:gd name="T37" fmla="*/ 121 h 130"/>
              <a:gd name="T38" fmla="*/ 87 w 167"/>
              <a:gd name="T39" fmla="*/ 116 h 130"/>
              <a:gd name="T40" fmla="*/ 87 w 167"/>
              <a:gd name="T41" fmla="*/ 112 h 130"/>
              <a:gd name="T42" fmla="*/ 88 w 167"/>
              <a:gd name="T43" fmla="*/ 111 h 130"/>
              <a:gd name="T44" fmla="*/ 90 w 167"/>
              <a:gd name="T45" fmla="*/ 117 h 130"/>
              <a:gd name="T46" fmla="*/ 94 w 167"/>
              <a:gd name="T47" fmla="*/ 115 h 130"/>
              <a:gd name="T48" fmla="*/ 94 w 167"/>
              <a:gd name="T49" fmla="*/ 120 h 130"/>
              <a:gd name="T50" fmla="*/ 100 w 167"/>
              <a:gd name="T51" fmla="*/ 118 h 130"/>
              <a:gd name="T52" fmla="*/ 98 w 167"/>
              <a:gd name="T53" fmla="*/ 115 h 130"/>
              <a:gd name="T54" fmla="*/ 92 w 167"/>
              <a:gd name="T55" fmla="*/ 112 h 130"/>
              <a:gd name="T56" fmla="*/ 93 w 167"/>
              <a:gd name="T57" fmla="*/ 110 h 130"/>
              <a:gd name="T58" fmla="*/ 97 w 167"/>
              <a:gd name="T59" fmla="*/ 109 h 130"/>
              <a:gd name="T60" fmla="*/ 99 w 167"/>
              <a:gd name="T61" fmla="*/ 108 h 130"/>
              <a:gd name="T62" fmla="*/ 104 w 167"/>
              <a:gd name="T63" fmla="*/ 112 h 130"/>
              <a:gd name="T64" fmla="*/ 109 w 167"/>
              <a:gd name="T65" fmla="*/ 110 h 130"/>
              <a:gd name="T66" fmla="*/ 105 w 167"/>
              <a:gd name="T67" fmla="*/ 107 h 130"/>
              <a:gd name="T68" fmla="*/ 108 w 167"/>
              <a:gd name="T69" fmla="*/ 105 h 130"/>
              <a:gd name="T70" fmla="*/ 110 w 167"/>
              <a:gd name="T71" fmla="*/ 110 h 130"/>
              <a:gd name="T72" fmla="*/ 116 w 167"/>
              <a:gd name="T73" fmla="*/ 108 h 130"/>
              <a:gd name="T74" fmla="*/ 120 w 167"/>
              <a:gd name="T75" fmla="*/ 106 h 130"/>
              <a:gd name="T76" fmla="*/ 120 w 167"/>
              <a:gd name="T77" fmla="*/ 103 h 130"/>
              <a:gd name="T78" fmla="*/ 118 w 167"/>
              <a:gd name="T79" fmla="*/ 101 h 130"/>
              <a:gd name="T80" fmla="*/ 125 w 167"/>
              <a:gd name="T81" fmla="*/ 101 h 130"/>
              <a:gd name="T82" fmla="*/ 128 w 167"/>
              <a:gd name="T83" fmla="*/ 98 h 130"/>
              <a:gd name="T84" fmla="*/ 131 w 167"/>
              <a:gd name="T85" fmla="*/ 92 h 130"/>
              <a:gd name="T86" fmla="*/ 137 w 167"/>
              <a:gd name="T87" fmla="*/ 92 h 130"/>
              <a:gd name="T88" fmla="*/ 141 w 167"/>
              <a:gd name="T89" fmla="*/ 87 h 130"/>
              <a:gd name="T90" fmla="*/ 144 w 167"/>
              <a:gd name="T91" fmla="*/ 85 h 130"/>
              <a:gd name="T92" fmla="*/ 142 w 167"/>
              <a:gd name="T93" fmla="*/ 80 h 130"/>
              <a:gd name="T94" fmla="*/ 147 w 167"/>
              <a:gd name="T95" fmla="*/ 74 h 130"/>
              <a:gd name="T96" fmla="*/ 154 w 167"/>
              <a:gd name="T97" fmla="*/ 66 h 130"/>
              <a:gd name="T98" fmla="*/ 159 w 167"/>
              <a:gd name="T99" fmla="*/ 60 h 130"/>
              <a:gd name="T100" fmla="*/ 164 w 167"/>
              <a:gd name="T101" fmla="*/ 58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130">
                <a:moveTo>
                  <a:pt x="128" y="17"/>
                </a:moveTo>
                <a:cubicBezTo>
                  <a:pt x="89" y="16"/>
                  <a:pt x="89" y="16"/>
                  <a:pt x="89" y="16"/>
                </a:cubicBezTo>
                <a:cubicBezTo>
                  <a:pt x="89" y="16"/>
                  <a:pt x="89" y="11"/>
                  <a:pt x="89" y="11"/>
                </a:cubicBezTo>
                <a:cubicBezTo>
                  <a:pt x="89" y="11"/>
                  <a:pt x="85" y="5"/>
                  <a:pt x="85" y="5"/>
                </a:cubicBezTo>
                <a:cubicBezTo>
                  <a:pt x="85" y="5"/>
                  <a:pt x="84" y="5"/>
                  <a:pt x="84" y="5"/>
                </a:cubicBezTo>
                <a:cubicBezTo>
                  <a:pt x="84" y="5"/>
                  <a:pt x="83" y="5"/>
                  <a:pt x="82" y="5"/>
                </a:cubicBezTo>
                <a:cubicBezTo>
                  <a:pt x="82" y="5"/>
                  <a:pt x="81" y="6"/>
                  <a:pt x="81" y="6"/>
                </a:cubicBezTo>
                <a:cubicBezTo>
                  <a:pt x="81" y="6"/>
                  <a:pt x="80" y="5"/>
                  <a:pt x="80" y="5"/>
                </a:cubicBezTo>
                <a:cubicBezTo>
                  <a:pt x="80" y="5"/>
                  <a:pt x="81" y="4"/>
                  <a:pt x="81" y="4"/>
                </a:cubicBezTo>
                <a:cubicBezTo>
                  <a:pt x="81" y="4"/>
                  <a:pt x="81" y="2"/>
                  <a:pt x="81" y="2"/>
                </a:cubicBezTo>
                <a:cubicBezTo>
                  <a:pt x="81" y="2"/>
                  <a:pt x="75" y="2"/>
                  <a:pt x="75" y="2"/>
                </a:cubicBezTo>
                <a:cubicBezTo>
                  <a:pt x="75" y="2"/>
                  <a:pt x="66" y="1"/>
                  <a:pt x="66" y="1"/>
                </a:cubicBezTo>
                <a:cubicBezTo>
                  <a:pt x="66" y="1"/>
                  <a:pt x="47" y="0"/>
                  <a:pt x="47" y="0"/>
                </a:cubicBezTo>
                <a:cubicBezTo>
                  <a:pt x="47" y="0"/>
                  <a:pt x="42" y="0"/>
                  <a:pt x="42" y="0"/>
                </a:cubicBezTo>
                <a:cubicBezTo>
                  <a:pt x="41" y="0"/>
                  <a:pt x="38" y="0"/>
                  <a:pt x="37" y="0"/>
                </a:cubicBezTo>
                <a:cubicBezTo>
                  <a:pt x="36" y="1"/>
                  <a:pt x="35" y="1"/>
                  <a:pt x="35" y="0"/>
                </a:cubicBezTo>
                <a:cubicBezTo>
                  <a:pt x="35" y="0"/>
                  <a:pt x="34" y="0"/>
                  <a:pt x="33" y="0"/>
                </a:cubicBezTo>
                <a:cubicBezTo>
                  <a:pt x="33" y="0"/>
                  <a:pt x="32" y="1"/>
                  <a:pt x="31" y="2"/>
                </a:cubicBezTo>
                <a:cubicBezTo>
                  <a:pt x="31" y="2"/>
                  <a:pt x="30" y="2"/>
                  <a:pt x="29" y="2"/>
                </a:cubicBezTo>
                <a:cubicBezTo>
                  <a:pt x="29" y="2"/>
                  <a:pt x="26" y="3"/>
                  <a:pt x="25" y="3"/>
                </a:cubicBezTo>
                <a:cubicBezTo>
                  <a:pt x="24" y="3"/>
                  <a:pt x="24" y="4"/>
                  <a:pt x="23" y="4"/>
                </a:cubicBezTo>
                <a:cubicBezTo>
                  <a:pt x="22" y="4"/>
                  <a:pt x="22" y="5"/>
                  <a:pt x="22" y="5"/>
                </a:cubicBezTo>
                <a:cubicBezTo>
                  <a:pt x="22" y="5"/>
                  <a:pt x="20" y="5"/>
                  <a:pt x="19" y="5"/>
                </a:cubicBezTo>
                <a:cubicBezTo>
                  <a:pt x="19" y="5"/>
                  <a:pt x="18" y="6"/>
                  <a:pt x="18" y="6"/>
                </a:cubicBezTo>
                <a:cubicBezTo>
                  <a:pt x="18" y="6"/>
                  <a:pt x="9" y="9"/>
                  <a:pt x="9" y="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11"/>
                  <a:pt x="5" y="14"/>
                  <a:pt x="4" y="14"/>
                </a:cubicBezTo>
                <a:cubicBezTo>
                  <a:pt x="4" y="15"/>
                  <a:pt x="3" y="16"/>
                  <a:pt x="2" y="17"/>
                </a:cubicBezTo>
                <a:cubicBezTo>
                  <a:pt x="1" y="17"/>
                  <a:pt x="1" y="20"/>
                  <a:pt x="1" y="21"/>
                </a:cubicBezTo>
                <a:cubicBezTo>
                  <a:pt x="0" y="22"/>
                  <a:pt x="1" y="22"/>
                  <a:pt x="2" y="22"/>
                </a:cubicBezTo>
                <a:cubicBezTo>
                  <a:pt x="2" y="23"/>
                  <a:pt x="3" y="23"/>
                  <a:pt x="3" y="24"/>
                </a:cubicBezTo>
                <a:cubicBezTo>
                  <a:pt x="4" y="24"/>
                  <a:pt x="5" y="25"/>
                  <a:pt x="7" y="25"/>
                </a:cubicBezTo>
                <a:cubicBezTo>
                  <a:pt x="9" y="25"/>
                  <a:pt x="8" y="26"/>
                  <a:pt x="8" y="27"/>
                </a:cubicBezTo>
                <a:cubicBezTo>
                  <a:pt x="9" y="27"/>
                  <a:pt x="10" y="28"/>
                  <a:pt x="11" y="29"/>
                </a:cubicBezTo>
                <a:cubicBezTo>
                  <a:pt x="12" y="30"/>
                  <a:pt x="14" y="30"/>
                  <a:pt x="16" y="30"/>
                </a:cubicBezTo>
                <a:cubicBezTo>
                  <a:pt x="18" y="30"/>
                  <a:pt x="18" y="31"/>
                  <a:pt x="18" y="32"/>
                </a:cubicBezTo>
                <a:cubicBezTo>
                  <a:pt x="18" y="33"/>
                  <a:pt x="19" y="35"/>
                  <a:pt x="19" y="36"/>
                </a:cubicBezTo>
                <a:cubicBezTo>
                  <a:pt x="19" y="36"/>
                  <a:pt x="21" y="39"/>
                  <a:pt x="22" y="39"/>
                </a:cubicBezTo>
                <a:cubicBezTo>
                  <a:pt x="22" y="40"/>
                  <a:pt x="22" y="42"/>
                  <a:pt x="22" y="43"/>
                </a:cubicBezTo>
                <a:cubicBezTo>
                  <a:pt x="22" y="45"/>
                  <a:pt x="24" y="45"/>
                  <a:pt x="24" y="45"/>
                </a:cubicBezTo>
                <a:cubicBezTo>
                  <a:pt x="25" y="46"/>
                  <a:pt x="26" y="48"/>
                  <a:pt x="27" y="49"/>
                </a:cubicBezTo>
                <a:cubicBezTo>
                  <a:pt x="27" y="50"/>
                  <a:pt x="28" y="52"/>
                  <a:pt x="28" y="53"/>
                </a:cubicBezTo>
                <a:cubicBezTo>
                  <a:pt x="29" y="53"/>
                  <a:pt x="35" y="57"/>
                  <a:pt x="36" y="57"/>
                </a:cubicBezTo>
                <a:cubicBezTo>
                  <a:pt x="37" y="58"/>
                  <a:pt x="40" y="62"/>
                  <a:pt x="40" y="62"/>
                </a:cubicBezTo>
                <a:cubicBezTo>
                  <a:pt x="40" y="63"/>
                  <a:pt x="40" y="66"/>
                  <a:pt x="41" y="66"/>
                </a:cubicBezTo>
                <a:cubicBezTo>
                  <a:pt x="41" y="67"/>
                  <a:pt x="45" y="69"/>
                  <a:pt x="46" y="69"/>
                </a:cubicBezTo>
                <a:cubicBezTo>
                  <a:pt x="47" y="70"/>
                  <a:pt x="48" y="72"/>
                  <a:pt x="49" y="72"/>
                </a:cubicBezTo>
                <a:cubicBezTo>
                  <a:pt x="50" y="73"/>
                  <a:pt x="50" y="74"/>
                  <a:pt x="50" y="74"/>
                </a:cubicBezTo>
                <a:cubicBezTo>
                  <a:pt x="50" y="74"/>
                  <a:pt x="49" y="75"/>
                  <a:pt x="49" y="76"/>
                </a:cubicBezTo>
                <a:cubicBezTo>
                  <a:pt x="49" y="76"/>
                  <a:pt x="50" y="78"/>
                  <a:pt x="50" y="78"/>
                </a:cubicBezTo>
                <a:cubicBezTo>
                  <a:pt x="50" y="78"/>
                  <a:pt x="51" y="78"/>
                  <a:pt x="52" y="79"/>
                </a:cubicBezTo>
                <a:cubicBezTo>
                  <a:pt x="53" y="79"/>
                  <a:pt x="52" y="79"/>
                  <a:pt x="52" y="80"/>
                </a:cubicBezTo>
                <a:cubicBezTo>
                  <a:pt x="52" y="80"/>
                  <a:pt x="53" y="81"/>
                  <a:pt x="53" y="81"/>
                </a:cubicBezTo>
                <a:cubicBezTo>
                  <a:pt x="53" y="81"/>
                  <a:pt x="53" y="82"/>
                  <a:pt x="53" y="82"/>
                </a:cubicBezTo>
                <a:cubicBezTo>
                  <a:pt x="54" y="82"/>
                  <a:pt x="55" y="83"/>
                  <a:pt x="55" y="83"/>
                </a:cubicBezTo>
                <a:cubicBezTo>
                  <a:pt x="56" y="83"/>
                  <a:pt x="56" y="85"/>
                  <a:pt x="56" y="85"/>
                </a:cubicBezTo>
                <a:cubicBezTo>
                  <a:pt x="56" y="86"/>
                  <a:pt x="56" y="86"/>
                  <a:pt x="57" y="86"/>
                </a:cubicBezTo>
                <a:cubicBezTo>
                  <a:pt x="57" y="86"/>
                  <a:pt x="61" y="88"/>
                  <a:pt x="62" y="88"/>
                </a:cubicBezTo>
                <a:cubicBezTo>
                  <a:pt x="62" y="89"/>
                  <a:pt x="64" y="91"/>
                  <a:pt x="65" y="92"/>
                </a:cubicBezTo>
                <a:cubicBezTo>
                  <a:pt x="65" y="92"/>
                  <a:pt x="65" y="96"/>
                  <a:pt x="65" y="97"/>
                </a:cubicBezTo>
                <a:cubicBezTo>
                  <a:pt x="66" y="97"/>
                  <a:pt x="67" y="99"/>
                  <a:pt x="67" y="99"/>
                </a:cubicBezTo>
                <a:cubicBezTo>
                  <a:pt x="68" y="100"/>
                  <a:pt x="67" y="104"/>
                  <a:pt x="68" y="104"/>
                </a:cubicBezTo>
                <a:cubicBezTo>
                  <a:pt x="68" y="104"/>
                  <a:pt x="68" y="105"/>
                  <a:pt x="68" y="106"/>
                </a:cubicBezTo>
                <a:cubicBezTo>
                  <a:pt x="68" y="106"/>
                  <a:pt x="68" y="107"/>
                  <a:pt x="68" y="108"/>
                </a:cubicBezTo>
                <a:cubicBezTo>
                  <a:pt x="68" y="108"/>
                  <a:pt x="75" y="114"/>
                  <a:pt x="75" y="114"/>
                </a:cubicBezTo>
                <a:cubicBezTo>
                  <a:pt x="75" y="114"/>
                  <a:pt x="75" y="115"/>
                  <a:pt x="75" y="115"/>
                </a:cubicBezTo>
                <a:cubicBezTo>
                  <a:pt x="75" y="116"/>
                  <a:pt x="75" y="117"/>
                  <a:pt x="76" y="117"/>
                </a:cubicBezTo>
                <a:cubicBezTo>
                  <a:pt x="76" y="117"/>
                  <a:pt x="76" y="118"/>
                  <a:pt x="77" y="119"/>
                </a:cubicBezTo>
                <a:cubicBezTo>
                  <a:pt x="78" y="120"/>
                  <a:pt x="78" y="120"/>
                  <a:pt x="78" y="121"/>
                </a:cubicBezTo>
                <a:cubicBezTo>
                  <a:pt x="78" y="122"/>
                  <a:pt x="78" y="124"/>
                  <a:pt x="78" y="124"/>
                </a:cubicBezTo>
                <a:cubicBezTo>
                  <a:pt x="78" y="125"/>
                  <a:pt x="78" y="128"/>
                  <a:pt x="78" y="128"/>
                </a:cubicBezTo>
                <a:cubicBezTo>
                  <a:pt x="78" y="129"/>
                  <a:pt x="79" y="129"/>
                  <a:pt x="80" y="129"/>
                </a:cubicBezTo>
                <a:cubicBezTo>
                  <a:pt x="80" y="129"/>
                  <a:pt x="82" y="129"/>
                  <a:pt x="82" y="129"/>
                </a:cubicBezTo>
                <a:cubicBezTo>
                  <a:pt x="83" y="129"/>
                  <a:pt x="83" y="130"/>
                  <a:pt x="83" y="130"/>
                </a:cubicBezTo>
                <a:cubicBezTo>
                  <a:pt x="84" y="130"/>
                  <a:pt x="84" y="130"/>
                  <a:pt x="84" y="129"/>
                </a:cubicBezTo>
                <a:cubicBezTo>
                  <a:pt x="84" y="129"/>
                  <a:pt x="84" y="129"/>
                  <a:pt x="85" y="128"/>
                </a:cubicBezTo>
                <a:cubicBezTo>
                  <a:pt x="85" y="128"/>
                  <a:pt x="85" y="127"/>
                  <a:pt x="86" y="127"/>
                </a:cubicBezTo>
                <a:cubicBezTo>
                  <a:pt x="86" y="126"/>
                  <a:pt x="87" y="126"/>
                  <a:pt x="87" y="125"/>
                </a:cubicBezTo>
                <a:cubicBezTo>
                  <a:pt x="87" y="125"/>
                  <a:pt x="87" y="124"/>
                  <a:pt x="87" y="124"/>
                </a:cubicBezTo>
                <a:cubicBezTo>
                  <a:pt x="87" y="124"/>
                  <a:pt x="87" y="124"/>
                  <a:pt x="88" y="124"/>
                </a:cubicBezTo>
                <a:cubicBezTo>
                  <a:pt x="88" y="124"/>
                  <a:pt x="88" y="125"/>
                  <a:pt x="89" y="125"/>
                </a:cubicBezTo>
                <a:cubicBezTo>
                  <a:pt x="89" y="125"/>
                  <a:pt x="90" y="125"/>
                  <a:pt x="90" y="126"/>
                </a:cubicBezTo>
                <a:cubicBezTo>
                  <a:pt x="90" y="126"/>
                  <a:pt x="90" y="127"/>
                  <a:pt x="90" y="127"/>
                </a:cubicBezTo>
                <a:cubicBezTo>
                  <a:pt x="90" y="128"/>
                  <a:pt x="91" y="127"/>
                  <a:pt x="91" y="127"/>
                </a:cubicBezTo>
                <a:cubicBezTo>
                  <a:pt x="92" y="126"/>
                  <a:pt x="92" y="126"/>
                  <a:pt x="93" y="125"/>
                </a:cubicBezTo>
                <a:cubicBezTo>
                  <a:pt x="93" y="125"/>
                  <a:pt x="94" y="125"/>
                  <a:pt x="94" y="124"/>
                </a:cubicBezTo>
                <a:cubicBezTo>
                  <a:pt x="93" y="124"/>
                  <a:pt x="93" y="124"/>
                  <a:pt x="93" y="124"/>
                </a:cubicBezTo>
                <a:cubicBezTo>
                  <a:pt x="92" y="123"/>
                  <a:pt x="92" y="123"/>
                  <a:pt x="92" y="123"/>
                </a:cubicBezTo>
                <a:cubicBezTo>
                  <a:pt x="92" y="123"/>
                  <a:pt x="92" y="123"/>
                  <a:pt x="92" y="123"/>
                </a:cubicBezTo>
                <a:cubicBezTo>
                  <a:pt x="92" y="123"/>
                  <a:pt x="91" y="123"/>
                  <a:pt x="91" y="123"/>
                </a:cubicBezTo>
                <a:cubicBezTo>
                  <a:pt x="91" y="123"/>
                  <a:pt x="90" y="124"/>
                  <a:pt x="90" y="124"/>
                </a:cubicBezTo>
                <a:cubicBezTo>
                  <a:pt x="90" y="124"/>
                  <a:pt x="89" y="124"/>
                  <a:pt x="89" y="123"/>
                </a:cubicBezTo>
                <a:cubicBezTo>
                  <a:pt x="89" y="123"/>
                  <a:pt x="89" y="123"/>
                  <a:pt x="89" y="122"/>
                </a:cubicBezTo>
                <a:cubicBezTo>
                  <a:pt x="89" y="122"/>
                  <a:pt x="89" y="122"/>
                  <a:pt x="89" y="121"/>
                </a:cubicBezTo>
                <a:cubicBezTo>
                  <a:pt x="88" y="121"/>
                  <a:pt x="88" y="121"/>
                  <a:pt x="88" y="121"/>
                </a:cubicBezTo>
                <a:cubicBezTo>
                  <a:pt x="88" y="121"/>
                  <a:pt x="87" y="120"/>
                  <a:pt x="87" y="120"/>
                </a:cubicBezTo>
                <a:cubicBezTo>
                  <a:pt x="87" y="120"/>
                  <a:pt x="87" y="119"/>
                  <a:pt x="87" y="119"/>
                </a:cubicBezTo>
                <a:cubicBezTo>
                  <a:pt x="87" y="119"/>
                  <a:pt x="88" y="118"/>
                  <a:pt x="88" y="118"/>
                </a:cubicBezTo>
                <a:cubicBezTo>
                  <a:pt x="88" y="118"/>
                  <a:pt x="88" y="117"/>
                  <a:pt x="88" y="117"/>
                </a:cubicBezTo>
                <a:cubicBezTo>
                  <a:pt x="87" y="116"/>
                  <a:pt x="87" y="116"/>
                  <a:pt x="87" y="116"/>
                </a:cubicBezTo>
                <a:cubicBezTo>
                  <a:pt x="87" y="116"/>
                  <a:pt x="87" y="116"/>
                  <a:pt x="87" y="116"/>
                </a:cubicBezTo>
                <a:cubicBezTo>
                  <a:pt x="87" y="115"/>
                  <a:pt x="87" y="115"/>
                  <a:pt x="87" y="114"/>
                </a:cubicBezTo>
                <a:cubicBezTo>
                  <a:pt x="87" y="114"/>
                  <a:pt x="87" y="114"/>
                  <a:pt x="87" y="114"/>
                </a:cubicBezTo>
                <a:cubicBezTo>
                  <a:pt x="88" y="114"/>
                  <a:pt x="88" y="113"/>
                  <a:pt x="88" y="113"/>
                </a:cubicBezTo>
                <a:cubicBezTo>
                  <a:pt x="88" y="113"/>
                  <a:pt x="88" y="112"/>
                  <a:pt x="87" y="112"/>
                </a:cubicBezTo>
                <a:cubicBezTo>
                  <a:pt x="87" y="112"/>
                  <a:pt x="87" y="112"/>
                  <a:pt x="87" y="111"/>
                </a:cubicBezTo>
                <a:cubicBezTo>
                  <a:pt x="87" y="111"/>
                  <a:pt x="87" y="111"/>
                  <a:pt x="86" y="111"/>
                </a:cubicBezTo>
                <a:cubicBezTo>
                  <a:pt x="86" y="111"/>
                  <a:pt x="86" y="111"/>
                  <a:pt x="86" y="111"/>
                </a:cubicBezTo>
                <a:cubicBezTo>
                  <a:pt x="86" y="111"/>
                  <a:pt x="86" y="111"/>
                  <a:pt x="87" y="111"/>
                </a:cubicBezTo>
                <a:cubicBezTo>
                  <a:pt x="87" y="111"/>
                  <a:pt x="87" y="111"/>
                  <a:pt x="88" y="111"/>
                </a:cubicBezTo>
                <a:cubicBezTo>
                  <a:pt x="88" y="111"/>
                  <a:pt x="88" y="112"/>
                  <a:pt x="88" y="112"/>
                </a:cubicBezTo>
                <a:cubicBezTo>
                  <a:pt x="89" y="112"/>
                  <a:pt x="89" y="112"/>
                  <a:pt x="89" y="112"/>
                </a:cubicBezTo>
                <a:cubicBezTo>
                  <a:pt x="90" y="112"/>
                  <a:pt x="90" y="113"/>
                  <a:pt x="90" y="113"/>
                </a:cubicBezTo>
                <a:cubicBezTo>
                  <a:pt x="90" y="114"/>
                  <a:pt x="90" y="115"/>
                  <a:pt x="90" y="116"/>
                </a:cubicBezTo>
                <a:cubicBezTo>
                  <a:pt x="90" y="116"/>
                  <a:pt x="90" y="117"/>
                  <a:pt x="90" y="117"/>
                </a:cubicBezTo>
                <a:cubicBezTo>
                  <a:pt x="90" y="117"/>
                  <a:pt x="90" y="117"/>
                  <a:pt x="91" y="117"/>
                </a:cubicBezTo>
                <a:cubicBezTo>
                  <a:pt x="91" y="117"/>
                  <a:pt x="91" y="118"/>
                  <a:pt x="92" y="118"/>
                </a:cubicBezTo>
                <a:cubicBezTo>
                  <a:pt x="92" y="118"/>
                  <a:pt x="93" y="118"/>
                  <a:pt x="93" y="118"/>
                </a:cubicBezTo>
                <a:cubicBezTo>
                  <a:pt x="93" y="117"/>
                  <a:pt x="93" y="117"/>
                  <a:pt x="93" y="117"/>
                </a:cubicBezTo>
                <a:cubicBezTo>
                  <a:pt x="93" y="116"/>
                  <a:pt x="93" y="115"/>
                  <a:pt x="94" y="115"/>
                </a:cubicBezTo>
                <a:cubicBezTo>
                  <a:pt x="95" y="115"/>
                  <a:pt x="94" y="116"/>
                  <a:pt x="94" y="116"/>
                </a:cubicBezTo>
                <a:cubicBezTo>
                  <a:pt x="94" y="117"/>
                  <a:pt x="93" y="117"/>
                  <a:pt x="94" y="118"/>
                </a:cubicBezTo>
                <a:cubicBezTo>
                  <a:pt x="94" y="118"/>
                  <a:pt x="94" y="118"/>
                  <a:pt x="94" y="118"/>
                </a:cubicBezTo>
                <a:cubicBezTo>
                  <a:pt x="94" y="119"/>
                  <a:pt x="94" y="119"/>
                  <a:pt x="94" y="119"/>
                </a:cubicBezTo>
                <a:cubicBezTo>
                  <a:pt x="94" y="119"/>
                  <a:pt x="94" y="120"/>
                  <a:pt x="94" y="120"/>
                </a:cubicBezTo>
                <a:cubicBezTo>
                  <a:pt x="95" y="120"/>
                  <a:pt x="95" y="120"/>
                  <a:pt x="95" y="120"/>
                </a:cubicBezTo>
                <a:cubicBezTo>
                  <a:pt x="95" y="121"/>
                  <a:pt x="95" y="121"/>
                  <a:pt x="96" y="121"/>
                </a:cubicBezTo>
                <a:cubicBezTo>
                  <a:pt x="96" y="121"/>
                  <a:pt x="97" y="120"/>
                  <a:pt x="98" y="120"/>
                </a:cubicBezTo>
                <a:cubicBezTo>
                  <a:pt x="98" y="119"/>
                  <a:pt x="99" y="119"/>
                  <a:pt x="99" y="119"/>
                </a:cubicBezTo>
                <a:cubicBezTo>
                  <a:pt x="99" y="118"/>
                  <a:pt x="99" y="118"/>
                  <a:pt x="100" y="118"/>
                </a:cubicBezTo>
                <a:cubicBezTo>
                  <a:pt x="100" y="118"/>
                  <a:pt x="101" y="117"/>
                  <a:pt x="101" y="117"/>
                </a:cubicBezTo>
                <a:cubicBezTo>
                  <a:pt x="101" y="117"/>
                  <a:pt x="101" y="117"/>
                  <a:pt x="101" y="117"/>
                </a:cubicBezTo>
                <a:cubicBezTo>
                  <a:pt x="100" y="116"/>
                  <a:pt x="100" y="116"/>
                  <a:pt x="100" y="116"/>
                </a:cubicBezTo>
                <a:cubicBezTo>
                  <a:pt x="99" y="116"/>
                  <a:pt x="99" y="116"/>
                  <a:pt x="99" y="115"/>
                </a:cubicBezTo>
                <a:cubicBezTo>
                  <a:pt x="99" y="115"/>
                  <a:pt x="98" y="115"/>
                  <a:pt x="98" y="115"/>
                </a:cubicBezTo>
                <a:cubicBezTo>
                  <a:pt x="98" y="115"/>
                  <a:pt x="97" y="114"/>
                  <a:pt x="97" y="114"/>
                </a:cubicBezTo>
                <a:cubicBezTo>
                  <a:pt x="97" y="114"/>
                  <a:pt x="96" y="114"/>
                  <a:pt x="96" y="114"/>
                </a:cubicBezTo>
                <a:cubicBezTo>
                  <a:pt x="96" y="114"/>
                  <a:pt x="95" y="114"/>
                  <a:pt x="95" y="114"/>
                </a:cubicBezTo>
                <a:cubicBezTo>
                  <a:pt x="95" y="113"/>
                  <a:pt x="94" y="113"/>
                  <a:pt x="94" y="113"/>
                </a:cubicBezTo>
                <a:cubicBezTo>
                  <a:pt x="93" y="113"/>
                  <a:pt x="93" y="113"/>
                  <a:pt x="92" y="112"/>
                </a:cubicBezTo>
                <a:cubicBezTo>
                  <a:pt x="92" y="112"/>
                  <a:pt x="92" y="112"/>
                  <a:pt x="92" y="112"/>
                </a:cubicBezTo>
                <a:cubicBezTo>
                  <a:pt x="92" y="112"/>
                  <a:pt x="91" y="112"/>
                  <a:pt x="91" y="111"/>
                </a:cubicBezTo>
                <a:cubicBezTo>
                  <a:pt x="91" y="111"/>
                  <a:pt x="91" y="111"/>
                  <a:pt x="91" y="110"/>
                </a:cubicBezTo>
                <a:cubicBezTo>
                  <a:pt x="92" y="110"/>
                  <a:pt x="92" y="110"/>
                  <a:pt x="92" y="110"/>
                </a:cubicBezTo>
                <a:cubicBezTo>
                  <a:pt x="93" y="110"/>
                  <a:pt x="93" y="110"/>
                  <a:pt x="93" y="110"/>
                </a:cubicBezTo>
                <a:cubicBezTo>
                  <a:pt x="93" y="110"/>
                  <a:pt x="93" y="109"/>
                  <a:pt x="93" y="109"/>
                </a:cubicBezTo>
                <a:cubicBezTo>
                  <a:pt x="94" y="109"/>
                  <a:pt x="94" y="109"/>
                  <a:pt x="94" y="109"/>
                </a:cubicBezTo>
                <a:cubicBezTo>
                  <a:pt x="94" y="109"/>
                  <a:pt x="95" y="109"/>
                  <a:pt x="96" y="109"/>
                </a:cubicBezTo>
                <a:cubicBezTo>
                  <a:pt x="96" y="109"/>
                  <a:pt x="96" y="110"/>
                  <a:pt x="96" y="110"/>
                </a:cubicBezTo>
                <a:cubicBezTo>
                  <a:pt x="96" y="110"/>
                  <a:pt x="97" y="110"/>
                  <a:pt x="97" y="109"/>
                </a:cubicBezTo>
                <a:cubicBezTo>
                  <a:pt x="97" y="109"/>
                  <a:pt x="97" y="109"/>
                  <a:pt x="98" y="109"/>
                </a:cubicBezTo>
                <a:cubicBezTo>
                  <a:pt x="98" y="109"/>
                  <a:pt x="98" y="109"/>
                  <a:pt x="98" y="108"/>
                </a:cubicBezTo>
                <a:cubicBezTo>
                  <a:pt x="98" y="108"/>
                  <a:pt x="98" y="108"/>
                  <a:pt x="98" y="108"/>
                </a:cubicBezTo>
                <a:cubicBezTo>
                  <a:pt x="98" y="107"/>
                  <a:pt x="99" y="107"/>
                  <a:pt x="99" y="108"/>
                </a:cubicBezTo>
                <a:cubicBezTo>
                  <a:pt x="99" y="108"/>
                  <a:pt x="99" y="108"/>
                  <a:pt x="99" y="108"/>
                </a:cubicBezTo>
                <a:cubicBezTo>
                  <a:pt x="99" y="109"/>
                  <a:pt x="99" y="109"/>
                  <a:pt x="99" y="110"/>
                </a:cubicBezTo>
                <a:cubicBezTo>
                  <a:pt x="100" y="110"/>
                  <a:pt x="100" y="111"/>
                  <a:pt x="101" y="111"/>
                </a:cubicBezTo>
                <a:cubicBezTo>
                  <a:pt x="101" y="111"/>
                  <a:pt x="102" y="112"/>
                  <a:pt x="102" y="112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103" y="112"/>
                  <a:pt x="104" y="112"/>
                  <a:pt x="104" y="112"/>
                </a:cubicBezTo>
                <a:cubicBezTo>
                  <a:pt x="104" y="113"/>
                  <a:pt x="105" y="113"/>
                  <a:pt x="105" y="113"/>
                </a:cubicBezTo>
                <a:cubicBezTo>
                  <a:pt x="106" y="114"/>
                  <a:pt x="106" y="113"/>
                  <a:pt x="107" y="113"/>
                </a:cubicBezTo>
                <a:cubicBezTo>
                  <a:pt x="107" y="112"/>
                  <a:pt x="108" y="112"/>
                  <a:pt x="108" y="112"/>
                </a:cubicBezTo>
                <a:cubicBezTo>
                  <a:pt x="108" y="112"/>
                  <a:pt x="108" y="111"/>
                  <a:pt x="109" y="111"/>
                </a:cubicBezTo>
                <a:cubicBezTo>
                  <a:pt x="109" y="111"/>
                  <a:pt x="109" y="111"/>
                  <a:pt x="109" y="110"/>
                </a:cubicBezTo>
                <a:cubicBezTo>
                  <a:pt x="109" y="110"/>
                  <a:pt x="109" y="109"/>
                  <a:pt x="109" y="109"/>
                </a:cubicBezTo>
                <a:cubicBezTo>
                  <a:pt x="109" y="109"/>
                  <a:pt x="108" y="109"/>
                  <a:pt x="108" y="109"/>
                </a:cubicBezTo>
                <a:cubicBezTo>
                  <a:pt x="108" y="109"/>
                  <a:pt x="108" y="109"/>
                  <a:pt x="107" y="109"/>
                </a:cubicBezTo>
                <a:cubicBezTo>
                  <a:pt x="107" y="108"/>
                  <a:pt x="107" y="108"/>
                  <a:pt x="106" y="108"/>
                </a:cubicBezTo>
                <a:cubicBezTo>
                  <a:pt x="106" y="107"/>
                  <a:pt x="106" y="107"/>
                  <a:pt x="105" y="107"/>
                </a:cubicBezTo>
                <a:cubicBezTo>
                  <a:pt x="105" y="106"/>
                  <a:pt x="105" y="106"/>
                  <a:pt x="104" y="106"/>
                </a:cubicBezTo>
                <a:cubicBezTo>
                  <a:pt x="104" y="106"/>
                  <a:pt x="105" y="106"/>
                  <a:pt x="105" y="105"/>
                </a:cubicBezTo>
                <a:cubicBezTo>
                  <a:pt x="106" y="105"/>
                  <a:pt x="107" y="106"/>
                  <a:pt x="107" y="106"/>
                </a:cubicBezTo>
                <a:cubicBezTo>
                  <a:pt x="108" y="106"/>
                  <a:pt x="108" y="106"/>
                  <a:pt x="108" y="105"/>
                </a:cubicBezTo>
                <a:cubicBezTo>
                  <a:pt x="108" y="105"/>
                  <a:pt x="108" y="105"/>
                  <a:pt x="108" y="105"/>
                </a:cubicBezTo>
                <a:cubicBezTo>
                  <a:pt x="109" y="105"/>
                  <a:pt x="109" y="106"/>
                  <a:pt x="109" y="106"/>
                </a:cubicBezTo>
                <a:cubicBezTo>
                  <a:pt x="109" y="106"/>
                  <a:pt x="109" y="106"/>
                  <a:pt x="108" y="107"/>
                </a:cubicBezTo>
                <a:cubicBezTo>
                  <a:pt x="108" y="107"/>
                  <a:pt x="108" y="107"/>
                  <a:pt x="108" y="107"/>
                </a:cubicBezTo>
                <a:cubicBezTo>
                  <a:pt x="108" y="108"/>
                  <a:pt x="109" y="109"/>
                  <a:pt x="109" y="109"/>
                </a:cubicBezTo>
                <a:cubicBezTo>
                  <a:pt x="109" y="109"/>
                  <a:pt x="110" y="109"/>
                  <a:pt x="110" y="110"/>
                </a:cubicBezTo>
                <a:cubicBezTo>
                  <a:pt x="110" y="110"/>
                  <a:pt x="110" y="110"/>
                  <a:pt x="111" y="110"/>
                </a:cubicBezTo>
                <a:cubicBezTo>
                  <a:pt x="111" y="110"/>
                  <a:pt x="112" y="109"/>
                  <a:pt x="112" y="109"/>
                </a:cubicBezTo>
                <a:cubicBezTo>
                  <a:pt x="112" y="109"/>
                  <a:pt x="113" y="109"/>
                  <a:pt x="114" y="109"/>
                </a:cubicBezTo>
                <a:cubicBezTo>
                  <a:pt x="114" y="109"/>
                  <a:pt x="115" y="109"/>
                  <a:pt x="115" y="109"/>
                </a:cubicBezTo>
                <a:cubicBezTo>
                  <a:pt x="116" y="109"/>
                  <a:pt x="116" y="109"/>
                  <a:pt x="116" y="108"/>
                </a:cubicBezTo>
                <a:cubicBezTo>
                  <a:pt x="116" y="108"/>
                  <a:pt x="116" y="108"/>
                  <a:pt x="116" y="107"/>
                </a:cubicBezTo>
                <a:cubicBezTo>
                  <a:pt x="117" y="107"/>
                  <a:pt x="116" y="107"/>
                  <a:pt x="117" y="107"/>
                </a:cubicBezTo>
                <a:cubicBezTo>
                  <a:pt x="117" y="106"/>
                  <a:pt x="117" y="107"/>
                  <a:pt x="118" y="107"/>
                </a:cubicBezTo>
                <a:cubicBezTo>
                  <a:pt x="118" y="107"/>
                  <a:pt x="119" y="107"/>
                  <a:pt x="119" y="106"/>
                </a:cubicBezTo>
                <a:cubicBezTo>
                  <a:pt x="119" y="106"/>
                  <a:pt x="119" y="106"/>
                  <a:pt x="120" y="106"/>
                </a:cubicBezTo>
                <a:cubicBezTo>
                  <a:pt x="120" y="106"/>
                  <a:pt x="120" y="106"/>
                  <a:pt x="120" y="106"/>
                </a:cubicBezTo>
                <a:cubicBezTo>
                  <a:pt x="120" y="105"/>
                  <a:pt x="120" y="105"/>
                  <a:pt x="120" y="105"/>
                </a:cubicBezTo>
                <a:cubicBezTo>
                  <a:pt x="120" y="104"/>
                  <a:pt x="121" y="104"/>
                  <a:pt x="121" y="104"/>
                </a:cubicBezTo>
                <a:cubicBezTo>
                  <a:pt x="121" y="104"/>
                  <a:pt x="121" y="104"/>
                  <a:pt x="120" y="104"/>
                </a:cubicBezTo>
                <a:cubicBezTo>
                  <a:pt x="120" y="103"/>
                  <a:pt x="120" y="103"/>
                  <a:pt x="120" y="103"/>
                </a:cubicBezTo>
                <a:cubicBezTo>
                  <a:pt x="119" y="102"/>
                  <a:pt x="119" y="102"/>
                  <a:pt x="118" y="102"/>
                </a:cubicBezTo>
                <a:cubicBezTo>
                  <a:pt x="118" y="102"/>
                  <a:pt x="118" y="101"/>
                  <a:pt x="117" y="100"/>
                </a:cubicBezTo>
                <a:cubicBezTo>
                  <a:pt x="117" y="100"/>
                  <a:pt x="117" y="100"/>
                  <a:pt x="117" y="99"/>
                </a:cubicBezTo>
                <a:cubicBezTo>
                  <a:pt x="118" y="99"/>
                  <a:pt x="118" y="100"/>
                  <a:pt x="118" y="100"/>
                </a:cubicBezTo>
                <a:cubicBezTo>
                  <a:pt x="118" y="100"/>
                  <a:pt x="118" y="101"/>
                  <a:pt x="118" y="101"/>
                </a:cubicBezTo>
                <a:cubicBezTo>
                  <a:pt x="119" y="101"/>
                  <a:pt x="119" y="102"/>
                  <a:pt x="119" y="102"/>
                </a:cubicBezTo>
                <a:cubicBezTo>
                  <a:pt x="120" y="102"/>
                  <a:pt x="120" y="102"/>
                  <a:pt x="121" y="102"/>
                </a:cubicBezTo>
                <a:cubicBezTo>
                  <a:pt x="122" y="102"/>
                  <a:pt x="122" y="102"/>
                  <a:pt x="122" y="102"/>
                </a:cubicBezTo>
                <a:cubicBezTo>
                  <a:pt x="123" y="101"/>
                  <a:pt x="124" y="101"/>
                  <a:pt x="124" y="101"/>
                </a:cubicBezTo>
                <a:cubicBezTo>
                  <a:pt x="125" y="101"/>
                  <a:pt x="125" y="101"/>
                  <a:pt x="125" y="101"/>
                </a:cubicBezTo>
                <a:cubicBezTo>
                  <a:pt x="126" y="101"/>
                  <a:pt x="126" y="101"/>
                  <a:pt x="126" y="100"/>
                </a:cubicBezTo>
                <a:cubicBezTo>
                  <a:pt x="126" y="100"/>
                  <a:pt x="126" y="100"/>
                  <a:pt x="126" y="100"/>
                </a:cubicBezTo>
                <a:cubicBezTo>
                  <a:pt x="126" y="99"/>
                  <a:pt x="125" y="99"/>
                  <a:pt x="125" y="99"/>
                </a:cubicBezTo>
                <a:cubicBezTo>
                  <a:pt x="125" y="99"/>
                  <a:pt x="125" y="98"/>
                  <a:pt x="126" y="98"/>
                </a:cubicBezTo>
                <a:cubicBezTo>
                  <a:pt x="126" y="98"/>
                  <a:pt x="127" y="98"/>
                  <a:pt x="128" y="98"/>
                </a:cubicBezTo>
                <a:cubicBezTo>
                  <a:pt x="128" y="97"/>
                  <a:pt x="129" y="97"/>
                  <a:pt x="129" y="96"/>
                </a:cubicBezTo>
                <a:cubicBezTo>
                  <a:pt x="129" y="96"/>
                  <a:pt x="130" y="95"/>
                  <a:pt x="130" y="95"/>
                </a:cubicBezTo>
                <a:cubicBezTo>
                  <a:pt x="130" y="95"/>
                  <a:pt x="130" y="94"/>
                  <a:pt x="130" y="94"/>
                </a:cubicBezTo>
                <a:cubicBezTo>
                  <a:pt x="130" y="94"/>
                  <a:pt x="131" y="94"/>
                  <a:pt x="131" y="93"/>
                </a:cubicBezTo>
                <a:cubicBezTo>
                  <a:pt x="131" y="93"/>
                  <a:pt x="131" y="93"/>
                  <a:pt x="131" y="92"/>
                </a:cubicBezTo>
                <a:cubicBezTo>
                  <a:pt x="131" y="92"/>
                  <a:pt x="132" y="91"/>
                  <a:pt x="132" y="91"/>
                </a:cubicBezTo>
                <a:cubicBezTo>
                  <a:pt x="133" y="91"/>
                  <a:pt x="133" y="91"/>
                  <a:pt x="134" y="91"/>
                </a:cubicBezTo>
                <a:cubicBezTo>
                  <a:pt x="134" y="91"/>
                  <a:pt x="134" y="91"/>
                  <a:pt x="135" y="91"/>
                </a:cubicBezTo>
                <a:cubicBezTo>
                  <a:pt x="135" y="91"/>
                  <a:pt x="135" y="91"/>
                  <a:pt x="135" y="92"/>
                </a:cubicBezTo>
                <a:cubicBezTo>
                  <a:pt x="136" y="92"/>
                  <a:pt x="136" y="92"/>
                  <a:pt x="137" y="92"/>
                </a:cubicBezTo>
                <a:cubicBezTo>
                  <a:pt x="137" y="91"/>
                  <a:pt x="138" y="92"/>
                  <a:pt x="138" y="91"/>
                </a:cubicBezTo>
                <a:cubicBezTo>
                  <a:pt x="138" y="91"/>
                  <a:pt x="138" y="90"/>
                  <a:pt x="138" y="90"/>
                </a:cubicBezTo>
                <a:cubicBezTo>
                  <a:pt x="138" y="89"/>
                  <a:pt x="139" y="89"/>
                  <a:pt x="139" y="89"/>
                </a:cubicBezTo>
                <a:cubicBezTo>
                  <a:pt x="139" y="89"/>
                  <a:pt x="140" y="88"/>
                  <a:pt x="140" y="88"/>
                </a:cubicBezTo>
                <a:cubicBezTo>
                  <a:pt x="140" y="88"/>
                  <a:pt x="141" y="87"/>
                  <a:pt x="141" y="87"/>
                </a:cubicBezTo>
                <a:cubicBezTo>
                  <a:pt x="141" y="87"/>
                  <a:pt x="141" y="86"/>
                  <a:pt x="142" y="86"/>
                </a:cubicBezTo>
                <a:cubicBezTo>
                  <a:pt x="142" y="86"/>
                  <a:pt x="142" y="86"/>
                  <a:pt x="142" y="86"/>
                </a:cubicBezTo>
                <a:cubicBezTo>
                  <a:pt x="143" y="86"/>
                  <a:pt x="143" y="86"/>
                  <a:pt x="143" y="86"/>
                </a:cubicBezTo>
                <a:cubicBezTo>
                  <a:pt x="143" y="86"/>
                  <a:pt x="143" y="86"/>
                  <a:pt x="143" y="86"/>
                </a:cubicBezTo>
                <a:cubicBezTo>
                  <a:pt x="144" y="86"/>
                  <a:pt x="144" y="86"/>
                  <a:pt x="144" y="85"/>
                </a:cubicBezTo>
                <a:cubicBezTo>
                  <a:pt x="144" y="85"/>
                  <a:pt x="144" y="85"/>
                  <a:pt x="144" y="85"/>
                </a:cubicBezTo>
                <a:cubicBezTo>
                  <a:pt x="144" y="84"/>
                  <a:pt x="145" y="83"/>
                  <a:pt x="144" y="82"/>
                </a:cubicBezTo>
                <a:cubicBezTo>
                  <a:pt x="144" y="82"/>
                  <a:pt x="144" y="82"/>
                  <a:pt x="144" y="82"/>
                </a:cubicBezTo>
                <a:cubicBezTo>
                  <a:pt x="144" y="81"/>
                  <a:pt x="143" y="81"/>
                  <a:pt x="143" y="81"/>
                </a:cubicBezTo>
                <a:cubicBezTo>
                  <a:pt x="143" y="80"/>
                  <a:pt x="142" y="80"/>
                  <a:pt x="142" y="80"/>
                </a:cubicBezTo>
                <a:cubicBezTo>
                  <a:pt x="142" y="79"/>
                  <a:pt x="142" y="79"/>
                  <a:pt x="142" y="79"/>
                </a:cubicBezTo>
                <a:cubicBezTo>
                  <a:pt x="142" y="78"/>
                  <a:pt x="144" y="79"/>
                  <a:pt x="144" y="79"/>
                </a:cubicBezTo>
                <a:cubicBezTo>
                  <a:pt x="145" y="78"/>
                  <a:pt x="146" y="78"/>
                  <a:pt x="146" y="77"/>
                </a:cubicBezTo>
                <a:cubicBezTo>
                  <a:pt x="146" y="77"/>
                  <a:pt x="147" y="76"/>
                  <a:pt x="147" y="75"/>
                </a:cubicBezTo>
                <a:cubicBezTo>
                  <a:pt x="147" y="75"/>
                  <a:pt x="147" y="74"/>
                  <a:pt x="147" y="74"/>
                </a:cubicBezTo>
                <a:cubicBezTo>
                  <a:pt x="148" y="73"/>
                  <a:pt x="148" y="72"/>
                  <a:pt x="149" y="72"/>
                </a:cubicBezTo>
                <a:cubicBezTo>
                  <a:pt x="149" y="71"/>
                  <a:pt x="149" y="71"/>
                  <a:pt x="150" y="70"/>
                </a:cubicBezTo>
                <a:cubicBezTo>
                  <a:pt x="151" y="70"/>
                  <a:pt x="151" y="69"/>
                  <a:pt x="151" y="68"/>
                </a:cubicBezTo>
                <a:cubicBezTo>
                  <a:pt x="152" y="68"/>
                  <a:pt x="152" y="67"/>
                  <a:pt x="153" y="67"/>
                </a:cubicBezTo>
                <a:cubicBezTo>
                  <a:pt x="153" y="66"/>
                  <a:pt x="154" y="66"/>
                  <a:pt x="154" y="66"/>
                </a:cubicBezTo>
                <a:cubicBezTo>
                  <a:pt x="154" y="65"/>
                  <a:pt x="154" y="65"/>
                  <a:pt x="155" y="64"/>
                </a:cubicBezTo>
                <a:cubicBezTo>
                  <a:pt x="155" y="64"/>
                  <a:pt x="155" y="64"/>
                  <a:pt x="155" y="63"/>
                </a:cubicBezTo>
                <a:cubicBezTo>
                  <a:pt x="156" y="63"/>
                  <a:pt x="156" y="63"/>
                  <a:pt x="156" y="63"/>
                </a:cubicBezTo>
                <a:cubicBezTo>
                  <a:pt x="157" y="62"/>
                  <a:pt x="157" y="62"/>
                  <a:pt x="158" y="61"/>
                </a:cubicBezTo>
                <a:cubicBezTo>
                  <a:pt x="158" y="61"/>
                  <a:pt x="159" y="61"/>
                  <a:pt x="159" y="60"/>
                </a:cubicBezTo>
                <a:cubicBezTo>
                  <a:pt x="159" y="60"/>
                  <a:pt x="160" y="60"/>
                  <a:pt x="160" y="60"/>
                </a:cubicBezTo>
                <a:cubicBezTo>
                  <a:pt x="160" y="60"/>
                  <a:pt x="160" y="60"/>
                  <a:pt x="161" y="59"/>
                </a:cubicBezTo>
                <a:cubicBezTo>
                  <a:pt x="161" y="59"/>
                  <a:pt x="161" y="59"/>
                  <a:pt x="161" y="59"/>
                </a:cubicBezTo>
                <a:cubicBezTo>
                  <a:pt x="162" y="59"/>
                  <a:pt x="162" y="59"/>
                  <a:pt x="163" y="59"/>
                </a:cubicBezTo>
                <a:cubicBezTo>
                  <a:pt x="163" y="59"/>
                  <a:pt x="164" y="58"/>
                  <a:pt x="164" y="58"/>
                </a:cubicBezTo>
                <a:cubicBezTo>
                  <a:pt x="165" y="58"/>
                  <a:pt x="165" y="58"/>
                  <a:pt x="166" y="57"/>
                </a:cubicBezTo>
                <a:cubicBezTo>
                  <a:pt x="166" y="57"/>
                  <a:pt x="166" y="57"/>
                  <a:pt x="167" y="57"/>
                </a:cubicBezTo>
                <a:cubicBezTo>
                  <a:pt x="167" y="57"/>
                  <a:pt x="167" y="57"/>
                  <a:pt x="167" y="57"/>
                </a:cubicBezTo>
                <a:lnTo>
                  <a:pt x="128" y="17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E4ADE0DB-D19C-47B6-9408-85FDBF55CD59}"/>
              </a:ext>
            </a:extLst>
          </p:cNvPr>
          <p:cNvSpPr>
            <a:spLocks noEditPoints="1"/>
          </p:cNvSpPr>
          <p:nvPr/>
        </p:nvSpPr>
        <p:spPr bwMode="auto">
          <a:xfrm>
            <a:off x="11230223" y="2626029"/>
            <a:ext cx="102437" cy="127219"/>
          </a:xfrm>
          <a:custGeom>
            <a:avLst/>
            <a:gdLst>
              <a:gd name="T0" fmla="*/ 18 w 26"/>
              <a:gd name="T1" fmla="*/ 25 h 32"/>
              <a:gd name="T2" fmla="*/ 18 w 26"/>
              <a:gd name="T3" fmla="*/ 24 h 32"/>
              <a:gd name="T4" fmla="*/ 19 w 26"/>
              <a:gd name="T5" fmla="*/ 23 h 32"/>
              <a:gd name="T6" fmla="*/ 19 w 26"/>
              <a:gd name="T7" fmla="*/ 21 h 32"/>
              <a:gd name="T8" fmla="*/ 20 w 26"/>
              <a:gd name="T9" fmla="*/ 20 h 32"/>
              <a:gd name="T10" fmla="*/ 21 w 26"/>
              <a:gd name="T11" fmla="*/ 22 h 32"/>
              <a:gd name="T12" fmla="*/ 20 w 26"/>
              <a:gd name="T13" fmla="*/ 25 h 32"/>
              <a:gd name="T14" fmla="*/ 19 w 26"/>
              <a:gd name="T15" fmla="*/ 26 h 32"/>
              <a:gd name="T16" fmla="*/ 18 w 26"/>
              <a:gd name="T17" fmla="*/ 26 h 32"/>
              <a:gd name="T18" fmla="*/ 17 w 26"/>
              <a:gd name="T19" fmla="*/ 25 h 32"/>
              <a:gd name="T20" fmla="*/ 17 w 26"/>
              <a:gd name="T21" fmla="*/ 24 h 32"/>
              <a:gd name="T22" fmla="*/ 16 w 26"/>
              <a:gd name="T23" fmla="*/ 23 h 32"/>
              <a:gd name="T24" fmla="*/ 16 w 26"/>
              <a:gd name="T25" fmla="*/ 24 h 32"/>
              <a:gd name="T26" fmla="*/ 17 w 26"/>
              <a:gd name="T27" fmla="*/ 25 h 32"/>
              <a:gd name="T28" fmla="*/ 23 w 26"/>
              <a:gd name="T29" fmla="*/ 16 h 32"/>
              <a:gd name="T30" fmla="*/ 23 w 26"/>
              <a:gd name="T31" fmla="*/ 17 h 32"/>
              <a:gd name="T32" fmla="*/ 22 w 26"/>
              <a:gd name="T33" fmla="*/ 18 h 32"/>
              <a:gd name="T34" fmla="*/ 21 w 26"/>
              <a:gd name="T35" fmla="*/ 20 h 32"/>
              <a:gd name="T36" fmla="*/ 22 w 26"/>
              <a:gd name="T37" fmla="*/ 21 h 32"/>
              <a:gd name="T38" fmla="*/ 23 w 26"/>
              <a:gd name="T39" fmla="*/ 23 h 32"/>
              <a:gd name="T40" fmla="*/ 23 w 26"/>
              <a:gd name="T41" fmla="*/ 26 h 32"/>
              <a:gd name="T42" fmla="*/ 24 w 26"/>
              <a:gd name="T43" fmla="*/ 25 h 32"/>
              <a:gd name="T44" fmla="*/ 26 w 26"/>
              <a:gd name="T45" fmla="*/ 25 h 32"/>
              <a:gd name="T46" fmla="*/ 24 w 26"/>
              <a:gd name="T47" fmla="*/ 17 h 32"/>
              <a:gd name="T48" fmla="*/ 16 w 26"/>
              <a:gd name="T49" fmla="*/ 4 h 32"/>
              <a:gd name="T50" fmla="*/ 1 w 26"/>
              <a:gd name="T51" fmla="*/ 0 h 32"/>
              <a:gd name="T52" fmla="*/ 0 w 26"/>
              <a:gd name="T53" fmla="*/ 30 h 32"/>
              <a:gd name="T54" fmla="*/ 3 w 26"/>
              <a:gd name="T55" fmla="*/ 32 h 32"/>
              <a:gd name="T56" fmla="*/ 4 w 26"/>
              <a:gd name="T57" fmla="*/ 31 h 32"/>
              <a:gd name="T58" fmla="*/ 7 w 26"/>
              <a:gd name="T59" fmla="*/ 31 h 32"/>
              <a:gd name="T60" fmla="*/ 9 w 26"/>
              <a:gd name="T61" fmla="*/ 30 h 32"/>
              <a:gd name="T62" fmla="*/ 12 w 26"/>
              <a:gd name="T63" fmla="*/ 30 h 32"/>
              <a:gd name="T64" fmla="*/ 13 w 26"/>
              <a:gd name="T65" fmla="*/ 29 h 32"/>
              <a:gd name="T66" fmla="*/ 14 w 26"/>
              <a:gd name="T67" fmla="*/ 27 h 32"/>
              <a:gd name="T68" fmla="*/ 14 w 26"/>
              <a:gd name="T69" fmla="*/ 25 h 32"/>
              <a:gd name="T70" fmla="*/ 15 w 26"/>
              <a:gd name="T71" fmla="*/ 23 h 32"/>
              <a:gd name="T72" fmla="*/ 15 w 26"/>
              <a:gd name="T73" fmla="*/ 21 h 32"/>
              <a:gd name="T74" fmla="*/ 15 w 26"/>
              <a:gd name="T75" fmla="*/ 20 h 32"/>
              <a:gd name="T76" fmla="*/ 15 w 26"/>
              <a:gd name="T77" fmla="*/ 19 h 32"/>
              <a:gd name="T78" fmla="*/ 14 w 26"/>
              <a:gd name="T79" fmla="*/ 18 h 32"/>
              <a:gd name="T80" fmla="*/ 15 w 26"/>
              <a:gd name="T81" fmla="*/ 17 h 32"/>
              <a:gd name="T82" fmla="*/ 16 w 26"/>
              <a:gd name="T83" fmla="*/ 17 h 32"/>
              <a:gd name="T84" fmla="*/ 16 w 26"/>
              <a:gd name="T85" fmla="*/ 14 h 32"/>
              <a:gd name="T86" fmla="*/ 16 w 26"/>
              <a:gd name="T87" fmla="*/ 11 h 32"/>
              <a:gd name="T88" fmla="*/ 17 w 26"/>
              <a:gd name="T89" fmla="*/ 11 h 32"/>
              <a:gd name="T90" fmla="*/ 18 w 26"/>
              <a:gd name="T91" fmla="*/ 12 h 32"/>
              <a:gd name="T92" fmla="*/ 19 w 26"/>
              <a:gd name="T93" fmla="*/ 14 h 32"/>
              <a:gd name="T94" fmla="*/ 19 w 26"/>
              <a:gd name="T95" fmla="*/ 15 h 32"/>
              <a:gd name="T96" fmla="*/ 21 w 26"/>
              <a:gd name="T97" fmla="*/ 14 h 32"/>
              <a:gd name="T98" fmla="*/ 17 w 26"/>
              <a:gd name="T99" fmla="*/ 9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6" h="32">
                <a:moveTo>
                  <a:pt x="18" y="25"/>
                </a:move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4"/>
                  <a:pt x="18" y="24"/>
                  <a:pt x="18" y="24"/>
                </a:cubicBezTo>
                <a:cubicBezTo>
                  <a:pt x="19" y="24"/>
                  <a:pt x="19" y="24"/>
                  <a:pt x="19" y="24"/>
                </a:cubicBezTo>
                <a:cubicBezTo>
                  <a:pt x="19" y="23"/>
                  <a:pt x="19" y="23"/>
                  <a:pt x="19" y="23"/>
                </a:cubicBezTo>
                <a:cubicBezTo>
                  <a:pt x="19" y="23"/>
                  <a:pt x="19" y="22"/>
                  <a:pt x="19" y="22"/>
                </a:cubicBezTo>
                <a:cubicBezTo>
                  <a:pt x="19" y="22"/>
                  <a:pt x="19" y="21"/>
                  <a:pt x="19" y="21"/>
                </a:cubicBezTo>
                <a:cubicBezTo>
                  <a:pt x="19" y="21"/>
                  <a:pt x="19" y="21"/>
                  <a:pt x="19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19"/>
                  <a:pt x="21" y="19"/>
                  <a:pt x="21" y="20"/>
                </a:cubicBezTo>
                <a:cubicBezTo>
                  <a:pt x="21" y="21"/>
                  <a:pt x="21" y="21"/>
                  <a:pt x="21" y="22"/>
                </a:cubicBezTo>
                <a:cubicBezTo>
                  <a:pt x="21" y="23"/>
                  <a:pt x="21" y="24"/>
                  <a:pt x="21" y="24"/>
                </a:cubicBezTo>
                <a:cubicBezTo>
                  <a:pt x="21" y="25"/>
                  <a:pt x="21" y="25"/>
                  <a:pt x="20" y="25"/>
                </a:cubicBezTo>
                <a:cubicBezTo>
                  <a:pt x="20" y="25"/>
                  <a:pt x="20" y="25"/>
                  <a:pt x="20" y="25"/>
                </a:cubicBezTo>
                <a:cubicBezTo>
                  <a:pt x="20" y="26"/>
                  <a:pt x="19" y="26"/>
                  <a:pt x="19" y="26"/>
                </a:cubicBezTo>
                <a:cubicBezTo>
                  <a:pt x="19" y="26"/>
                  <a:pt x="19" y="26"/>
                  <a:pt x="19" y="26"/>
                </a:cubicBezTo>
                <a:cubicBezTo>
                  <a:pt x="19" y="26"/>
                  <a:pt x="18" y="26"/>
                  <a:pt x="18" y="26"/>
                </a:cubicBezTo>
                <a:cubicBezTo>
                  <a:pt x="18" y="26"/>
                  <a:pt x="18" y="26"/>
                  <a:pt x="18" y="25"/>
                </a:cubicBezTo>
                <a:close/>
                <a:moveTo>
                  <a:pt x="17" y="25"/>
                </a:moveTo>
                <a:cubicBezTo>
                  <a:pt x="17" y="25"/>
                  <a:pt x="17" y="25"/>
                  <a:pt x="17" y="25"/>
                </a:cubicBezTo>
                <a:cubicBezTo>
                  <a:pt x="17" y="24"/>
                  <a:pt x="17" y="24"/>
                  <a:pt x="17" y="24"/>
                </a:cubicBezTo>
                <a:cubicBezTo>
                  <a:pt x="17" y="23"/>
                  <a:pt x="17" y="23"/>
                  <a:pt x="17" y="22"/>
                </a:cubicBezTo>
                <a:cubicBezTo>
                  <a:pt x="17" y="22"/>
                  <a:pt x="16" y="23"/>
                  <a:pt x="16" y="23"/>
                </a:cubicBezTo>
                <a:cubicBezTo>
                  <a:pt x="16" y="23"/>
                  <a:pt x="16" y="23"/>
                  <a:pt x="16" y="23"/>
                </a:cubicBezTo>
                <a:cubicBezTo>
                  <a:pt x="16" y="23"/>
                  <a:pt x="16" y="24"/>
                  <a:pt x="16" y="24"/>
                </a:cubicBezTo>
                <a:cubicBezTo>
                  <a:pt x="16" y="24"/>
                  <a:pt x="16" y="24"/>
                  <a:pt x="16" y="25"/>
                </a:cubicBezTo>
                <a:cubicBezTo>
                  <a:pt x="16" y="25"/>
                  <a:pt x="16" y="25"/>
                  <a:pt x="17" y="25"/>
                </a:cubicBezTo>
                <a:close/>
                <a:moveTo>
                  <a:pt x="24" y="17"/>
                </a:moveTo>
                <a:cubicBezTo>
                  <a:pt x="23" y="16"/>
                  <a:pt x="23" y="16"/>
                  <a:pt x="23" y="16"/>
                </a:cubicBezTo>
                <a:cubicBezTo>
                  <a:pt x="23" y="16"/>
                  <a:pt x="23" y="16"/>
                  <a:pt x="23" y="17"/>
                </a:cubicBezTo>
                <a:cubicBezTo>
                  <a:pt x="23" y="17"/>
                  <a:pt x="23" y="17"/>
                  <a:pt x="23" y="17"/>
                </a:cubicBezTo>
                <a:cubicBezTo>
                  <a:pt x="22" y="17"/>
                  <a:pt x="22" y="17"/>
                  <a:pt x="22" y="17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8"/>
                  <a:pt x="21" y="18"/>
                  <a:pt x="21" y="19"/>
                </a:cubicBezTo>
                <a:cubicBezTo>
                  <a:pt x="21" y="19"/>
                  <a:pt x="21" y="19"/>
                  <a:pt x="21" y="20"/>
                </a:cubicBezTo>
                <a:cubicBezTo>
                  <a:pt x="22" y="20"/>
                  <a:pt x="22" y="20"/>
                  <a:pt x="22" y="20"/>
                </a:cubicBezTo>
                <a:cubicBezTo>
                  <a:pt x="22" y="20"/>
                  <a:pt x="22" y="20"/>
                  <a:pt x="22" y="21"/>
                </a:cubicBezTo>
                <a:cubicBezTo>
                  <a:pt x="22" y="21"/>
                  <a:pt x="22" y="21"/>
                  <a:pt x="22" y="22"/>
                </a:cubicBezTo>
                <a:cubicBezTo>
                  <a:pt x="23" y="22"/>
                  <a:pt x="23" y="23"/>
                  <a:pt x="23" y="23"/>
                </a:cubicBezTo>
                <a:cubicBezTo>
                  <a:pt x="23" y="24"/>
                  <a:pt x="23" y="24"/>
                  <a:pt x="23" y="25"/>
                </a:cubicBezTo>
                <a:cubicBezTo>
                  <a:pt x="23" y="25"/>
                  <a:pt x="23" y="26"/>
                  <a:pt x="23" y="26"/>
                </a:cubicBezTo>
                <a:cubicBezTo>
                  <a:pt x="23" y="26"/>
                  <a:pt x="24" y="26"/>
                  <a:pt x="24" y="26"/>
                </a:cubicBezTo>
                <a:cubicBezTo>
                  <a:pt x="24" y="26"/>
                  <a:pt x="24" y="25"/>
                  <a:pt x="24" y="25"/>
                </a:cubicBezTo>
                <a:cubicBezTo>
                  <a:pt x="24" y="25"/>
                  <a:pt x="25" y="25"/>
                  <a:pt x="25" y="25"/>
                </a:cubicBezTo>
                <a:cubicBezTo>
                  <a:pt x="25" y="24"/>
                  <a:pt x="26" y="25"/>
                  <a:pt x="26" y="25"/>
                </a:cubicBezTo>
                <a:cubicBezTo>
                  <a:pt x="26" y="23"/>
                  <a:pt x="25" y="19"/>
                  <a:pt x="25" y="19"/>
                </a:cubicBezTo>
                <a:cubicBezTo>
                  <a:pt x="25" y="19"/>
                  <a:pt x="24" y="17"/>
                  <a:pt x="24" y="17"/>
                </a:cubicBezTo>
                <a:close/>
                <a:moveTo>
                  <a:pt x="17" y="6"/>
                </a:moveTo>
                <a:cubicBezTo>
                  <a:pt x="17" y="6"/>
                  <a:pt x="16" y="5"/>
                  <a:pt x="16" y="4"/>
                </a:cubicBezTo>
                <a:cubicBezTo>
                  <a:pt x="16" y="4"/>
                  <a:pt x="16" y="0"/>
                  <a:pt x="16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2"/>
                  <a:pt x="0" y="32"/>
                  <a:pt x="0" y="32"/>
                </a:cubicBezTo>
                <a:cubicBezTo>
                  <a:pt x="1" y="32"/>
                  <a:pt x="2" y="32"/>
                  <a:pt x="3" y="32"/>
                </a:cubicBezTo>
                <a:cubicBezTo>
                  <a:pt x="3" y="32"/>
                  <a:pt x="3" y="32"/>
                  <a:pt x="4" y="32"/>
                </a:cubicBezTo>
                <a:cubicBezTo>
                  <a:pt x="4" y="31"/>
                  <a:pt x="4" y="31"/>
                  <a:pt x="4" y="31"/>
                </a:cubicBezTo>
                <a:cubicBezTo>
                  <a:pt x="5" y="31"/>
                  <a:pt x="6" y="31"/>
                  <a:pt x="6" y="31"/>
                </a:cubicBezTo>
                <a:cubicBezTo>
                  <a:pt x="6" y="31"/>
                  <a:pt x="7" y="31"/>
                  <a:pt x="7" y="31"/>
                </a:cubicBezTo>
                <a:cubicBezTo>
                  <a:pt x="7" y="31"/>
                  <a:pt x="7" y="31"/>
                  <a:pt x="8" y="31"/>
                </a:cubicBezTo>
                <a:cubicBezTo>
                  <a:pt x="8" y="30"/>
                  <a:pt x="8" y="30"/>
                  <a:pt x="9" y="30"/>
                </a:cubicBezTo>
                <a:cubicBezTo>
                  <a:pt x="9" y="31"/>
                  <a:pt x="10" y="31"/>
                  <a:pt x="10" y="31"/>
                </a:cubicBezTo>
                <a:cubicBezTo>
                  <a:pt x="11" y="31"/>
                  <a:pt x="11" y="31"/>
                  <a:pt x="12" y="30"/>
                </a:cubicBezTo>
                <a:cubicBezTo>
                  <a:pt x="12" y="30"/>
                  <a:pt x="12" y="30"/>
                  <a:pt x="12" y="30"/>
                </a:cubicBezTo>
                <a:cubicBezTo>
                  <a:pt x="12" y="30"/>
                  <a:pt x="12" y="29"/>
                  <a:pt x="13" y="29"/>
                </a:cubicBezTo>
                <a:cubicBezTo>
                  <a:pt x="13" y="29"/>
                  <a:pt x="13" y="29"/>
                  <a:pt x="14" y="28"/>
                </a:cubicBezTo>
                <a:cubicBezTo>
                  <a:pt x="14" y="28"/>
                  <a:pt x="14" y="27"/>
                  <a:pt x="14" y="27"/>
                </a:cubicBezTo>
                <a:cubicBezTo>
                  <a:pt x="14" y="27"/>
                  <a:pt x="14" y="26"/>
                  <a:pt x="14" y="25"/>
                </a:cubicBezTo>
                <a:cubicBezTo>
                  <a:pt x="14" y="25"/>
                  <a:pt x="14" y="25"/>
                  <a:pt x="14" y="25"/>
                </a:cubicBezTo>
                <a:cubicBezTo>
                  <a:pt x="14" y="25"/>
                  <a:pt x="14" y="25"/>
                  <a:pt x="15" y="24"/>
                </a:cubicBezTo>
                <a:cubicBezTo>
                  <a:pt x="15" y="24"/>
                  <a:pt x="15" y="24"/>
                  <a:pt x="15" y="23"/>
                </a:cubicBezTo>
                <a:cubicBezTo>
                  <a:pt x="15" y="23"/>
                  <a:pt x="15" y="23"/>
                  <a:pt x="15" y="22"/>
                </a:cubicBezTo>
                <a:cubicBezTo>
                  <a:pt x="15" y="22"/>
                  <a:pt x="15" y="22"/>
                  <a:pt x="15" y="21"/>
                </a:cubicBezTo>
                <a:cubicBezTo>
                  <a:pt x="16" y="21"/>
                  <a:pt x="16" y="21"/>
                  <a:pt x="16" y="21"/>
                </a:cubicBezTo>
                <a:cubicBezTo>
                  <a:pt x="16" y="20"/>
                  <a:pt x="16" y="20"/>
                  <a:pt x="15" y="20"/>
                </a:cubicBezTo>
                <a:cubicBezTo>
                  <a:pt x="15" y="20"/>
                  <a:pt x="15" y="20"/>
                  <a:pt x="15" y="19"/>
                </a:cubicBezTo>
                <a:cubicBezTo>
                  <a:pt x="15" y="19"/>
                  <a:pt x="15" y="19"/>
                  <a:pt x="15" y="19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7"/>
                  <a:pt x="14" y="17"/>
                  <a:pt x="14" y="17"/>
                </a:cubicBezTo>
                <a:cubicBezTo>
                  <a:pt x="14" y="17"/>
                  <a:pt x="15" y="17"/>
                  <a:pt x="15" y="17"/>
                </a:cubicBezTo>
                <a:cubicBezTo>
                  <a:pt x="15" y="17"/>
                  <a:pt x="15" y="17"/>
                  <a:pt x="16" y="17"/>
                </a:cubicBezTo>
                <a:cubicBezTo>
                  <a:pt x="16" y="17"/>
                  <a:pt x="16" y="17"/>
                  <a:pt x="16" y="17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5"/>
                  <a:pt x="16" y="15"/>
                  <a:pt x="16" y="14"/>
                </a:cubicBezTo>
                <a:cubicBezTo>
                  <a:pt x="16" y="14"/>
                  <a:pt x="16" y="13"/>
                  <a:pt x="16" y="12"/>
                </a:cubicBezTo>
                <a:cubicBezTo>
                  <a:pt x="16" y="12"/>
                  <a:pt x="16" y="12"/>
                  <a:pt x="16" y="11"/>
                </a:cubicBezTo>
                <a:cubicBezTo>
                  <a:pt x="16" y="11"/>
                  <a:pt x="16" y="11"/>
                  <a:pt x="17" y="11"/>
                </a:cubicBezTo>
                <a:cubicBezTo>
                  <a:pt x="17" y="11"/>
                  <a:pt x="17" y="11"/>
                  <a:pt x="17" y="11"/>
                </a:cubicBezTo>
                <a:cubicBezTo>
                  <a:pt x="17" y="11"/>
                  <a:pt x="17" y="12"/>
                  <a:pt x="17" y="12"/>
                </a:cubicBezTo>
                <a:cubicBezTo>
                  <a:pt x="17" y="12"/>
                  <a:pt x="17" y="12"/>
                  <a:pt x="18" y="12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3"/>
                  <a:pt x="19" y="14"/>
                  <a:pt x="19" y="14"/>
                </a:cubicBezTo>
                <a:cubicBezTo>
                  <a:pt x="19" y="14"/>
                  <a:pt x="19" y="14"/>
                  <a:pt x="19" y="14"/>
                </a:cubicBezTo>
                <a:cubicBezTo>
                  <a:pt x="19" y="14"/>
                  <a:pt x="19" y="14"/>
                  <a:pt x="19" y="15"/>
                </a:cubicBezTo>
                <a:cubicBezTo>
                  <a:pt x="19" y="15"/>
                  <a:pt x="20" y="15"/>
                  <a:pt x="20" y="15"/>
                </a:cubicBezTo>
                <a:cubicBezTo>
                  <a:pt x="20" y="15"/>
                  <a:pt x="21" y="15"/>
                  <a:pt x="21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9"/>
                  <a:pt x="17" y="6"/>
                  <a:pt x="17" y="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2" name="Freeform 20">
            <a:extLst>
              <a:ext uri="{FF2B5EF4-FFF2-40B4-BE49-F238E27FC236}">
                <a16:creationId xmlns:a16="http://schemas.microsoft.com/office/drawing/2014/main" id="{A957E606-E698-4971-8AA0-17134C019E51}"/>
              </a:ext>
            </a:extLst>
          </p:cNvPr>
          <p:cNvSpPr>
            <a:spLocks/>
          </p:cNvSpPr>
          <p:nvPr/>
        </p:nvSpPr>
        <p:spPr bwMode="auto">
          <a:xfrm>
            <a:off x="10045593" y="2583071"/>
            <a:ext cx="796362" cy="459313"/>
          </a:xfrm>
          <a:custGeom>
            <a:avLst/>
            <a:gdLst>
              <a:gd name="T0" fmla="*/ 191 w 201"/>
              <a:gd name="T1" fmla="*/ 85 h 116"/>
              <a:gd name="T2" fmla="*/ 188 w 201"/>
              <a:gd name="T3" fmla="*/ 79 h 116"/>
              <a:gd name="T4" fmla="*/ 183 w 201"/>
              <a:gd name="T5" fmla="*/ 77 h 116"/>
              <a:gd name="T6" fmla="*/ 186 w 201"/>
              <a:gd name="T7" fmla="*/ 67 h 116"/>
              <a:gd name="T8" fmla="*/ 188 w 201"/>
              <a:gd name="T9" fmla="*/ 64 h 116"/>
              <a:gd name="T10" fmla="*/ 186 w 201"/>
              <a:gd name="T11" fmla="*/ 58 h 116"/>
              <a:gd name="T12" fmla="*/ 191 w 201"/>
              <a:gd name="T13" fmla="*/ 52 h 116"/>
              <a:gd name="T14" fmla="*/ 196 w 201"/>
              <a:gd name="T15" fmla="*/ 45 h 116"/>
              <a:gd name="T16" fmla="*/ 201 w 201"/>
              <a:gd name="T17" fmla="*/ 41 h 116"/>
              <a:gd name="T18" fmla="*/ 199 w 201"/>
              <a:gd name="T19" fmla="*/ 39 h 116"/>
              <a:gd name="T20" fmla="*/ 194 w 201"/>
              <a:gd name="T21" fmla="*/ 38 h 116"/>
              <a:gd name="T22" fmla="*/ 193 w 201"/>
              <a:gd name="T23" fmla="*/ 36 h 116"/>
              <a:gd name="T24" fmla="*/ 188 w 201"/>
              <a:gd name="T25" fmla="*/ 30 h 116"/>
              <a:gd name="T26" fmla="*/ 189 w 201"/>
              <a:gd name="T27" fmla="*/ 29 h 116"/>
              <a:gd name="T28" fmla="*/ 188 w 201"/>
              <a:gd name="T29" fmla="*/ 26 h 116"/>
              <a:gd name="T30" fmla="*/ 187 w 201"/>
              <a:gd name="T31" fmla="*/ 23 h 116"/>
              <a:gd name="T32" fmla="*/ 188 w 201"/>
              <a:gd name="T33" fmla="*/ 20 h 116"/>
              <a:gd name="T34" fmla="*/ 182 w 201"/>
              <a:gd name="T35" fmla="*/ 18 h 116"/>
              <a:gd name="T36" fmla="*/ 180 w 201"/>
              <a:gd name="T37" fmla="*/ 14 h 116"/>
              <a:gd name="T38" fmla="*/ 26 w 201"/>
              <a:gd name="T39" fmla="*/ 12 h 116"/>
              <a:gd name="T40" fmla="*/ 24 w 201"/>
              <a:gd name="T41" fmla="*/ 1 h 116"/>
              <a:gd name="T42" fmla="*/ 18 w 201"/>
              <a:gd name="T43" fmla="*/ 4 h 116"/>
              <a:gd name="T44" fmla="*/ 14 w 201"/>
              <a:gd name="T45" fmla="*/ 6 h 116"/>
              <a:gd name="T46" fmla="*/ 12 w 201"/>
              <a:gd name="T47" fmla="*/ 6 h 116"/>
              <a:gd name="T48" fmla="*/ 9 w 201"/>
              <a:gd name="T49" fmla="*/ 9 h 116"/>
              <a:gd name="T50" fmla="*/ 6 w 201"/>
              <a:gd name="T51" fmla="*/ 10 h 116"/>
              <a:gd name="T52" fmla="*/ 1 w 201"/>
              <a:gd name="T53" fmla="*/ 13 h 116"/>
              <a:gd name="T54" fmla="*/ 0 w 201"/>
              <a:gd name="T55" fmla="*/ 116 h 116"/>
              <a:gd name="T56" fmla="*/ 169 w 201"/>
              <a:gd name="T57" fmla="*/ 111 h 116"/>
              <a:gd name="T58" fmla="*/ 179 w 201"/>
              <a:gd name="T59" fmla="*/ 110 h 116"/>
              <a:gd name="T60" fmla="*/ 182 w 201"/>
              <a:gd name="T61" fmla="*/ 109 h 116"/>
              <a:gd name="T62" fmla="*/ 185 w 201"/>
              <a:gd name="T63" fmla="*/ 109 h 116"/>
              <a:gd name="T64" fmla="*/ 195 w 201"/>
              <a:gd name="T65" fmla="*/ 99 h 116"/>
              <a:gd name="T66" fmla="*/ 199 w 201"/>
              <a:gd name="T67" fmla="*/ 95 h 116"/>
              <a:gd name="T68" fmla="*/ 192 w 201"/>
              <a:gd name="T69" fmla="*/ 88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01" h="116">
                <a:moveTo>
                  <a:pt x="192" y="88"/>
                </a:moveTo>
                <a:cubicBezTo>
                  <a:pt x="191" y="85"/>
                  <a:pt x="191" y="85"/>
                  <a:pt x="191" y="85"/>
                </a:cubicBezTo>
                <a:cubicBezTo>
                  <a:pt x="187" y="84"/>
                  <a:pt x="187" y="84"/>
                  <a:pt x="187" y="84"/>
                </a:cubicBezTo>
                <a:cubicBezTo>
                  <a:pt x="188" y="79"/>
                  <a:pt x="188" y="79"/>
                  <a:pt x="188" y="79"/>
                </a:cubicBezTo>
                <a:cubicBezTo>
                  <a:pt x="186" y="77"/>
                  <a:pt x="186" y="77"/>
                  <a:pt x="186" y="77"/>
                </a:cubicBezTo>
                <a:cubicBezTo>
                  <a:pt x="183" y="77"/>
                  <a:pt x="183" y="77"/>
                  <a:pt x="183" y="77"/>
                </a:cubicBezTo>
                <a:cubicBezTo>
                  <a:pt x="183" y="69"/>
                  <a:pt x="183" y="69"/>
                  <a:pt x="183" y="69"/>
                </a:cubicBezTo>
                <a:cubicBezTo>
                  <a:pt x="186" y="67"/>
                  <a:pt x="186" y="67"/>
                  <a:pt x="186" y="67"/>
                </a:cubicBezTo>
                <a:cubicBezTo>
                  <a:pt x="187" y="65"/>
                  <a:pt x="187" y="65"/>
                  <a:pt x="187" y="65"/>
                </a:cubicBezTo>
                <a:cubicBezTo>
                  <a:pt x="188" y="64"/>
                  <a:pt x="188" y="64"/>
                  <a:pt x="188" y="64"/>
                </a:cubicBezTo>
                <a:cubicBezTo>
                  <a:pt x="186" y="61"/>
                  <a:pt x="186" y="61"/>
                  <a:pt x="186" y="61"/>
                </a:cubicBezTo>
                <a:cubicBezTo>
                  <a:pt x="186" y="58"/>
                  <a:pt x="186" y="58"/>
                  <a:pt x="186" y="58"/>
                </a:cubicBezTo>
                <a:cubicBezTo>
                  <a:pt x="191" y="54"/>
                  <a:pt x="191" y="54"/>
                  <a:pt x="191" y="54"/>
                </a:cubicBezTo>
                <a:cubicBezTo>
                  <a:pt x="191" y="52"/>
                  <a:pt x="191" y="52"/>
                  <a:pt x="191" y="52"/>
                </a:cubicBezTo>
                <a:cubicBezTo>
                  <a:pt x="194" y="50"/>
                  <a:pt x="194" y="50"/>
                  <a:pt x="194" y="50"/>
                </a:cubicBezTo>
                <a:cubicBezTo>
                  <a:pt x="196" y="45"/>
                  <a:pt x="196" y="45"/>
                  <a:pt x="196" y="45"/>
                </a:cubicBezTo>
                <a:cubicBezTo>
                  <a:pt x="197" y="43"/>
                  <a:pt x="197" y="43"/>
                  <a:pt x="197" y="43"/>
                </a:cubicBezTo>
                <a:cubicBezTo>
                  <a:pt x="201" y="41"/>
                  <a:pt x="201" y="41"/>
                  <a:pt x="201" y="41"/>
                </a:cubicBezTo>
                <a:cubicBezTo>
                  <a:pt x="200" y="41"/>
                  <a:pt x="200" y="41"/>
                  <a:pt x="200" y="41"/>
                </a:cubicBezTo>
                <a:cubicBezTo>
                  <a:pt x="200" y="41"/>
                  <a:pt x="199" y="39"/>
                  <a:pt x="199" y="39"/>
                </a:cubicBezTo>
                <a:cubicBezTo>
                  <a:pt x="199" y="38"/>
                  <a:pt x="198" y="38"/>
                  <a:pt x="198" y="38"/>
                </a:cubicBezTo>
                <a:cubicBezTo>
                  <a:pt x="197" y="38"/>
                  <a:pt x="195" y="38"/>
                  <a:pt x="194" y="38"/>
                </a:cubicBezTo>
                <a:cubicBezTo>
                  <a:pt x="193" y="38"/>
                  <a:pt x="193" y="37"/>
                  <a:pt x="193" y="37"/>
                </a:cubicBezTo>
                <a:cubicBezTo>
                  <a:pt x="193" y="37"/>
                  <a:pt x="193" y="36"/>
                  <a:pt x="193" y="36"/>
                </a:cubicBezTo>
                <a:cubicBezTo>
                  <a:pt x="192" y="36"/>
                  <a:pt x="191" y="36"/>
                  <a:pt x="190" y="36"/>
                </a:cubicBezTo>
                <a:cubicBezTo>
                  <a:pt x="190" y="36"/>
                  <a:pt x="188" y="30"/>
                  <a:pt x="188" y="30"/>
                </a:cubicBezTo>
                <a:cubicBezTo>
                  <a:pt x="188" y="30"/>
                  <a:pt x="188" y="30"/>
                  <a:pt x="188" y="30"/>
                </a:cubicBezTo>
                <a:cubicBezTo>
                  <a:pt x="189" y="30"/>
                  <a:pt x="189" y="29"/>
                  <a:pt x="189" y="29"/>
                </a:cubicBezTo>
                <a:cubicBezTo>
                  <a:pt x="189" y="29"/>
                  <a:pt x="188" y="28"/>
                  <a:pt x="188" y="27"/>
                </a:cubicBezTo>
                <a:cubicBezTo>
                  <a:pt x="188" y="27"/>
                  <a:pt x="188" y="26"/>
                  <a:pt x="188" y="26"/>
                </a:cubicBezTo>
                <a:cubicBezTo>
                  <a:pt x="188" y="26"/>
                  <a:pt x="188" y="24"/>
                  <a:pt x="188" y="24"/>
                </a:cubicBezTo>
                <a:cubicBezTo>
                  <a:pt x="188" y="23"/>
                  <a:pt x="187" y="23"/>
                  <a:pt x="187" y="23"/>
                </a:cubicBezTo>
                <a:cubicBezTo>
                  <a:pt x="187" y="22"/>
                  <a:pt x="187" y="22"/>
                  <a:pt x="187" y="22"/>
                </a:cubicBezTo>
                <a:cubicBezTo>
                  <a:pt x="187" y="22"/>
                  <a:pt x="188" y="20"/>
                  <a:pt x="188" y="20"/>
                </a:cubicBezTo>
                <a:cubicBezTo>
                  <a:pt x="188" y="20"/>
                  <a:pt x="184" y="18"/>
                  <a:pt x="184" y="18"/>
                </a:cubicBezTo>
                <a:cubicBezTo>
                  <a:pt x="184" y="17"/>
                  <a:pt x="183" y="18"/>
                  <a:pt x="182" y="18"/>
                </a:cubicBezTo>
                <a:cubicBezTo>
                  <a:pt x="182" y="18"/>
                  <a:pt x="181" y="18"/>
                  <a:pt x="181" y="18"/>
                </a:cubicBezTo>
                <a:cubicBezTo>
                  <a:pt x="181" y="18"/>
                  <a:pt x="180" y="15"/>
                  <a:pt x="180" y="14"/>
                </a:cubicBezTo>
                <a:cubicBezTo>
                  <a:pt x="180" y="14"/>
                  <a:pt x="178" y="12"/>
                  <a:pt x="178" y="12"/>
                </a:cubicBezTo>
                <a:cubicBezTo>
                  <a:pt x="26" y="12"/>
                  <a:pt x="26" y="12"/>
                  <a:pt x="26" y="12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1"/>
                  <a:pt x="24" y="1"/>
                </a:cubicBezTo>
                <a:cubicBezTo>
                  <a:pt x="23" y="1"/>
                  <a:pt x="23" y="2"/>
                  <a:pt x="22" y="2"/>
                </a:cubicBezTo>
                <a:cubicBezTo>
                  <a:pt x="20" y="3"/>
                  <a:pt x="19" y="3"/>
                  <a:pt x="18" y="4"/>
                </a:cubicBezTo>
                <a:cubicBezTo>
                  <a:pt x="17" y="5"/>
                  <a:pt x="16" y="5"/>
                  <a:pt x="15" y="6"/>
                </a:cubicBezTo>
                <a:cubicBezTo>
                  <a:pt x="15" y="6"/>
                  <a:pt x="14" y="6"/>
                  <a:pt x="14" y="6"/>
                </a:cubicBezTo>
                <a:cubicBezTo>
                  <a:pt x="13" y="6"/>
                  <a:pt x="14" y="5"/>
                  <a:pt x="14" y="5"/>
                </a:cubicBezTo>
                <a:cubicBezTo>
                  <a:pt x="13" y="5"/>
                  <a:pt x="12" y="6"/>
                  <a:pt x="12" y="6"/>
                </a:cubicBezTo>
                <a:cubicBezTo>
                  <a:pt x="11" y="7"/>
                  <a:pt x="11" y="7"/>
                  <a:pt x="11" y="7"/>
                </a:cubicBezTo>
                <a:cubicBezTo>
                  <a:pt x="10" y="8"/>
                  <a:pt x="10" y="8"/>
                  <a:pt x="9" y="9"/>
                </a:cubicBezTo>
                <a:cubicBezTo>
                  <a:pt x="9" y="9"/>
                  <a:pt x="8" y="9"/>
                  <a:pt x="8" y="10"/>
                </a:cubicBezTo>
                <a:cubicBezTo>
                  <a:pt x="7" y="10"/>
                  <a:pt x="7" y="10"/>
                  <a:pt x="6" y="10"/>
                </a:cubicBezTo>
                <a:cubicBezTo>
                  <a:pt x="5" y="11"/>
                  <a:pt x="5" y="11"/>
                  <a:pt x="4" y="12"/>
                </a:cubicBezTo>
                <a:cubicBezTo>
                  <a:pt x="3" y="12"/>
                  <a:pt x="2" y="13"/>
                  <a:pt x="1" y="13"/>
                </a:cubicBezTo>
                <a:cubicBezTo>
                  <a:pt x="1" y="13"/>
                  <a:pt x="0" y="13"/>
                  <a:pt x="0" y="14"/>
                </a:cubicBezTo>
                <a:cubicBezTo>
                  <a:pt x="0" y="116"/>
                  <a:pt x="0" y="116"/>
                  <a:pt x="0" y="116"/>
                </a:cubicBezTo>
                <a:cubicBezTo>
                  <a:pt x="163" y="116"/>
                  <a:pt x="163" y="116"/>
                  <a:pt x="163" y="116"/>
                </a:cubicBezTo>
                <a:cubicBezTo>
                  <a:pt x="169" y="111"/>
                  <a:pt x="169" y="111"/>
                  <a:pt x="169" y="111"/>
                </a:cubicBezTo>
                <a:cubicBezTo>
                  <a:pt x="176" y="112"/>
                  <a:pt x="176" y="112"/>
                  <a:pt x="176" y="112"/>
                </a:cubicBezTo>
                <a:cubicBezTo>
                  <a:pt x="176" y="111"/>
                  <a:pt x="178" y="110"/>
                  <a:pt x="179" y="110"/>
                </a:cubicBezTo>
                <a:cubicBezTo>
                  <a:pt x="179" y="110"/>
                  <a:pt x="180" y="110"/>
                  <a:pt x="180" y="110"/>
                </a:cubicBezTo>
                <a:cubicBezTo>
                  <a:pt x="181" y="110"/>
                  <a:pt x="182" y="109"/>
                  <a:pt x="182" y="109"/>
                </a:cubicBezTo>
                <a:cubicBezTo>
                  <a:pt x="183" y="109"/>
                  <a:pt x="183" y="109"/>
                  <a:pt x="184" y="108"/>
                </a:cubicBezTo>
                <a:cubicBezTo>
                  <a:pt x="184" y="108"/>
                  <a:pt x="185" y="108"/>
                  <a:pt x="185" y="109"/>
                </a:cubicBezTo>
                <a:cubicBezTo>
                  <a:pt x="185" y="105"/>
                  <a:pt x="185" y="105"/>
                  <a:pt x="185" y="105"/>
                </a:cubicBezTo>
                <a:cubicBezTo>
                  <a:pt x="195" y="99"/>
                  <a:pt x="195" y="99"/>
                  <a:pt x="195" y="99"/>
                </a:cubicBezTo>
                <a:cubicBezTo>
                  <a:pt x="198" y="98"/>
                  <a:pt x="198" y="98"/>
                  <a:pt x="198" y="98"/>
                </a:cubicBezTo>
                <a:cubicBezTo>
                  <a:pt x="199" y="95"/>
                  <a:pt x="199" y="95"/>
                  <a:pt x="199" y="95"/>
                </a:cubicBezTo>
                <a:cubicBezTo>
                  <a:pt x="198" y="94"/>
                  <a:pt x="198" y="94"/>
                  <a:pt x="198" y="94"/>
                </a:cubicBezTo>
                <a:lnTo>
                  <a:pt x="192" y="88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" name="Freeform 21">
            <a:extLst>
              <a:ext uri="{FF2B5EF4-FFF2-40B4-BE49-F238E27FC236}">
                <a16:creationId xmlns:a16="http://schemas.microsoft.com/office/drawing/2014/main" id="{F43CCDD4-8D71-496F-A239-6030AAE1C38A}"/>
              </a:ext>
            </a:extLst>
          </p:cNvPr>
          <p:cNvSpPr>
            <a:spLocks/>
          </p:cNvSpPr>
          <p:nvPr/>
        </p:nvSpPr>
        <p:spPr bwMode="auto">
          <a:xfrm>
            <a:off x="4020006" y="1826361"/>
            <a:ext cx="1105325" cy="804623"/>
          </a:xfrm>
          <a:custGeom>
            <a:avLst/>
            <a:gdLst>
              <a:gd name="T0" fmla="*/ 262 w 279"/>
              <a:gd name="T1" fmla="*/ 99 h 203"/>
              <a:gd name="T2" fmla="*/ 254 w 279"/>
              <a:gd name="T3" fmla="*/ 94 h 203"/>
              <a:gd name="T4" fmla="*/ 253 w 279"/>
              <a:gd name="T5" fmla="*/ 86 h 203"/>
              <a:gd name="T6" fmla="*/ 262 w 279"/>
              <a:gd name="T7" fmla="*/ 72 h 203"/>
              <a:gd name="T8" fmla="*/ 267 w 279"/>
              <a:gd name="T9" fmla="*/ 61 h 203"/>
              <a:gd name="T10" fmla="*/ 277 w 279"/>
              <a:gd name="T11" fmla="*/ 36 h 203"/>
              <a:gd name="T12" fmla="*/ 277 w 279"/>
              <a:gd name="T13" fmla="*/ 23 h 203"/>
              <a:gd name="T14" fmla="*/ 191 w 279"/>
              <a:gd name="T15" fmla="*/ 11 h 203"/>
              <a:gd name="T16" fmla="*/ 181 w 279"/>
              <a:gd name="T17" fmla="*/ 14 h 203"/>
              <a:gd name="T18" fmla="*/ 173 w 279"/>
              <a:gd name="T19" fmla="*/ 15 h 203"/>
              <a:gd name="T20" fmla="*/ 165 w 279"/>
              <a:gd name="T21" fmla="*/ 19 h 203"/>
              <a:gd name="T22" fmla="*/ 151 w 279"/>
              <a:gd name="T23" fmla="*/ 24 h 203"/>
              <a:gd name="T24" fmla="*/ 137 w 279"/>
              <a:gd name="T25" fmla="*/ 24 h 203"/>
              <a:gd name="T26" fmla="*/ 124 w 279"/>
              <a:gd name="T27" fmla="*/ 28 h 203"/>
              <a:gd name="T28" fmla="*/ 115 w 279"/>
              <a:gd name="T29" fmla="*/ 28 h 203"/>
              <a:gd name="T30" fmla="*/ 109 w 279"/>
              <a:gd name="T31" fmla="*/ 26 h 203"/>
              <a:gd name="T32" fmla="*/ 101 w 279"/>
              <a:gd name="T33" fmla="*/ 26 h 203"/>
              <a:gd name="T34" fmla="*/ 84 w 279"/>
              <a:gd name="T35" fmla="*/ 32 h 203"/>
              <a:gd name="T36" fmla="*/ 69 w 279"/>
              <a:gd name="T37" fmla="*/ 32 h 203"/>
              <a:gd name="T38" fmla="*/ 59 w 279"/>
              <a:gd name="T39" fmla="*/ 12 h 203"/>
              <a:gd name="T40" fmla="*/ 49 w 279"/>
              <a:gd name="T41" fmla="*/ 2 h 203"/>
              <a:gd name="T42" fmla="*/ 40 w 279"/>
              <a:gd name="T43" fmla="*/ 3 h 203"/>
              <a:gd name="T44" fmla="*/ 35 w 279"/>
              <a:gd name="T45" fmla="*/ 1 h 203"/>
              <a:gd name="T46" fmla="*/ 29 w 279"/>
              <a:gd name="T47" fmla="*/ 2 h 203"/>
              <a:gd name="T48" fmla="*/ 24 w 279"/>
              <a:gd name="T49" fmla="*/ 2 h 203"/>
              <a:gd name="T50" fmla="*/ 21 w 279"/>
              <a:gd name="T51" fmla="*/ 6 h 203"/>
              <a:gd name="T52" fmla="*/ 21 w 279"/>
              <a:gd name="T53" fmla="*/ 22 h 203"/>
              <a:gd name="T54" fmla="*/ 22 w 279"/>
              <a:gd name="T55" fmla="*/ 32 h 203"/>
              <a:gd name="T56" fmla="*/ 21 w 279"/>
              <a:gd name="T57" fmla="*/ 37 h 203"/>
              <a:gd name="T58" fmla="*/ 20 w 279"/>
              <a:gd name="T59" fmla="*/ 53 h 203"/>
              <a:gd name="T60" fmla="*/ 19 w 279"/>
              <a:gd name="T61" fmla="*/ 62 h 203"/>
              <a:gd name="T62" fmla="*/ 17 w 279"/>
              <a:gd name="T63" fmla="*/ 81 h 203"/>
              <a:gd name="T64" fmla="*/ 17 w 279"/>
              <a:gd name="T65" fmla="*/ 87 h 203"/>
              <a:gd name="T66" fmla="*/ 16 w 279"/>
              <a:gd name="T67" fmla="*/ 101 h 203"/>
              <a:gd name="T68" fmla="*/ 15 w 279"/>
              <a:gd name="T69" fmla="*/ 108 h 203"/>
              <a:gd name="T70" fmla="*/ 14 w 279"/>
              <a:gd name="T71" fmla="*/ 118 h 203"/>
              <a:gd name="T72" fmla="*/ 15 w 279"/>
              <a:gd name="T73" fmla="*/ 122 h 203"/>
              <a:gd name="T74" fmla="*/ 13 w 279"/>
              <a:gd name="T75" fmla="*/ 124 h 203"/>
              <a:gd name="T76" fmla="*/ 11 w 279"/>
              <a:gd name="T77" fmla="*/ 133 h 203"/>
              <a:gd name="T78" fmla="*/ 7 w 279"/>
              <a:gd name="T79" fmla="*/ 141 h 203"/>
              <a:gd name="T80" fmla="*/ 6 w 279"/>
              <a:gd name="T81" fmla="*/ 144 h 203"/>
              <a:gd name="T82" fmla="*/ 5 w 279"/>
              <a:gd name="T83" fmla="*/ 151 h 203"/>
              <a:gd name="T84" fmla="*/ 3 w 279"/>
              <a:gd name="T85" fmla="*/ 156 h 203"/>
              <a:gd name="T86" fmla="*/ 4 w 279"/>
              <a:gd name="T87" fmla="*/ 160 h 203"/>
              <a:gd name="T88" fmla="*/ 6 w 279"/>
              <a:gd name="T89" fmla="*/ 161 h 203"/>
              <a:gd name="T90" fmla="*/ 0 w 279"/>
              <a:gd name="T91" fmla="*/ 164 h 203"/>
              <a:gd name="T92" fmla="*/ 3 w 279"/>
              <a:gd name="T93" fmla="*/ 170 h 203"/>
              <a:gd name="T94" fmla="*/ 6 w 279"/>
              <a:gd name="T95" fmla="*/ 176 h 203"/>
              <a:gd name="T96" fmla="*/ 5 w 279"/>
              <a:gd name="T97" fmla="*/ 180 h 203"/>
              <a:gd name="T98" fmla="*/ 7 w 279"/>
              <a:gd name="T99" fmla="*/ 196 h 203"/>
              <a:gd name="T100" fmla="*/ 9 w 279"/>
              <a:gd name="T101" fmla="*/ 200 h 203"/>
              <a:gd name="T102" fmla="*/ 260 w 279"/>
              <a:gd name="T103" fmla="*/ 203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79" h="203">
                <a:moveTo>
                  <a:pt x="262" y="113"/>
                </a:moveTo>
                <a:cubicBezTo>
                  <a:pt x="262" y="111"/>
                  <a:pt x="263" y="110"/>
                  <a:pt x="263" y="109"/>
                </a:cubicBezTo>
                <a:cubicBezTo>
                  <a:pt x="263" y="107"/>
                  <a:pt x="261" y="106"/>
                  <a:pt x="262" y="104"/>
                </a:cubicBezTo>
                <a:cubicBezTo>
                  <a:pt x="263" y="104"/>
                  <a:pt x="265" y="101"/>
                  <a:pt x="264" y="100"/>
                </a:cubicBezTo>
                <a:cubicBezTo>
                  <a:pt x="263" y="100"/>
                  <a:pt x="262" y="100"/>
                  <a:pt x="262" y="99"/>
                </a:cubicBezTo>
                <a:cubicBezTo>
                  <a:pt x="262" y="99"/>
                  <a:pt x="262" y="97"/>
                  <a:pt x="262" y="97"/>
                </a:cubicBezTo>
                <a:cubicBezTo>
                  <a:pt x="261" y="96"/>
                  <a:pt x="261" y="97"/>
                  <a:pt x="260" y="97"/>
                </a:cubicBezTo>
                <a:cubicBezTo>
                  <a:pt x="260" y="97"/>
                  <a:pt x="260" y="97"/>
                  <a:pt x="259" y="97"/>
                </a:cubicBezTo>
                <a:cubicBezTo>
                  <a:pt x="258" y="96"/>
                  <a:pt x="257" y="95"/>
                  <a:pt x="256" y="95"/>
                </a:cubicBezTo>
                <a:cubicBezTo>
                  <a:pt x="256" y="96"/>
                  <a:pt x="254" y="95"/>
                  <a:pt x="254" y="94"/>
                </a:cubicBezTo>
                <a:cubicBezTo>
                  <a:pt x="254" y="94"/>
                  <a:pt x="254" y="93"/>
                  <a:pt x="254" y="93"/>
                </a:cubicBezTo>
                <a:cubicBezTo>
                  <a:pt x="254" y="92"/>
                  <a:pt x="254" y="91"/>
                  <a:pt x="253" y="91"/>
                </a:cubicBezTo>
                <a:cubicBezTo>
                  <a:pt x="253" y="90"/>
                  <a:pt x="252" y="90"/>
                  <a:pt x="252" y="90"/>
                </a:cubicBezTo>
                <a:cubicBezTo>
                  <a:pt x="252" y="89"/>
                  <a:pt x="253" y="89"/>
                  <a:pt x="253" y="89"/>
                </a:cubicBezTo>
                <a:cubicBezTo>
                  <a:pt x="254" y="88"/>
                  <a:pt x="253" y="87"/>
                  <a:pt x="253" y="86"/>
                </a:cubicBezTo>
                <a:cubicBezTo>
                  <a:pt x="254" y="84"/>
                  <a:pt x="255" y="84"/>
                  <a:pt x="256" y="82"/>
                </a:cubicBezTo>
                <a:cubicBezTo>
                  <a:pt x="257" y="81"/>
                  <a:pt x="257" y="79"/>
                  <a:pt x="257" y="78"/>
                </a:cubicBezTo>
                <a:cubicBezTo>
                  <a:pt x="258" y="77"/>
                  <a:pt x="258" y="75"/>
                  <a:pt x="259" y="74"/>
                </a:cubicBezTo>
                <a:cubicBezTo>
                  <a:pt x="259" y="73"/>
                  <a:pt x="259" y="73"/>
                  <a:pt x="260" y="73"/>
                </a:cubicBezTo>
                <a:cubicBezTo>
                  <a:pt x="260" y="72"/>
                  <a:pt x="261" y="72"/>
                  <a:pt x="262" y="72"/>
                </a:cubicBezTo>
                <a:cubicBezTo>
                  <a:pt x="263" y="71"/>
                  <a:pt x="263" y="71"/>
                  <a:pt x="263" y="70"/>
                </a:cubicBezTo>
                <a:cubicBezTo>
                  <a:pt x="264" y="69"/>
                  <a:pt x="264" y="68"/>
                  <a:pt x="265" y="67"/>
                </a:cubicBezTo>
                <a:cubicBezTo>
                  <a:pt x="266" y="66"/>
                  <a:pt x="266" y="65"/>
                  <a:pt x="266" y="64"/>
                </a:cubicBezTo>
                <a:cubicBezTo>
                  <a:pt x="266" y="63"/>
                  <a:pt x="266" y="63"/>
                  <a:pt x="267" y="62"/>
                </a:cubicBezTo>
                <a:cubicBezTo>
                  <a:pt x="267" y="61"/>
                  <a:pt x="267" y="61"/>
                  <a:pt x="267" y="61"/>
                </a:cubicBezTo>
                <a:cubicBezTo>
                  <a:pt x="266" y="60"/>
                  <a:pt x="266" y="60"/>
                  <a:pt x="266" y="60"/>
                </a:cubicBezTo>
                <a:cubicBezTo>
                  <a:pt x="266" y="59"/>
                  <a:pt x="266" y="59"/>
                  <a:pt x="266" y="59"/>
                </a:cubicBezTo>
                <a:cubicBezTo>
                  <a:pt x="270" y="53"/>
                  <a:pt x="270" y="53"/>
                  <a:pt x="270" y="53"/>
                </a:cubicBezTo>
                <a:cubicBezTo>
                  <a:pt x="270" y="53"/>
                  <a:pt x="272" y="46"/>
                  <a:pt x="272" y="46"/>
                </a:cubicBezTo>
                <a:cubicBezTo>
                  <a:pt x="272" y="46"/>
                  <a:pt x="277" y="36"/>
                  <a:pt x="277" y="36"/>
                </a:cubicBezTo>
                <a:cubicBezTo>
                  <a:pt x="277" y="36"/>
                  <a:pt x="277" y="35"/>
                  <a:pt x="277" y="34"/>
                </a:cubicBezTo>
                <a:cubicBezTo>
                  <a:pt x="278" y="34"/>
                  <a:pt x="279" y="31"/>
                  <a:pt x="279" y="31"/>
                </a:cubicBezTo>
                <a:cubicBezTo>
                  <a:pt x="278" y="28"/>
                  <a:pt x="278" y="28"/>
                  <a:pt x="278" y="28"/>
                </a:cubicBezTo>
                <a:cubicBezTo>
                  <a:pt x="278" y="28"/>
                  <a:pt x="277" y="26"/>
                  <a:pt x="277" y="26"/>
                </a:cubicBezTo>
                <a:cubicBezTo>
                  <a:pt x="277" y="25"/>
                  <a:pt x="277" y="23"/>
                  <a:pt x="277" y="23"/>
                </a:cubicBezTo>
                <a:cubicBezTo>
                  <a:pt x="277" y="23"/>
                  <a:pt x="273" y="21"/>
                  <a:pt x="273" y="21"/>
                </a:cubicBezTo>
                <a:cubicBezTo>
                  <a:pt x="272" y="21"/>
                  <a:pt x="269" y="19"/>
                  <a:pt x="269" y="19"/>
                </a:cubicBezTo>
                <a:cubicBezTo>
                  <a:pt x="264" y="11"/>
                  <a:pt x="264" y="11"/>
                  <a:pt x="264" y="11"/>
                </a:cubicBezTo>
                <a:cubicBezTo>
                  <a:pt x="193" y="11"/>
                  <a:pt x="193" y="11"/>
                  <a:pt x="193" y="11"/>
                </a:cubicBezTo>
                <a:cubicBezTo>
                  <a:pt x="192" y="11"/>
                  <a:pt x="192" y="11"/>
                  <a:pt x="191" y="11"/>
                </a:cubicBezTo>
                <a:cubicBezTo>
                  <a:pt x="191" y="12"/>
                  <a:pt x="190" y="12"/>
                  <a:pt x="190" y="12"/>
                </a:cubicBezTo>
                <a:cubicBezTo>
                  <a:pt x="189" y="13"/>
                  <a:pt x="189" y="13"/>
                  <a:pt x="188" y="14"/>
                </a:cubicBezTo>
                <a:cubicBezTo>
                  <a:pt x="187" y="14"/>
                  <a:pt x="187" y="14"/>
                  <a:pt x="186" y="14"/>
                </a:cubicBezTo>
                <a:cubicBezTo>
                  <a:pt x="185" y="14"/>
                  <a:pt x="183" y="14"/>
                  <a:pt x="182" y="14"/>
                </a:cubicBezTo>
                <a:cubicBezTo>
                  <a:pt x="182" y="14"/>
                  <a:pt x="181" y="14"/>
                  <a:pt x="181" y="14"/>
                </a:cubicBezTo>
                <a:cubicBezTo>
                  <a:pt x="181" y="14"/>
                  <a:pt x="180" y="14"/>
                  <a:pt x="180" y="14"/>
                </a:cubicBezTo>
                <a:cubicBezTo>
                  <a:pt x="179" y="15"/>
                  <a:pt x="179" y="15"/>
                  <a:pt x="179" y="15"/>
                </a:cubicBezTo>
                <a:cubicBezTo>
                  <a:pt x="178" y="15"/>
                  <a:pt x="177" y="15"/>
                  <a:pt x="177" y="15"/>
                </a:cubicBezTo>
                <a:cubicBezTo>
                  <a:pt x="176" y="15"/>
                  <a:pt x="176" y="16"/>
                  <a:pt x="175" y="15"/>
                </a:cubicBezTo>
                <a:cubicBezTo>
                  <a:pt x="175" y="15"/>
                  <a:pt x="174" y="15"/>
                  <a:pt x="173" y="15"/>
                </a:cubicBezTo>
                <a:cubicBezTo>
                  <a:pt x="172" y="15"/>
                  <a:pt x="171" y="15"/>
                  <a:pt x="171" y="15"/>
                </a:cubicBezTo>
                <a:cubicBezTo>
                  <a:pt x="170" y="16"/>
                  <a:pt x="170" y="16"/>
                  <a:pt x="170" y="16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168" y="18"/>
                  <a:pt x="167" y="18"/>
                  <a:pt x="166" y="19"/>
                </a:cubicBezTo>
                <a:cubicBezTo>
                  <a:pt x="166" y="19"/>
                  <a:pt x="165" y="19"/>
                  <a:pt x="165" y="19"/>
                </a:cubicBezTo>
                <a:cubicBezTo>
                  <a:pt x="164" y="19"/>
                  <a:pt x="163" y="19"/>
                  <a:pt x="163" y="19"/>
                </a:cubicBezTo>
                <a:cubicBezTo>
                  <a:pt x="162" y="19"/>
                  <a:pt x="162" y="19"/>
                  <a:pt x="162" y="19"/>
                </a:cubicBezTo>
                <a:cubicBezTo>
                  <a:pt x="161" y="20"/>
                  <a:pt x="161" y="20"/>
                  <a:pt x="160" y="20"/>
                </a:cubicBezTo>
                <a:cubicBezTo>
                  <a:pt x="159" y="20"/>
                  <a:pt x="158" y="20"/>
                  <a:pt x="157" y="21"/>
                </a:cubicBezTo>
                <a:cubicBezTo>
                  <a:pt x="155" y="21"/>
                  <a:pt x="153" y="23"/>
                  <a:pt x="151" y="24"/>
                </a:cubicBezTo>
                <a:cubicBezTo>
                  <a:pt x="150" y="25"/>
                  <a:pt x="149" y="25"/>
                  <a:pt x="148" y="25"/>
                </a:cubicBezTo>
                <a:cubicBezTo>
                  <a:pt x="147" y="26"/>
                  <a:pt x="145" y="26"/>
                  <a:pt x="144" y="26"/>
                </a:cubicBezTo>
                <a:cubicBezTo>
                  <a:pt x="143" y="26"/>
                  <a:pt x="141" y="26"/>
                  <a:pt x="140" y="26"/>
                </a:cubicBezTo>
                <a:cubicBezTo>
                  <a:pt x="139" y="25"/>
                  <a:pt x="139" y="25"/>
                  <a:pt x="138" y="25"/>
                </a:cubicBezTo>
                <a:cubicBezTo>
                  <a:pt x="138" y="24"/>
                  <a:pt x="137" y="24"/>
                  <a:pt x="137" y="24"/>
                </a:cubicBezTo>
                <a:cubicBezTo>
                  <a:pt x="136" y="24"/>
                  <a:pt x="135" y="24"/>
                  <a:pt x="135" y="24"/>
                </a:cubicBezTo>
                <a:cubicBezTo>
                  <a:pt x="134" y="25"/>
                  <a:pt x="133" y="25"/>
                  <a:pt x="133" y="25"/>
                </a:cubicBezTo>
                <a:cubicBezTo>
                  <a:pt x="132" y="26"/>
                  <a:pt x="131" y="26"/>
                  <a:pt x="130" y="27"/>
                </a:cubicBezTo>
                <a:cubicBezTo>
                  <a:pt x="129" y="28"/>
                  <a:pt x="128" y="28"/>
                  <a:pt x="127" y="29"/>
                </a:cubicBezTo>
                <a:cubicBezTo>
                  <a:pt x="126" y="29"/>
                  <a:pt x="125" y="28"/>
                  <a:pt x="124" y="28"/>
                </a:cubicBezTo>
                <a:cubicBezTo>
                  <a:pt x="123" y="28"/>
                  <a:pt x="122" y="28"/>
                  <a:pt x="122" y="28"/>
                </a:cubicBezTo>
                <a:cubicBezTo>
                  <a:pt x="121" y="28"/>
                  <a:pt x="120" y="28"/>
                  <a:pt x="120" y="29"/>
                </a:cubicBezTo>
                <a:cubicBezTo>
                  <a:pt x="119" y="29"/>
                  <a:pt x="119" y="30"/>
                  <a:pt x="118" y="30"/>
                </a:cubicBezTo>
                <a:cubicBezTo>
                  <a:pt x="118" y="31"/>
                  <a:pt x="117" y="31"/>
                  <a:pt x="116" y="30"/>
                </a:cubicBezTo>
                <a:cubicBezTo>
                  <a:pt x="115" y="30"/>
                  <a:pt x="116" y="29"/>
                  <a:pt x="115" y="28"/>
                </a:cubicBezTo>
                <a:cubicBezTo>
                  <a:pt x="115" y="28"/>
                  <a:pt x="115" y="28"/>
                  <a:pt x="115" y="27"/>
                </a:cubicBezTo>
                <a:cubicBezTo>
                  <a:pt x="114" y="27"/>
                  <a:pt x="114" y="27"/>
                  <a:pt x="113" y="27"/>
                </a:cubicBezTo>
                <a:cubicBezTo>
                  <a:pt x="112" y="26"/>
                  <a:pt x="112" y="26"/>
                  <a:pt x="111" y="26"/>
                </a:cubicBezTo>
                <a:cubicBezTo>
                  <a:pt x="111" y="26"/>
                  <a:pt x="110" y="26"/>
                  <a:pt x="110" y="26"/>
                </a:cubicBezTo>
                <a:cubicBezTo>
                  <a:pt x="110" y="26"/>
                  <a:pt x="109" y="26"/>
                  <a:pt x="109" y="26"/>
                </a:cubicBezTo>
                <a:cubicBezTo>
                  <a:pt x="108" y="26"/>
                  <a:pt x="108" y="26"/>
                  <a:pt x="107" y="26"/>
                </a:cubicBezTo>
                <a:cubicBezTo>
                  <a:pt x="107" y="26"/>
                  <a:pt x="107" y="26"/>
                  <a:pt x="106" y="25"/>
                </a:cubicBezTo>
                <a:cubicBezTo>
                  <a:pt x="105" y="25"/>
                  <a:pt x="104" y="25"/>
                  <a:pt x="103" y="25"/>
                </a:cubicBezTo>
                <a:cubicBezTo>
                  <a:pt x="103" y="25"/>
                  <a:pt x="102" y="25"/>
                  <a:pt x="102" y="25"/>
                </a:cubicBezTo>
                <a:cubicBezTo>
                  <a:pt x="102" y="26"/>
                  <a:pt x="101" y="26"/>
                  <a:pt x="101" y="26"/>
                </a:cubicBezTo>
                <a:cubicBezTo>
                  <a:pt x="100" y="27"/>
                  <a:pt x="98" y="26"/>
                  <a:pt x="96" y="26"/>
                </a:cubicBezTo>
                <a:cubicBezTo>
                  <a:pt x="96" y="26"/>
                  <a:pt x="95" y="26"/>
                  <a:pt x="95" y="26"/>
                </a:cubicBezTo>
                <a:cubicBezTo>
                  <a:pt x="94" y="26"/>
                  <a:pt x="93" y="27"/>
                  <a:pt x="92" y="27"/>
                </a:cubicBezTo>
                <a:cubicBezTo>
                  <a:pt x="91" y="28"/>
                  <a:pt x="90" y="28"/>
                  <a:pt x="89" y="29"/>
                </a:cubicBezTo>
                <a:cubicBezTo>
                  <a:pt x="88" y="30"/>
                  <a:pt x="86" y="31"/>
                  <a:pt x="84" y="32"/>
                </a:cubicBezTo>
                <a:cubicBezTo>
                  <a:pt x="83" y="32"/>
                  <a:pt x="82" y="33"/>
                  <a:pt x="81" y="33"/>
                </a:cubicBezTo>
                <a:cubicBezTo>
                  <a:pt x="78" y="33"/>
                  <a:pt x="78" y="33"/>
                  <a:pt x="78" y="33"/>
                </a:cubicBezTo>
                <a:cubicBezTo>
                  <a:pt x="77" y="33"/>
                  <a:pt x="76" y="33"/>
                  <a:pt x="75" y="33"/>
                </a:cubicBezTo>
                <a:cubicBezTo>
                  <a:pt x="74" y="33"/>
                  <a:pt x="73" y="33"/>
                  <a:pt x="72" y="33"/>
                </a:cubicBezTo>
                <a:cubicBezTo>
                  <a:pt x="71" y="33"/>
                  <a:pt x="70" y="32"/>
                  <a:pt x="69" y="32"/>
                </a:cubicBezTo>
                <a:cubicBezTo>
                  <a:pt x="68" y="32"/>
                  <a:pt x="66" y="31"/>
                  <a:pt x="64" y="30"/>
                </a:cubicBezTo>
                <a:cubicBezTo>
                  <a:pt x="62" y="29"/>
                  <a:pt x="62" y="26"/>
                  <a:pt x="62" y="24"/>
                </a:cubicBezTo>
                <a:cubicBezTo>
                  <a:pt x="61" y="22"/>
                  <a:pt x="61" y="20"/>
                  <a:pt x="61" y="18"/>
                </a:cubicBezTo>
                <a:cubicBezTo>
                  <a:pt x="61" y="17"/>
                  <a:pt x="60" y="16"/>
                  <a:pt x="60" y="15"/>
                </a:cubicBezTo>
                <a:cubicBezTo>
                  <a:pt x="60" y="14"/>
                  <a:pt x="59" y="13"/>
                  <a:pt x="59" y="12"/>
                </a:cubicBezTo>
                <a:cubicBezTo>
                  <a:pt x="59" y="11"/>
                  <a:pt x="58" y="11"/>
                  <a:pt x="58" y="10"/>
                </a:cubicBezTo>
                <a:cubicBezTo>
                  <a:pt x="58" y="9"/>
                  <a:pt x="58" y="8"/>
                  <a:pt x="57" y="8"/>
                </a:cubicBezTo>
                <a:cubicBezTo>
                  <a:pt x="57" y="7"/>
                  <a:pt x="55" y="6"/>
                  <a:pt x="54" y="6"/>
                </a:cubicBezTo>
                <a:cubicBezTo>
                  <a:pt x="53" y="5"/>
                  <a:pt x="53" y="4"/>
                  <a:pt x="52" y="4"/>
                </a:cubicBezTo>
                <a:cubicBezTo>
                  <a:pt x="51" y="3"/>
                  <a:pt x="50" y="2"/>
                  <a:pt x="49" y="2"/>
                </a:cubicBezTo>
                <a:cubicBezTo>
                  <a:pt x="48" y="2"/>
                  <a:pt x="47" y="3"/>
                  <a:pt x="47" y="3"/>
                </a:cubicBezTo>
                <a:cubicBezTo>
                  <a:pt x="46" y="4"/>
                  <a:pt x="45" y="4"/>
                  <a:pt x="43" y="4"/>
                </a:cubicBezTo>
                <a:cubicBezTo>
                  <a:pt x="43" y="4"/>
                  <a:pt x="42" y="4"/>
                  <a:pt x="42" y="4"/>
                </a:cubicBezTo>
                <a:cubicBezTo>
                  <a:pt x="41" y="4"/>
                  <a:pt x="40" y="4"/>
                  <a:pt x="40" y="4"/>
                </a:cubicBezTo>
                <a:cubicBezTo>
                  <a:pt x="40" y="3"/>
                  <a:pt x="40" y="3"/>
                  <a:pt x="40" y="3"/>
                </a:cubicBezTo>
                <a:cubicBezTo>
                  <a:pt x="40" y="2"/>
                  <a:pt x="39" y="2"/>
                  <a:pt x="39" y="2"/>
                </a:cubicBezTo>
                <a:cubicBezTo>
                  <a:pt x="39" y="2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37" y="0"/>
                  <a:pt x="36" y="0"/>
                  <a:pt x="36" y="0"/>
                </a:cubicBezTo>
                <a:cubicBezTo>
                  <a:pt x="36" y="0"/>
                  <a:pt x="35" y="1"/>
                  <a:pt x="35" y="1"/>
                </a:cubicBezTo>
                <a:cubicBezTo>
                  <a:pt x="35" y="1"/>
                  <a:pt x="34" y="1"/>
                  <a:pt x="34" y="2"/>
                </a:cubicBezTo>
                <a:cubicBezTo>
                  <a:pt x="34" y="2"/>
                  <a:pt x="33" y="2"/>
                  <a:pt x="33" y="2"/>
                </a:cubicBezTo>
                <a:cubicBezTo>
                  <a:pt x="33" y="2"/>
                  <a:pt x="32" y="2"/>
                  <a:pt x="32" y="3"/>
                </a:cubicBezTo>
                <a:cubicBezTo>
                  <a:pt x="32" y="3"/>
                  <a:pt x="32" y="3"/>
                  <a:pt x="31" y="3"/>
                </a:cubicBezTo>
                <a:cubicBezTo>
                  <a:pt x="31" y="3"/>
                  <a:pt x="30" y="3"/>
                  <a:pt x="29" y="2"/>
                </a:cubicBezTo>
                <a:cubicBezTo>
                  <a:pt x="29" y="2"/>
                  <a:pt x="28" y="2"/>
                  <a:pt x="28" y="2"/>
                </a:cubicBezTo>
                <a:cubicBezTo>
                  <a:pt x="28" y="2"/>
                  <a:pt x="28" y="1"/>
                  <a:pt x="28" y="1"/>
                </a:cubicBezTo>
                <a:cubicBezTo>
                  <a:pt x="27" y="1"/>
                  <a:pt x="27" y="2"/>
                  <a:pt x="27" y="2"/>
                </a:cubicBezTo>
                <a:cubicBezTo>
                  <a:pt x="26" y="3"/>
                  <a:pt x="26" y="3"/>
                  <a:pt x="25" y="2"/>
                </a:cubicBezTo>
                <a:cubicBezTo>
                  <a:pt x="25" y="2"/>
                  <a:pt x="25" y="2"/>
                  <a:pt x="24" y="2"/>
                </a:cubicBezTo>
                <a:cubicBezTo>
                  <a:pt x="24" y="2"/>
                  <a:pt x="23" y="2"/>
                  <a:pt x="22" y="1"/>
                </a:cubicBezTo>
                <a:cubicBezTo>
                  <a:pt x="22" y="1"/>
                  <a:pt x="22" y="1"/>
                  <a:pt x="21" y="1"/>
                </a:cubicBezTo>
                <a:cubicBezTo>
                  <a:pt x="21" y="1"/>
                  <a:pt x="21" y="2"/>
                  <a:pt x="21" y="3"/>
                </a:cubicBezTo>
                <a:cubicBezTo>
                  <a:pt x="21" y="3"/>
                  <a:pt x="21" y="4"/>
                  <a:pt x="21" y="4"/>
                </a:cubicBezTo>
                <a:cubicBezTo>
                  <a:pt x="21" y="5"/>
                  <a:pt x="21" y="6"/>
                  <a:pt x="21" y="6"/>
                </a:cubicBezTo>
                <a:cubicBezTo>
                  <a:pt x="21" y="7"/>
                  <a:pt x="21" y="7"/>
                  <a:pt x="22" y="8"/>
                </a:cubicBezTo>
                <a:cubicBezTo>
                  <a:pt x="22" y="9"/>
                  <a:pt x="22" y="10"/>
                  <a:pt x="22" y="10"/>
                </a:cubicBezTo>
                <a:cubicBezTo>
                  <a:pt x="22" y="11"/>
                  <a:pt x="22" y="12"/>
                  <a:pt x="21" y="13"/>
                </a:cubicBezTo>
                <a:cubicBezTo>
                  <a:pt x="21" y="14"/>
                  <a:pt x="21" y="15"/>
                  <a:pt x="21" y="16"/>
                </a:cubicBezTo>
                <a:cubicBezTo>
                  <a:pt x="21" y="18"/>
                  <a:pt x="21" y="20"/>
                  <a:pt x="21" y="22"/>
                </a:cubicBezTo>
                <a:cubicBezTo>
                  <a:pt x="21" y="22"/>
                  <a:pt x="21" y="23"/>
                  <a:pt x="21" y="24"/>
                </a:cubicBezTo>
                <a:cubicBezTo>
                  <a:pt x="21" y="25"/>
                  <a:pt x="21" y="26"/>
                  <a:pt x="21" y="27"/>
                </a:cubicBezTo>
                <a:cubicBezTo>
                  <a:pt x="21" y="27"/>
                  <a:pt x="22" y="28"/>
                  <a:pt x="22" y="28"/>
                </a:cubicBezTo>
                <a:cubicBezTo>
                  <a:pt x="22" y="29"/>
                  <a:pt x="22" y="29"/>
                  <a:pt x="22" y="30"/>
                </a:cubicBezTo>
                <a:cubicBezTo>
                  <a:pt x="22" y="31"/>
                  <a:pt x="22" y="31"/>
                  <a:pt x="22" y="32"/>
                </a:cubicBezTo>
                <a:cubicBezTo>
                  <a:pt x="23" y="32"/>
                  <a:pt x="22" y="33"/>
                  <a:pt x="23" y="33"/>
                </a:cubicBezTo>
                <a:cubicBezTo>
                  <a:pt x="22" y="33"/>
                  <a:pt x="23" y="34"/>
                  <a:pt x="23" y="34"/>
                </a:cubicBezTo>
                <a:cubicBezTo>
                  <a:pt x="23" y="34"/>
                  <a:pt x="23" y="34"/>
                  <a:pt x="23" y="34"/>
                </a:cubicBezTo>
                <a:cubicBezTo>
                  <a:pt x="23" y="35"/>
                  <a:pt x="23" y="35"/>
                  <a:pt x="23" y="35"/>
                </a:cubicBezTo>
                <a:cubicBezTo>
                  <a:pt x="23" y="36"/>
                  <a:pt x="21" y="36"/>
                  <a:pt x="21" y="37"/>
                </a:cubicBezTo>
                <a:cubicBezTo>
                  <a:pt x="21" y="37"/>
                  <a:pt x="21" y="38"/>
                  <a:pt x="21" y="38"/>
                </a:cubicBezTo>
                <a:cubicBezTo>
                  <a:pt x="21" y="39"/>
                  <a:pt x="22" y="39"/>
                  <a:pt x="22" y="40"/>
                </a:cubicBezTo>
                <a:cubicBezTo>
                  <a:pt x="22" y="41"/>
                  <a:pt x="21" y="42"/>
                  <a:pt x="21" y="43"/>
                </a:cubicBezTo>
                <a:cubicBezTo>
                  <a:pt x="20" y="44"/>
                  <a:pt x="20" y="45"/>
                  <a:pt x="20" y="46"/>
                </a:cubicBezTo>
                <a:cubicBezTo>
                  <a:pt x="20" y="48"/>
                  <a:pt x="20" y="51"/>
                  <a:pt x="20" y="53"/>
                </a:cubicBezTo>
                <a:cubicBezTo>
                  <a:pt x="20" y="54"/>
                  <a:pt x="21" y="55"/>
                  <a:pt x="20" y="56"/>
                </a:cubicBezTo>
                <a:cubicBezTo>
                  <a:pt x="20" y="56"/>
                  <a:pt x="20" y="57"/>
                  <a:pt x="20" y="57"/>
                </a:cubicBezTo>
                <a:cubicBezTo>
                  <a:pt x="19" y="57"/>
                  <a:pt x="20" y="58"/>
                  <a:pt x="20" y="58"/>
                </a:cubicBezTo>
                <a:cubicBezTo>
                  <a:pt x="20" y="59"/>
                  <a:pt x="20" y="60"/>
                  <a:pt x="19" y="61"/>
                </a:cubicBezTo>
                <a:cubicBezTo>
                  <a:pt x="19" y="61"/>
                  <a:pt x="19" y="62"/>
                  <a:pt x="19" y="62"/>
                </a:cubicBezTo>
                <a:cubicBezTo>
                  <a:pt x="19" y="63"/>
                  <a:pt x="19" y="64"/>
                  <a:pt x="19" y="64"/>
                </a:cubicBezTo>
                <a:cubicBezTo>
                  <a:pt x="19" y="65"/>
                  <a:pt x="18" y="66"/>
                  <a:pt x="18" y="67"/>
                </a:cubicBezTo>
                <a:cubicBezTo>
                  <a:pt x="18" y="67"/>
                  <a:pt x="17" y="68"/>
                  <a:pt x="17" y="69"/>
                </a:cubicBezTo>
                <a:cubicBezTo>
                  <a:pt x="17" y="79"/>
                  <a:pt x="17" y="79"/>
                  <a:pt x="17" y="79"/>
                </a:cubicBezTo>
                <a:cubicBezTo>
                  <a:pt x="17" y="79"/>
                  <a:pt x="17" y="80"/>
                  <a:pt x="17" y="81"/>
                </a:cubicBezTo>
                <a:cubicBezTo>
                  <a:pt x="17" y="81"/>
                  <a:pt x="17" y="81"/>
                  <a:pt x="17" y="82"/>
                </a:cubicBezTo>
                <a:cubicBezTo>
                  <a:pt x="17" y="82"/>
                  <a:pt x="17" y="82"/>
                  <a:pt x="18" y="82"/>
                </a:cubicBezTo>
                <a:cubicBezTo>
                  <a:pt x="17" y="83"/>
                  <a:pt x="17" y="83"/>
                  <a:pt x="17" y="82"/>
                </a:cubicBezTo>
                <a:cubicBezTo>
                  <a:pt x="17" y="85"/>
                  <a:pt x="17" y="85"/>
                  <a:pt x="17" y="85"/>
                </a:cubicBezTo>
                <a:cubicBezTo>
                  <a:pt x="17" y="86"/>
                  <a:pt x="16" y="86"/>
                  <a:pt x="17" y="87"/>
                </a:cubicBezTo>
                <a:cubicBezTo>
                  <a:pt x="17" y="88"/>
                  <a:pt x="17" y="89"/>
                  <a:pt x="17" y="90"/>
                </a:cubicBezTo>
                <a:cubicBezTo>
                  <a:pt x="17" y="91"/>
                  <a:pt x="16" y="92"/>
                  <a:pt x="16" y="92"/>
                </a:cubicBezTo>
                <a:cubicBezTo>
                  <a:pt x="16" y="93"/>
                  <a:pt x="16" y="93"/>
                  <a:pt x="16" y="94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101"/>
                  <a:pt x="16" y="101"/>
                  <a:pt x="16" y="101"/>
                </a:cubicBezTo>
                <a:cubicBezTo>
                  <a:pt x="16" y="101"/>
                  <a:pt x="16" y="101"/>
                  <a:pt x="16" y="102"/>
                </a:cubicBezTo>
                <a:cubicBezTo>
                  <a:pt x="16" y="102"/>
                  <a:pt x="16" y="102"/>
                  <a:pt x="15" y="103"/>
                </a:cubicBezTo>
                <a:cubicBezTo>
                  <a:pt x="15" y="103"/>
                  <a:pt x="15" y="104"/>
                  <a:pt x="15" y="104"/>
                </a:cubicBezTo>
                <a:cubicBezTo>
                  <a:pt x="15" y="105"/>
                  <a:pt x="15" y="105"/>
                  <a:pt x="15" y="106"/>
                </a:cubicBezTo>
                <a:cubicBezTo>
                  <a:pt x="15" y="106"/>
                  <a:pt x="15" y="107"/>
                  <a:pt x="15" y="108"/>
                </a:cubicBezTo>
                <a:cubicBezTo>
                  <a:pt x="15" y="109"/>
                  <a:pt x="15" y="110"/>
                  <a:pt x="15" y="111"/>
                </a:cubicBezTo>
                <a:cubicBezTo>
                  <a:pt x="15" y="111"/>
                  <a:pt x="14" y="112"/>
                  <a:pt x="14" y="113"/>
                </a:cubicBezTo>
                <a:cubicBezTo>
                  <a:pt x="14" y="113"/>
                  <a:pt x="14" y="114"/>
                  <a:pt x="14" y="115"/>
                </a:cubicBezTo>
                <a:cubicBezTo>
                  <a:pt x="14" y="116"/>
                  <a:pt x="14" y="117"/>
                  <a:pt x="14" y="117"/>
                </a:cubicBezTo>
                <a:cubicBezTo>
                  <a:pt x="14" y="117"/>
                  <a:pt x="14" y="117"/>
                  <a:pt x="14" y="118"/>
                </a:cubicBezTo>
                <a:cubicBezTo>
                  <a:pt x="13" y="118"/>
                  <a:pt x="13" y="118"/>
                  <a:pt x="13" y="118"/>
                </a:cubicBezTo>
                <a:cubicBezTo>
                  <a:pt x="13" y="119"/>
                  <a:pt x="13" y="119"/>
                  <a:pt x="13" y="120"/>
                </a:cubicBezTo>
                <a:cubicBezTo>
                  <a:pt x="13" y="121"/>
                  <a:pt x="13" y="122"/>
                  <a:pt x="14" y="122"/>
                </a:cubicBezTo>
                <a:cubicBezTo>
                  <a:pt x="14" y="122"/>
                  <a:pt x="14" y="121"/>
                  <a:pt x="15" y="121"/>
                </a:cubicBezTo>
                <a:cubicBezTo>
                  <a:pt x="15" y="121"/>
                  <a:pt x="15" y="122"/>
                  <a:pt x="15" y="122"/>
                </a:cubicBezTo>
                <a:cubicBezTo>
                  <a:pt x="16" y="123"/>
                  <a:pt x="15" y="123"/>
                  <a:pt x="14" y="124"/>
                </a:cubicBezTo>
                <a:cubicBezTo>
                  <a:pt x="14" y="124"/>
                  <a:pt x="14" y="124"/>
                  <a:pt x="14" y="124"/>
                </a:cubicBezTo>
                <a:cubicBezTo>
                  <a:pt x="13" y="124"/>
                  <a:pt x="13" y="123"/>
                  <a:pt x="13" y="123"/>
                </a:cubicBezTo>
                <a:cubicBezTo>
                  <a:pt x="13" y="123"/>
                  <a:pt x="13" y="123"/>
                  <a:pt x="13" y="123"/>
                </a:cubicBezTo>
                <a:cubicBezTo>
                  <a:pt x="13" y="123"/>
                  <a:pt x="13" y="123"/>
                  <a:pt x="13" y="124"/>
                </a:cubicBezTo>
                <a:cubicBezTo>
                  <a:pt x="12" y="124"/>
                  <a:pt x="13" y="125"/>
                  <a:pt x="13" y="126"/>
                </a:cubicBezTo>
                <a:cubicBezTo>
                  <a:pt x="13" y="126"/>
                  <a:pt x="13" y="126"/>
                  <a:pt x="12" y="126"/>
                </a:cubicBezTo>
                <a:cubicBezTo>
                  <a:pt x="12" y="127"/>
                  <a:pt x="12" y="128"/>
                  <a:pt x="12" y="129"/>
                </a:cubicBezTo>
                <a:cubicBezTo>
                  <a:pt x="12" y="130"/>
                  <a:pt x="12" y="130"/>
                  <a:pt x="11" y="131"/>
                </a:cubicBezTo>
                <a:cubicBezTo>
                  <a:pt x="11" y="132"/>
                  <a:pt x="11" y="132"/>
                  <a:pt x="11" y="133"/>
                </a:cubicBezTo>
                <a:cubicBezTo>
                  <a:pt x="11" y="133"/>
                  <a:pt x="10" y="134"/>
                  <a:pt x="10" y="134"/>
                </a:cubicBezTo>
                <a:cubicBezTo>
                  <a:pt x="10" y="136"/>
                  <a:pt x="10" y="137"/>
                  <a:pt x="10" y="138"/>
                </a:cubicBezTo>
                <a:cubicBezTo>
                  <a:pt x="9" y="138"/>
                  <a:pt x="9" y="139"/>
                  <a:pt x="9" y="139"/>
                </a:cubicBezTo>
                <a:cubicBezTo>
                  <a:pt x="9" y="140"/>
                  <a:pt x="8" y="141"/>
                  <a:pt x="8" y="141"/>
                </a:cubicBezTo>
                <a:cubicBezTo>
                  <a:pt x="8" y="141"/>
                  <a:pt x="7" y="141"/>
                  <a:pt x="7" y="141"/>
                </a:cubicBezTo>
                <a:cubicBezTo>
                  <a:pt x="7" y="141"/>
                  <a:pt x="6" y="141"/>
                  <a:pt x="6" y="142"/>
                </a:cubicBezTo>
                <a:cubicBezTo>
                  <a:pt x="6" y="142"/>
                  <a:pt x="6" y="142"/>
                  <a:pt x="6" y="142"/>
                </a:cubicBezTo>
                <a:cubicBezTo>
                  <a:pt x="6" y="142"/>
                  <a:pt x="6" y="143"/>
                  <a:pt x="6" y="143"/>
                </a:cubicBezTo>
                <a:cubicBezTo>
                  <a:pt x="6" y="143"/>
                  <a:pt x="6" y="144"/>
                  <a:pt x="6" y="144"/>
                </a:cubicBezTo>
                <a:cubicBezTo>
                  <a:pt x="6" y="144"/>
                  <a:pt x="6" y="144"/>
                  <a:pt x="6" y="144"/>
                </a:cubicBezTo>
                <a:cubicBezTo>
                  <a:pt x="6" y="145"/>
                  <a:pt x="6" y="145"/>
                  <a:pt x="6" y="145"/>
                </a:cubicBezTo>
                <a:cubicBezTo>
                  <a:pt x="6" y="145"/>
                  <a:pt x="6" y="145"/>
                  <a:pt x="6" y="145"/>
                </a:cubicBezTo>
                <a:cubicBezTo>
                  <a:pt x="6" y="146"/>
                  <a:pt x="6" y="147"/>
                  <a:pt x="6" y="147"/>
                </a:cubicBezTo>
                <a:cubicBezTo>
                  <a:pt x="6" y="148"/>
                  <a:pt x="5" y="148"/>
                  <a:pt x="5" y="149"/>
                </a:cubicBezTo>
                <a:cubicBezTo>
                  <a:pt x="5" y="150"/>
                  <a:pt x="5" y="150"/>
                  <a:pt x="5" y="151"/>
                </a:cubicBezTo>
                <a:cubicBezTo>
                  <a:pt x="5" y="151"/>
                  <a:pt x="5" y="151"/>
                  <a:pt x="5" y="151"/>
                </a:cubicBezTo>
                <a:cubicBezTo>
                  <a:pt x="4" y="152"/>
                  <a:pt x="4" y="153"/>
                  <a:pt x="4" y="153"/>
                </a:cubicBezTo>
                <a:cubicBezTo>
                  <a:pt x="4" y="153"/>
                  <a:pt x="4" y="154"/>
                  <a:pt x="4" y="154"/>
                </a:cubicBezTo>
                <a:cubicBezTo>
                  <a:pt x="4" y="155"/>
                  <a:pt x="4" y="155"/>
                  <a:pt x="4" y="155"/>
                </a:cubicBezTo>
                <a:cubicBezTo>
                  <a:pt x="3" y="155"/>
                  <a:pt x="3" y="156"/>
                  <a:pt x="3" y="156"/>
                </a:cubicBezTo>
                <a:cubicBezTo>
                  <a:pt x="3" y="157"/>
                  <a:pt x="3" y="157"/>
                  <a:pt x="3" y="157"/>
                </a:cubicBezTo>
                <a:cubicBezTo>
                  <a:pt x="3" y="158"/>
                  <a:pt x="3" y="158"/>
                  <a:pt x="3" y="159"/>
                </a:cubicBezTo>
                <a:cubicBezTo>
                  <a:pt x="3" y="159"/>
                  <a:pt x="3" y="159"/>
                  <a:pt x="3" y="160"/>
                </a:cubicBezTo>
                <a:cubicBezTo>
                  <a:pt x="3" y="160"/>
                  <a:pt x="3" y="160"/>
                  <a:pt x="3" y="160"/>
                </a:cubicBezTo>
                <a:cubicBezTo>
                  <a:pt x="4" y="160"/>
                  <a:pt x="4" y="160"/>
                  <a:pt x="4" y="160"/>
                </a:cubicBezTo>
                <a:cubicBezTo>
                  <a:pt x="4" y="161"/>
                  <a:pt x="5" y="161"/>
                  <a:pt x="5" y="161"/>
                </a:cubicBezTo>
                <a:cubicBezTo>
                  <a:pt x="5" y="161"/>
                  <a:pt x="6" y="161"/>
                  <a:pt x="6" y="161"/>
                </a:cubicBezTo>
                <a:cubicBezTo>
                  <a:pt x="6" y="161"/>
                  <a:pt x="7" y="160"/>
                  <a:pt x="7" y="160"/>
                </a:cubicBezTo>
                <a:cubicBezTo>
                  <a:pt x="7" y="161"/>
                  <a:pt x="7" y="161"/>
                  <a:pt x="7" y="161"/>
                </a:cubicBezTo>
                <a:cubicBezTo>
                  <a:pt x="7" y="161"/>
                  <a:pt x="6" y="161"/>
                  <a:pt x="6" y="161"/>
                </a:cubicBezTo>
                <a:cubicBezTo>
                  <a:pt x="5" y="161"/>
                  <a:pt x="4" y="161"/>
                  <a:pt x="3" y="161"/>
                </a:cubicBezTo>
                <a:cubicBezTo>
                  <a:pt x="3" y="161"/>
                  <a:pt x="2" y="161"/>
                  <a:pt x="2" y="162"/>
                </a:cubicBezTo>
                <a:cubicBezTo>
                  <a:pt x="2" y="162"/>
                  <a:pt x="2" y="162"/>
                  <a:pt x="1" y="162"/>
                </a:cubicBezTo>
                <a:cubicBezTo>
                  <a:pt x="1" y="163"/>
                  <a:pt x="1" y="163"/>
                  <a:pt x="1" y="163"/>
                </a:cubicBezTo>
                <a:cubicBezTo>
                  <a:pt x="1" y="164"/>
                  <a:pt x="1" y="163"/>
                  <a:pt x="0" y="164"/>
                </a:cubicBezTo>
                <a:cubicBezTo>
                  <a:pt x="0" y="165"/>
                  <a:pt x="0" y="165"/>
                  <a:pt x="1" y="166"/>
                </a:cubicBezTo>
                <a:cubicBezTo>
                  <a:pt x="1" y="166"/>
                  <a:pt x="1" y="166"/>
                  <a:pt x="1" y="166"/>
                </a:cubicBezTo>
                <a:cubicBezTo>
                  <a:pt x="1" y="167"/>
                  <a:pt x="1" y="167"/>
                  <a:pt x="1" y="167"/>
                </a:cubicBezTo>
                <a:cubicBezTo>
                  <a:pt x="1" y="168"/>
                  <a:pt x="2" y="168"/>
                  <a:pt x="2" y="168"/>
                </a:cubicBezTo>
                <a:cubicBezTo>
                  <a:pt x="2" y="169"/>
                  <a:pt x="3" y="169"/>
                  <a:pt x="3" y="170"/>
                </a:cubicBezTo>
                <a:cubicBezTo>
                  <a:pt x="3" y="170"/>
                  <a:pt x="3" y="170"/>
                  <a:pt x="4" y="171"/>
                </a:cubicBezTo>
                <a:cubicBezTo>
                  <a:pt x="4" y="171"/>
                  <a:pt x="4" y="171"/>
                  <a:pt x="5" y="172"/>
                </a:cubicBezTo>
                <a:cubicBezTo>
                  <a:pt x="5" y="172"/>
                  <a:pt x="5" y="172"/>
                  <a:pt x="5" y="173"/>
                </a:cubicBezTo>
                <a:cubicBezTo>
                  <a:pt x="6" y="173"/>
                  <a:pt x="6" y="174"/>
                  <a:pt x="6" y="175"/>
                </a:cubicBezTo>
                <a:cubicBezTo>
                  <a:pt x="6" y="176"/>
                  <a:pt x="6" y="176"/>
                  <a:pt x="6" y="176"/>
                </a:cubicBezTo>
                <a:cubicBezTo>
                  <a:pt x="6" y="177"/>
                  <a:pt x="6" y="177"/>
                  <a:pt x="6" y="178"/>
                </a:cubicBezTo>
                <a:cubicBezTo>
                  <a:pt x="6" y="178"/>
                  <a:pt x="6" y="178"/>
                  <a:pt x="6" y="178"/>
                </a:cubicBezTo>
                <a:cubicBezTo>
                  <a:pt x="6" y="179"/>
                  <a:pt x="6" y="179"/>
                  <a:pt x="6" y="179"/>
                </a:cubicBezTo>
                <a:cubicBezTo>
                  <a:pt x="6" y="179"/>
                  <a:pt x="6" y="180"/>
                  <a:pt x="5" y="180"/>
                </a:cubicBezTo>
                <a:cubicBezTo>
                  <a:pt x="5" y="180"/>
                  <a:pt x="5" y="180"/>
                  <a:pt x="5" y="180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1"/>
                  <a:pt x="5" y="192"/>
                  <a:pt x="5" y="192"/>
                </a:cubicBezTo>
                <a:cubicBezTo>
                  <a:pt x="6" y="192"/>
                  <a:pt x="6" y="193"/>
                  <a:pt x="6" y="193"/>
                </a:cubicBezTo>
                <a:cubicBezTo>
                  <a:pt x="6" y="194"/>
                  <a:pt x="6" y="194"/>
                  <a:pt x="6" y="194"/>
                </a:cubicBezTo>
                <a:cubicBezTo>
                  <a:pt x="6" y="195"/>
                  <a:pt x="6" y="195"/>
                  <a:pt x="7" y="196"/>
                </a:cubicBezTo>
                <a:cubicBezTo>
                  <a:pt x="7" y="196"/>
                  <a:pt x="7" y="196"/>
                  <a:pt x="7" y="196"/>
                </a:cubicBezTo>
                <a:cubicBezTo>
                  <a:pt x="7" y="197"/>
                  <a:pt x="7" y="197"/>
                  <a:pt x="7" y="197"/>
                </a:cubicBezTo>
                <a:cubicBezTo>
                  <a:pt x="7" y="198"/>
                  <a:pt x="8" y="198"/>
                  <a:pt x="8" y="198"/>
                </a:cubicBezTo>
                <a:cubicBezTo>
                  <a:pt x="8" y="198"/>
                  <a:pt x="8" y="199"/>
                  <a:pt x="8" y="199"/>
                </a:cubicBezTo>
                <a:cubicBezTo>
                  <a:pt x="8" y="199"/>
                  <a:pt x="8" y="199"/>
                  <a:pt x="9" y="200"/>
                </a:cubicBezTo>
                <a:cubicBezTo>
                  <a:pt x="9" y="200"/>
                  <a:pt x="9" y="200"/>
                  <a:pt x="10" y="201"/>
                </a:cubicBezTo>
                <a:cubicBezTo>
                  <a:pt x="10" y="201"/>
                  <a:pt x="11" y="201"/>
                  <a:pt x="11" y="202"/>
                </a:cubicBezTo>
                <a:cubicBezTo>
                  <a:pt x="11" y="202"/>
                  <a:pt x="12" y="203"/>
                  <a:pt x="12" y="203"/>
                </a:cubicBezTo>
                <a:cubicBezTo>
                  <a:pt x="157" y="203"/>
                  <a:pt x="157" y="203"/>
                  <a:pt x="157" y="203"/>
                </a:cubicBezTo>
                <a:cubicBezTo>
                  <a:pt x="260" y="203"/>
                  <a:pt x="260" y="203"/>
                  <a:pt x="260" y="203"/>
                </a:cubicBezTo>
                <a:cubicBezTo>
                  <a:pt x="260" y="116"/>
                  <a:pt x="260" y="116"/>
                  <a:pt x="260" y="116"/>
                </a:cubicBezTo>
                <a:cubicBezTo>
                  <a:pt x="261" y="116"/>
                  <a:pt x="261" y="114"/>
                  <a:pt x="262" y="113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4" name="Freeform 22">
            <a:extLst>
              <a:ext uri="{FF2B5EF4-FFF2-40B4-BE49-F238E27FC236}">
                <a16:creationId xmlns:a16="http://schemas.microsoft.com/office/drawing/2014/main" id="{FF689A18-D51A-4A12-A407-63E07BA87F4A}"/>
              </a:ext>
            </a:extLst>
          </p:cNvPr>
          <p:cNvSpPr>
            <a:spLocks/>
          </p:cNvSpPr>
          <p:nvPr/>
        </p:nvSpPr>
        <p:spPr bwMode="auto">
          <a:xfrm>
            <a:off x="6967537" y="3518220"/>
            <a:ext cx="1173065" cy="571663"/>
          </a:xfrm>
          <a:custGeom>
            <a:avLst/>
            <a:gdLst>
              <a:gd name="T0" fmla="*/ 0 w 296"/>
              <a:gd name="T1" fmla="*/ 0 h 144"/>
              <a:gd name="T2" fmla="*/ 104 w 296"/>
              <a:gd name="T3" fmla="*/ 103 h 144"/>
              <a:gd name="T4" fmla="*/ 108 w 296"/>
              <a:gd name="T5" fmla="*/ 105 h 144"/>
              <a:gd name="T6" fmla="*/ 113 w 296"/>
              <a:gd name="T7" fmla="*/ 111 h 144"/>
              <a:gd name="T8" fmla="*/ 119 w 296"/>
              <a:gd name="T9" fmla="*/ 110 h 144"/>
              <a:gd name="T10" fmla="*/ 124 w 296"/>
              <a:gd name="T11" fmla="*/ 112 h 144"/>
              <a:gd name="T12" fmla="*/ 126 w 296"/>
              <a:gd name="T13" fmla="*/ 109 h 144"/>
              <a:gd name="T14" fmla="*/ 129 w 296"/>
              <a:gd name="T15" fmla="*/ 111 h 144"/>
              <a:gd name="T16" fmla="*/ 131 w 296"/>
              <a:gd name="T17" fmla="*/ 114 h 144"/>
              <a:gd name="T18" fmla="*/ 136 w 296"/>
              <a:gd name="T19" fmla="*/ 119 h 144"/>
              <a:gd name="T20" fmla="*/ 140 w 296"/>
              <a:gd name="T21" fmla="*/ 119 h 144"/>
              <a:gd name="T22" fmla="*/ 144 w 296"/>
              <a:gd name="T23" fmla="*/ 121 h 144"/>
              <a:gd name="T24" fmla="*/ 153 w 296"/>
              <a:gd name="T25" fmla="*/ 121 h 144"/>
              <a:gd name="T26" fmla="*/ 160 w 296"/>
              <a:gd name="T27" fmla="*/ 122 h 144"/>
              <a:gd name="T28" fmla="*/ 167 w 296"/>
              <a:gd name="T29" fmla="*/ 123 h 144"/>
              <a:gd name="T30" fmla="*/ 170 w 296"/>
              <a:gd name="T31" fmla="*/ 126 h 144"/>
              <a:gd name="T32" fmla="*/ 174 w 296"/>
              <a:gd name="T33" fmla="*/ 128 h 144"/>
              <a:gd name="T34" fmla="*/ 175 w 296"/>
              <a:gd name="T35" fmla="*/ 132 h 144"/>
              <a:gd name="T36" fmla="*/ 181 w 296"/>
              <a:gd name="T37" fmla="*/ 131 h 144"/>
              <a:gd name="T38" fmla="*/ 184 w 296"/>
              <a:gd name="T39" fmla="*/ 128 h 144"/>
              <a:gd name="T40" fmla="*/ 187 w 296"/>
              <a:gd name="T41" fmla="*/ 131 h 144"/>
              <a:gd name="T42" fmla="*/ 191 w 296"/>
              <a:gd name="T43" fmla="*/ 134 h 144"/>
              <a:gd name="T44" fmla="*/ 196 w 296"/>
              <a:gd name="T45" fmla="*/ 133 h 144"/>
              <a:gd name="T46" fmla="*/ 199 w 296"/>
              <a:gd name="T47" fmla="*/ 133 h 144"/>
              <a:gd name="T48" fmla="*/ 201 w 296"/>
              <a:gd name="T49" fmla="*/ 132 h 144"/>
              <a:gd name="T50" fmla="*/ 201 w 296"/>
              <a:gd name="T51" fmla="*/ 137 h 144"/>
              <a:gd name="T52" fmla="*/ 204 w 296"/>
              <a:gd name="T53" fmla="*/ 137 h 144"/>
              <a:gd name="T54" fmla="*/ 206 w 296"/>
              <a:gd name="T55" fmla="*/ 134 h 144"/>
              <a:gd name="T56" fmla="*/ 208 w 296"/>
              <a:gd name="T57" fmla="*/ 131 h 144"/>
              <a:gd name="T58" fmla="*/ 211 w 296"/>
              <a:gd name="T59" fmla="*/ 130 h 144"/>
              <a:gd name="T60" fmla="*/ 212 w 296"/>
              <a:gd name="T61" fmla="*/ 133 h 144"/>
              <a:gd name="T62" fmla="*/ 215 w 296"/>
              <a:gd name="T63" fmla="*/ 134 h 144"/>
              <a:gd name="T64" fmla="*/ 219 w 296"/>
              <a:gd name="T65" fmla="*/ 131 h 144"/>
              <a:gd name="T66" fmla="*/ 223 w 296"/>
              <a:gd name="T67" fmla="*/ 135 h 144"/>
              <a:gd name="T68" fmla="*/ 227 w 296"/>
              <a:gd name="T69" fmla="*/ 137 h 144"/>
              <a:gd name="T70" fmla="*/ 231 w 296"/>
              <a:gd name="T71" fmla="*/ 139 h 144"/>
              <a:gd name="T72" fmla="*/ 236 w 296"/>
              <a:gd name="T73" fmla="*/ 137 h 144"/>
              <a:gd name="T74" fmla="*/ 238 w 296"/>
              <a:gd name="T75" fmla="*/ 134 h 144"/>
              <a:gd name="T76" fmla="*/ 242 w 296"/>
              <a:gd name="T77" fmla="*/ 132 h 144"/>
              <a:gd name="T78" fmla="*/ 245 w 296"/>
              <a:gd name="T79" fmla="*/ 133 h 144"/>
              <a:gd name="T80" fmla="*/ 248 w 296"/>
              <a:gd name="T81" fmla="*/ 134 h 144"/>
              <a:gd name="T82" fmla="*/ 251 w 296"/>
              <a:gd name="T83" fmla="*/ 133 h 144"/>
              <a:gd name="T84" fmla="*/ 254 w 296"/>
              <a:gd name="T85" fmla="*/ 131 h 144"/>
              <a:gd name="T86" fmla="*/ 257 w 296"/>
              <a:gd name="T87" fmla="*/ 132 h 144"/>
              <a:gd name="T88" fmla="*/ 260 w 296"/>
              <a:gd name="T89" fmla="*/ 132 h 144"/>
              <a:gd name="T90" fmla="*/ 267 w 296"/>
              <a:gd name="T91" fmla="*/ 132 h 144"/>
              <a:gd name="T92" fmla="*/ 269 w 296"/>
              <a:gd name="T93" fmla="*/ 129 h 144"/>
              <a:gd name="T94" fmla="*/ 273 w 296"/>
              <a:gd name="T95" fmla="*/ 131 h 144"/>
              <a:gd name="T96" fmla="*/ 278 w 296"/>
              <a:gd name="T97" fmla="*/ 134 h 144"/>
              <a:gd name="T98" fmla="*/ 279 w 296"/>
              <a:gd name="T99" fmla="*/ 136 h 144"/>
              <a:gd name="T100" fmla="*/ 282 w 296"/>
              <a:gd name="T101" fmla="*/ 138 h 144"/>
              <a:gd name="T102" fmla="*/ 285 w 296"/>
              <a:gd name="T103" fmla="*/ 138 h 144"/>
              <a:gd name="T104" fmla="*/ 285 w 296"/>
              <a:gd name="T105" fmla="*/ 139 h 144"/>
              <a:gd name="T106" fmla="*/ 288 w 296"/>
              <a:gd name="T107" fmla="*/ 141 h 144"/>
              <a:gd name="T108" fmla="*/ 290 w 296"/>
              <a:gd name="T109" fmla="*/ 141 h 144"/>
              <a:gd name="T110" fmla="*/ 292 w 296"/>
              <a:gd name="T111" fmla="*/ 142 h 144"/>
              <a:gd name="T112" fmla="*/ 296 w 296"/>
              <a:gd name="T113" fmla="*/ 72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6" h="144">
                <a:moveTo>
                  <a:pt x="290" y="22"/>
                </a:moveTo>
                <a:cubicBezTo>
                  <a:pt x="290" y="0"/>
                  <a:pt x="290" y="0"/>
                  <a:pt x="29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1"/>
                  <a:pt x="0" y="21"/>
                  <a:pt x="0" y="21"/>
                </a:cubicBezTo>
                <a:cubicBezTo>
                  <a:pt x="104" y="21"/>
                  <a:pt x="104" y="21"/>
                  <a:pt x="104" y="21"/>
                </a:cubicBezTo>
                <a:cubicBezTo>
                  <a:pt x="104" y="103"/>
                  <a:pt x="104" y="103"/>
                  <a:pt x="104" y="103"/>
                </a:cubicBezTo>
                <a:cubicBezTo>
                  <a:pt x="104" y="104"/>
                  <a:pt x="105" y="104"/>
                  <a:pt x="105" y="103"/>
                </a:cubicBezTo>
                <a:cubicBezTo>
                  <a:pt x="106" y="103"/>
                  <a:pt x="106" y="103"/>
                  <a:pt x="106" y="103"/>
                </a:cubicBezTo>
                <a:cubicBezTo>
                  <a:pt x="107" y="104"/>
                  <a:pt x="108" y="104"/>
                  <a:pt x="108" y="105"/>
                </a:cubicBezTo>
                <a:cubicBezTo>
                  <a:pt x="109" y="106"/>
                  <a:pt x="110" y="107"/>
                  <a:pt x="111" y="108"/>
                </a:cubicBezTo>
                <a:cubicBezTo>
                  <a:pt x="111" y="108"/>
                  <a:pt x="112" y="109"/>
                  <a:pt x="113" y="110"/>
                </a:cubicBezTo>
                <a:cubicBezTo>
                  <a:pt x="113" y="110"/>
                  <a:pt x="113" y="111"/>
                  <a:pt x="113" y="111"/>
                </a:cubicBezTo>
                <a:cubicBezTo>
                  <a:pt x="114" y="111"/>
                  <a:pt x="115" y="111"/>
                  <a:pt x="115" y="111"/>
                </a:cubicBezTo>
                <a:cubicBezTo>
                  <a:pt x="116" y="111"/>
                  <a:pt x="117" y="111"/>
                  <a:pt x="118" y="111"/>
                </a:cubicBezTo>
                <a:cubicBezTo>
                  <a:pt x="118" y="111"/>
                  <a:pt x="119" y="110"/>
                  <a:pt x="119" y="110"/>
                </a:cubicBezTo>
                <a:cubicBezTo>
                  <a:pt x="120" y="110"/>
                  <a:pt x="120" y="110"/>
                  <a:pt x="121" y="110"/>
                </a:cubicBezTo>
                <a:cubicBezTo>
                  <a:pt x="121" y="110"/>
                  <a:pt x="122" y="111"/>
                  <a:pt x="123" y="111"/>
                </a:cubicBezTo>
                <a:cubicBezTo>
                  <a:pt x="123" y="111"/>
                  <a:pt x="124" y="112"/>
                  <a:pt x="124" y="112"/>
                </a:cubicBezTo>
                <a:cubicBezTo>
                  <a:pt x="125" y="111"/>
                  <a:pt x="125" y="110"/>
                  <a:pt x="125" y="110"/>
                </a:cubicBezTo>
                <a:cubicBezTo>
                  <a:pt x="125" y="109"/>
                  <a:pt x="125" y="109"/>
                  <a:pt x="126" y="108"/>
                </a:cubicBezTo>
                <a:cubicBezTo>
                  <a:pt x="126" y="108"/>
                  <a:pt x="126" y="108"/>
                  <a:pt x="126" y="109"/>
                </a:cubicBezTo>
                <a:cubicBezTo>
                  <a:pt x="127" y="109"/>
                  <a:pt x="127" y="109"/>
                  <a:pt x="127" y="109"/>
                </a:cubicBezTo>
                <a:cubicBezTo>
                  <a:pt x="127" y="110"/>
                  <a:pt x="128" y="110"/>
                  <a:pt x="128" y="110"/>
                </a:cubicBezTo>
                <a:cubicBezTo>
                  <a:pt x="128" y="111"/>
                  <a:pt x="129" y="110"/>
                  <a:pt x="129" y="111"/>
                </a:cubicBezTo>
                <a:cubicBezTo>
                  <a:pt x="129" y="111"/>
                  <a:pt x="129" y="111"/>
                  <a:pt x="129" y="112"/>
                </a:cubicBezTo>
                <a:cubicBezTo>
                  <a:pt x="130" y="112"/>
                  <a:pt x="130" y="113"/>
                  <a:pt x="130" y="113"/>
                </a:cubicBezTo>
                <a:cubicBezTo>
                  <a:pt x="131" y="113"/>
                  <a:pt x="131" y="114"/>
                  <a:pt x="131" y="114"/>
                </a:cubicBezTo>
                <a:cubicBezTo>
                  <a:pt x="131" y="115"/>
                  <a:pt x="131" y="117"/>
                  <a:pt x="132" y="118"/>
                </a:cubicBezTo>
                <a:cubicBezTo>
                  <a:pt x="132" y="118"/>
                  <a:pt x="133" y="118"/>
                  <a:pt x="133" y="118"/>
                </a:cubicBezTo>
                <a:cubicBezTo>
                  <a:pt x="134" y="118"/>
                  <a:pt x="135" y="119"/>
                  <a:pt x="136" y="119"/>
                </a:cubicBezTo>
                <a:cubicBezTo>
                  <a:pt x="137" y="119"/>
                  <a:pt x="137" y="119"/>
                  <a:pt x="138" y="119"/>
                </a:cubicBezTo>
                <a:cubicBezTo>
                  <a:pt x="138" y="118"/>
                  <a:pt x="138" y="118"/>
                  <a:pt x="139" y="118"/>
                </a:cubicBezTo>
                <a:cubicBezTo>
                  <a:pt x="139" y="118"/>
                  <a:pt x="140" y="119"/>
                  <a:pt x="140" y="119"/>
                </a:cubicBezTo>
                <a:cubicBezTo>
                  <a:pt x="140" y="119"/>
                  <a:pt x="141" y="120"/>
                  <a:pt x="141" y="120"/>
                </a:cubicBezTo>
                <a:cubicBezTo>
                  <a:pt x="142" y="120"/>
                  <a:pt x="142" y="121"/>
                  <a:pt x="143" y="121"/>
                </a:cubicBezTo>
                <a:cubicBezTo>
                  <a:pt x="143" y="121"/>
                  <a:pt x="144" y="121"/>
                  <a:pt x="144" y="121"/>
                </a:cubicBezTo>
                <a:cubicBezTo>
                  <a:pt x="145" y="120"/>
                  <a:pt x="146" y="122"/>
                  <a:pt x="146" y="122"/>
                </a:cubicBezTo>
                <a:cubicBezTo>
                  <a:pt x="147" y="122"/>
                  <a:pt x="148" y="122"/>
                  <a:pt x="148" y="121"/>
                </a:cubicBezTo>
                <a:cubicBezTo>
                  <a:pt x="150" y="121"/>
                  <a:pt x="152" y="120"/>
                  <a:pt x="153" y="121"/>
                </a:cubicBezTo>
                <a:cubicBezTo>
                  <a:pt x="154" y="122"/>
                  <a:pt x="155" y="123"/>
                  <a:pt x="156" y="124"/>
                </a:cubicBezTo>
                <a:cubicBezTo>
                  <a:pt x="157" y="124"/>
                  <a:pt x="158" y="124"/>
                  <a:pt x="159" y="123"/>
                </a:cubicBezTo>
                <a:cubicBezTo>
                  <a:pt x="159" y="123"/>
                  <a:pt x="159" y="123"/>
                  <a:pt x="160" y="122"/>
                </a:cubicBezTo>
                <a:cubicBezTo>
                  <a:pt x="160" y="122"/>
                  <a:pt x="160" y="121"/>
                  <a:pt x="161" y="121"/>
                </a:cubicBezTo>
                <a:cubicBezTo>
                  <a:pt x="162" y="121"/>
                  <a:pt x="163" y="121"/>
                  <a:pt x="164" y="122"/>
                </a:cubicBezTo>
                <a:cubicBezTo>
                  <a:pt x="165" y="122"/>
                  <a:pt x="166" y="123"/>
                  <a:pt x="167" y="123"/>
                </a:cubicBezTo>
                <a:cubicBezTo>
                  <a:pt x="168" y="122"/>
                  <a:pt x="168" y="121"/>
                  <a:pt x="169" y="121"/>
                </a:cubicBezTo>
                <a:cubicBezTo>
                  <a:pt x="169" y="122"/>
                  <a:pt x="169" y="123"/>
                  <a:pt x="169" y="123"/>
                </a:cubicBezTo>
                <a:cubicBezTo>
                  <a:pt x="169" y="124"/>
                  <a:pt x="170" y="125"/>
                  <a:pt x="170" y="126"/>
                </a:cubicBezTo>
                <a:cubicBezTo>
                  <a:pt x="170" y="127"/>
                  <a:pt x="170" y="127"/>
                  <a:pt x="171" y="127"/>
                </a:cubicBezTo>
                <a:cubicBezTo>
                  <a:pt x="171" y="127"/>
                  <a:pt x="172" y="128"/>
                  <a:pt x="173" y="128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4" y="128"/>
                  <a:pt x="174" y="129"/>
                  <a:pt x="174" y="129"/>
                </a:cubicBezTo>
                <a:cubicBezTo>
                  <a:pt x="174" y="129"/>
                  <a:pt x="173" y="131"/>
                  <a:pt x="174" y="131"/>
                </a:cubicBezTo>
                <a:cubicBezTo>
                  <a:pt x="174" y="132"/>
                  <a:pt x="175" y="132"/>
                  <a:pt x="175" y="132"/>
                </a:cubicBezTo>
                <a:cubicBezTo>
                  <a:pt x="176" y="133"/>
                  <a:pt x="176" y="133"/>
                  <a:pt x="177" y="133"/>
                </a:cubicBezTo>
                <a:cubicBezTo>
                  <a:pt x="178" y="133"/>
                  <a:pt x="178" y="133"/>
                  <a:pt x="178" y="132"/>
                </a:cubicBezTo>
                <a:cubicBezTo>
                  <a:pt x="179" y="132"/>
                  <a:pt x="180" y="131"/>
                  <a:pt x="181" y="131"/>
                </a:cubicBezTo>
                <a:cubicBezTo>
                  <a:pt x="181" y="130"/>
                  <a:pt x="181" y="130"/>
                  <a:pt x="182" y="130"/>
                </a:cubicBezTo>
                <a:cubicBezTo>
                  <a:pt x="182" y="129"/>
                  <a:pt x="183" y="129"/>
                  <a:pt x="183" y="129"/>
                </a:cubicBezTo>
                <a:cubicBezTo>
                  <a:pt x="183" y="128"/>
                  <a:pt x="184" y="128"/>
                  <a:pt x="184" y="128"/>
                </a:cubicBezTo>
                <a:cubicBezTo>
                  <a:pt x="185" y="128"/>
                  <a:pt x="185" y="128"/>
                  <a:pt x="185" y="129"/>
                </a:cubicBezTo>
                <a:cubicBezTo>
                  <a:pt x="186" y="129"/>
                  <a:pt x="187" y="129"/>
                  <a:pt x="187" y="130"/>
                </a:cubicBezTo>
                <a:cubicBezTo>
                  <a:pt x="187" y="130"/>
                  <a:pt x="187" y="131"/>
                  <a:pt x="187" y="131"/>
                </a:cubicBezTo>
                <a:cubicBezTo>
                  <a:pt x="188" y="132"/>
                  <a:pt x="188" y="132"/>
                  <a:pt x="188" y="132"/>
                </a:cubicBezTo>
                <a:cubicBezTo>
                  <a:pt x="189" y="132"/>
                  <a:pt x="191" y="131"/>
                  <a:pt x="192" y="132"/>
                </a:cubicBezTo>
                <a:cubicBezTo>
                  <a:pt x="192" y="133"/>
                  <a:pt x="191" y="133"/>
                  <a:pt x="191" y="134"/>
                </a:cubicBezTo>
                <a:cubicBezTo>
                  <a:pt x="192" y="134"/>
                  <a:pt x="192" y="135"/>
                  <a:pt x="193" y="135"/>
                </a:cubicBezTo>
                <a:cubicBezTo>
                  <a:pt x="194" y="135"/>
                  <a:pt x="195" y="135"/>
                  <a:pt x="195" y="134"/>
                </a:cubicBezTo>
                <a:cubicBezTo>
                  <a:pt x="195" y="134"/>
                  <a:pt x="195" y="134"/>
                  <a:pt x="196" y="133"/>
                </a:cubicBezTo>
                <a:cubicBezTo>
                  <a:pt x="196" y="133"/>
                  <a:pt x="196" y="133"/>
                  <a:pt x="196" y="133"/>
                </a:cubicBezTo>
                <a:cubicBezTo>
                  <a:pt x="197" y="132"/>
                  <a:pt x="197" y="132"/>
                  <a:pt x="198" y="133"/>
                </a:cubicBezTo>
                <a:cubicBezTo>
                  <a:pt x="198" y="133"/>
                  <a:pt x="198" y="133"/>
                  <a:pt x="199" y="133"/>
                </a:cubicBezTo>
                <a:cubicBezTo>
                  <a:pt x="199" y="133"/>
                  <a:pt x="199" y="133"/>
                  <a:pt x="199" y="132"/>
                </a:cubicBezTo>
                <a:cubicBezTo>
                  <a:pt x="200" y="132"/>
                  <a:pt x="200" y="131"/>
                  <a:pt x="200" y="131"/>
                </a:cubicBezTo>
                <a:cubicBezTo>
                  <a:pt x="201" y="131"/>
                  <a:pt x="201" y="132"/>
                  <a:pt x="201" y="132"/>
                </a:cubicBezTo>
                <a:cubicBezTo>
                  <a:pt x="201" y="133"/>
                  <a:pt x="201" y="133"/>
                  <a:pt x="201" y="134"/>
                </a:cubicBezTo>
                <a:cubicBezTo>
                  <a:pt x="201" y="134"/>
                  <a:pt x="201" y="135"/>
                  <a:pt x="201" y="135"/>
                </a:cubicBezTo>
                <a:cubicBezTo>
                  <a:pt x="201" y="136"/>
                  <a:pt x="201" y="136"/>
                  <a:pt x="201" y="137"/>
                </a:cubicBezTo>
                <a:cubicBezTo>
                  <a:pt x="201" y="138"/>
                  <a:pt x="202" y="139"/>
                  <a:pt x="204" y="139"/>
                </a:cubicBezTo>
                <a:cubicBezTo>
                  <a:pt x="204" y="139"/>
                  <a:pt x="204" y="138"/>
                  <a:pt x="204" y="138"/>
                </a:cubicBezTo>
                <a:cubicBezTo>
                  <a:pt x="204" y="137"/>
                  <a:pt x="205" y="137"/>
                  <a:pt x="204" y="137"/>
                </a:cubicBezTo>
                <a:cubicBezTo>
                  <a:pt x="204" y="136"/>
                  <a:pt x="204" y="136"/>
                  <a:pt x="204" y="135"/>
                </a:cubicBezTo>
                <a:cubicBezTo>
                  <a:pt x="204" y="135"/>
                  <a:pt x="205" y="134"/>
                  <a:pt x="205" y="134"/>
                </a:cubicBezTo>
                <a:cubicBezTo>
                  <a:pt x="205" y="134"/>
                  <a:pt x="206" y="134"/>
                  <a:pt x="206" y="134"/>
                </a:cubicBezTo>
                <a:cubicBezTo>
                  <a:pt x="206" y="134"/>
                  <a:pt x="206" y="134"/>
                  <a:pt x="206" y="134"/>
                </a:cubicBezTo>
                <a:cubicBezTo>
                  <a:pt x="206" y="133"/>
                  <a:pt x="207" y="133"/>
                  <a:pt x="208" y="133"/>
                </a:cubicBezTo>
                <a:cubicBezTo>
                  <a:pt x="208" y="132"/>
                  <a:pt x="208" y="132"/>
                  <a:pt x="208" y="131"/>
                </a:cubicBezTo>
                <a:cubicBezTo>
                  <a:pt x="208" y="131"/>
                  <a:pt x="208" y="130"/>
                  <a:pt x="208" y="130"/>
                </a:cubicBezTo>
                <a:cubicBezTo>
                  <a:pt x="209" y="130"/>
                  <a:pt x="210" y="130"/>
                  <a:pt x="210" y="130"/>
                </a:cubicBezTo>
                <a:cubicBezTo>
                  <a:pt x="210" y="130"/>
                  <a:pt x="210" y="130"/>
                  <a:pt x="211" y="130"/>
                </a:cubicBezTo>
                <a:cubicBezTo>
                  <a:pt x="211" y="131"/>
                  <a:pt x="212" y="132"/>
                  <a:pt x="212" y="132"/>
                </a:cubicBezTo>
                <a:cubicBezTo>
                  <a:pt x="212" y="133"/>
                  <a:pt x="212" y="133"/>
                  <a:pt x="212" y="133"/>
                </a:cubicBezTo>
                <a:cubicBezTo>
                  <a:pt x="212" y="133"/>
                  <a:pt x="212" y="134"/>
                  <a:pt x="212" y="133"/>
                </a:cubicBezTo>
                <a:cubicBezTo>
                  <a:pt x="213" y="133"/>
                  <a:pt x="213" y="133"/>
                  <a:pt x="21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5" y="133"/>
                  <a:pt x="215" y="134"/>
                  <a:pt x="215" y="134"/>
                </a:cubicBezTo>
                <a:cubicBezTo>
                  <a:pt x="216" y="135"/>
                  <a:pt x="217" y="134"/>
                  <a:pt x="218" y="134"/>
                </a:cubicBezTo>
                <a:cubicBezTo>
                  <a:pt x="218" y="133"/>
                  <a:pt x="218" y="133"/>
                  <a:pt x="219" y="132"/>
                </a:cubicBezTo>
                <a:cubicBezTo>
                  <a:pt x="219" y="132"/>
                  <a:pt x="219" y="132"/>
                  <a:pt x="219" y="131"/>
                </a:cubicBezTo>
                <a:cubicBezTo>
                  <a:pt x="220" y="130"/>
                  <a:pt x="221" y="131"/>
                  <a:pt x="221" y="132"/>
                </a:cubicBezTo>
                <a:cubicBezTo>
                  <a:pt x="221" y="133"/>
                  <a:pt x="221" y="133"/>
                  <a:pt x="220" y="133"/>
                </a:cubicBezTo>
                <a:cubicBezTo>
                  <a:pt x="219" y="134"/>
                  <a:pt x="223" y="135"/>
                  <a:pt x="223" y="135"/>
                </a:cubicBezTo>
                <a:cubicBezTo>
                  <a:pt x="224" y="135"/>
                  <a:pt x="224" y="136"/>
                  <a:pt x="224" y="136"/>
                </a:cubicBezTo>
                <a:cubicBezTo>
                  <a:pt x="224" y="136"/>
                  <a:pt x="224" y="137"/>
                  <a:pt x="225" y="137"/>
                </a:cubicBezTo>
                <a:cubicBezTo>
                  <a:pt x="225" y="137"/>
                  <a:pt x="226" y="137"/>
                  <a:pt x="227" y="137"/>
                </a:cubicBezTo>
                <a:cubicBezTo>
                  <a:pt x="228" y="137"/>
                  <a:pt x="228" y="138"/>
                  <a:pt x="229" y="139"/>
                </a:cubicBezTo>
                <a:cubicBezTo>
                  <a:pt x="229" y="139"/>
                  <a:pt x="230" y="141"/>
                  <a:pt x="230" y="141"/>
                </a:cubicBezTo>
                <a:cubicBezTo>
                  <a:pt x="231" y="140"/>
                  <a:pt x="231" y="139"/>
                  <a:pt x="231" y="139"/>
                </a:cubicBezTo>
                <a:cubicBezTo>
                  <a:pt x="231" y="138"/>
                  <a:pt x="231" y="137"/>
                  <a:pt x="232" y="137"/>
                </a:cubicBezTo>
                <a:cubicBezTo>
                  <a:pt x="232" y="137"/>
                  <a:pt x="233" y="137"/>
                  <a:pt x="234" y="137"/>
                </a:cubicBezTo>
                <a:cubicBezTo>
                  <a:pt x="234" y="137"/>
                  <a:pt x="235" y="138"/>
                  <a:pt x="236" y="137"/>
                </a:cubicBezTo>
                <a:cubicBezTo>
                  <a:pt x="236" y="137"/>
                  <a:pt x="236" y="136"/>
                  <a:pt x="236" y="136"/>
                </a:cubicBezTo>
                <a:cubicBezTo>
                  <a:pt x="236" y="135"/>
                  <a:pt x="236" y="135"/>
                  <a:pt x="237" y="135"/>
                </a:cubicBezTo>
                <a:cubicBezTo>
                  <a:pt x="237" y="134"/>
                  <a:pt x="238" y="134"/>
                  <a:pt x="238" y="134"/>
                </a:cubicBezTo>
                <a:cubicBezTo>
                  <a:pt x="239" y="134"/>
                  <a:pt x="240" y="134"/>
                  <a:pt x="240" y="134"/>
                </a:cubicBezTo>
                <a:cubicBezTo>
                  <a:pt x="241" y="134"/>
                  <a:pt x="241" y="134"/>
                  <a:pt x="242" y="133"/>
                </a:cubicBezTo>
                <a:cubicBezTo>
                  <a:pt x="242" y="133"/>
                  <a:pt x="242" y="133"/>
                  <a:pt x="242" y="132"/>
                </a:cubicBezTo>
                <a:cubicBezTo>
                  <a:pt x="243" y="132"/>
                  <a:pt x="243" y="133"/>
                  <a:pt x="243" y="133"/>
                </a:cubicBezTo>
                <a:cubicBezTo>
                  <a:pt x="244" y="133"/>
                  <a:pt x="244" y="132"/>
                  <a:pt x="245" y="132"/>
                </a:cubicBezTo>
                <a:cubicBezTo>
                  <a:pt x="245" y="132"/>
                  <a:pt x="245" y="133"/>
                  <a:pt x="245" y="133"/>
                </a:cubicBezTo>
                <a:cubicBezTo>
                  <a:pt x="245" y="133"/>
                  <a:pt x="246" y="133"/>
                  <a:pt x="246" y="133"/>
                </a:cubicBezTo>
                <a:cubicBezTo>
                  <a:pt x="247" y="134"/>
                  <a:pt x="247" y="134"/>
                  <a:pt x="247" y="134"/>
                </a:cubicBezTo>
                <a:cubicBezTo>
                  <a:pt x="247" y="134"/>
                  <a:pt x="248" y="134"/>
                  <a:pt x="248" y="134"/>
                </a:cubicBezTo>
                <a:cubicBezTo>
                  <a:pt x="248" y="134"/>
                  <a:pt x="248" y="134"/>
                  <a:pt x="249" y="133"/>
                </a:cubicBezTo>
                <a:cubicBezTo>
                  <a:pt x="249" y="133"/>
                  <a:pt x="250" y="133"/>
                  <a:pt x="250" y="133"/>
                </a:cubicBezTo>
                <a:cubicBezTo>
                  <a:pt x="251" y="133"/>
                  <a:pt x="251" y="133"/>
                  <a:pt x="251" y="133"/>
                </a:cubicBezTo>
                <a:cubicBezTo>
                  <a:pt x="251" y="132"/>
                  <a:pt x="251" y="132"/>
                  <a:pt x="251" y="132"/>
                </a:cubicBezTo>
                <a:cubicBezTo>
                  <a:pt x="252" y="131"/>
                  <a:pt x="253" y="132"/>
                  <a:pt x="254" y="131"/>
                </a:cubicBezTo>
                <a:cubicBezTo>
                  <a:pt x="254" y="131"/>
                  <a:pt x="254" y="131"/>
                  <a:pt x="254" y="131"/>
                </a:cubicBezTo>
                <a:cubicBezTo>
                  <a:pt x="255" y="131"/>
                  <a:pt x="255" y="130"/>
                  <a:pt x="256" y="130"/>
                </a:cubicBezTo>
                <a:cubicBezTo>
                  <a:pt x="256" y="130"/>
                  <a:pt x="256" y="130"/>
                  <a:pt x="257" y="131"/>
                </a:cubicBezTo>
                <a:cubicBezTo>
                  <a:pt x="257" y="131"/>
                  <a:pt x="257" y="131"/>
                  <a:pt x="257" y="132"/>
                </a:cubicBezTo>
                <a:cubicBezTo>
                  <a:pt x="258" y="132"/>
                  <a:pt x="258" y="132"/>
                  <a:pt x="258" y="132"/>
                </a:cubicBezTo>
                <a:cubicBezTo>
                  <a:pt x="259" y="132"/>
                  <a:pt x="259" y="132"/>
                  <a:pt x="259" y="132"/>
                </a:cubicBezTo>
                <a:cubicBezTo>
                  <a:pt x="259" y="132"/>
                  <a:pt x="260" y="132"/>
                  <a:pt x="260" y="132"/>
                </a:cubicBezTo>
                <a:cubicBezTo>
                  <a:pt x="260" y="133"/>
                  <a:pt x="260" y="133"/>
                  <a:pt x="261" y="133"/>
                </a:cubicBezTo>
                <a:cubicBezTo>
                  <a:pt x="262" y="133"/>
                  <a:pt x="263" y="133"/>
                  <a:pt x="264" y="133"/>
                </a:cubicBezTo>
                <a:cubicBezTo>
                  <a:pt x="265" y="133"/>
                  <a:pt x="266" y="133"/>
                  <a:pt x="267" y="132"/>
                </a:cubicBezTo>
                <a:cubicBezTo>
                  <a:pt x="267" y="132"/>
                  <a:pt x="267" y="131"/>
                  <a:pt x="268" y="131"/>
                </a:cubicBezTo>
                <a:cubicBezTo>
                  <a:pt x="268" y="131"/>
                  <a:pt x="268" y="131"/>
                  <a:pt x="268" y="131"/>
                </a:cubicBezTo>
                <a:cubicBezTo>
                  <a:pt x="268" y="130"/>
                  <a:pt x="268" y="129"/>
                  <a:pt x="269" y="129"/>
                </a:cubicBezTo>
                <a:cubicBezTo>
                  <a:pt x="270" y="129"/>
                  <a:pt x="271" y="129"/>
                  <a:pt x="272" y="130"/>
                </a:cubicBezTo>
                <a:cubicBezTo>
                  <a:pt x="272" y="130"/>
                  <a:pt x="272" y="132"/>
                  <a:pt x="273" y="132"/>
                </a:cubicBezTo>
                <a:cubicBezTo>
                  <a:pt x="273" y="132"/>
                  <a:pt x="273" y="131"/>
                  <a:pt x="273" y="131"/>
                </a:cubicBezTo>
                <a:cubicBezTo>
                  <a:pt x="274" y="131"/>
                  <a:pt x="274" y="131"/>
                  <a:pt x="274" y="132"/>
                </a:cubicBezTo>
                <a:cubicBezTo>
                  <a:pt x="274" y="133"/>
                  <a:pt x="275" y="133"/>
                  <a:pt x="276" y="133"/>
                </a:cubicBezTo>
                <a:cubicBezTo>
                  <a:pt x="277" y="133"/>
                  <a:pt x="278" y="133"/>
                  <a:pt x="278" y="134"/>
                </a:cubicBezTo>
                <a:cubicBezTo>
                  <a:pt x="278" y="134"/>
                  <a:pt x="278" y="135"/>
                  <a:pt x="278" y="135"/>
                </a:cubicBezTo>
                <a:cubicBezTo>
                  <a:pt x="279" y="135"/>
                  <a:pt x="279" y="135"/>
                  <a:pt x="279" y="136"/>
                </a:cubicBezTo>
                <a:cubicBezTo>
                  <a:pt x="279" y="136"/>
                  <a:pt x="279" y="136"/>
                  <a:pt x="279" y="136"/>
                </a:cubicBezTo>
                <a:cubicBezTo>
                  <a:pt x="280" y="137"/>
                  <a:pt x="280" y="137"/>
                  <a:pt x="280" y="137"/>
                </a:cubicBezTo>
                <a:cubicBezTo>
                  <a:pt x="280" y="137"/>
                  <a:pt x="281" y="137"/>
                  <a:pt x="281" y="137"/>
                </a:cubicBezTo>
                <a:cubicBezTo>
                  <a:pt x="281" y="137"/>
                  <a:pt x="281" y="138"/>
                  <a:pt x="282" y="138"/>
                </a:cubicBezTo>
                <a:cubicBezTo>
                  <a:pt x="282" y="138"/>
                  <a:pt x="282" y="139"/>
                  <a:pt x="282" y="139"/>
                </a:cubicBezTo>
                <a:cubicBezTo>
                  <a:pt x="283" y="139"/>
                  <a:pt x="283" y="138"/>
                  <a:pt x="283" y="138"/>
                </a:cubicBezTo>
                <a:cubicBezTo>
                  <a:pt x="283" y="138"/>
                  <a:pt x="284" y="137"/>
                  <a:pt x="285" y="138"/>
                </a:cubicBezTo>
                <a:cubicBezTo>
                  <a:pt x="285" y="138"/>
                  <a:pt x="284" y="138"/>
                  <a:pt x="284" y="138"/>
                </a:cubicBezTo>
                <a:cubicBezTo>
                  <a:pt x="284" y="138"/>
                  <a:pt x="285" y="138"/>
                  <a:pt x="285" y="138"/>
                </a:cubicBezTo>
                <a:cubicBezTo>
                  <a:pt x="285" y="139"/>
                  <a:pt x="285" y="139"/>
                  <a:pt x="285" y="139"/>
                </a:cubicBezTo>
                <a:cubicBezTo>
                  <a:pt x="285" y="140"/>
                  <a:pt x="286" y="140"/>
                  <a:pt x="286" y="140"/>
                </a:cubicBezTo>
                <a:cubicBezTo>
                  <a:pt x="286" y="140"/>
                  <a:pt x="286" y="140"/>
                  <a:pt x="286" y="140"/>
                </a:cubicBezTo>
                <a:cubicBezTo>
                  <a:pt x="287" y="141"/>
                  <a:pt x="288" y="141"/>
                  <a:pt x="288" y="141"/>
                </a:cubicBezTo>
                <a:cubicBezTo>
                  <a:pt x="288" y="141"/>
                  <a:pt x="288" y="140"/>
                  <a:pt x="289" y="140"/>
                </a:cubicBezTo>
                <a:cubicBezTo>
                  <a:pt x="289" y="140"/>
                  <a:pt x="289" y="140"/>
                  <a:pt x="289" y="141"/>
                </a:cubicBezTo>
                <a:cubicBezTo>
                  <a:pt x="290" y="141"/>
                  <a:pt x="290" y="141"/>
                  <a:pt x="290" y="141"/>
                </a:cubicBezTo>
                <a:cubicBezTo>
                  <a:pt x="290" y="141"/>
                  <a:pt x="291" y="141"/>
                  <a:pt x="291" y="141"/>
                </a:cubicBezTo>
                <a:cubicBezTo>
                  <a:pt x="291" y="141"/>
                  <a:pt x="291" y="141"/>
                  <a:pt x="291" y="142"/>
                </a:cubicBezTo>
                <a:cubicBezTo>
                  <a:pt x="292" y="142"/>
                  <a:pt x="292" y="142"/>
                  <a:pt x="292" y="142"/>
                </a:cubicBezTo>
                <a:cubicBezTo>
                  <a:pt x="293" y="143"/>
                  <a:pt x="293" y="143"/>
                  <a:pt x="293" y="144"/>
                </a:cubicBezTo>
                <a:cubicBezTo>
                  <a:pt x="295" y="142"/>
                  <a:pt x="295" y="142"/>
                  <a:pt x="295" y="142"/>
                </a:cubicBezTo>
                <a:cubicBezTo>
                  <a:pt x="296" y="72"/>
                  <a:pt x="296" y="72"/>
                  <a:pt x="296" y="72"/>
                </a:cubicBezTo>
                <a:cubicBezTo>
                  <a:pt x="296" y="65"/>
                  <a:pt x="296" y="65"/>
                  <a:pt x="296" y="65"/>
                </a:cubicBezTo>
                <a:lnTo>
                  <a:pt x="290" y="22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5" name="Freeform 23">
            <a:extLst>
              <a:ext uri="{FF2B5EF4-FFF2-40B4-BE49-F238E27FC236}">
                <a16:creationId xmlns:a16="http://schemas.microsoft.com/office/drawing/2014/main" id="{FECB9D2B-A025-4B3A-A6F0-62FC8DA9E661}"/>
              </a:ext>
            </a:extLst>
          </p:cNvPr>
          <p:cNvSpPr>
            <a:spLocks/>
          </p:cNvSpPr>
          <p:nvPr/>
        </p:nvSpPr>
        <p:spPr bwMode="auto">
          <a:xfrm>
            <a:off x="9455756" y="2637594"/>
            <a:ext cx="589837" cy="639403"/>
          </a:xfrm>
          <a:custGeom>
            <a:avLst/>
            <a:gdLst>
              <a:gd name="T0" fmla="*/ 135 w 149"/>
              <a:gd name="T1" fmla="*/ 4 h 161"/>
              <a:gd name="T2" fmla="*/ 120 w 149"/>
              <a:gd name="T3" fmla="*/ 11 h 161"/>
              <a:gd name="T4" fmla="*/ 115 w 149"/>
              <a:gd name="T5" fmla="*/ 15 h 161"/>
              <a:gd name="T6" fmla="*/ 109 w 149"/>
              <a:gd name="T7" fmla="*/ 19 h 161"/>
              <a:gd name="T8" fmla="*/ 107 w 149"/>
              <a:gd name="T9" fmla="*/ 21 h 161"/>
              <a:gd name="T10" fmla="*/ 99 w 149"/>
              <a:gd name="T11" fmla="*/ 21 h 161"/>
              <a:gd name="T12" fmla="*/ 95 w 149"/>
              <a:gd name="T13" fmla="*/ 21 h 161"/>
              <a:gd name="T14" fmla="*/ 89 w 149"/>
              <a:gd name="T15" fmla="*/ 24 h 161"/>
              <a:gd name="T16" fmla="*/ 83 w 149"/>
              <a:gd name="T17" fmla="*/ 26 h 161"/>
              <a:gd name="T18" fmla="*/ 80 w 149"/>
              <a:gd name="T19" fmla="*/ 26 h 161"/>
              <a:gd name="T20" fmla="*/ 75 w 149"/>
              <a:gd name="T21" fmla="*/ 24 h 161"/>
              <a:gd name="T22" fmla="*/ 72 w 149"/>
              <a:gd name="T23" fmla="*/ 23 h 161"/>
              <a:gd name="T24" fmla="*/ 68 w 149"/>
              <a:gd name="T25" fmla="*/ 24 h 161"/>
              <a:gd name="T26" fmla="*/ 63 w 149"/>
              <a:gd name="T27" fmla="*/ 25 h 161"/>
              <a:gd name="T28" fmla="*/ 66 w 149"/>
              <a:gd name="T29" fmla="*/ 22 h 161"/>
              <a:gd name="T30" fmla="*/ 72 w 149"/>
              <a:gd name="T31" fmla="*/ 21 h 161"/>
              <a:gd name="T32" fmla="*/ 70 w 149"/>
              <a:gd name="T33" fmla="*/ 20 h 161"/>
              <a:gd name="T34" fmla="*/ 68 w 149"/>
              <a:gd name="T35" fmla="*/ 19 h 161"/>
              <a:gd name="T36" fmla="*/ 63 w 149"/>
              <a:gd name="T37" fmla="*/ 20 h 161"/>
              <a:gd name="T38" fmla="*/ 57 w 149"/>
              <a:gd name="T39" fmla="*/ 15 h 161"/>
              <a:gd name="T40" fmla="*/ 50 w 149"/>
              <a:gd name="T41" fmla="*/ 12 h 161"/>
              <a:gd name="T42" fmla="*/ 1 w 149"/>
              <a:gd name="T43" fmla="*/ 12 h 161"/>
              <a:gd name="T44" fmla="*/ 1 w 149"/>
              <a:gd name="T45" fmla="*/ 128 h 161"/>
              <a:gd name="T46" fmla="*/ 5 w 149"/>
              <a:gd name="T47" fmla="*/ 130 h 161"/>
              <a:gd name="T48" fmla="*/ 9 w 149"/>
              <a:gd name="T49" fmla="*/ 130 h 161"/>
              <a:gd name="T50" fmla="*/ 14 w 149"/>
              <a:gd name="T51" fmla="*/ 130 h 161"/>
              <a:gd name="T52" fmla="*/ 18 w 149"/>
              <a:gd name="T53" fmla="*/ 134 h 161"/>
              <a:gd name="T54" fmla="*/ 20 w 149"/>
              <a:gd name="T55" fmla="*/ 139 h 161"/>
              <a:gd name="T56" fmla="*/ 27 w 149"/>
              <a:gd name="T57" fmla="*/ 144 h 161"/>
              <a:gd name="T58" fmla="*/ 35 w 149"/>
              <a:gd name="T59" fmla="*/ 147 h 161"/>
              <a:gd name="T60" fmla="*/ 42 w 149"/>
              <a:gd name="T61" fmla="*/ 148 h 161"/>
              <a:gd name="T62" fmla="*/ 46 w 149"/>
              <a:gd name="T63" fmla="*/ 148 h 161"/>
              <a:gd name="T64" fmla="*/ 51 w 149"/>
              <a:gd name="T65" fmla="*/ 151 h 161"/>
              <a:gd name="T66" fmla="*/ 55 w 149"/>
              <a:gd name="T67" fmla="*/ 151 h 161"/>
              <a:gd name="T68" fmla="*/ 59 w 149"/>
              <a:gd name="T69" fmla="*/ 149 h 161"/>
              <a:gd name="T70" fmla="*/ 65 w 149"/>
              <a:gd name="T71" fmla="*/ 145 h 161"/>
              <a:gd name="T72" fmla="*/ 67 w 149"/>
              <a:gd name="T73" fmla="*/ 148 h 161"/>
              <a:gd name="T74" fmla="*/ 71 w 149"/>
              <a:gd name="T75" fmla="*/ 153 h 161"/>
              <a:gd name="T76" fmla="*/ 76 w 149"/>
              <a:gd name="T77" fmla="*/ 158 h 161"/>
              <a:gd name="T78" fmla="*/ 81 w 149"/>
              <a:gd name="T79" fmla="*/ 160 h 161"/>
              <a:gd name="T80" fmla="*/ 87 w 149"/>
              <a:gd name="T81" fmla="*/ 155 h 161"/>
              <a:gd name="T82" fmla="*/ 92 w 149"/>
              <a:gd name="T83" fmla="*/ 152 h 161"/>
              <a:gd name="T84" fmla="*/ 92 w 149"/>
              <a:gd name="T85" fmla="*/ 142 h 161"/>
              <a:gd name="T86" fmla="*/ 96 w 149"/>
              <a:gd name="T87" fmla="*/ 134 h 161"/>
              <a:gd name="T88" fmla="*/ 100 w 149"/>
              <a:gd name="T89" fmla="*/ 136 h 161"/>
              <a:gd name="T90" fmla="*/ 100 w 149"/>
              <a:gd name="T91" fmla="*/ 140 h 161"/>
              <a:gd name="T92" fmla="*/ 103 w 149"/>
              <a:gd name="T93" fmla="*/ 137 h 161"/>
              <a:gd name="T94" fmla="*/ 104 w 149"/>
              <a:gd name="T95" fmla="*/ 132 h 161"/>
              <a:gd name="T96" fmla="*/ 106 w 149"/>
              <a:gd name="T97" fmla="*/ 126 h 161"/>
              <a:gd name="T98" fmla="*/ 111 w 149"/>
              <a:gd name="T99" fmla="*/ 122 h 161"/>
              <a:gd name="T100" fmla="*/ 114 w 149"/>
              <a:gd name="T101" fmla="*/ 118 h 161"/>
              <a:gd name="T102" fmla="*/ 119 w 149"/>
              <a:gd name="T103" fmla="*/ 119 h 161"/>
              <a:gd name="T104" fmla="*/ 133 w 149"/>
              <a:gd name="T105" fmla="*/ 109 h 161"/>
              <a:gd name="T106" fmla="*/ 137 w 149"/>
              <a:gd name="T107" fmla="*/ 104 h 161"/>
              <a:gd name="T108" fmla="*/ 138 w 149"/>
              <a:gd name="T109" fmla="*/ 98 h 161"/>
              <a:gd name="T110" fmla="*/ 141 w 149"/>
              <a:gd name="T111" fmla="*/ 93 h 161"/>
              <a:gd name="T112" fmla="*/ 146 w 149"/>
              <a:gd name="T113" fmla="*/ 76 h 161"/>
              <a:gd name="T114" fmla="*/ 146 w 149"/>
              <a:gd name="T115" fmla="*/ 68 h 161"/>
              <a:gd name="T116" fmla="*/ 144 w 149"/>
              <a:gd name="T117" fmla="*/ 61 h 161"/>
              <a:gd name="T118" fmla="*/ 149 w 149"/>
              <a:gd name="T119" fmla="*/ 61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9" h="161">
                <a:moveTo>
                  <a:pt x="146" y="1"/>
                </a:moveTo>
                <a:cubicBezTo>
                  <a:pt x="145" y="1"/>
                  <a:pt x="143" y="2"/>
                  <a:pt x="142" y="2"/>
                </a:cubicBezTo>
                <a:cubicBezTo>
                  <a:pt x="140" y="3"/>
                  <a:pt x="138" y="4"/>
                  <a:pt x="135" y="4"/>
                </a:cubicBezTo>
                <a:cubicBezTo>
                  <a:pt x="134" y="5"/>
                  <a:pt x="132" y="6"/>
                  <a:pt x="130" y="7"/>
                </a:cubicBezTo>
                <a:cubicBezTo>
                  <a:pt x="128" y="7"/>
                  <a:pt x="127" y="8"/>
                  <a:pt x="125" y="8"/>
                </a:cubicBezTo>
                <a:cubicBezTo>
                  <a:pt x="123" y="9"/>
                  <a:pt x="122" y="10"/>
                  <a:pt x="120" y="11"/>
                </a:cubicBezTo>
                <a:cubicBezTo>
                  <a:pt x="119" y="11"/>
                  <a:pt x="118" y="12"/>
                  <a:pt x="118" y="13"/>
                </a:cubicBezTo>
                <a:cubicBezTo>
                  <a:pt x="117" y="13"/>
                  <a:pt x="117" y="14"/>
                  <a:pt x="116" y="14"/>
                </a:cubicBezTo>
                <a:cubicBezTo>
                  <a:pt x="116" y="15"/>
                  <a:pt x="115" y="15"/>
                  <a:pt x="115" y="15"/>
                </a:cubicBezTo>
                <a:cubicBezTo>
                  <a:pt x="115" y="15"/>
                  <a:pt x="115" y="16"/>
                  <a:pt x="114" y="16"/>
                </a:cubicBezTo>
                <a:cubicBezTo>
                  <a:pt x="113" y="16"/>
                  <a:pt x="112" y="17"/>
                  <a:pt x="112" y="18"/>
                </a:cubicBezTo>
                <a:cubicBezTo>
                  <a:pt x="111" y="18"/>
                  <a:pt x="110" y="19"/>
                  <a:pt x="109" y="19"/>
                </a:cubicBezTo>
                <a:cubicBezTo>
                  <a:pt x="108" y="20"/>
                  <a:pt x="108" y="20"/>
                  <a:pt x="108" y="21"/>
                </a:cubicBezTo>
                <a:cubicBezTo>
                  <a:pt x="108" y="21"/>
                  <a:pt x="108" y="21"/>
                  <a:pt x="107" y="21"/>
                </a:cubicBezTo>
                <a:cubicBezTo>
                  <a:pt x="107" y="21"/>
                  <a:pt x="107" y="21"/>
                  <a:pt x="107" y="21"/>
                </a:cubicBezTo>
                <a:cubicBezTo>
                  <a:pt x="105" y="21"/>
                  <a:pt x="104" y="21"/>
                  <a:pt x="102" y="21"/>
                </a:cubicBezTo>
                <a:cubicBezTo>
                  <a:pt x="102" y="21"/>
                  <a:pt x="101" y="21"/>
                  <a:pt x="101" y="21"/>
                </a:cubicBezTo>
                <a:cubicBezTo>
                  <a:pt x="100" y="21"/>
                  <a:pt x="100" y="21"/>
                  <a:pt x="99" y="21"/>
                </a:cubicBezTo>
                <a:cubicBezTo>
                  <a:pt x="99" y="21"/>
                  <a:pt x="98" y="21"/>
                  <a:pt x="98" y="21"/>
                </a:cubicBezTo>
                <a:cubicBezTo>
                  <a:pt x="97" y="21"/>
                  <a:pt x="97" y="21"/>
                  <a:pt x="96" y="21"/>
                </a:cubicBezTo>
                <a:cubicBezTo>
                  <a:pt x="96" y="21"/>
                  <a:pt x="95" y="21"/>
                  <a:pt x="95" y="21"/>
                </a:cubicBezTo>
                <a:cubicBezTo>
                  <a:pt x="95" y="21"/>
                  <a:pt x="94" y="22"/>
                  <a:pt x="94" y="22"/>
                </a:cubicBezTo>
                <a:cubicBezTo>
                  <a:pt x="94" y="22"/>
                  <a:pt x="93" y="22"/>
                  <a:pt x="93" y="22"/>
                </a:cubicBezTo>
                <a:cubicBezTo>
                  <a:pt x="91" y="23"/>
                  <a:pt x="90" y="23"/>
                  <a:pt x="89" y="24"/>
                </a:cubicBezTo>
                <a:cubicBezTo>
                  <a:pt x="88" y="24"/>
                  <a:pt x="87" y="24"/>
                  <a:pt x="87" y="24"/>
                </a:cubicBezTo>
                <a:cubicBezTo>
                  <a:pt x="86" y="24"/>
                  <a:pt x="86" y="25"/>
                  <a:pt x="85" y="25"/>
                </a:cubicBezTo>
                <a:cubicBezTo>
                  <a:pt x="85" y="25"/>
                  <a:pt x="84" y="25"/>
                  <a:pt x="83" y="26"/>
                </a:cubicBezTo>
                <a:cubicBezTo>
                  <a:pt x="83" y="26"/>
                  <a:pt x="82" y="26"/>
                  <a:pt x="82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0" y="26"/>
                  <a:pt x="80" y="26"/>
                  <a:pt x="80" y="26"/>
                </a:cubicBezTo>
                <a:cubicBezTo>
                  <a:pt x="79" y="26"/>
                  <a:pt x="79" y="26"/>
                  <a:pt x="79" y="25"/>
                </a:cubicBezTo>
                <a:cubicBezTo>
                  <a:pt x="78" y="25"/>
                  <a:pt x="78" y="25"/>
                  <a:pt x="77" y="25"/>
                </a:cubicBezTo>
                <a:cubicBezTo>
                  <a:pt x="76" y="25"/>
                  <a:pt x="76" y="25"/>
                  <a:pt x="75" y="24"/>
                </a:cubicBezTo>
                <a:cubicBezTo>
                  <a:pt x="75" y="24"/>
                  <a:pt x="74" y="24"/>
                  <a:pt x="74" y="24"/>
                </a:cubicBezTo>
                <a:cubicBezTo>
                  <a:pt x="74" y="24"/>
                  <a:pt x="73" y="24"/>
                  <a:pt x="73" y="24"/>
                </a:cubicBezTo>
                <a:cubicBezTo>
                  <a:pt x="73" y="24"/>
                  <a:pt x="72" y="24"/>
                  <a:pt x="72" y="23"/>
                </a:cubicBezTo>
                <a:cubicBezTo>
                  <a:pt x="71" y="23"/>
                  <a:pt x="71" y="23"/>
                  <a:pt x="71" y="23"/>
                </a:cubicBezTo>
                <a:cubicBezTo>
                  <a:pt x="70" y="23"/>
                  <a:pt x="69" y="23"/>
                  <a:pt x="69" y="23"/>
                </a:cubicBezTo>
                <a:cubicBezTo>
                  <a:pt x="69" y="24"/>
                  <a:pt x="68" y="24"/>
                  <a:pt x="68" y="24"/>
                </a:cubicBezTo>
                <a:cubicBezTo>
                  <a:pt x="68" y="24"/>
                  <a:pt x="67" y="24"/>
                  <a:pt x="67" y="24"/>
                </a:cubicBezTo>
                <a:cubicBezTo>
                  <a:pt x="66" y="25"/>
                  <a:pt x="66" y="25"/>
                  <a:pt x="65" y="25"/>
                </a:cubicBezTo>
                <a:cubicBezTo>
                  <a:pt x="64" y="25"/>
                  <a:pt x="63" y="25"/>
                  <a:pt x="63" y="25"/>
                </a:cubicBezTo>
                <a:cubicBezTo>
                  <a:pt x="62" y="25"/>
                  <a:pt x="61" y="25"/>
                  <a:pt x="62" y="25"/>
                </a:cubicBezTo>
                <a:cubicBezTo>
                  <a:pt x="62" y="24"/>
                  <a:pt x="63" y="23"/>
                  <a:pt x="63" y="23"/>
                </a:cubicBezTo>
                <a:cubicBezTo>
                  <a:pt x="64" y="22"/>
                  <a:pt x="65" y="22"/>
                  <a:pt x="66" y="22"/>
                </a:cubicBezTo>
                <a:cubicBezTo>
                  <a:pt x="67" y="22"/>
                  <a:pt x="68" y="22"/>
                  <a:pt x="69" y="22"/>
                </a:cubicBezTo>
                <a:cubicBezTo>
                  <a:pt x="69" y="22"/>
                  <a:pt x="70" y="22"/>
                  <a:pt x="70" y="22"/>
                </a:cubicBezTo>
                <a:cubicBezTo>
                  <a:pt x="71" y="21"/>
                  <a:pt x="71" y="21"/>
                  <a:pt x="72" y="21"/>
                </a:cubicBezTo>
                <a:cubicBezTo>
                  <a:pt x="72" y="21"/>
                  <a:pt x="72" y="20"/>
                  <a:pt x="72" y="20"/>
                </a:cubicBezTo>
                <a:cubicBezTo>
                  <a:pt x="72" y="20"/>
                  <a:pt x="71" y="20"/>
                  <a:pt x="71" y="20"/>
                </a:cubicBezTo>
                <a:cubicBezTo>
                  <a:pt x="71" y="20"/>
                  <a:pt x="70" y="20"/>
                  <a:pt x="70" y="20"/>
                </a:cubicBezTo>
                <a:cubicBezTo>
                  <a:pt x="70" y="20"/>
                  <a:pt x="69" y="20"/>
                  <a:pt x="69" y="19"/>
                </a:cubicBezTo>
                <a:cubicBezTo>
                  <a:pt x="69" y="19"/>
                  <a:pt x="69" y="19"/>
                  <a:pt x="69" y="19"/>
                </a:cubicBezTo>
                <a:cubicBezTo>
                  <a:pt x="68" y="19"/>
                  <a:pt x="68" y="19"/>
                  <a:pt x="68" y="19"/>
                </a:cubicBezTo>
                <a:cubicBezTo>
                  <a:pt x="67" y="19"/>
                  <a:pt x="67" y="20"/>
                  <a:pt x="66" y="20"/>
                </a:cubicBezTo>
                <a:cubicBezTo>
                  <a:pt x="66" y="21"/>
                  <a:pt x="65" y="21"/>
                  <a:pt x="65" y="20"/>
                </a:cubicBezTo>
                <a:cubicBezTo>
                  <a:pt x="64" y="20"/>
                  <a:pt x="64" y="20"/>
                  <a:pt x="63" y="20"/>
                </a:cubicBezTo>
                <a:cubicBezTo>
                  <a:pt x="63" y="19"/>
                  <a:pt x="62" y="19"/>
                  <a:pt x="62" y="18"/>
                </a:cubicBezTo>
                <a:cubicBezTo>
                  <a:pt x="61" y="17"/>
                  <a:pt x="60" y="16"/>
                  <a:pt x="58" y="16"/>
                </a:cubicBezTo>
                <a:cubicBezTo>
                  <a:pt x="58" y="15"/>
                  <a:pt x="57" y="15"/>
                  <a:pt x="57" y="15"/>
                </a:cubicBezTo>
                <a:cubicBezTo>
                  <a:pt x="56" y="15"/>
                  <a:pt x="56" y="14"/>
                  <a:pt x="56" y="14"/>
                </a:cubicBezTo>
                <a:cubicBezTo>
                  <a:pt x="55" y="14"/>
                  <a:pt x="54" y="13"/>
                  <a:pt x="52" y="13"/>
                </a:cubicBezTo>
                <a:cubicBezTo>
                  <a:pt x="51" y="12"/>
                  <a:pt x="51" y="12"/>
                  <a:pt x="50" y="12"/>
                </a:cubicBezTo>
                <a:cubicBezTo>
                  <a:pt x="49" y="12"/>
                  <a:pt x="48" y="12"/>
                  <a:pt x="47" y="12"/>
                </a:cubicBezTo>
                <a:cubicBezTo>
                  <a:pt x="47" y="12"/>
                  <a:pt x="47" y="11"/>
                  <a:pt x="47" y="10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29"/>
                  <a:pt x="1" y="128"/>
                  <a:pt x="1" y="128"/>
                </a:cubicBezTo>
                <a:cubicBezTo>
                  <a:pt x="1" y="128"/>
                  <a:pt x="2" y="128"/>
                  <a:pt x="2" y="128"/>
                </a:cubicBezTo>
                <a:cubicBezTo>
                  <a:pt x="3" y="128"/>
                  <a:pt x="3" y="128"/>
                  <a:pt x="4" y="129"/>
                </a:cubicBezTo>
                <a:cubicBezTo>
                  <a:pt x="4" y="129"/>
                  <a:pt x="4" y="130"/>
                  <a:pt x="5" y="130"/>
                </a:cubicBezTo>
                <a:cubicBezTo>
                  <a:pt x="5" y="130"/>
                  <a:pt x="6" y="131"/>
                  <a:pt x="7" y="131"/>
                </a:cubicBezTo>
                <a:cubicBezTo>
                  <a:pt x="7" y="131"/>
                  <a:pt x="8" y="131"/>
                  <a:pt x="8" y="131"/>
                </a:cubicBezTo>
                <a:cubicBezTo>
                  <a:pt x="8" y="130"/>
                  <a:pt x="9" y="130"/>
                  <a:pt x="9" y="130"/>
                </a:cubicBezTo>
                <a:cubicBezTo>
                  <a:pt x="10" y="130"/>
                  <a:pt x="11" y="129"/>
                  <a:pt x="11" y="129"/>
                </a:cubicBezTo>
                <a:cubicBezTo>
                  <a:pt x="12" y="129"/>
                  <a:pt x="13" y="129"/>
                  <a:pt x="13" y="129"/>
                </a:cubicBezTo>
                <a:cubicBezTo>
                  <a:pt x="13" y="130"/>
                  <a:pt x="13" y="130"/>
                  <a:pt x="14" y="130"/>
                </a:cubicBezTo>
                <a:cubicBezTo>
                  <a:pt x="14" y="131"/>
                  <a:pt x="15" y="132"/>
                  <a:pt x="16" y="132"/>
                </a:cubicBezTo>
                <a:cubicBezTo>
                  <a:pt x="16" y="132"/>
                  <a:pt x="17" y="133"/>
                  <a:pt x="17" y="133"/>
                </a:cubicBezTo>
                <a:cubicBezTo>
                  <a:pt x="17" y="133"/>
                  <a:pt x="18" y="134"/>
                  <a:pt x="18" y="134"/>
                </a:cubicBezTo>
                <a:cubicBezTo>
                  <a:pt x="18" y="135"/>
                  <a:pt x="18" y="135"/>
                  <a:pt x="18" y="135"/>
                </a:cubicBezTo>
                <a:cubicBezTo>
                  <a:pt x="18" y="136"/>
                  <a:pt x="19" y="136"/>
                  <a:pt x="19" y="136"/>
                </a:cubicBezTo>
                <a:cubicBezTo>
                  <a:pt x="19" y="137"/>
                  <a:pt x="19" y="138"/>
                  <a:pt x="20" y="139"/>
                </a:cubicBezTo>
                <a:cubicBezTo>
                  <a:pt x="20" y="140"/>
                  <a:pt x="21" y="141"/>
                  <a:pt x="21" y="142"/>
                </a:cubicBezTo>
                <a:cubicBezTo>
                  <a:pt x="22" y="143"/>
                  <a:pt x="22" y="144"/>
                  <a:pt x="23" y="144"/>
                </a:cubicBezTo>
                <a:cubicBezTo>
                  <a:pt x="25" y="144"/>
                  <a:pt x="26" y="144"/>
                  <a:pt x="27" y="144"/>
                </a:cubicBezTo>
                <a:cubicBezTo>
                  <a:pt x="28" y="144"/>
                  <a:pt x="30" y="143"/>
                  <a:pt x="31" y="144"/>
                </a:cubicBezTo>
                <a:cubicBezTo>
                  <a:pt x="32" y="144"/>
                  <a:pt x="33" y="145"/>
                  <a:pt x="33" y="145"/>
                </a:cubicBezTo>
                <a:cubicBezTo>
                  <a:pt x="34" y="146"/>
                  <a:pt x="34" y="146"/>
                  <a:pt x="35" y="147"/>
                </a:cubicBezTo>
                <a:cubicBezTo>
                  <a:pt x="36" y="148"/>
                  <a:pt x="36" y="149"/>
                  <a:pt x="37" y="150"/>
                </a:cubicBezTo>
                <a:cubicBezTo>
                  <a:pt x="38" y="151"/>
                  <a:pt x="40" y="150"/>
                  <a:pt x="40" y="150"/>
                </a:cubicBezTo>
                <a:cubicBezTo>
                  <a:pt x="41" y="149"/>
                  <a:pt x="41" y="149"/>
                  <a:pt x="42" y="148"/>
                </a:cubicBezTo>
                <a:cubicBezTo>
                  <a:pt x="42" y="148"/>
                  <a:pt x="43" y="148"/>
                  <a:pt x="43" y="148"/>
                </a:cubicBezTo>
                <a:cubicBezTo>
                  <a:pt x="44" y="148"/>
                  <a:pt x="45" y="147"/>
                  <a:pt x="45" y="147"/>
                </a:cubicBezTo>
                <a:cubicBezTo>
                  <a:pt x="46" y="147"/>
                  <a:pt x="46" y="147"/>
                  <a:pt x="46" y="148"/>
                </a:cubicBezTo>
                <a:cubicBezTo>
                  <a:pt x="46" y="148"/>
                  <a:pt x="47" y="148"/>
                  <a:pt x="47" y="148"/>
                </a:cubicBezTo>
                <a:cubicBezTo>
                  <a:pt x="47" y="148"/>
                  <a:pt x="48" y="149"/>
                  <a:pt x="48" y="149"/>
                </a:cubicBezTo>
                <a:cubicBezTo>
                  <a:pt x="49" y="149"/>
                  <a:pt x="50" y="150"/>
                  <a:pt x="51" y="151"/>
                </a:cubicBezTo>
                <a:cubicBezTo>
                  <a:pt x="51" y="151"/>
                  <a:pt x="52" y="152"/>
                  <a:pt x="52" y="152"/>
                </a:cubicBezTo>
                <a:cubicBezTo>
                  <a:pt x="52" y="152"/>
                  <a:pt x="53" y="151"/>
                  <a:pt x="54" y="151"/>
                </a:cubicBezTo>
                <a:cubicBezTo>
                  <a:pt x="54" y="151"/>
                  <a:pt x="54" y="151"/>
                  <a:pt x="55" y="151"/>
                </a:cubicBezTo>
                <a:cubicBezTo>
                  <a:pt x="55" y="151"/>
                  <a:pt x="56" y="151"/>
                  <a:pt x="56" y="151"/>
                </a:cubicBezTo>
                <a:cubicBezTo>
                  <a:pt x="57" y="151"/>
                  <a:pt x="57" y="151"/>
                  <a:pt x="58" y="150"/>
                </a:cubicBezTo>
                <a:cubicBezTo>
                  <a:pt x="58" y="150"/>
                  <a:pt x="59" y="150"/>
                  <a:pt x="59" y="149"/>
                </a:cubicBezTo>
                <a:cubicBezTo>
                  <a:pt x="60" y="149"/>
                  <a:pt x="60" y="148"/>
                  <a:pt x="61" y="148"/>
                </a:cubicBezTo>
                <a:cubicBezTo>
                  <a:pt x="61" y="147"/>
                  <a:pt x="62" y="146"/>
                  <a:pt x="62" y="146"/>
                </a:cubicBezTo>
                <a:cubicBezTo>
                  <a:pt x="63" y="146"/>
                  <a:pt x="64" y="146"/>
                  <a:pt x="65" y="145"/>
                </a:cubicBezTo>
                <a:cubicBezTo>
                  <a:pt x="65" y="145"/>
                  <a:pt x="66" y="145"/>
                  <a:pt x="67" y="146"/>
                </a:cubicBezTo>
                <a:cubicBezTo>
                  <a:pt x="67" y="146"/>
                  <a:pt x="67" y="146"/>
                  <a:pt x="67" y="147"/>
                </a:cubicBezTo>
                <a:cubicBezTo>
                  <a:pt x="67" y="147"/>
                  <a:pt x="67" y="147"/>
                  <a:pt x="67" y="148"/>
                </a:cubicBezTo>
                <a:cubicBezTo>
                  <a:pt x="67" y="149"/>
                  <a:pt x="67" y="150"/>
                  <a:pt x="67" y="151"/>
                </a:cubicBezTo>
                <a:cubicBezTo>
                  <a:pt x="68" y="151"/>
                  <a:pt x="68" y="152"/>
                  <a:pt x="69" y="153"/>
                </a:cubicBezTo>
                <a:cubicBezTo>
                  <a:pt x="70" y="153"/>
                  <a:pt x="70" y="153"/>
                  <a:pt x="71" y="153"/>
                </a:cubicBezTo>
                <a:cubicBezTo>
                  <a:pt x="71" y="154"/>
                  <a:pt x="72" y="154"/>
                  <a:pt x="72" y="154"/>
                </a:cubicBezTo>
                <a:cubicBezTo>
                  <a:pt x="73" y="154"/>
                  <a:pt x="74" y="155"/>
                  <a:pt x="75" y="156"/>
                </a:cubicBezTo>
                <a:cubicBezTo>
                  <a:pt x="76" y="156"/>
                  <a:pt x="76" y="157"/>
                  <a:pt x="76" y="158"/>
                </a:cubicBezTo>
                <a:cubicBezTo>
                  <a:pt x="76" y="158"/>
                  <a:pt x="76" y="158"/>
                  <a:pt x="76" y="158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81" y="160"/>
                  <a:pt x="81" y="160"/>
                  <a:pt x="81" y="160"/>
                </a:cubicBezTo>
                <a:cubicBezTo>
                  <a:pt x="81" y="160"/>
                  <a:pt x="84" y="160"/>
                  <a:pt x="85" y="159"/>
                </a:cubicBezTo>
                <a:cubicBezTo>
                  <a:pt x="85" y="159"/>
                  <a:pt x="86" y="158"/>
                  <a:pt x="86" y="158"/>
                </a:cubicBezTo>
                <a:cubicBezTo>
                  <a:pt x="86" y="158"/>
                  <a:pt x="87" y="156"/>
                  <a:pt x="87" y="155"/>
                </a:cubicBezTo>
                <a:cubicBezTo>
                  <a:pt x="87" y="155"/>
                  <a:pt x="87" y="153"/>
                  <a:pt x="87" y="153"/>
                </a:cubicBezTo>
                <a:cubicBezTo>
                  <a:pt x="87" y="153"/>
                  <a:pt x="89" y="153"/>
                  <a:pt x="89" y="152"/>
                </a:cubicBezTo>
                <a:cubicBezTo>
                  <a:pt x="89" y="152"/>
                  <a:pt x="92" y="152"/>
                  <a:pt x="92" y="152"/>
                </a:cubicBezTo>
                <a:cubicBezTo>
                  <a:pt x="92" y="152"/>
                  <a:pt x="91" y="148"/>
                  <a:pt x="91" y="148"/>
                </a:cubicBezTo>
                <a:cubicBezTo>
                  <a:pt x="91" y="147"/>
                  <a:pt x="90" y="144"/>
                  <a:pt x="90" y="144"/>
                </a:cubicBezTo>
                <a:cubicBezTo>
                  <a:pt x="90" y="144"/>
                  <a:pt x="92" y="142"/>
                  <a:pt x="92" y="142"/>
                </a:cubicBezTo>
                <a:cubicBezTo>
                  <a:pt x="92" y="142"/>
                  <a:pt x="93" y="140"/>
                  <a:pt x="93" y="139"/>
                </a:cubicBezTo>
                <a:cubicBezTo>
                  <a:pt x="93" y="139"/>
                  <a:pt x="95" y="136"/>
                  <a:pt x="95" y="135"/>
                </a:cubicBezTo>
                <a:cubicBezTo>
                  <a:pt x="95" y="135"/>
                  <a:pt x="96" y="134"/>
                  <a:pt x="96" y="134"/>
                </a:cubicBezTo>
                <a:cubicBezTo>
                  <a:pt x="96" y="133"/>
                  <a:pt x="97" y="133"/>
                  <a:pt x="97" y="133"/>
                </a:cubicBezTo>
                <a:cubicBezTo>
                  <a:pt x="97" y="134"/>
                  <a:pt x="99" y="135"/>
                  <a:pt x="99" y="135"/>
                </a:cubicBezTo>
                <a:cubicBezTo>
                  <a:pt x="99" y="135"/>
                  <a:pt x="100" y="136"/>
                  <a:pt x="100" y="136"/>
                </a:cubicBezTo>
                <a:cubicBezTo>
                  <a:pt x="100" y="136"/>
                  <a:pt x="101" y="137"/>
                  <a:pt x="101" y="137"/>
                </a:cubicBezTo>
                <a:cubicBezTo>
                  <a:pt x="101" y="137"/>
                  <a:pt x="100" y="138"/>
                  <a:pt x="100" y="138"/>
                </a:cubicBezTo>
                <a:cubicBezTo>
                  <a:pt x="100" y="138"/>
                  <a:pt x="100" y="140"/>
                  <a:pt x="100" y="140"/>
                </a:cubicBezTo>
                <a:cubicBezTo>
                  <a:pt x="100" y="140"/>
                  <a:pt x="102" y="140"/>
                  <a:pt x="102" y="140"/>
                </a:cubicBezTo>
                <a:cubicBezTo>
                  <a:pt x="102" y="140"/>
                  <a:pt x="103" y="139"/>
                  <a:pt x="103" y="139"/>
                </a:cubicBezTo>
                <a:cubicBezTo>
                  <a:pt x="103" y="138"/>
                  <a:pt x="103" y="137"/>
                  <a:pt x="103" y="137"/>
                </a:cubicBezTo>
                <a:cubicBezTo>
                  <a:pt x="105" y="138"/>
                  <a:pt x="105" y="138"/>
                  <a:pt x="105" y="138"/>
                </a:cubicBezTo>
                <a:cubicBezTo>
                  <a:pt x="105" y="138"/>
                  <a:pt x="105" y="133"/>
                  <a:pt x="105" y="133"/>
                </a:cubicBezTo>
                <a:cubicBezTo>
                  <a:pt x="105" y="133"/>
                  <a:pt x="104" y="132"/>
                  <a:pt x="104" y="132"/>
                </a:cubicBezTo>
                <a:cubicBezTo>
                  <a:pt x="104" y="131"/>
                  <a:pt x="105" y="131"/>
                  <a:pt x="105" y="131"/>
                </a:cubicBezTo>
                <a:cubicBezTo>
                  <a:pt x="105" y="131"/>
                  <a:pt x="106" y="130"/>
                  <a:pt x="106" y="130"/>
                </a:cubicBezTo>
                <a:cubicBezTo>
                  <a:pt x="106" y="130"/>
                  <a:pt x="106" y="126"/>
                  <a:pt x="106" y="126"/>
                </a:cubicBezTo>
                <a:cubicBezTo>
                  <a:pt x="106" y="126"/>
                  <a:pt x="107" y="125"/>
                  <a:pt x="108" y="125"/>
                </a:cubicBezTo>
                <a:cubicBezTo>
                  <a:pt x="108" y="125"/>
                  <a:pt x="109" y="122"/>
                  <a:pt x="109" y="122"/>
                </a:cubicBezTo>
                <a:cubicBezTo>
                  <a:pt x="109" y="122"/>
                  <a:pt x="110" y="122"/>
                  <a:pt x="111" y="122"/>
                </a:cubicBezTo>
                <a:cubicBezTo>
                  <a:pt x="111" y="122"/>
                  <a:pt x="112" y="123"/>
                  <a:pt x="112" y="123"/>
                </a:cubicBezTo>
                <a:cubicBezTo>
                  <a:pt x="112" y="123"/>
                  <a:pt x="113" y="119"/>
                  <a:pt x="113" y="119"/>
                </a:cubicBezTo>
                <a:cubicBezTo>
                  <a:pt x="113" y="119"/>
                  <a:pt x="114" y="118"/>
                  <a:pt x="114" y="118"/>
                </a:cubicBezTo>
                <a:cubicBezTo>
                  <a:pt x="115" y="118"/>
                  <a:pt x="115" y="116"/>
                  <a:pt x="116" y="116"/>
                </a:cubicBezTo>
                <a:cubicBezTo>
                  <a:pt x="116" y="116"/>
                  <a:pt x="117" y="116"/>
                  <a:pt x="117" y="116"/>
                </a:cubicBezTo>
                <a:cubicBezTo>
                  <a:pt x="117" y="116"/>
                  <a:pt x="119" y="119"/>
                  <a:pt x="119" y="119"/>
                </a:cubicBezTo>
                <a:cubicBezTo>
                  <a:pt x="119" y="119"/>
                  <a:pt x="121" y="119"/>
                  <a:pt x="121" y="119"/>
                </a:cubicBezTo>
                <a:cubicBezTo>
                  <a:pt x="121" y="119"/>
                  <a:pt x="126" y="116"/>
                  <a:pt x="126" y="116"/>
                </a:cubicBezTo>
                <a:cubicBezTo>
                  <a:pt x="133" y="109"/>
                  <a:pt x="133" y="109"/>
                  <a:pt x="133" y="109"/>
                </a:cubicBezTo>
                <a:cubicBezTo>
                  <a:pt x="133" y="109"/>
                  <a:pt x="134" y="107"/>
                  <a:pt x="134" y="107"/>
                </a:cubicBezTo>
                <a:cubicBezTo>
                  <a:pt x="134" y="107"/>
                  <a:pt x="136" y="107"/>
                  <a:pt x="136" y="107"/>
                </a:cubicBezTo>
                <a:cubicBezTo>
                  <a:pt x="136" y="107"/>
                  <a:pt x="136" y="104"/>
                  <a:pt x="137" y="104"/>
                </a:cubicBezTo>
                <a:cubicBezTo>
                  <a:pt x="137" y="103"/>
                  <a:pt x="138" y="103"/>
                  <a:pt x="138" y="103"/>
                </a:cubicBezTo>
                <a:cubicBezTo>
                  <a:pt x="138" y="103"/>
                  <a:pt x="136" y="101"/>
                  <a:pt x="136" y="100"/>
                </a:cubicBezTo>
                <a:cubicBezTo>
                  <a:pt x="136" y="100"/>
                  <a:pt x="137" y="98"/>
                  <a:pt x="138" y="98"/>
                </a:cubicBezTo>
                <a:cubicBezTo>
                  <a:pt x="138" y="98"/>
                  <a:pt x="139" y="96"/>
                  <a:pt x="139" y="96"/>
                </a:cubicBezTo>
                <a:cubicBezTo>
                  <a:pt x="139" y="96"/>
                  <a:pt x="139" y="94"/>
                  <a:pt x="139" y="94"/>
                </a:cubicBezTo>
                <a:cubicBezTo>
                  <a:pt x="139" y="94"/>
                  <a:pt x="141" y="93"/>
                  <a:pt x="141" y="93"/>
                </a:cubicBezTo>
                <a:cubicBezTo>
                  <a:pt x="141" y="89"/>
                  <a:pt x="141" y="89"/>
                  <a:pt x="141" y="89"/>
                </a:cubicBezTo>
                <a:cubicBezTo>
                  <a:pt x="141" y="85"/>
                  <a:pt x="141" y="85"/>
                  <a:pt x="141" y="85"/>
                </a:cubicBezTo>
                <a:cubicBezTo>
                  <a:pt x="146" y="76"/>
                  <a:pt x="146" y="76"/>
                  <a:pt x="146" y="76"/>
                </a:cubicBezTo>
                <a:cubicBezTo>
                  <a:pt x="146" y="76"/>
                  <a:pt x="144" y="73"/>
                  <a:pt x="144" y="72"/>
                </a:cubicBezTo>
                <a:cubicBezTo>
                  <a:pt x="144" y="72"/>
                  <a:pt x="145" y="71"/>
                  <a:pt x="145" y="70"/>
                </a:cubicBezTo>
                <a:cubicBezTo>
                  <a:pt x="145" y="70"/>
                  <a:pt x="146" y="68"/>
                  <a:pt x="146" y="68"/>
                </a:cubicBezTo>
                <a:cubicBezTo>
                  <a:pt x="146" y="68"/>
                  <a:pt x="145" y="66"/>
                  <a:pt x="145" y="66"/>
                </a:cubicBezTo>
                <a:cubicBezTo>
                  <a:pt x="145" y="66"/>
                  <a:pt x="143" y="63"/>
                  <a:pt x="143" y="63"/>
                </a:cubicBezTo>
                <a:cubicBezTo>
                  <a:pt x="143" y="63"/>
                  <a:pt x="144" y="62"/>
                  <a:pt x="144" y="61"/>
                </a:cubicBezTo>
                <a:cubicBezTo>
                  <a:pt x="144" y="61"/>
                  <a:pt x="145" y="61"/>
                  <a:pt x="145" y="61"/>
                </a:cubicBezTo>
                <a:cubicBezTo>
                  <a:pt x="147" y="62"/>
                  <a:pt x="147" y="62"/>
                  <a:pt x="147" y="62"/>
                </a:cubicBezTo>
                <a:cubicBezTo>
                  <a:pt x="149" y="61"/>
                  <a:pt x="149" y="61"/>
                  <a:pt x="149" y="61"/>
                </a:cubicBezTo>
                <a:cubicBezTo>
                  <a:pt x="149" y="0"/>
                  <a:pt x="149" y="0"/>
                  <a:pt x="149" y="0"/>
                </a:cubicBezTo>
                <a:cubicBezTo>
                  <a:pt x="148" y="0"/>
                  <a:pt x="147" y="0"/>
                  <a:pt x="146" y="1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6" name="Freeform 24">
            <a:extLst>
              <a:ext uri="{FF2B5EF4-FFF2-40B4-BE49-F238E27FC236}">
                <a16:creationId xmlns:a16="http://schemas.microsoft.com/office/drawing/2014/main" id="{A60DC027-859B-49D1-8CB3-5041E1113C7D}"/>
              </a:ext>
            </a:extLst>
          </p:cNvPr>
          <p:cNvSpPr>
            <a:spLocks/>
          </p:cNvSpPr>
          <p:nvPr/>
        </p:nvSpPr>
        <p:spPr bwMode="auto">
          <a:xfrm>
            <a:off x="6825448" y="1258003"/>
            <a:ext cx="1021062" cy="619576"/>
          </a:xfrm>
          <a:custGeom>
            <a:avLst/>
            <a:gdLst>
              <a:gd name="T0" fmla="*/ 258 w 258"/>
              <a:gd name="T1" fmla="*/ 139 h 156"/>
              <a:gd name="T2" fmla="*/ 256 w 258"/>
              <a:gd name="T3" fmla="*/ 134 h 156"/>
              <a:gd name="T4" fmla="*/ 253 w 258"/>
              <a:gd name="T5" fmla="*/ 131 h 156"/>
              <a:gd name="T6" fmla="*/ 252 w 258"/>
              <a:gd name="T7" fmla="*/ 127 h 156"/>
              <a:gd name="T8" fmla="*/ 251 w 258"/>
              <a:gd name="T9" fmla="*/ 123 h 156"/>
              <a:gd name="T10" fmla="*/ 251 w 258"/>
              <a:gd name="T11" fmla="*/ 119 h 156"/>
              <a:gd name="T12" fmla="*/ 252 w 258"/>
              <a:gd name="T13" fmla="*/ 111 h 156"/>
              <a:gd name="T14" fmla="*/ 252 w 258"/>
              <a:gd name="T15" fmla="*/ 109 h 156"/>
              <a:gd name="T16" fmla="*/ 251 w 258"/>
              <a:gd name="T17" fmla="*/ 106 h 156"/>
              <a:gd name="T18" fmla="*/ 249 w 258"/>
              <a:gd name="T19" fmla="*/ 102 h 156"/>
              <a:gd name="T20" fmla="*/ 249 w 258"/>
              <a:gd name="T21" fmla="*/ 90 h 156"/>
              <a:gd name="T22" fmla="*/ 249 w 258"/>
              <a:gd name="T23" fmla="*/ 84 h 156"/>
              <a:gd name="T24" fmla="*/ 248 w 258"/>
              <a:gd name="T25" fmla="*/ 75 h 156"/>
              <a:gd name="T26" fmla="*/ 247 w 258"/>
              <a:gd name="T27" fmla="*/ 69 h 156"/>
              <a:gd name="T28" fmla="*/ 244 w 258"/>
              <a:gd name="T29" fmla="*/ 62 h 156"/>
              <a:gd name="T30" fmla="*/ 241 w 258"/>
              <a:gd name="T31" fmla="*/ 52 h 156"/>
              <a:gd name="T32" fmla="*/ 239 w 258"/>
              <a:gd name="T33" fmla="*/ 47 h 156"/>
              <a:gd name="T34" fmla="*/ 239 w 258"/>
              <a:gd name="T35" fmla="*/ 40 h 156"/>
              <a:gd name="T36" fmla="*/ 239 w 258"/>
              <a:gd name="T37" fmla="*/ 36 h 156"/>
              <a:gd name="T38" fmla="*/ 238 w 258"/>
              <a:gd name="T39" fmla="*/ 33 h 156"/>
              <a:gd name="T40" fmla="*/ 239 w 258"/>
              <a:gd name="T41" fmla="*/ 30 h 156"/>
              <a:gd name="T42" fmla="*/ 238 w 258"/>
              <a:gd name="T43" fmla="*/ 28 h 156"/>
              <a:gd name="T44" fmla="*/ 238 w 258"/>
              <a:gd name="T45" fmla="*/ 27 h 156"/>
              <a:gd name="T46" fmla="*/ 239 w 258"/>
              <a:gd name="T47" fmla="*/ 25 h 156"/>
              <a:gd name="T48" fmla="*/ 238 w 258"/>
              <a:gd name="T49" fmla="*/ 24 h 156"/>
              <a:gd name="T50" fmla="*/ 239 w 258"/>
              <a:gd name="T51" fmla="*/ 21 h 156"/>
              <a:gd name="T52" fmla="*/ 239 w 258"/>
              <a:gd name="T53" fmla="*/ 18 h 156"/>
              <a:gd name="T54" fmla="*/ 239 w 258"/>
              <a:gd name="T55" fmla="*/ 14 h 156"/>
              <a:gd name="T56" fmla="*/ 237 w 258"/>
              <a:gd name="T57" fmla="*/ 8 h 156"/>
              <a:gd name="T58" fmla="*/ 236 w 258"/>
              <a:gd name="T59" fmla="*/ 4 h 156"/>
              <a:gd name="T60" fmla="*/ 236 w 258"/>
              <a:gd name="T61" fmla="*/ 0 h 156"/>
              <a:gd name="T62" fmla="*/ 0 w 258"/>
              <a:gd name="T63" fmla="*/ 0 h 156"/>
              <a:gd name="T64" fmla="*/ 0 w 258"/>
              <a:gd name="T65" fmla="*/ 156 h 156"/>
              <a:gd name="T66" fmla="*/ 258 w 258"/>
              <a:gd name="T67" fmla="*/ 156 h 156"/>
              <a:gd name="T68" fmla="*/ 258 w 258"/>
              <a:gd name="T69" fmla="*/ 139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8" h="156">
                <a:moveTo>
                  <a:pt x="258" y="139"/>
                </a:moveTo>
                <a:cubicBezTo>
                  <a:pt x="257" y="139"/>
                  <a:pt x="256" y="135"/>
                  <a:pt x="256" y="134"/>
                </a:cubicBezTo>
                <a:cubicBezTo>
                  <a:pt x="255" y="134"/>
                  <a:pt x="254" y="132"/>
                  <a:pt x="253" y="131"/>
                </a:cubicBezTo>
                <a:cubicBezTo>
                  <a:pt x="253" y="130"/>
                  <a:pt x="252" y="128"/>
                  <a:pt x="252" y="127"/>
                </a:cubicBezTo>
                <a:cubicBezTo>
                  <a:pt x="252" y="126"/>
                  <a:pt x="251" y="124"/>
                  <a:pt x="251" y="123"/>
                </a:cubicBezTo>
                <a:cubicBezTo>
                  <a:pt x="251" y="122"/>
                  <a:pt x="251" y="121"/>
                  <a:pt x="251" y="119"/>
                </a:cubicBezTo>
                <a:cubicBezTo>
                  <a:pt x="251" y="118"/>
                  <a:pt x="252" y="112"/>
                  <a:pt x="252" y="111"/>
                </a:cubicBezTo>
                <a:cubicBezTo>
                  <a:pt x="252" y="111"/>
                  <a:pt x="252" y="110"/>
                  <a:pt x="252" y="109"/>
                </a:cubicBezTo>
                <a:cubicBezTo>
                  <a:pt x="252" y="108"/>
                  <a:pt x="251" y="107"/>
                  <a:pt x="251" y="106"/>
                </a:cubicBezTo>
                <a:cubicBezTo>
                  <a:pt x="250" y="105"/>
                  <a:pt x="250" y="104"/>
                  <a:pt x="249" y="102"/>
                </a:cubicBezTo>
                <a:cubicBezTo>
                  <a:pt x="249" y="100"/>
                  <a:pt x="249" y="92"/>
                  <a:pt x="249" y="90"/>
                </a:cubicBezTo>
                <a:cubicBezTo>
                  <a:pt x="249" y="89"/>
                  <a:pt x="249" y="86"/>
                  <a:pt x="249" y="84"/>
                </a:cubicBezTo>
                <a:cubicBezTo>
                  <a:pt x="249" y="83"/>
                  <a:pt x="249" y="77"/>
                  <a:pt x="248" y="75"/>
                </a:cubicBezTo>
                <a:cubicBezTo>
                  <a:pt x="248" y="74"/>
                  <a:pt x="248" y="71"/>
                  <a:pt x="247" y="69"/>
                </a:cubicBezTo>
                <a:cubicBezTo>
                  <a:pt x="247" y="67"/>
                  <a:pt x="244" y="64"/>
                  <a:pt x="244" y="62"/>
                </a:cubicBezTo>
                <a:cubicBezTo>
                  <a:pt x="243" y="60"/>
                  <a:pt x="241" y="53"/>
                  <a:pt x="241" y="52"/>
                </a:cubicBezTo>
                <a:cubicBezTo>
                  <a:pt x="240" y="50"/>
                  <a:pt x="239" y="49"/>
                  <a:pt x="239" y="47"/>
                </a:cubicBezTo>
                <a:cubicBezTo>
                  <a:pt x="239" y="45"/>
                  <a:pt x="239" y="41"/>
                  <a:pt x="239" y="40"/>
                </a:cubicBezTo>
                <a:cubicBezTo>
                  <a:pt x="239" y="38"/>
                  <a:pt x="239" y="37"/>
                  <a:pt x="239" y="36"/>
                </a:cubicBezTo>
                <a:cubicBezTo>
                  <a:pt x="239" y="35"/>
                  <a:pt x="238" y="34"/>
                  <a:pt x="238" y="33"/>
                </a:cubicBezTo>
                <a:cubicBezTo>
                  <a:pt x="238" y="32"/>
                  <a:pt x="239" y="30"/>
                  <a:pt x="239" y="30"/>
                </a:cubicBezTo>
                <a:cubicBezTo>
                  <a:pt x="239" y="29"/>
                  <a:pt x="238" y="28"/>
                  <a:pt x="238" y="28"/>
                </a:cubicBezTo>
                <a:cubicBezTo>
                  <a:pt x="238" y="28"/>
                  <a:pt x="238" y="27"/>
                  <a:pt x="238" y="27"/>
                </a:cubicBezTo>
                <a:cubicBezTo>
                  <a:pt x="239" y="26"/>
                  <a:pt x="239" y="25"/>
                  <a:pt x="239" y="25"/>
                </a:cubicBezTo>
                <a:cubicBezTo>
                  <a:pt x="238" y="24"/>
                  <a:pt x="238" y="25"/>
                  <a:pt x="238" y="24"/>
                </a:cubicBezTo>
                <a:cubicBezTo>
                  <a:pt x="238" y="23"/>
                  <a:pt x="238" y="21"/>
                  <a:pt x="239" y="21"/>
                </a:cubicBezTo>
                <a:cubicBezTo>
                  <a:pt x="239" y="20"/>
                  <a:pt x="239" y="20"/>
                  <a:pt x="239" y="18"/>
                </a:cubicBezTo>
                <a:cubicBezTo>
                  <a:pt x="240" y="16"/>
                  <a:pt x="239" y="15"/>
                  <a:pt x="239" y="14"/>
                </a:cubicBezTo>
                <a:cubicBezTo>
                  <a:pt x="239" y="14"/>
                  <a:pt x="237" y="9"/>
                  <a:pt x="237" y="8"/>
                </a:cubicBezTo>
                <a:cubicBezTo>
                  <a:pt x="237" y="7"/>
                  <a:pt x="236" y="6"/>
                  <a:pt x="236" y="4"/>
                </a:cubicBezTo>
                <a:cubicBezTo>
                  <a:pt x="236" y="3"/>
                  <a:pt x="236" y="0"/>
                  <a:pt x="23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56"/>
                  <a:pt x="0" y="156"/>
                  <a:pt x="0" y="156"/>
                </a:cubicBezTo>
                <a:cubicBezTo>
                  <a:pt x="258" y="156"/>
                  <a:pt x="258" y="156"/>
                  <a:pt x="258" y="156"/>
                </a:cubicBezTo>
                <a:cubicBezTo>
                  <a:pt x="258" y="156"/>
                  <a:pt x="258" y="140"/>
                  <a:pt x="258" y="139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7" name="Freeform 25">
            <a:extLst>
              <a:ext uri="{FF2B5EF4-FFF2-40B4-BE49-F238E27FC236}">
                <a16:creationId xmlns:a16="http://schemas.microsoft.com/office/drawing/2014/main" id="{3C45AC45-338B-4586-9FEE-66AFCA2F6510}"/>
              </a:ext>
            </a:extLst>
          </p:cNvPr>
          <p:cNvSpPr>
            <a:spLocks noEditPoints="1"/>
          </p:cNvSpPr>
          <p:nvPr/>
        </p:nvSpPr>
        <p:spPr bwMode="auto">
          <a:xfrm>
            <a:off x="9521844" y="3589264"/>
            <a:ext cx="1196195" cy="460965"/>
          </a:xfrm>
          <a:custGeom>
            <a:avLst/>
            <a:gdLst>
              <a:gd name="T0" fmla="*/ 300 w 302"/>
              <a:gd name="T1" fmla="*/ 26 h 116"/>
              <a:gd name="T2" fmla="*/ 293 w 302"/>
              <a:gd name="T3" fmla="*/ 4 h 116"/>
              <a:gd name="T4" fmla="*/ 123 w 302"/>
              <a:gd name="T5" fmla="*/ 0 h 116"/>
              <a:gd name="T6" fmla="*/ 87 w 302"/>
              <a:gd name="T7" fmla="*/ 10 h 116"/>
              <a:gd name="T8" fmla="*/ 72 w 302"/>
              <a:gd name="T9" fmla="*/ 19 h 116"/>
              <a:gd name="T10" fmla="*/ 59 w 302"/>
              <a:gd name="T11" fmla="*/ 22 h 116"/>
              <a:gd name="T12" fmla="*/ 48 w 302"/>
              <a:gd name="T13" fmla="*/ 33 h 116"/>
              <a:gd name="T14" fmla="*/ 37 w 302"/>
              <a:gd name="T15" fmla="*/ 38 h 116"/>
              <a:gd name="T16" fmla="*/ 14 w 302"/>
              <a:gd name="T17" fmla="*/ 47 h 116"/>
              <a:gd name="T18" fmla="*/ 5 w 302"/>
              <a:gd name="T19" fmla="*/ 58 h 116"/>
              <a:gd name="T20" fmla="*/ 52 w 302"/>
              <a:gd name="T21" fmla="*/ 64 h 116"/>
              <a:gd name="T22" fmla="*/ 68 w 302"/>
              <a:gd name="T23" fmla="*/ 59 h 116"/>
              <a:gd name="T24" fmla="*/ 114 w 302"/>
              <a:gd name="T25" fmla="*/ 63 h 116"/>
              <a:gd name="T26" fmla="*/ 122 w 302"/>
              <a:gd name="T27" fmla="*/ 75 h 116"/>
              <a:gd name="T28" fmla="*/ 205 w 302"/>
              <a:gd name="T29" fmla="*/ 114 h 116"/>
              <a:gd name="T30" fmla="*/ 218 w 302"/>
              <a:gd name="T31" fmla="*/ 114 h 116"/>
              <a:gd name="T32" fmla="*/ 222 w 302"/>
              <a:gd name="T33" fmla="*/ 106 h 116"/>
              <a:gd name="T34" fmla="*/ 225 w 302"/>
              <a:gd name="T35" fmla="*/ 104 h 116"/>
              <a:gd name="T36" fmla="*/ 233 w 302"/>
              <a:gd name="T37" fmla="*/ 93 h 116"/>
              <a:gd name="T38" fmla="*/ 240 w 302"/>
              <a:gd name="T39" fmla="*/ 88 h 116"/>
              <a:gd name="T40" fmla="*/ 240 w 302"/>
              <a:gd name="T41" fmla="*/ 83 h 116"/>
              <a:gd name="T42" fmla="*/ 242 w 302"/>
              <a:gd name="T43" fmla="*/ 84 h 116"/>
              <a:gd name="T44" fmla="*/ 252 w 302"/>
              <a:gd name="T45" fmla="*/ 81 h 116"/>
              <a:gd name="T46" fmla="*/ 261 w 302"/>
              <a:gd name="T47" fmla="*/ 79 h 116"/>
              <a:gd name="T48" fmla="*/ 268 w 302"/>
              <a:gd name="T49" fmla="*/ 78 h 116"/>
              <a:gd name="T50" fmla="*/ 274 w 302"/>
              <a:gd name="T51" fmla="*/ 73 h 116"/>
              <a:gd name="T52" fmla="*/ 274 w 302"/>
              <a:gd name="T53" fmla="*/ 69 h 116"/>
              <a:gd name="T54" fmla="*/ 269 w 302"/>
              <a:gd name="T55" fmla="*/ 68 h 116"/>
              <a:gd name="T56" fmla="*/ 261 w 302"/>
              <a:gd name="T57" fmla="*/ 71 h 116"/>
              <a:gd name="T58" fmla="*/ 253 w 302"/>
              <a:gd name="T59" fmla="*/ 65 h 116"/>
              <a:gd name="T60" fmla="*/ 258 w 302"/>
              <a:gd name="T61" fmla="*/ 67 h 116"/>
              <a:gd name="T62" fmla="*/ 265 w 302"/>
              <a:gd name="T63" fmla="*/ 67 h 116"/>
              <a:gd name="T64" fmla="*/ 264 w 302"/>
              <a:gd name="T65" fmla="*/ 61 h 116"/>
              <a:gd name="T66" fmla="*/ 270 w 302"/>
              <a:gd name="T67" fmla="*/ 56 h 116"/>
              <a:gd name="T68" fmla="*/ 259 w 302"/>
              <a:gd name="T69" fmla="*/ 51 h 116"/>
              <a:gd name="T70" fmla="*/ 266 w 302"/>
              <a:gd name="T71" fmla="*/ 51 h 116"/>
              <a:gd name="T72" fmla="*/ 271 w 302"/>
              <a:gd name="T73" fmla="*/ 47 h 116"/>
              <a:gd name="T74" fmla="*/ 274 w 302"/>
              <a:gd name="T75" fmla="*/ 50 h 116"/>
              <a:gd name="T76" fmla="*/ 285 w 302"/>
              <a:gd name="T77" fmla="*/ 52 h 116"/>
              <a:gd name="T78" fmla="*/ 298 w 302"/>
              <a:gd name="T79" fmla="*/ 39 h 116"/>
              <a:gd name="T80" fmla="*/ 291 w 302"/>
              <a:gd name="T81" fmla="*/ 29 h 116"/>
              <a:gd name="T82" fmla="*/ 284 w 302"/>
              <a:gd name="T83" fmla="*/ 38 h 116"/>
              <a:gd name="T84" fmla="*/ 286 w 302"/>
              <a:gd name="T85" fmla="*/ 27 h 116"/>
              <a:gd name="T86" fmla="*/ 274 w 302"/>
              <a:gd name="T87" fmla="*/ 26 h 116"/>
              <a:gd name="T88" fmla="*/ 264 w 302"/>
              <a:gd name="T89" fmla="*/ 26 h 116"/>
              <a:gd name="T90" fmla="*/ 261 w 302"/>
              <a:gd name="T91" fmla="*/ 19 h 116"/>
              <a:gd name="T92" fmla="*/ 264 w 302"/>
              <a:gd name="T93" fmla="*/ 17 h 116"/>
              <a:gd name="T94" fmla="*/ 269 w 302"/>
              <a:gd name="T95" fmla="*/ 24 h 116"/>
              <a:gd name="T96" fmla="*/ 274 w 302"/>
              <a:gd name="T97" fmla="*/ 19 h 116"/>
              <a:gd name="T98" fmla="*/ 279 w 302"/>
              <a:gd name="T99" fmla="*/ 17 h 116"/>
              <a:gd name="T100" fmla="*/ 283 w 302"/>
              <a:gd name="T101" fmla="*/ 15 h 116"/>
              <a:gd name="T102" fmla="*/ 289 w 302"/>
              <a:gd name="T103" fmla="*/ 17 h 116"/>
              <a:gd name="T104" fmla="*/ 294 w 302"/>
              <a:gd name="T105" fmla="*/ 20 h 116"/>
              <a:gd name="T106" fmla="*/ 287 w 302"/>
              <a:gd name="T107" fmla="*/ 4 h 116"/>
              <a:gd name="T108" fmla="*/ 294 w 302"/>
              <a:gd name="T109" fmla="*/ 12 h 116"/>
              <a:gd name="T110" fmla="*/ 302 w 302"/>
              <a:gd name="T111" fmla="*/ 29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02" h="116">
                <a:moveTo>
                  <a:pt x="298" y="29"/>
                </a:moveTo>
                <a:cubicBezTo>
                  <a:pt x="299" y="28"/>
                  <a:pt x="299" y="29"/>
                  <a:pt x="300" y="30"/>
                </a:cubicBezTo>
                <a:cubicBezTo>
                  <a:pt x="300" y="30"/>
                  <a:pt x="301" y="31"/>
                  <a:pt x="300" y="31"/>
                </a:cubicBezTo>
                <a:cubicBezTo>
                  <a:pt x="300" y="32"/>
                  <a:pt x="299" y="31"/>
                  <a:pt x="299" y="31"/>
                </a:cubicBezTo>
                <a:cubicBezTo>
                  <a:pt x="299" y="31"/>
                  <a:pt x="299" y="31"/>
                  <a:pt x="299" y="30"/>
                </a:cubicBezTo>
                <a:cubicBezTo>
                  <a:pt x="298" y="30"/>
                  <a:pt x="298" y="30"/>
                  <a:pt x="298" y="29"/>
                </a:cubicBezTo>
                <a:close/>
                <a:moveTo>
                  <a:pt x="300" y="26"/>
                </a:moveTo>
                <a:cubicBezTo>
                  <a:pt x="300" y="25"/>
                  <a:pt x="299" y="24"/>
                  <a:pt x="299" y="23"/>
                </a:cubicBezTo>
                <a:cubicBezTo>
                  <a:pt x="298" y="21"/>
                  <a:pt x="298" y="20"/>
                  <a:pt x="297" y="19"/>
                </a:cubicBezTo>
                <a:cubicBezTo>
                  <a:pt x="297" y="18"/>
                  <a:pt x="296" y="17"/>
                  <a:pt x="296" y="16"/>
                </a:cubicBezTo>
                <a:cubicBezTo>
                  <a:pt x="296" y="15"/>
                  <a:pt x="295" y="13"/>
                  <a:pt x="295" y="12"/>
                </a:cubicBezTo>
                <a:cubicBezTo>
                  <a:pt x="295" y="11"/>
                  <a:pt x="294" y="10"/>
                  <a:pt x="294" y="9"/>
                </a:cubicBezTo>
                <a:cubicBezTo>
                  <a:pt x="294" y="8"/>
                  <a:pt x="294" y="8"/>
                  <a:pt x="294" y="7"/>
                </a:cubicBezTo>
                <a:cubicBezTo>
                  <a:pt x="294" y="6"/>
                  <a:pt x="293" y="5"/>
                  <a:pt x="293" y="4"/>
                </a:cubicBezTo>
                <a:cubicBezTo>
                  <a:pt x="293" y="3"/>
                  <a:pt x="293" y="2"/>
                  <a:pt x="293" y="2"/>
                </a:cubicBezTo>
                <a:cubicBezTo>
                  <a:pt x="291" y="2"/>
                  <a:pt x="291" y="2"/>
                  <a:pt x="291" y="2"/>
                </a:cubicBezTo>
                <a:cubicBezTo>
                  <a:pt x="291" y="2"/>
                  <a:pt x="291" y="2"/>
                  <a:pt x="291" y="2"/>
                </a:cubicBezTo>
                <a:cubicBezTo>
                  <a:pt x="291" y="2"/>
                  <a:pt x="291" y="2"/>
                  <a:pt x="290" y="2"/>
                </a:cubicBezTo>
                <a:cubicBezTo>
                  <a:pt x="290" y="2"/>
                  <a:pt x="290" y="2"/>
                  <a:pt x="290" y="2"/>
                </a:cubicBezTo>
                <a:cubicBezTo>
                  <a:pt x="187" y="2"/>
                  <a:pt x="187" y="2"/>
                  <a:pt x="187" y="2"/>
                </a:cubicBezTo>
                <a:cubicBezTo>
                  <a:pt x="123" y="0"/>
                  <a:pt x="123" y="0"/>
                  <a:pt x="123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92" y="0"/>
                  <a:pt x="90" y="2"/>
                  <a:pt x="90" y="3"/>
                </a:cubicBezTo>
                <a:cubicBezTo>
                  <a:pt x="90" y="3"/>
                  <a:pt x="91" y="5"/>
                  <a:pt x="91" y="5"/>
                </a:cubicBezTo>
                <a:cubicBezTo>
                  <a:pt x="91" y="6"/>
                  <a:pt x="90" y="6"/>
                  <a:pt x="90" y="7"/>
                </a:cubicBezTo>
                <a:cubicBezTo>
                  <a:pt x="89" y="8"/>
                  <a:pt x="90" y="8"/>
                  <a:pt x="90" y="9"/>
                </a:cubicBezTo>
                <a:cubicBezTo>
                  <a:pt x="90" y="9"/>
                  <a:pt x="91" y="11"/>
                  <a:pt x="90" y="11"/>
                </a:cubicBezTo>
                <a:cubicBezTo>
                  <a:pt x="90" y="10"/>
                  <a:pt x="88" y="10"/>
                  <a:pt x="87" y="10"/>
                </a:cubicBezTo>
                <a:cubicBezTo>
                  <a:pt x="87" y="9"/>
                  <a:pt x="86" y="10"/>
                  <a:pt x="86" y="11"/>
                </a:cubicBezTo>
                <a:cubicBezTo>
                  <a:pt x="85" y="11"/>
                  <a:pt x="84" y="12"/>
                  <a:pt x="83" y="13"/>
                </a:cubicBezTo>
                <a:cubicBezTo>
                  <a:pt x="82" y="14"/>
                  <a:pt x="80" y="19"/>
                  <a:pt x="80" y="19"/>
                </a:cubicBezTo>
                <a:cubicBezTo>
                  <a:pt x="79" y="20"/>
                  <a:pt x="78" y="20"/>
                  <a:pt x="78" y="21"/>
                </a:cubicBezTo>
                <a:cubicBezTo>
                  <a:pt x="77" y="21"/>
                  <a:pt x="76" y="20"/>
                  <a:pt x="75" y="19"/>
                </a:cubicBezTo>
                <a:cubicBezTo>
                  <a:pt x="74" y="19"/>
                  <a:pt x="74" y="18"/>
                  <a:pt x="73" y="18"/>
                </a:cubicBezTo>
                <a:cubicBezTo>
                  <a:pt x="73" y="19"/>
                  <a:pt x="72" y="19"/>
                  <a:pt x="72" y="19"/>
                </a:cubicBezTo>
                <a:cubicBezTo>
                  <a:pt x="71" y="20"/>
                  <a:pt x="70" y="19"/>
                  <a:pt x="68" y="20"/>
                </a:cubicBezTo>
                <a:cubicBezTo>
                  <a:pt x="67" y="20"/>
                  <a:pt x="67" y="21"/>
                  <a:pt x="66" y="22"/>
                </a:cubicBezTo>
                <a:cubicBezTo>
                  <a:pt x="65" y="23"/>
                  <a:pt x="65" y="24"/>
                  <a:pt x="65" y="25"/>
                </a:cubicBezTo>
                <a:cubicBezTo>
                  <a:pt x="64" y="26"/>
                  <a:pt x="63" y="26"/>
                  <a:pt x="62" y="27"/>
                </a:cubicBezTo>
                <a:cubicBezTo>
                  <a:pt x="61" y="27"/>
                  <a:pt x="59" y="26"/>
                  <a:pt x="59" y="26"/>
                </a:cubicBezTo>
                <a:cubicBezTo>
                  <a:pt x="59" y="25"/>
                  <a:pt x="60" y="24"/>
                  <a:pt x="60" y="24"/>
                </a:cubicBezTo>
                <a:cubicBezTo>
                  <a:pt x="60" y="24"/>
                  <a:pt x="59" y="22"/>
                  <a:pt x="59" y="22"/>
                </a:cubicBezTo>
                <a:cubicBezTo>
                  <a:pt x="58" y="22"/>
                  <a:pt x="57" y="23"/>
                  <a:pt x="57" y="23"/>
                </a:cubicBezTo>
                <a:cubicBezTo>
                  <a:pt x="56" y="23"/>
                  <a:pt x="54" y="25"/>
                  <a:pt x="54" y="25"/>
                </a:cubicBezTo>
                <a:cubicBezTo>
                  <a:pt x="53" y="28"/>
                  <a:pt x="53" y="28"/>
                  <a:pt x="53" y="28"/>
                </a:cubicBezTo>
                <a:cubicBezTo>
                  <a:pt x="53" y="28"/>
                  <a:pt x="52" y="28"/>
                  <a:pt x="51" y="27"/>
                </a:cubicBezTo>
                <a:cubicBezTo>
                  <a:pt x="51" y="27"/>
                  <a:pt x="50" y="28"/>
                  <a:pt x="49" y="28"/>
                </a:cubicBezTo>
                <a:cubicBezTo>
                  <a:pt x="49" y="29"/>
                  <a:pt x="49" y="30"/>
                  <a:pt x="49" y="30"/>
                </a:cubicBezTo>
                <a:cubicBezTo>
                  <a:pt x="49" y="31"/>
                  <a:pt x="48" y="32"/>
                  <a:pt x="48" y="33"/>
                </a:cubicBezTo>
                <a:cubicBezTo>
                  <a:pt x="47" y="33"/>
                  <a:pt x="47" y="34"/>
                  <a:pt x="46" y="34"/>
                </a:cubicBezTo>
                <a:cubicBezTo>
                  <a:pt x="46" y="34"/>
                  <a:pt x="45" y="34"/>
                  <a:pt x="44" y="34"/>
                </a:cubicBezTo>
                <a:cubicBezTo>
                  <a:pt x="44" y="34"/>
                  <a:pt x="42" y="34"/>
                  <a:pt x="42" y="34"/>
                </a:cubicBezTo>
                <a:cubicBezTo>
                  <a:pt x="41" y="35"/>
                  <a:pt x="41" y="35"/>
                  <a:pt x="41" y="35"/>
                </a:cubicBezTo>
                <a:cubicBezTo>
                  <a:pt x="40" y="36"/>
                  <a:pt x="39" y="36"/>
                  <a:pt x="39" y="37"/>
                </a:cubicBezTo>
                <a:cubicBezTo>
                  <a:pt x="39" y="37"/>
                  <a:pt x="38" y="37"/>
                  <a:pt x="37" y="37"/>
                </a:cubicBezTo>
                <a:cubicBezTo>
                  <a:pt x="37" y="37"/>
                  <a:pt x="37" y="38"/>
                  <a:pt x="37" y="38"/>
                </a:cubicBezTo>
                <a:cubicBezTo>
                  <a:pt x="37" y="39"/>
                  <a:pt x="36" y="39"/>
                  <a:pt x="36" y="39"/>
                </a:cubicBezTo>
                <a:cubicBezTo>
                  <a:pt x="36" y="39"/>
                  <a:pt x="34" y="39"/>
                  <a:pt x="34" y="40"/>
                </a:cubicBezTo>
                <a:cubicBezTo>
                  <a:pt x="34" y="40"/>
                  <a:pt x="33" y="40"/>
                  <a:pt x="32" y="41"/>
                </a:cubicBezTo>
                <a:cubicBezTo>
                  <a:pt x="32" y="41"/>
                  <a:pt x="29" y="44"/>
                  <a:pt x="29" y="44"/>
                </a:cubicBezTo>
                <a:cubicBezTo>
                  <a:pt x="20" y="44"/>
                  <a:pt x="20" y="44"/>
                  <a:pt x="20" y="44"/>
                </a:cubicBezTo>
                <a:cubicBezTo>
                  <a:pt x="20" y="44"/>
                  <a:pt x="18" y="44"/>
                  <a:pt x="18" y="44"/>
                </a:cubicBezTo>
                <a:cubicBezTo>
                  <a:pt x="18" y="44"/>
                  <a:pt x="14" y="47"/>
                  <a:pt x="14" y="47"/>
                </a:cubicBezTo>
                <a:cubicBezTo>
                  <a:pt x="14" y="47"/>
                  <a:pt x="11" y="50"/>
                  <a:pt x="11" y="50"/>
                </a:cubicBezTo>
                <a:cubicBezTo>
                  <a:pt x="11" y="50"/>
                  <a:pt x="11" y="51"/>
                  <a:pt x="11" y="52"/>
                </a:cubicBezTo>
                <a:cubicBezTo>
                  <a:pt x="11" y="52"/>
                  <a:pt x="10" y="53"/>
                  <a:pt x="10" y="53"/>
                </a:cubicBezTo>
                <a:cubicBezTo>
                  <a:pt x="10" y="53"/>
                  <a:pt x="10" y="54"/>
                  <a:pt x="10" y="54"/>
                </a:cubicBezTo>
                <a:cubicBezTo>
                  <a:pt x="11" y="55"/>
                  <a:pt x="10" y="56"/>
                  <a:pt x="10" y="56"/>
                </a:cubicBezTo>
                <a:cubicBezTo>
                  <a:pt x="9" y="56"/>
                  <a:pt x="8" y="57"/>
                  <a:pt x="7" y="57"/>
                </a:cubicBezTo>
                <a:cubicBezTo>
                  <a:pt x="7" y="57"/>
                  <a:pt x="5" y="58"/>
                  <a:pt x="5" y="58"/>
                </a:cubicBezTo>
                <a:cubicBezTo>
                  <a:pt x="5" y="58"/>
                  <a:pt x="4" y="56"/>
                  <a:pt x="4" y="56"/>
                </a:cubicBezTo>
                <a:cubicBezTo>
                  <a:pt x="3" y="56"/>
                  <a:pt x="2" y="57"/>
                  <a:pt x="1" y="58"/>
                </a:cubicBezTo>
                <a:cubicBezTo>
                  <a:pt x="1" y="58"/>
                  <a:pt x="1" y="60"/>
                  <a:pt x="1" y="61"/>
                </a:cubicBezTo>
                <a:cubicBezTo>
                  <a:pt x="1" y="61"/>
                  <a:pt x="0" y="68"/>
                  <a:pt x="0" y="68"/>
                </a:cubicBezTo>
                <a:cubicBezTo>
                  <a:pt x="42" y="68"/>
                  <a:pt x="42" y="68"/>
                  <a:pt x="42" y="68"/>
                </a:cubicBezTo>
                <a:cubicBezTo>
                  <a:pt x="42" y="68"/>
                  <a:pt x="51" y="65"/>
                  <a:pt x="51" y="65"/>
                </a:cubicBezTo>
                <a:cubicBezTo>
                  <a:pt x="51" y="65"/>
                  <a:pt x="52" y="64"/>
                  <a:pt x="52" y="64"/>
                </a:cubicBezTo>
                <a:cubicBezTo>
                  <a:pt x="53" y="64"/>
                  <a:pt x="55" y="64"/>
                  <a:pt x="55" y="64"/>
                </a:cubicBezTo>
                <a:cubicBezTo>
                  <a:pt x="55" y="64"/>
                  <a:pt x="55" y="63"/>
                  <a:pt x="56" y="63"/>
                </a:cubicBezTo>
                <a:cubicBezTo>
                  <a:pt x="57" y="63"/>
                  <a:pt x="57" y="62"/>
                  <a:pt x="58" y="62"/>
                </a:cubicBezTo>
                <a:cubicBezTo>
                  <a:pt x="59" y="62"/>
                  <a:pt x="62" y="61"/>
                  <a:pt x="62" y="61"/>
                </a:cubicBezTo>
                <a:cubicBezTo>
                  <a:pt x="63" y="61"/>
                  <a:pt x="64" y="61"/>
                  <a:pt x="64" y="61"/>
                </a:cubicBezTo>
                <a:cubicBezTo>
                  <a:pt x="65" y="60"/>
                  <a:pt x="66" y="59"/>
                  <a:pt x="66" y="59"/>
                </a:cubicBezTo>
                <a:cubicBezTo>
                  <a:pt x="67" y="59"/>
                  <a:pt x="68" y="59"/>
                  <a:pt x="68" y="59"/>
                </a:cubicBezTo>
                <a:cubicBezTo>
                  <a:pt x="68" y="60"/>
                  <a:pt x="69" y="60"/>
                  <a:pt x="70" y="59"/>
                </a:cubicBezTo>
                <a:cubicBezTo>
                  <a:pt x="71" y="59"/>
                  <a:pt x="74" y="59"/>
                  <a:pt x="75" y="59"/>
                </a:cubicBezTo>
                <a:cubicBezTo>
                  <a:pt x="75" y="59"/>
                  <a:pt x="80" y="59"/>
                  <a:pt x="80" y="59"/>
                </a:cubicBezTo>
                <a:cubicBezTo>
                  <a:pt x="80" y="59"/>
                  <a:pt x="99" y="60"/>
                  <a:pt x="99" y="60"/>
                </a:cubicBezTo>
                <a:cubicBezTo>
                  <a:pt x="99" y="60"/>
                  <a:pt x="108" y="61"/>
                  <a:pt x="108" y="61"/>
                </a:cubicBezTo>
                <a:cubicBezTo>
                  <a:pt x="108" y="61"/>
                  <a:pt x="114" y="61"/>
                  <a:pt x="114" y="61"/>
                </a:cubicBezTo>
                <a:cubicBezTo>
                  <a:pt x="114" y="61"/>
                  <a:pt x="114" y="63"/>
                  <a:pt x="114" y="63"/>
                </a:cubicBezTo>
                <a:cubicBezTo>
                  <a:pt x="114" y="63"/>
                  <a:pt x="113" y="64"/>
                  <a:pt x="113" y="64"/>
                </a:cubicBezTo>
                <a:cubicBezTo>
                  <a:pt x="113" y="64"/>
                  <a:pt x="114" y="65"/>
                  <a:pt x="114" y="65"/>
                </a:cubicBezTo>
                <a:cubicBezTo>
                  <a:pt x="114" y="65"/>
                  <a:pt x="115" y="64"/>
                  <a:pt x="115" y="64"/>
                </a:cubicBezTo>
                <a:cubicBezTo>
                  <a:pt x="116" y="64"/>
                  <a:pt x="117" y="64"/>
                  <a:pt x="117" y="64"/>
                </a:cubicBezTo>
                <a:cubicBezTo>
                  <a:pt x="117" y="64"/>
                  <a:pt x="118" y="64"/>
                  <a:pt x="118" y="64"/>
                </a:cubicBezTo>
                <a:cubicBezTo>
                  <a:pt x="118" y="64"/>
                  <a:pt x="122" y="70"/>
                  <a:pt x="122" y="70"/>
                </a:cubicBezTo>
                <a:cubicBezTo>
                  <a:pt x="122" y="70"/>
                  <a:pt x="122" y="75"/>
                  <a:pt x="122" y="75"/>
                </a:cubicBezTo>
                <a:cubicBezTo>
                  <a:pt x="161" y="76"/>
                  <a:pt x="161" y="76"/>
                  <a:pt x="161" y="76"/>
                </a:cubicBezTo>
                <a:cubicBezTo>
                  <a:pt x="200" y="116"/>
                  <a:pt x="200" y="116"/>
                  <a:pt x="200" y="116"/>
                </a:cubicBezTo>
                <a:cubicBezTo>
                  <a:pt x="200" y="116"/>
                  <a:pt x="201" y="116"/>
                  <a:pt x="201" y="115"/>
                </a:cubicBezTo>
                <a:cubicBezTo>
                  <a:pt x="201" y="115"/>
                  <a:pt x="201" y="115"/>
                  <a:pt x="202" y="115"/>
                </a:cubicBezTo>
                <a:cubicBezTo>
                  <a:pt x="202" y="115"/>
                  <a:pt x="202" y="115"/>
                  <a:pt x="203" y="114"/>
                </a:cubicBezTo>
                <a:cubicBezTo>
                  <a:pt x="203" y="114"/>
                  <a:pt x="203" y="114"/>
                  <a:pt x="203" y="114"/>
                </a:cubicBezTo>
                <a:cubicBezTo>
                  <a:pt x="204" y="114"/>
                  <a:pt x="205" y="114"/>
                  <a:pt x="205" y="114"/>
                </a:cubicBezTo>
                <a:cubicBezTo>
                  <a:pt x="206" y="114"/>
                  <a:pt x="206" y="113"/>
                  <a:pt x="206" y="113"/>
                </a:cubicBezTo>
                <a:cubicBezTo>
                  <a:pt x="207" y="113"/>
                  <a:pt x="208" y="113"/>
                  <a:pt x="209" y="113"/>
                </a:cubicBezTo>
                <a:cubicBezTo>
                  <a:pt x="210" y="113"/>
                  <a:pt x="211" y="113"/>
                  <a:pt x="213" y="113"/>
                </a:cubicBezTo>
                <a:cubicBezTo>
                  <a:pt x="213" y="113"/>
                  <a:pt x="214" y="113"/>
                  <a:pt x="215" y="113"/>
                </a:cubicBezTo>
                <a:cubicBezTo>
                  <a:pt x="215" y="114"/>
                  <a:pt x="215" y="114"/>
                  <a:pt x="216" y="114"/>
                </a:cubicBezTo>
                <a:cubicBezTo>
                  <a:pt x="216" y="114"/>
                  <a:pt x="217" y="114"/>
                  <a:pt x="217" y="114"/>
                </a:cubicBezTo>
                <a:cubicBezTo>
                  <a:pt x="218" y="114"/>
                  <a:pt x="218" y="114"/>
                  <a:pt x="218" y="114"/>
                </a:cubicBezTo>
                <a:cubicBezTo>
                  <a:pt x="219" y="113"/>
                  <a:pt x="219" y="113"/>
                  <a:pt x="219" y="113"/>
                </a:cubicBezTo>
                <a:cubicBezTo>
                  <a:pt x="219" y="112"/>
                  <a:pt x="220" y="112"/>
                  <a:pt x="220" y="111"/>
                </a:cubicBezTo>
                <a:cubicBezTo>
                  <a:pt x="220" y="111"/>
                  <a:pt x="220" y="110"/>
                  <a:pt x="220" y="109"/>
                </a:cubicBezTo>
                <a:cubicBezTo>
                  <a:pt x="220" y="108"/>
                  <a:pt x="220" y="108"/>
                  <a:pt x="220" y="107"/>
                </a:cubicBezTo>
                <a:cubicBezTo>
                  <a:pt x="220" y="106"/>
                  <a:pt x="221" y="106"/>
                  <a:pt x="221" y="106"/>
                </a:cubicBezTo>
                <a:cubicBezTo>
                  <a:pt x="221" y="105"/>
                  <a:pt x="221" y="105"/>
                  <a:pt x="221" y="105"/>
                </a:cubicBezTo>
                <a:cubicBezTo>
                  <a:pt x="221" y="105"/>
                  <a:pt x="222" y="106"/>
                  <a:pt x="222" y="106"/>
                </a:cubicBezTo>
                <a:cubicBezTo>
                  <a:pt x="222" y="107"/>
                  <a:pt x="221" y="107"/>
                  <a:pt x="222" y="108"/>
                </a:cubicBezTo>
                <a:cubicBezTo>
                  <a:pt x="222" y="108"/>
                  <a:pt x="222" y="108"/>
                  <a:pt x="222" y="109"/>
                </a:cubicBezTo>
                <a:cubicBezTo>
                  <a:pt x="222" y="109"/>
                  <a:pt x="222" y="108"/>
                  <a:pt x="223" y="108"/>
                </a:cubicBezTo>
                <a:cubicBezTo>
                  <a:pt x="223" y="108"/>
                  <a:pt x="223" y="107"/>
                  <a:pt x="223" y="107"/>
                </a:cubicBezTo>
                <a:cubicBezTo>
                  <a:pt x="223" y="107"/>
                  <a:pt x="223" y="106"/>
                  <a:pt x="223" y="106"/>
                </a:cubicBezTo>
                <a:cubicBezTo>
                  <a:pt x="223" y="106"/>
                  <a:pt x="224" y="105"/>
                  <a:pt x="224" y="105"/>
                </a:cubicBezTo>
                <a:cubicBezTo>
                  <a:pt x="224" y="105"/>
                  <a:pt x="224" y="104"/>
                  <a:pt x="225" y="104"/>
                </a:cubicBezTo>
                <a:cubicBezTo>
                  <a:pt x="225" y="104"/>
                  <a:pt x="225" y="103"/>
                  <a:pt x="225" y="103"/>
                </a:cubicBezTo>
                <a:cubicBezTo>
                  <a:pt x="225" y="102"/>
                  <a:pt x="225" y="102"/>
                  <a:pt x="225" y="101"/>
                </a:cubicBezTo>
                <a:cubicBezTo>
                  <a:pt x="225" y="100"/>
                  <a:pt x="226" y="100"/>
                  <a:pt x="227" y="100"/>
                </a:cubicBezTo>
                <a:cubicBezTo>
                  <a:pt x="228" y="99"/>
                  <a:pt x="228" y="98"/>
                  <a:pt x="229" y="98"/>
                </a:cubicBezTo>
                <a:cubicBezTo>
                  <a:pt x="230" y="97"/>
                  <a:pt x="230" y="97"/>
                  <a:pt x="230" y="97"/>
                </a:cubicBezTo>
                <a:cubicBezTo>
                  <a:pt x="230" y="96"/>
                  <a:pt x="231" y="96"/>
                  <a:pt x="231" y="95"/>
                </a:cubicBezTo>
                <a:cubicBezTo>
                  <a:pt x="231" y="95"/>
                  <a:pt x="232" y="94"/>
                  <a:pt x="233" y="93"/>
                </a:cubicBezTo>
                <a:cubicBezTo>
                  <a:pt x="233" y="93"/>
                  <a:pt x="234" y="92"/>
                  <a:pt x="234" y="91"/>
                </a:cubicBezTo>
                <a:cubicBezTo>
                  <a:pt x="235" y="91"/>
                  <a:pt x="235" y="91"/>
                  <a:pt x="235" y="91"/>
                </a:cubicBezTo>
                <a:cubicBezTo>
                  <a:pt x="235" y="91"/>
                  <a:pt x="235" y="91"/>
                  <a:pt x="236" y="91"/>
                </a:cubicBezTo>
                <a:cubicBezTo>
                  <a:pt x="236" y="91"/>
                  <a:pt x="236" y="91"/>
                  <a:pt x="237" y="90"/>
                </a:cubicBezTo>
                <a:cubicBezTo>
                  <a:pt x="237" y="90"/>
                  <a:pt x="238" y="89"/>
                  <a:pt x="239" y="89"/>
                </a:cubicBezTo>
                <a:cubicBezTo>
                  <a:pt x="239" y="89"/>
                  <a:pt x="239" y="89"/>
                  <a:pt x="240" y="89"/>
                </a:cubicBezTo>
                <a:cubicBezTo>
                  <a:pt x="240" y="89"/>
                  <a:pt x="240" y="88"/>
                  <a:pt x="240" y="88"/>
                </a:cubicBezTo>
                <a:cubicBezTo>
                  <a:pt x="240" y="88"/>
                  <a:pt x="242" y="87"/>
                  <a:pt x="242" y="87"/>
                </a:cubicBezTo>
                <a:cubicBezTo>
                  <a:pt x="242" y="87"/>
                  <a:pt x="241" y="86"/>
                  <a:pt x="241" y="86"/>
                </a:cubicBezTo>
                <a:cubicBezTo>
                  <a:pt x="241" y="86"/>
                  <a:pt x="240" y="86"/>
                  <a:pt x="240" y="86"/>
                </a:cubicBezTo>
                <a:cubicBezTo>
                  <a:pt x="239" y="86"/>
                  <a:pt x="239" y="85"/>
                  <a:pt x="239" y="85"/>
                </a:cubicBezTo>
                <a:cubicBezTo>
                  <a:pt x="239" y="85"/>
                  <a:pt x="238" y="84"/>
                  <a:pt x="238" y="84"/>
                </a:cubicBezTo>
                <a:cubicBezTo>
                  <a:pt x="238" y="84"/>
                  <a:pt x="239" y="84"/>
                  <a:pt x="239" y="84"/>
                </a:cubicBezTo>
                <a:cubicBezTo>
                  <a:pt x="239" y="84"/>
                  <a:pt x="240" y="83"/>
                  <a:pt x="240" y="83"/>
                </a:cubicBezTo>
                <a:cubicBezTo>
                  <a:pt x="241" y="82"/>
                  <a:pt x="240" y="82"/>
                  <a:pt x="239" y="81"/>
                </a:cubicBezTo>
                <a:cubicBezTo>
                  <a:pt x="239" y="81"/>
                  <a:pt x="239" y="81"/>
                  <a:pt x="239" y="81"/>
                </a:cubicBezTo>
                <a:cubicBezTo>
                  <a:pt x="239" y="80"/>
                  <a:pt x="240" y="80"/>
                  <a:pt x="240" y="80"/>
                </a:cubicBezTo>
                <a:cubicBezTo>
                  <a:pt x="240" y="80"/>
                  <a:pt x="241" y="81"/>
                  <a:pt x="241" y="81"/>
                </a:cubicBezTo>
                <a:cubicBezTo>
                  <a:pt x="241" y="82"/>
                  <a:pt x="241" y="82"/>
                  <a:pt x="241" y="83"/>
                </a:cubicBezTo>
                <a:cubicBezTo>
                  <a:pt x="242" y="83"/>
                  <a:pt x="242" y="83"/>
                  <a:pt x="242" y="83"/>
                </a:cubicBezTo>
                <a:cubicBezTo>
                  <a:pt x="242" y="84"/>
                  <a:pt x="242" y="84"/>
                  <a:pt x="242" y="84"/>
                </a:cubicBezTo>
                <a:cubicBezTo>
                  <a:pt x="242" y="85"/>
                  <a:pt x="242" y="85"/>
                  <a:pt x="242" y="86"/>
                </a:cubicBezTo>
                <a:cubicBezTo>
                  <a:pt x="242" y="86"/>
                  <a:pt x="242" y="87"/>
                  <a:pt x="243" y="86"/>
                </a:cubicBezTo>
                <a:cubicBezTo>
                  <a:pt x="243" y="86"/>
                  <a:pt x="244" y="86"/>
                  <a:pt x="244" y="86"/>
                </a:cubicBezTo>
                <a:cubicBezTo>
                  <a:pt x="245" y="85"/>
                  <a:pt x="246" y="84"/>
                  <a:pt x="247" y="84"/>
                </a:cubicBezTo>
                <a:cubicBezTo>
                  <a:pt x="247" y="83"/>
                  <a:pt x="248" y="82"/>
                  <a:pt x="249" y="82"/>
                </a:cubicBezTo>
                <a:cubicBezTo>
                  <a:pt x="249" y="82"/>
                  <a:pt x="250" y="82"/>
                  <a:pt x="250" y="82"/>
                </a:cubicBezTo>
                <a:cubicBezTo>
                  <a:pt x="250" y="81"/>
                  <a:pt x="251" y="81"/>
                  <a:pt x="252" y="81"/>
                </a:cubicBezTo>
                <a:cubicBezTo>
                  <a:pt x="252" y="81"/>
                  <a:pt x="252" y="81"/>
                  <a:pt x="253" y="81"/>
                </a:cubicBezTo>
                <a:cubicBezTo>
                  <a:pt x="253" y="81"/>
                  <a:pt x="253" y="81"/>
                  <a:pt x="254" y="81"/>
                </a:cubicBezTo>
                <a:cubicBezTo>
                  <a:pt x="254" y="81"/>
                  <a:pt x="255" y="81"/>
                  <a:pt x="255" y="81"/>
                </a:cubicBezTo>
                <a:cubicBezTo>
                  <a:pt x="256" y="81"/>
                  <a:pt x="256" y="80"/>
                  <a:pt x="256" y="80"/>
                </a:cubicBezTo>
                <a:cubicBezTo>
                  <a:pt x="257" y="80"/>
                  <a:pt x="258" y="80"/>
                  <a:pt x="259" y="80"/>
                </a:cubicBezTo>
                <a:cubicBezTo>
                  <a:pt x="259" y="80"/>
                  <a:pt x="260" y="80"/>
                  <a:pt x="260" y="79"/>
                </a:cubicBezTo>
                <a:cubicBezTo>
                  <a:pt x="260" y="79"/>
                  <a:pt x="260" y="79"/>
                  <a:pt x="261" y="79"/>
                </a:cubicBezTo>
                <a:cubicBezTo>
                  <a:pt x="261" y="79"/>
                  <a:pt x="261" y="78"/>
                  <a:pt x="262" y="78"/>
                </a:cubicBezTo>
                <a:cubicBezTo>
                  <a:pt x="262" y="78"/>
                  <a:pt x="263" y="78"/>
                  <a:pt x="264" y="77"/>
                </a:cubicBezTo>
                <a:cubicBezTo>
                  <a:pt x="264" y="77"/>
                  <a:pt x="265" y="77"/>
                  <a:pt x="265" y="78"/>
                </a:cubicBezTo>
                <a:cubicBezTo>
                  <a:pt x="265" y="78"/>
                  <a:pt x="265" y="78"/>
                  <a:pt x="265" y="79"/>
                </a:cubicBezTo>
                <a:cubicBezTo>
                  <a:pt x="265" y="79"/>
                  <a:pt x="265" y="79"/>
                  <a:pt x="266" y="80"/>
                </a:cubicBezTo>
                <a:cubicBezTo>
                  <a:pt x="266" y="80"/>
                  <a:pt x="266" y="80"/>
                  <a:pt x="266" y="79"/>
                </a:cubicBezTo>
                <a:cubicBezTo>
                  <a:pt x="267" y="79"/>
                  <a:pt x="266" y="77"/>
                  <a:pt x="268" y="78"/>
                </a:cubicBezTo>
                <a:cubicBezTo>
                  <a:pt x="268" y="78"/>
                  <a:pt x="268" y="79"/>
                  <a:pt x="268" y="79"/>
                </a:cubicBezTo>
                <a:cubicBezTo>
                  <a:pt x="268" y="79"/>
                  <a:pt x="269" y="79"/>
                  <a:pt x="269" y="79"/>
                </a:cubicBezTo>
                <a:cubicBezTo>
                  <a:pt x="270" y="79"/>
                  <a:pt x="270" y="79"/>
                  <a:pt x="271" y="79"/>
                </a:cubicBezTo>
                <a:cubicBezTo>
                  <a:pt x="271" y="78"/>
                  <a:pt x="271" y="78"/>
                  <a:pt x="271" y="78"/>
                </a:cubicBezTo>
                <a:cubicBezTo>
                  <a:pt x="272" y="77"/>
                  <a:pt x="272" y="76"/>
                  <a:pt x="272" y="75"/>
                </a:cubicBezTo>
                <a:cubicBezTo>
                  <a:pt x="273" y="75"/>
                  <a:pt x="273" y="74"/>
                  <a:pt x="273" y="73"/>
                </a:cubicBezTo>
                <a:cubicBezTo>
                  <a:pt x="274" y="73"/>
                  <a:pt x="274" y="72"/>
                  <a:pt x="274" y="73"/>
                </a:cubicBezTo>
                <a:cubicBezTo>
                  <a:pt x="275" y="73"/>
                  <a:pt x="275" y="73"/>
                  <a:pt x="275" y="73"/>
                </a:cubicBezTo>
                <a:cubicBezTo>
                  <a:pt x="275" y="73"/>
                  <a:pt x="275" y="73"/>
                  <a:pt x="276" y="73"/>
                </a:cubicBezTo>
                <a:cubicBezTo>
                  <a:pt x="276" y="73"/>
                  <a:pt x="276" y="73"/>
                  <a:pt x="277" y="72"/>
                </a:cubicBezTo>
                <a:cubicBezTo>
                  <a:pt x="277" y="72"/>
                  <a:pt x="278" y="71"/>
                  <a:pt x="278" y="71"/>
                </a:cubicBezTo>
                <a:cubicBezTo>
                  <a:pt x="278" y="70"/>
                  <a:pt x="279" y="70"/>
                  <a:pt x="278" y="69"/>
                </a:cubicBezTo>
                <a:cubicBezTo>
                  <a:pt x="277" y="69"/>
                  <a:pt x="277" y="69"/>
                  <a:pt x="276" y="69"/>
                </a:cubicBezTo>
                <a:cubicBezTo>
                  <a:pt x="276" y="69"/>
                  <a:pt x="275" y="69"/>
                  <a:pt x="274" y="69"/>
                </a:cubicBezTo>
                <a:cubicBezTo>
                  <a:pt x="273" y="69"/>
                  <a:pt x="273" y="69"/>
                  <a:pt x="273" y="68"/>
                </a:cubicBezTo>
                <a:cubicBezTo>
                  <a:pt x="273" y="68"/>
                  <a:pt x="273" y="67"/>
                  <a:pt x="273" y="66"/>
                </a:cubicBezTo>
                <a:cubicBezTo>
                  <a:pt x="273" y="66"/>
                  <a:pt x="273" y="66"/>
                  <a:pt x="272" y="66"/>
                </a:cubicBezTo>
                <a:cubicBezTo>
                  <a:pt x="272" y="66"/>
                  <a:pt x="272" y="66"/>
                  <a:pt x="272" y="67"/>
                </a:cubicBezTo>
                <a:cubicBezTo>
                  <a:pt x="272" y="67"/>
                  <a:pt x="272" y="67"/>
                  <a:pt x="271" y="67"/>
                </a:cubicBezTo>
                <a:cubicBezTo>
                  <a:pt x="271" y="67"/>
                  <a:pt x="271" y="68"/>
                  <a:pt x="270" y="68"/>
                </a:cubicBezTo>
                <a:cubicBezTo>
                  <a:pt x="269" y="68"/>
                  <a:pt x="269" y="68"/>
                  <a:pt x="269" y="68"/>
                </a:cubicBezTo>
                <a:cubicBezTo>
                  <a:pt x="268" y="68"/>
                  <a:pt x="268" y="68"/>
                  <a:pt x="267" y="69"/>
                </a:cubicBezTo>
                <a:cubicBezTo>
                  <a:pt x="267" y="69"/>
                  <a:pt x="266" y="69"/>
                  <a:pt x="266" y="69"/>
                </a:cubicBezTo>
                <a:cubicBezTo>
                  <a:pt x="266" y="69"/>
                  <a:pt x="265" y="70"/>
                  <a:pt x="265" y="70"/>
                </a:cubicBezTo>
                <a:cubicBezTo>
                  <a:pt x="264" y="70"/>
                  <a:pt x="264" y="70"/>
                  <a:pt x="264" y="70"/>
                </a:cubicBezTo>
                <a:cubicBezTo>
                  <a:pt x="264" y="70"/>
                  <a:pt x="264" y="70"/>
                  <a:pt x="263" y="70"/>
                </a:cubicBezTo>
                <a:cubicBezTo>
                  <a:pt x="263" y="71"/>
                  <a:pt x="263" y="71"/>
                  <a:pt x="262" y="71"/>
                </a:cubicBezTo>
                <a:cubicBezTo>
                  <a:pt x="262" y="71"/>
                  <a:pt x="261" y="71"/>
                  <a:pt x="261" y="71"/>
                </a:cubicBezTo>
                <a:cubicBezTo>
                  <a:pt x="261" y="71"/>
                  <a:pt x="260" y="71"/>
                  <a:pt x="260" y="71"/>
                </a:cubicBezTo>
                <a:cubicBezTo>
                  <a:pt x="259" y="70"/>
                  <a:pt x="259" y="70"/>
                  <a:pt x="259" y="70"/>
                </a:cubicBezTo>
                <a:cubicBezTo>
                  <a:pt x="258" y="70"/>
                  <a:pt x="258" y="70"/>
                  <a:pt x="258" y="70"/>
                </a:cubicBezTo>
                <a:cubicBezTo>
                  <a:pt x="258" y="69"/>
                  <a:pt x="257" y="69"/>
                  <a:pt x="257" y="69"/>
                </a:cubicBezTo>
                <a:cubicBezTo>
                  <a:pt x="256" y="69"/>
                  <a:pt x="255" y="69"/>
                  <a:pt x="255" y="68"/>
                </a:cubicBezTo>
                <a:cubicBezTo>
                  <a:pt x="255" y="68"/>
                  <a:pt x="255" y="67"/>
                  <a:pt x="254" y="67"/>
                </a:cubicBezTo>
                <a:cubicBezTo>
                  <a:pt x="254" y="66"/>
                  <a:pt x="254" y="66"/>
                  <a:pt x="253" y="65"/>
                </a:cubicBezTo>
                <a:cubicBezTo>
                  <a:pt x="253" y="65"/>
                  <a:pt x="253" y="64"/>
                  <a:pt x="252" y="64"/>
                </a:cubicBezTo>
                <a:cubicBezTo>
                  <a:pt x="252" y="64"/>
                  <a:pt x="252" y="64"/>
                  <a:pt x="252" y="64"/>
                </a:cubicBezTo>
                <a:cubicBezTo>
                  <a:pt x="253" y="63"/>
                  <a:pt x="253" y="64"/>
                  <a:pt x="254" y="64"/>
                </a:cubicBezTo>
                <a:cubicBezTo>
                  <a:pt x="254" y="64"/>
                  <a:pt x="254" y="64"/>
                  <a:pt x="254" y="64"/>
                </a:cubicBezTo>
                <a:cubicBezTo>
                  <a:pt x="254" y="65"/>
                  <a:pt x="255" y="65"/>
                  <a:pt x="255" y="65"/>
                </a:cubicBezTo>
                <a:cubicBezTo>
                  <a:pt x="255" y="65"/>
                  <a:pt x="255" y="65"/>
                  <a:pt x="256" y="66"/>
                </a:cubicBezTo>
                <a:cubicBezTo>
                  <a:pt x="256" y="66"/>
                  <a:pt x="257" y="67"/>
                  <a:pt x="258" y="67"/>
                </a:cubicBezTo>
                <a:cubicBezTo>
                  <a:pt x="258" y="67"/>
                  <a:pt x="258" y="68"/>
                  <a:pt x="258" y="68"/>
                </a:cubicBezTo>
                <a:cubicBezTo>
                  <a:pt x="259" y="68"/>
                  <a:pt x="259" y="68"/>
                  <a:pt x="259" y="68"/>
                </a:cubicBezTo>
                <a:cubicBezTo>
                  <a:pt x="260" y="69"/>
                  <a:pt x="260" y="69"/>
                  <a:pt x="260" y="69"/>
                </a:cubicBezTo>
                <a:cubicBezTo>
                  <a:pt x="261" y="69"/>
                  <a:pt x="261" y="69"/>
                  <a:pt x="262" y="68"/>
                </a:cubicBezTo>
                <a:cubicBezTo>
                  <a:pt x="262" y="68"/>
                  <a:pt x="263" y="68"/>
                  <a:pt x="263" y="67"/>
                </a:cubicBezTo>
                <a:cubicBezTo>
                  <a:pt x="264" y="67"/>
                  <a:pt x="264" y="67"/>
                  <a:pt x="264" y="67"/>
                </a:cubicBezTo>
                <a:cubicBezTo>
                  <a:pt x="264" y="67"/>
                  <a:pt x="265" y="67"/>
                  <a:pt x="265" y="67"/>
                </a:cubicBezTo>
                <a:cubicBezTo>
                  <a:pt x="265" y="66"/>
                  <a:pt x="265" y="66"/>
                  <a:pt x="265" y="66"/>
                </a:cubicBezTo>
                <a:cubicBezTo>
                  <a:pt x="266" y="66"/>
                  <a:pt x="266" y="66"/>
                  <a:pt x="266" y="65"/>
                </a:cubicBezTo>
                <a:cubicBezTo>
                  <a:pt x="267" y="65"/>
                  <a:pt x="267" y="65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8" y="63"/>
                  <a:pt x="268" y="62"/>
                  <a:pt x="268" y="61"/>
                </a:cubicBezTo>
                <a:cubicBezTo>
                  <a:pt x="267" y="60"/>
                  <a:pt x="266" y="61"/>
                  <a:pt x="265" y="61"/>
                </a:cubicBezTo>
                <a:cubicBezTo>
                  <a:pt x="265" y="61"/>
                  <a:pt x="265" y="61"/>
                  <a:pt x="264" y="61"/>
                </a:cubicBezTo>
                <a:cubicBezTo>
                  <a:pt x="264" y="62"/>
                  <a:pt x="264" y="61"/>
                  <a:pt x="264" y="61"/>
                </a:cubicBezTo>
                <a:cubicBezTo>
                  <a:pt x="264" y="61"/>
                  <a:pt x="264" y="61"/>
                  <a:pt x="265" y="60"/>
                </a:cubicBezTo>
                <a:cubicBezTo>
                  <a:pt x="265" y="60"/>
                  <a:pt x="265" y="60"/>
                  <a:pt x="265" y="60"/>
                </a:cubicBezTo>
                <a:cubicBezTo>
                  <a:pt x="266" y="59"/>
                  <a:pt x="266" y="59"/>
                  <a:pt x="267" y="59"/>
                </a:cubicBezTo>
                <a:cubicBezTo>
                  <a:pt x="267" y="59"/>
                  <a:pt x="268" y="60"/>
                  <a:pt x="269" y="59"/>
                </a:cubicBezTo>
                <a:cubicBezTo>
                  <a:pt x="269" y="59"/>
                  <a:pt x="270" y="59"/>
                  <a:pt x="270" y="59"/>
                </a:cubicBezTo>
                <a:cubicBezTo>
                  <a:pt x="270" y="58"/>
                  <a:pt x="270" y="57"/>
                  <a:pt x="270" y="56"/>
                </a:cubicBezTo>
                <a:cubicBezTo>
                  <a:pt x="271" y="56"/>
                  <a:pt x="271" y="56"/>
                  <a:pt x="271" y="55"/>
                </a:cubicBezTo>
                <a:cubicBezTo>
                  <a:pt x="270" y="54"/>
                  <a:pt x="268" y="54"/>
                  <a:pt x="267" y="54"/>
                </a:cubicBezTo>
                <a:cubicBezTo>
                  <a:pt x="266" y="54"/>
                  <a:pt x="266" y="53"/>
                  <a:pt x="265" y="53"/>
                </a:cubicBezTo>
                <a:cubicBezTo>
                  <a:pt x="265" y="53"/>
                  <a:pt x="264" y="53"/>
                  <a:pt x="264" y="53"/>
                </a:cubicBezTo>
                <a:cubicBezTo>
                  <a:pt x="264" y="53"/>
                  <a:pt x="263" y="53"/>
                  <a:pt x="263" y="53"/>
                </a:cubicBezTo>
                <a:cubicBezTo>
                  <a:pt x="263" y="52"/>
                  <a:pt x="263" y="52"/>
                  <a:pt x="262" y="52"/>
                </a:cubicBezTo>
                <a:cubicBezTo>
                  <a:pt x="261" y="52"/>
                  <a:pt x="260" y="51"/>
                  <a:pt x="259" y="51"/>
                </a:cubicBezTo>
                <a:cubicBezTo>
                  <a:pt x="259" y="50"/>
                  <a:pt x="258" y="50"/>
                  <a:pt x="258" y="50"/>
                </a:cubicBezTo>
                <a:cubicBezTo>
                  <a:pt x="257" y="49"/>
                  <a:pt x="256" y="49"/>
                  <a:pt x="256" y="48"/>
                </a:cubicBezTo>
                <a:cubicBezTo>
                  <a:pt x="255" y="48"/>
                  <a:pt x="254" y="48"/>
                  <a:pt x="254" y="47"/>
                </a:cubicBezTo>
                <a:cubicBezTo>
                  <a:pt x="255" y="47"/>
                  <a:pt x="256" y="48"/>
                  <a:pt x="257" y="48"/>
                </a:cubicBezTo>
                <a:cubicBezTo>
                  <a:pt x="258" y="49"/>
                  <a:pt x="260" y="49"/>
                  <a:pt x="261" y="49"/>
                </a:cubicBezTo>
                <a:cubicBezTo>
                  <a:pt x="262" y="50"/>
                  <a:pt x="264" y="50"/>
                  <a:pt x="265" y="50"/>
                </a:cubicBezTo>
                <a:cubicBezTo>
                  <a:pt x="265" y="51"/>
                  <a:pt x="266" y="51"/>
                  <a:pt x="266" y="51"/>
                </a:cubicBezTo>
                <a:cubicBezTo>
                  <a:pt x="266" y="51"/>
                  <a:pt x="267" y="51"/>
                  <a:pt x="267" y="51"/>
                </a:cubicBezTo>
                <a:cubicBezTo>
                  <a:pt x="268" y="51"/>
                  <a:pt x="267" y="50"/>
                  <a:pt x="267" y="49"/>
                </a:cubicBezTo>
                <a:cubicBezTo>
                  <a:pt x="266" y="49"/>
                  <a:pt x="266" y="48"/>
                  <a:pt x="266" y="47"/>
                </a:cubicBezTo>
                <a:cubicBezTo>
                  <a:pt x="267" y="47"/>
                  <a:pt x="267" y="46"/>
                  <a:pt x="267" y="46"/>
                </a:cubicBezTo>
                <a:cubicBezTo>
                  <a:pt x="268" y="45"/>
                  <a:pt x="268" y="45"/>
                  <a:pt x="269" y="45"/>
                </a:cubicBezTo>
                <a:cubicBezTo>
                  <a:pt x="270" y="45"/>
                  <a:pt x="271" y="45"/>
                  <a:pt x="271" y="45"/>
                </a:cubicBezTo>
                <a:cubicBezTo>
                  <a:pt x="271" y="46"/>
                  <a:pt x="271" y="47"/>
                  <a:pt x="271" y="47"/>
                </a:cubicBezTo>
                <a:cubicBezTo>
                  <a:pt x="270" y="47"/>
                  <a:pt x="270" y="47"/>
                  <a:pt x="269" y="46"/>
                </a:cubicBezTo>
                <a:cubicBezTo>
                  <a:pt x="269" y="46"/>
                  <a:pt x="268" y="46"/>
                  <a:pt x="268" y="47"/>
                </a:cubicBezTo>
                <a:cubicBezTo>
                  <a:pt x="268" y="47"/>
                  <a:pt x="269" y="48"/>
                  <a:pt x="269" y="48"/>
                </a:cubicBezTo>
                <a:cubicBezTo>
                  <a:pt x="269" y="49"/>
                  <a:pt x="270" y="49"/>
                  <a:pt x="270" y="50"/>
                </a:cubicBezTo>
                <a:cubicBezTo>
                  <a:pt x="270" y="50"/>
                  <a:pt x="270" y="51"/>
                  <a:pt x="271" y="51"/>
                </a:cubicBezTo>
                <a:cubicBezTo>
                  <a:pt x="271" y="52"/>
                  <a:pt x="272" y="52"/>
                  <a:pt x="272" y="52"/>
                </a:cubicBezTo>
                <a:cubicBezTo>
                  <a:pt x="273" y="51"/>
                  <a:pt x="273" y="50"/>
                  <a:pt x="274" y="50"/>
                </a:cubicBezTo>
                <a:cubicBezTo>
                  <a:pt x="275" y="50"/>
                  <a:pt x="275" y="51"/>
                  <a:pt x="276" y="51"/>
                </a:cubicBezTo>
                <a:cubicBezTo>
                  <a:pt x="276" y="52"/>
                  <a:pt x="277" y="52"/>
                  <a:pt x="277" y="53"/>
                </a:cubicBezTo>
                <a:cubicBezTo>
                  <a:pt x="278" y="53"/>
                  <a:pt x="278" y="53"/>
                  <a:pt x="279" y="53"/>
                </a:cubicBezTo>
                <a:cubicBezTo>
                  <a:pt x="279" y="53"/>
                  <a:pt x="280" y="53"/>
                  <a:pt x="281" y="54"/>
                </a:cubicBezTo>
                <a:cubicBezTo>
                  <a:pt x="281" y="54"/>
                  <a:pt x="281" y="54"/>
                  <a:pt x="282" y="54"/>
                </a:cubicBezTo>
                <a:cubicBezTo>
                  <a:pt x="283" y="54"/>
                  <a:pt x="283" y="54"/>
                  <a:pt x="283" y="53"/>
                </a:cubicBezTo>
                <a:cubicBezTo>
                  <a:pt x="284" y="53"/>
                  <a:pt x="285" y="53"/>
                  <a:pt x="285" y="52"/>
                </a:cubicBezTo>
                <a:cubicBezTo>
                  <a:pt x="286" y="52"/>
                  <a:pt x="286" y="51"/>
                  <a:pt x="287" y="51"/>
                </a:cubicBezTo>
                <a:cubicBezTo>
                  <a:pt x="287" y="50"/>
                  <a:pt x="288" y="49"/>
                  <a:pt x="288" y="49"/>
                </a:cubicBezTo>
                <a:cubicBezTo>
                  <a:pt x="289" y="47"/>
                  <a:pt x="289" y="46"/>
                  <a:pt x="290" y="45"/>
                </a:cubicBezTo>
                <a:cubicBezTo>
                  <a:pt x="291" y="44"/>
                  <a:pt x="293" y="43"/>
                  <a:pt x="294" y="43"/>
                </a:cubicBezTo>
                <a:cubicBezTo>
                  <a:pt x="295" y="43"/>
                  <a:pt x="295" y="43"/>
                  <a:pt x="296" y="43"/>
                </a:cubicBezTo>
                <a:cubicBezTo>
                  <a:pt x="296" y="43"/>
                  <a:pt x="296" y="42"/>
                  <a:pt x="296" y="42"/>
                </a:cubicBezTo>
                <a:cubicBezTo>
                  <a:pt x="296" y="41"/>
                  <a:pt x="297" y="40"/>
                  <a:pt x="298" y="39"/>
                </a:cubicBezTo>
                <a:cubicBezTo>
                  <a:pt x="298" y="39"/>
                  <a:pt x="298" y="38"/>
                  <a:pt x="298" y="38"/>
                </a:cubicBezTo>
                <a:cubicBezTo>
                  <a:pt x="298" y="37"/>
                  <a:pt x="298" y="37"/>
                  <a:pt x="298" y="37"/>
                </a:cubicBezTo>
                <a:cubicBezTo>
                  <a:pt x="297" y="36"/>
                  <a:pt x="297" y="35"/>
                  <a:pt x="297" y="34"/>
                </a:cubicBezTo>
                <a:cubicBezTo>
                  <a:pt x="297" y="34"/>
                  <a:pt x="297" y="33"/>
                  <a:pt x="297" y="33"/>
                </a:cubicBezTo>
                <a:cubicBezTo>
                  <a:pt x="297" y="32"/>
                  <a:pt x="297" y="31"/>
                  <a:pt x="296" y="30"/>
                </a:cubicBezTo>
                <a:cubicBezTo>
                  <a:pt x="296" y="29"/>
                  <a:pt x="295" y="29"/>
                  <a:pt x="294" y="29"/>
                </a:cubicBezTo>
                <a:cubicBezTo>
                  <a:pt x="293" y="29"/>
                  <a:pt x="292" y="28"/>
                  <a:pt x="291" y="29"/>
                </a:cubicBezTo>
                <a:cubicBezTo>
                  <a:pt x="290" y="29"/>
                  <a:pt x="289" y="30"/>
                  <a:pt x="288" y="31"/>
                </a:cubicBezTo>
                <a:cubicBezTo>
                  <a:pt x="288" y="31"/>
                  <a:pt x="288" y="32"/>
                  <a:pt x="288" y="32"/>
                </a:cubicBezTo>
                <a:cubicBezTo>
                  <a:pt x="288" y="33"/>
                  <a:pt x="288" y="34"/>
                  <a:pt x="288" y="35"/>
                </a:cubicBezTo>
                <a:cubicBezTo>
                  <a:pt x="288" y="36"/>
                  <a:pt x="288" y="38"/>
                  <a:pt x="288" y="39"/>
                </a:cubicBezTo>
                <a:cubicBezTo>
                  <a:pt x="287" y="40"/>
                  <a:pt x="286" y="40"/>
                  <a:pt x="285" y="40"/>
                </a:cubicBezTo>
                <a:cubicBezTo>
                  <a:pt x="284" y="39"/>
                  <a:pt x="284" y="39"/>
                  <a:pt x="284" y="39"/>
                </a:cubicBezTo>
                <a:cubicBezTo>
                  <a:pt x="283" y="39"/>
                  <a:pt x="283" y="38"/>
                  <a:pt x="284" y="38"/>
                </a:cubicBezTo>
                <a:cubicBezTo>
                  <a:pt x="284" y="38"/>
                  <a:pt x="284" y="39"/>
                  <a:pt x="285" y="39"/>
                </a:cubicBezTo>
                <a:cubicBezTo>
                  <a:pt x="285" y="39"/>
                  <a:pt x="285" y="39"/>
                  <a:pt x="285" y="38"/>
                </a:cubicBezTo>
                <a:cubicBezTo>
                  <a:pt x="285" y="37"/>
                  <a:pt x="286" y="37"/>
                  <a:pt x="286" y="36"/>
                </a:cubicBezTo>
                <a:cubicBezTo>
                  <a:pt x="286" y="35"/>
                  <a:pt x="286" y="34"/>
                  <a:pt x="286" y="33"/>
                </a:cubicBezTo>
                <a:cubicBezTo>
                  <a:pt x="286" y="32"/>
                  <a:pt x="286" y="31"/>
                  <a:pt x="286" y="30"/>
                </a:cubicBezTo>
                <a:cubicBezTo>
                  <a:pt x="285" y="29"/>
                  <a:pt x="286" y="29"/>
                  <a:pt x="286" y="29"/>
                </a:cubicBezTo>
                <a:cubicBezTo>
                  <a:pt x="286" y="28"/>
                  <a:pt x="286" y="27"/>
                  <a:pt x="286" y="27"/>
                </a:cubicBezTo>
                <a:cubicBezTo>
                  <a:pt x="286" y="27"/>
                  <a:pt x="286" y="26"/>
                  <a:pt x="285" y="26"/>
                </a:cubicBezTo>
                <a:cubicBezTo>
                  <a:pt x="281" y="26"/>
                  <a:pt x="281" y="26"/>
                  <a:pt x="281" y="26"/>
                </a:cubicBezTo>
                <a:cubicBezTo>
                  <a:pt x="280" y="26"/>
                  <a:pt x="280" y="27"/>
                  <a:pt x="279" y="27"/>
                </a:cubicBezTo>
                <a:cubicBezTo>
                  <a:pt x="279" y="27"/>
                  <a:pt x="278" y="27"/>
                  <a:pt x="277" y="28"/>
                </a:cubicBezTo>
                <a:cubicBezTo>
                  <a:pt x="277" y="28"/>
                  <a:pt x="277" y="28"/>
                  <a:pt x="276" y="28"/>
                </a:cubicBezTo>
                <a:cubicBezTo>
                  <a:pt x="276" y="28"/>
                  <a:pt x="275" y="27"/>
                  <a:pt x="275" y="27"/>
                </a:cubicBezTo>
                <a:cubicBezTo>
                  <a:pt x="275" y="27"/>
                  <a:pt x="275" y="26"/>
                  <a:pt x="274" y="26"/>
                </a:cubicBezTo>
                <a:cubicBezTo>
                  <a:pt x="274" y="26"/>
                  <a:pt x="273" y="27"/>
                  <a:pt x="273" y="27"/>
                </a:cubicBezTo>
                <a:cubicBezTo>
                  <a:pt x="272" y="27"/>
                  <a:pt x="272" y="27"/>
                  <a:pt x="271" y="27"/>
                </a:cubicBezTo>
                <a:cubicBezTo>
                  <a:pt x="271" y="27"/>
                  <a:pt x="270" y="28"/>
                  <a:pt x="270" y="28"/>
                </a:cubicBezTo>
                <a:cubicBezTo>
                  <a:pt x="270" y="28"/>
                  <a:pt x="270" y="28"/>
                  <a:pt x="270" y="29"/>
                </a:cubicBezTo>
                <a:cubicBezTo>
                  <a:pt x="264" y="29"/>
                  <a:pt x="264" y="29"/>
                  <a:pt x="264" y="29"/>
                </a:cubicBezTo>
                <a:cubicBezTo>
                  <a:pt x="263" y="28"/>
                  <a:pt x="262" y="28"/>
                  <a:pt x="263" y="28"/>
                </a:cubicBezTo>
                <a:cubicBezTo>
                  <a:pt x="263" y="27"/>
                  <a:pt x="264" y="27"/>
                  <a:pt x="264" y="26"/>
                </a:cubicBezTo>
                <a:cubicBezTo>
                  <a:pt x="265" y="26"/>
                  <a:pt x="265" y="25"/>
                  <a:pt x="265" y="25"/>
                </a:cubicBezTo>
                <a:cubicBezTo>
                  <a:pt x="264" y="24"/>
                  <a:pt x="264" y="25"/>
                  <a:pt x="263" y="25"/>
                </a:cubicBezTo>
                <a:cubicBezTo>
                  <a:pt x="263" y="25"/>
                  <a:pt x="263" y="24"/>
                  <a:pt x="263" y="23"/>
                </a:cubicBezTo>
                <a:cubicBezTo>
                  <a:pt x="263" y="23"/>
                  <a:pt x="263" y="23"/>
                  <a:pt x="263" y="22"/>
                </a:cubicBezTo>
                <a:cubicBezTo>
                  <a:pt x="263" y="22"/>
                  <a:pt x="262" y="22"/>
                  <a:pt x="262" y="22"/>
                </a:cubicBezTo>
                <a:cubicBezTo>
                  <a:pt x="262" y="21"/>
                  <a:pt x="262" y="21"/>
                  <a:pt x="262" y="20"/>
                </a:cubicBezTo>
                <a:cubicBezTo>
                  <a:pt x="262" y="20"/>
                  <a:pt x="261" y="20"/>
                  <a:pt x="261" y="19"/>
                </a:cubicBezTo>
                <a:cubicBezTo>
                  <a:pt x="262" y="19"/>
                  <a:pt x="262" y="19"/>
                  <a:pt x="262" y="19"/>
                </a:cubicBezTo>
                <a:cubicBezTo>
                  <a:pt x="262" y="18"/>
                  <a:pt x="262" y="18"/>
                  <a:pt x="263" y="17"/>
                </a:cubicBezTo>
                <a:cubicBezTo>
                  <a:pt x="263" y="17"/>
                  <a:pt x="263" y="16"/>
                  <a:pt x="263" y="15"/>
                </a:cubicBezTo>
                <a:cubicBezTo>
                  <a:pt x="263" y="15"/>
                  <a:pt x="264" y="14"/>
                  <a:pt x="264" y="14"/>
                </a:cubicBezTo>
                <a:cubicBezTo>
                  <a:pt x="265" y="14"/>
                  <a:pt x="265" y="15"/>
                  <a:pt x="265" y="15"/>
                </a:cubicBezTo>
                <a:cubicBezTo>
                  <a:pt x="264" y="15"/>
                  <a:pt x="264" y="16"/>
                  <a:pt x="264" y="16"/>
                </a:cubicBezTo>
                <a:cubicBezTo>
                  <a:pt x="264" y="16"/>
                  <a:pt x="264" y="17"/>
                  <a:pt x="264" y="17"/>
                </a:cubicBezTo>
                <a:cubicBezTo>
                  <a:pt x="263" y="18"/>
                  <a:pt x="263" y="18"/>
                  <a:pt x="263" y="19"/>
                </a:cubicBezTo>
                <a:cubicBezTo>
                  <a:pt x="263" y="20"/>
                  <a:pt x="264" y="20"/>
                  <a:pt x="264" y="21"/>
                </a:cubicBezTo>
                <a:cubicBezTo>
                  <a:pt x="264" y="22"/>
                  <a:pt x="265" y="22"/>
                  <a:pt x="265" y="23"/>
                </a:cubicBezTo>
                <a:cubicBezTo>
                  <a:pt x="265" y="23"/>
                  <a:pt x="265" y="24"/>
                  <a:pt x="266" y="24"/>
                </a:cubicBezTo>
                <a:cubicBezTo>
                  <a:pt x="266" y="24"/>
                  <a:pt x="266" y="23"/>
                  <a:pt x="266" y="23"/>
                </a:cubicBezTo>
                <a:cubicBezTo>
                  <a:pt x="267" y="23"/>
                  <a:pt x="267" y="24"/>
                  <a:pt x="268" y="24"/>
                </a:cubicBezTo>
                <a:cubicBezTo>
                  <a:pt x="268" y="25"/>
                  <a:pt x="269" y="24"/>
                  <a:pt x="269" y="24"/>
                </a:cubicBezTo>
                <a:cubicBezTo>
                  <a:pt x="270" y="24"/>
                  <a:pt x="270" y="24"/>
                  <a:pt x="270" y="24"/>
                </a:cubicBezTo>
                <a:cubicBezTo>
                  <a:pt x="271" y="24"/>
                  <a:pt x="271" y="24"/>
                  <a:pt x="271" y="24"/>
                </a:cubicBezTo>
                <a:cubicBezTo>
                  <a:pt x="272" y="24"/>
                  <a:pt x="272" y="24"/>
                  <a:pt x="272" y="23"/>
                </a:cubicBezTo>
                <a:cubicBezTo>
                  <a:pt x="273" y="23"/>
                  <a:pt x="274" y="23"/>
                  <a:pt x="275" y="22"/>
                </a:cubicBezTo>
                <a:cubicBezTo>
                  <a:pt x="275" y="22"/>
                  <a:pt x="276" y="22"/>
                  <a:pt x="276" y="22"/>
                </a:cubicBezTo>
                <a:cubicBezTo>
                  <a:pt x="277" y="22"/>
                  <a:pt x="276" y="21"/>
                  <a:pt x="276" y="21"/>
                </a:cubicBezTo>
                <a:cubicBezTo>
                  <a:pt x="275" y="20"/>
                  <a:pt x="275" y="20"/>
                  <a:pt x="274" y="19"/>
                </a:cubicBezTo>
                <a:cubicBezTo>
                  <a:pt x="274" y="19"/>
                  <a:pt x="273" y="19"/>
                  <a:pt x="272" y="18"/>
                </a:cubicBezTo>
                <a:cubicBezTo>
                  <a:pt x="273" y="17"/>
                  <a:pt x="274" y="19"/>
                  <a:pt x="275" y="19"/>
                </a:cubicBezTo>
                <a:cubicBezTo>
                  <a:pt x="276" y="20"/>
                  <a:pt x="277" y="20"/>
                  <a:pt x="278" y="20"/>
                </a:cubicBezTo>
                <a:cubicBezTo>
                  <a:pt x="278" y="21"/>
                  <a:pt x="280" y="21"/>
                  <a:pt x="280" y="21"/>
                </a:cubicBezTo>
                <a:cubicBezTo>
                  <a:pt x="281" y="20"/>
                  <a:pt x="281" y="20"/>
                  <a:pt x="281" y="19"/>
                </a:cubicBezTo>
                <a:cubicBezTo>
                  <a:pt x="280" y="19"/>
                  <a:pt x="280" y="18"/>
                  <a:pt x="279" y="18"/>
                </a:cubicBezTo>
                <a:cubicBezTo>
                  <a:pt x="279" y="18"/>
                  <a:pt x="278" y="17"/>
                  <a:pt x="279" y="17"/>
                </a:cubicBezTo>
                <a:cubicBezTo>
                  <a:pt x="279" y="17"/>
                  <a:pt x="280" y="18"/>
                  <a:pt x="280" y="19"/>
                </a:cubicBezTo>
                <a:cubicBezTo>
                  <a:pt x="281" y="19"/>
                  <a:pt x="282" y="20"/>
                  <a:pt x="282" y="20"/>
                </a:cubicBezTo>
                <a:cubicBezTo>
                  <a:pt x="283" y="20"/>
                  <a:pt x="283" y="20"/>
                  <a:pt x="284" y="19"/>
                </a:cubicBezTo>
                <a:cubicBezTo>
                  <a:pt x="284" y="19"/>
                  <a:pt x="285" y="19"/>
                  <a:pt x="286" y="19"/>
                </a:cubicBezTo>
                <a:cubicBezTo>
                  <a:pt x="286" y="18"/>
                  <a:pt x="285" y="18"/>
                  <a:pt x="285" y="17"/>
                </a:cubicBezTo>
                <a:cubicBezTo>
                  <a:pt x="284" y="17"/>
                  <a:pt x="284" y="16"/>
                  <a:pt x="284" y="16"/>
                </a:cubicBezTo>
                <a:cubicBezTo>
                  <a:pt x="284" y="16"/>
                  <a:pt x="283" y="15"/>
                  <a:pt x="283" y="15"/>
                </a:cubicBezTo>
                <a:cubicBezTo>
                  <a:pt x="283" y="14"/>
                  <a:pt x="283" y="14"/>
                  <a:pt x="282" y="13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82" y="12"/>
                  <a:pt x="282" y="13"/>
                  <a:pt x="283" y="13"/>
                </a:cubicBezTo>
                <a:cubicBezTo>
                  <a:pt x="283" y="13"/>
                  <a:pt x="284" y="14"/>
                  <a:pt x="284" y="14"/>
                </a:cubicBezTo>
                <a:cubicBezTo>
                  <a:pt x="285" y="15"/>
                  <a:pt x="286" y="15"/>
                  <a:pt x="286" y="15"/>
                </a:cubicBezTo>
                <a:cubicBezTo>
                  <a:pt x="287" y="16"/>
                  <a:pt x="287" y="16"/>
                  <a:pt x="288" y="17"/>
                </a:cubicBezTo>
                <a:cubicBezTo>
                  <a:pt x="288" y="17"/>
                  <a:pt x="289" y="17"/>
                  <a:pt x="289" y="17"/>
                </a:cubicBezTo>
                <a:cubicBezTo>
                  <a:pt x="290" y="17"/>
                  <a:pt x="289" y="16"/>
                  <a:pt x="289" y="15"/>
                </a:cubicBezTo>
                <a:cubicBezTo>
                  <a:pt x="289" y="15"/>
                  <a:pt x="289" y="14"/>
                  <a:pt x="290" y="14"/>
                </a:cubicBezTo>
                <a:cubicBezTo>
                  <a:pt x="290" y="14"/>
                  <a:pt x="290" y="15"/>
                  <a:pt x="290" y="15"/>
                </a:cubicBezTo>
                <a:cubicBezTo>
                  <a:pt x="290" y="16"/>
                  <a:pt x="290" y="17"/>
                  <a:pt x="291" y="17"/>
                </a:cubicBezTo>
                <a:cubicBezTo>
                  <a:pt x="291" y="18"/>
                  <a:pt x="292" y="19"/>
                  <a:pt x="292" y="20"/>
                </a:cubicBezTo>
                <a:cubicBezTo>
                  <a:pt x="293" y="21"/>
                  <a:pt x="294" y="22"/>
                  <a:pt x="295" y="22"/>
                </a:cubicBezTo>
                <a:cubicBezTo>
                  <a:pt x="295" y="21"/>
                  <a:pt x="295" y="21"/>
                  <a:pt x="294" y="20"/>
                </a:cubicBezTo>
                <a:cubicBezTo>
                  <a:pt x="294" y="20"/>
                  <a:pt x="294" y="19"/>
                  <a:pt x="294" y="19"/>
                </a:cubicBezTo>
                <a:cubicBezTo>
                  <a:pt x="294" y="17"/>
                  <a:pt x="293" y="16"/>
                  <a:pt x="293" y="15"/>
                </a:cubicBezTo>
                <a:cubicBezTo>
                  <a:pt x="293" y="14"/>
                  <a:pt x="293" y="13"/>
                  <a:pt x="292" y="12"/>
                </a:cubicBezTo>
                <a:cubicBezTo>
                  <a:pt x="291" y="11"/>
                  <a:pt x="290" y="10"/>
                  <a:pt x="290" y="9"/>
                </a:cubicBezTo>
                <a:cubicBezTo>
                  <a:pt x="289" y="9"/>
                  <a:pt x="288" y="8"/>
                  <a:pt x="288" y="7"/>
                </a:cubicBezTo>
                <a:cubicBezTo>
                  <a:pt x="288" y="6"/>
                  <a:pt x="287" y="6"/>
                  <a:pt x="287" y="5"/>
                </a:cubicBezTo>
                <a:cubicBezTo>
                  <a:pt x="287" y="5"/>
                  <a:pt x="287" y="4"/>
                  <a:pt x="287" y="4"/>
                </a:cubicBezTo>
                <a:cubicBezTo>
                  <a:pt x="287" y="3"/>
                  <a:pt x="288" y="3"/>
                  <a:pt x="288" y="3"/>
                </a:cubicBezTo>
                <a:cubicBezTo>
                  <a:pt x="288" y="4"/>
                  <a:pt x="289" y="4"/>
                  <a:pt x="289" y="4"/>
                </a:cubicBezTo>
                <a:cubicBezTo>
                  <a:pt x="290" y="4"/>
                  <a:pt x="291" y="4"/>
                  <a:pt x="292" y="4"/>
                </a:cubicBezTo>
                <a:cubicBezTo>
                  <a:pt x="292" y="5"/>
                  <a:pt x="292" y="5"/>
                  <a:pt x="292" y="6"/>
                </a:cubicBezTo>
                <a:cubicBezTo>
                  <a:pt x="292" y="7"/>
                  <a:pt x="293" y="7"/>
                  <a:pt x="293" y="8"/>
                </a:cubicBezTo>
                <a:cubicBezTo>
                  <a:pt x="293" y="9"/>
                  <a:pt x="294" y="10"/>
                  <a:pt x="294" y="10"/>
                </a:cubicBezTo>
                <a:cubicBezTo>
                  <a:pt x="293" y="11"/>
                  <a:pt x="294" y="11"/>
                  <a:pt x="294" y="12"/>
                </a:cubicBezTo>
                <a:cubicBezTo>
                  <a:pt x="294" y="12"/>
                  <a:pt x="294" y="13"/>
                  <a:pt x="294" y="13"/>
                </a:cubicBezTo>
                <a:cubicBezTo>
                  <a:pt x="294" y="14"/>
                  <a:pt x="295" y="15"/>
                  <a:pt x="295" y="16"/>
                </a:cubicBezTo>
                <a:cubicBezTo>
                  <a:pt x="296" y="17"/>
                  <a:pt x="296" y="19"/>
                  <a:pt x="297" y="20"/>
                </a:cubicBezTo>
                <a:cubicBezTo>
                  <a:pt x="297" y="21"/>
                  <a:pt x="297" y="22"/>
                  <a:pt x="298" y="23"/>
                </a:cubicBezTo>
                <a:cubicBezTo>
                  <a:pt x="298" y="23"/>
                  <a:pt x="299" y="24"/>
                  <a:pt x="299" y="24"/>
                </a:cubicBezTo>
                <a:cubicBezTo>
                  <a:pt x="300" y="25"/>
                  <a:pt x="300" y="26"/>
                  <a:pt x="300" y="27"/>
                </a:cubicBezTo>
                <a:cubicBezTo>
                  <a:pt x="301" y="28"/>
                  <a:pt x="301" y="29"/>
                  <a:pt x="302" y="29"/>
                </a:cubicBezTo>
                <a:cubicBezTo>
                  <a:pt x="301" y="28"/>
                  <a:pt x="301" y="27"/>
                  <a:pt x="300" y="2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Freeform 26">
            <a:extLst>
              <a:ext uri="{FF2B5EF4-FFF2-40B4-BE49-F238E27FC236}">
                <a16:creationId xmlns:a16="http://schemas.microsoft.com/office/drawing/2014/main" id="{C3C0C7AD-B4FA-4CFA-8F60-AEEA6BBE53E4}"/>
              </a:ext>
            </a:extLst>
          </p:cNvPr>
          <p:cNvSpPr>
            <a:spLocks/>
          </p:cNvSpPr>
          <p:nvPr/>
        </p:nvSpPr>
        <p:spPr bwMode="auto">
          <a:xfrm>
            <a:off x="6139784" y="3518220"/>
            <a:ext cx="827755" cy="935148"/>
          </a:xfrm>
          <a:custGeom>
            <a:avLst/>
            <a:gdLst>
              <a:gd name="T0" fmla="*/ 1 w 209"/>
              <a:gd name="T1" fmla="*/ 0 h 236"/>
              <a:gd name="T2" fmla="*/ 0 w 209"/>
              <a:gd name="T3" fmla="*/ 236 h 236"/>
              <a:gd name="T4" fmla="*/ 29 w 209"/>
              <a:gd name="T5" fmla="*/ 236 h 236"/>
              <a:gd name="T6" fmla="*/ 29 w 209"/>
              <a:gd name="T7" fmla="*/ 218 h 236"/>
              <a:gd name="T8" fmla="*/ 88 w 209"/>
              <a:gd name="T9" fmla="*/ 218 h 236"/>
              <a:gd name="T10" fmla="*/ 86 w 209"/>
              <a:gd name="T11" fmla="*/ 217 h 236"/>
              <a:gd name="T12" fmla="*/ 84 w 209"/>
              <a:gd name="T13" fmla="*/ 216 h 236"/>
              <a:gd name="T14" fmla="*/ 84 w 209"/>
              <a:gd name="T15" fmla="*/ 214 h 236"/>
              <a:gd name="T16" fmla="*/ 84 w 209"/>
              <a:gd name="T17" fmla="*/ 213 h 236"/>
              <a:gd name="T18" fmla="*/ 85 w 209"/>
              <a:gd name="T19" fmla="*/ 212 h 236"/>
              <a:gd name="T20" fmla="*/ 84 w 209"/>
              <a:gd name="T21" fmla="*/ 211 h 236"/>
              <a:gd name="T22" fmla="*/ 84 w 209"/>
              <a:gd name="T23" fmla="*/ 211 h 236"/>
              <a:gd name="T24" fmla="*/ 84 w 209"/>
              <a:gd name="T25" fmla="*/ 209 h 236"/>
              <a:gd name="T26" fmla="*/ 207 w 209"/>
              <a:gd name="T27" fmla="*/ 210 h 236"/>
              <a:gd name="T28" fmla="*/ 208 w 209"/>
              <a:gd name="T29" fmla="*/ 21 h 236"/>
              <a:gd name="T30" fmla="*/ 209 w 209"/>
              <a:gd name="T31" fmla="*/ 21 h 236"/>
              <a:gd name="T32" fmla="*/ 209 w 209"/>
              <a:gd name="T33" fmla="*/ 0 h 236"/>
              <a:gd name="T34" fmla="*/ 1 w 209"/>
              <a:gd name="T35" fmla="*/ 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" h="236">
                <a:moveTo>
                  <a:pt x="1" y="0"/>
                </a:moveTo>
                <a:cubicBezTo>
                  <a:pt x="0" y="236"/>
                  <a:pt x="0" y="236"/>
                  <a:pt x="0" y="236"/>
                </a:cubicBezTo>
                <a:cubicBezTo>
                  <a:pt x="29" y="236"/>
                  <a:pt x="29" y="236"/>
                  <a:pt x="29" y="236"/>
                </a:cubicBezTo>
                <a:cubicBezTo>
                  <a:pt x="29" y="218"/>
                  <a:pt x="29" y="218"/>
                  <a:pt x="29" y="218"/>
                </a:cubicBezTo>
                <a:cubicBezTo>
                  <a:pt x="88" y="218"/>
                  <a:pt x="88" y="218"/>
                  <a:pt x="88" y="218"/>
                </a:cubicBezTo>
                <a:cubicBezTo>
                  <a:pt x="88" y="218"/>
                  <a:pt x="87" y="217"/>
                  <a:pt x="86" y="217"/>
                </a:cubicBezTo>
                <a:cubicBezTo>
                  <a:pt x="86" y="217"/>
                  <a:pt x="85" y="216"/>
                  <a:pt x="84" y="216"/>
                </a:cubicBezTo>
                <a:cubicBezTo>
                  <a:pt x="84" y="215"/>
                  <a:pt x="84" y="214"/>
                  <a:pt x="84" y="214"/>
                </a:cubicBezTo>
                <a:cubicBezTo>
                  <a:pt x="84" y="214"/>
                  <a:pt x="84" y="213"/>
                  <a:pt x="84" y="213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84" y="211"/>
                  <a:pt x="84" y="211"/>
                  <a:pt x="84" y="211"/>
                </a:cubicBezTo>
                <a:cubicBezTo>
                  <a:pt x="84" y="211"/>
                  <a:pt x="84" y="211"/>
                  <a:pt x="84" y="211"/>
                </a:cubicBezTo>
                <a:cubicBezTo>
                  <a:pt x="84" y="211"/>
                  <a:pt x="84" y="209"/>
                  <a:pt x="84" y="209"/>
                </a:cubicBezTo>
                <a:cubicBezTo>
                  <a:pt x="207" y="210"/>
                  <a:pt x="207" y="210"/>
                  <a:pt x="207" y="210"/>
                </a:cubicBezTo>
                <a:cubicBezTo>
                  <a:pt x="208" y="21"/>
                  <a:pt x="208" y="21"/>
                  <a:pt x="208" y="21"/>
                </a:cubicBezTo>
                <a:cubicBezTo>
                  <a:pt x="209" y="21"/>
                  <a:pt x="209" y="21"/>
                  <a:pt x="209" y="21"/>
                </a:cubicBezTo>
                <a:cubicBezTo>
                  <a:pt x="209" y="0"/>
                  <a:pt x="209" y="0"/>
                  <a:pt x="209" y="0"/>
                </a:cubicBezTo>
                <a:lnTo>
                  <a:pt x="1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9" name="Freeform 27">
            <a:extLst>
              <a:ext uri="{FF2B5EF4-FFF2-40B4-BE49-F238E27FC236}">
                <a16:creationId xmlns:a16="http://schemas.microsoft.com/office/drawing/2014/main" id="{3ABDD5E4-E85B-4140-BC60-CD1E1B8F6F6C}"/>
              </a:ext>
            </a:extLst>
          </p:cNvPr>
          <p:cNvSpPr>
            <a:spLocks noEditPoints="1"/>
          </p:cNvSpPr>
          <p:nvPr/>
        </p:nvSpPr>
        <p:spPr bwMode="auto">
          <a:xfrm>
            <a:off x="10148030" y="2059322"/>
            <a:ext cx="1077237" cy="849234"/>
          </a:xfrm>
          <a:custGeom>
            <a:avLst/>
            <a:gdLst>
              <a:gd name="T0" fmla="*/ 207 w 272"/>
              <a:gd name="T1" fmla="*/ 195 h 214"/>
              <a:gd name="T2" fmla="*/ 207 w 272"/>
              <a:gd name="T3" fmla="*/ 198 h 214"/>
              <a:gd name="T4" fmla="*/ 211 w 272"/>
              <a:gd name="T5" fmla="*/ 197 h 214"/>
              <a:gd name="T6" fmla="*/ 217 w 272"/>
              <a:gd name="T7" fmla="*/ 196 h 214"/>
              <a:gd name="T8" fmla="*/ 222 w 272"/>
              <a:gd name="T9" fmla="*/ 194 h 214"/>
              <a:gd name="T10" fmla="*/ 236 w 272"/>
              <a:gd name="T11" fmla="*/ 192 h 214"/>
              <a:gd name="T12" fmla="*/ 248 w 272"/>
              <a:gd name="T13" fmla="*/ 190 h 214"/>
              <a:gd name="T14" fmla="*/ 255 w 272"/>
              <a:gd name="T15" fmla="*/ 187 h 214"/>
              <a:gd name="T16" fmla="*/ 249 w 272"/>
              <a:gd name="T17" fmla="*/ 192 h 214"/>
              <a:gd name="T18" fmla="*/ 250 w 272"/>
              <a:gd name="T19" fmla="*/ 194 h 214"/>
              <a:gd name="T20" fmla="*/ 260 w 272"/>
              <a:gd name="T21" fmla="*/ 189 h 214"/>
              <a:gd name="T22" fmla="*/ 269 w 272"/>
              <a:gd name="T23" fmla="*/ 188 h 214"/>
              <a:gd name="T24" fmla="*/ 269 w 272"/>
              <a:gd name="T25" fmla="*/ 189 h 214"/>
              <a:gd name="T26" fmla="*/ 261 w 272"/>
              <a:gd name="T27" fmla="*/ 193 h 214"/>
              <a:gd name="T28" fmla="*/ 254 w 272"/>
              <a:gd name="T29" fmla="*/ 196 h 214"/>
              <a:gd name="T30" fmla="*/ 250 w 272"/>
              <a:gd name="T31" fmla="*/ 197 h 214"/>
              <a:gd name="T32" fmla="*/ 241 w 272"/>
              <a:gd name="T33" fmla="*/ 200 h 214"/>
              <a:gd name="T34" fmla="*/ 233 w 272"/>
              <a:gd name="T35" fmla="*/ 202 h 214"/>
              <a:gd name="T36" fmla="*/ 227 w 272"/>
              <a:gd name="T37" fmla="*/ 204 h 214"/>
              <a:gd name="T38" fmla="*/ 220 w 272"/>
              <a:gd name="T39" fmla="*/ 206 h 214"/>
              <a:gd name="T40" fmla="*/ 211 w 272"/>
              <a:gd name="T41" fmla="*/ 208 h 214"/>
              <a:gd name="T42" fmla="*/ 206 w 272"/>
              <a:gd name="T43" fmla="*/ 208 h 214"/>
              <a:gd name="T44" fmla="*/ 203 w 272"/>
              <a:gd name="T45" fmla="*/ 209 h 214"/>
              <a:gd name="T46" fmla="*/ 198 w 272"/>
              <a:gd name="T47" fmla="*/ 207 h 214"/>
              <a:gd name="T48" fmla="*/ 202 w 272"/>
              <a:gd name="T49" fmla="*/ 191 h 214"/>
              <a:gd name="T50" fmla="*/ 167 w 272"/>
              <a:gd name="T51" fmla="*/ 169 h 214"/>
              <a:gd name="T52" fmla="*/ 162 w 272"/>
              <a:gd name="T53" fmla="*/ 159 h 214"/>
              <a:gd name="T54" fmla="*/ 158 w 272"/>
              <a:gd name="T55" fmla="*/ 150 h 214"/>
              <a:gd name="T56" fmla="*/ 0 w 272"/>
              <a:gd name="T57" fmla="*/ 132 h 214"/>
              <a:gd name="T58" fmla="*/ 18 w 272"/>
              <a:gd name="T59" fmla="*/ 120 h 214"/>
              <a:gd name="T60" fmla="*/ 24 w 272"/>
              <a:gd name="T61" fmla="*/ 113 h 214"/>
              <a:gd name="T62" fmla="*/ 30 w 272"/>
              <a:gd name="T63" fmla="*/ 103 h 214"/>
              <a:gd name="T64" fmla="*/ 26 w 272"/>
              <a:gd name="T65" fmla="*/ 94 h 214"/>
              <a:gd name="T66" fmla="*/ 35 w 272"/>
              <a:gd name="T67" fmla="*/ 82 h 214"/>
              <a:gd name="T68" fmla="*/ 73 w 272"/>
              <a:gd name="T69" fmla="*/ 84 h 214"/>
              <a:gd name="T70" fmla="*/ 101 w 272"/>
              <a:gd name="T71" fmla="*/ 83 h 214"/>
              <a:gd name="T72" fmla="*/ 123 w 272"/>
              <a:gd name="T73" fmla="*/ 68 h 214"/>
              <a:gd name="T74" fmla="*/ 122 w 272"/>
              <a:gd name="T75" fmla="*/ 60 h 214"/>
              <a:gd name="T76" fmla="*/ 124 w 272"/>
              <a:gd name="T77" fmla="*/ 55 h 214"/>
              <a:gd name="T78" fmla="*/ 124 w 272"/>
              <a:gd name="T79" fmla="*/ 51 h 214"/>
              <a:gd name="T80" fmla="*/ 122 w 272"/>
              <a:gd name="T81" fmla="*/ 50 h 214"/>
              <a:gd name="T82" fmla="*/ 119 w 272"/>
              <a:gd name="T83" fmla="*/ 46 h 214"/>
              <a:gd name="T84" fmla="*/ 125 w 272"/>
              <a:gd name="T85" fmla="*/ 39 h 214"/>
              <a:gd name="T86" fmla="*/ 133 w 272"/>
              <a:gd name="T87" fmla="*/ 33 h 214"/>
              <a:gd name="T88" fmla="*/ 139 w 272"/>
              <a:gd name="T89" fmla="*/ 25 h 214"/>
              <a:gd name="T90" fmla="*/ 168 w 272"/>
              <a:gd name="T91" fmla="*/ 2 h 214"/>
              <a:gd name="T92" fmla="*/ 220 w 272"/>
              <a:gd name="T93" fmla="*/ 8 h 214"/>
              <a:gd name="T94" fmla="*/ 222 w 272"/>
              <a:gd name="T95" fmla="*/ 28 h 214"/>
              <a:gd name="T96" fmla="*/ 218 w 272"/>
              <a:gd name="T97" fmla="*/ 47 h 214"/>
              <a:gd name="T98" fmla="*/ 218 w 272"/>
              <a:gd name="T99" fmla="*/ 68 h 214"/>
              <a:gd name="T100" fmla="*/ 223 w 272"/>
              <a:gd name="T101" fmla="*/ 70 h 214"/>
              <a:gd name="T102" fmla="*/ 215 w 272"/>
              <a:gd name="T103" fmla="*/ 161 h 214"/>
              <a:gd name="T104" fmla="*/ 208 w 272"/>
              <a:gd name="T105" fmla="*/ 188 h 214"/>
              <a:gd name="T106" fmla="*/ 190 w 272"/>
              <a:gd name="T107" fmla="*/ 213 h 214"/>
              <a:gd name="T108" fmla="*/ 196 w 272"/>
              <a:gd name="T109" fmla="*/ 20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2" h="214">
                <a:moveTo>
                  <a:pt x="208" y="188"/>
                </a:moveTo>
                <a:cubicBezTo>
                  <a:pt x="211" y="191"/>
                  <a:pt x="211" y="191"/>
                  <a:pt x="211" y="191"/>
                </a:cubicBezTo>
                <a:cubicBezTo>
                  <a:pt x="210" y="191"/>
                  <a:pt x="210" y="191"/>
                  <a:pt x="210" y="191"/>
                </a:cubicBezTo>
                <a:cubicBezTo>
                  <a:pt x="210" y="191"/>
                  <a:pt x="209" y="191"/>
                  <a:pt x="209" y="192"/>
                </a:cubicBezTo>
                <a:cubicBezTo>
                  <a:pt x="209" y="192"/>
                  <a:pt x="209" y="193"/>
                  <a:pt x="208" y="193"/>
                </a:cubicBezTo>
                <a:cubicBezTo>
                  <a:pt x="208" y="194"/>
                  <a:pt x="207" y="194"/>
                  <a:pt x="207" y="195"/>
                </a:cubicBezTo>
                <a:cubicBezTo>
                  <a:pt x="207" y="195"/>
                  <a:pt x="207" y="196"/>
                  <a:pt x="206" y="196"/>
                </a:cubicBezTo>
                <a:cubicBezTo>
                  <a:pt x="206" y="197"/>
                  <a:pt x="206" y="197"/>
                  <a:pt x="206" y="197"/>
                </a:cubicBezTo>
                <a:cubicBezTo>
                  <a:pt x="206" y="197"/>
                  <a:pt x="206" y="198"/>
                  <a:pt x="206" y="198"/>
                </a:cubicBezTo>
                <a:cubicBezTo>
                  <a:pt x="206" y="199"/>
                  <a:pt x="206" y="199"/>
                  <a:pt x="206" y="200"/>
                </a:cubicBezTo>
                <a:cubicBezTo>
                  <a:pt x="207" y="200"/>
                  <a:pt x="208" y="200"/>
                  <a:pt x="207" y="199"/>
                </a:cubicBezTo>
                <a:cubicBezTo>
                  <a:pt x="207" y="199"/>
                  <a:pt x="207" y="199"/>
                  <a:pt x="207" y="198"/>
                </a:cubicBezTo>
                <a:cubicBezTo>
                  <a:pt x="208" y="198"/>
                  <a:pt x="208" y="198"/>
                  <a:pt x="208" y="198"/>
                </a:cubicBezTo>
                <a:cubicBezTo>
                  <a:pt x="208" y="198"/>
                  <a:pt x="209" y="198"/>
                  <a:pt x="209" y="198"/>
                </a:cubicBezTo>
                <a:cubicBezTo>
                  <a:pt x="209" y="198"/>
                  <a:pt x="209" y="198"/>
                  <a:pt x="209" y="198"/>
                </a:cubicBezTo>
                <a:cubicBezTo>
                  <a:pt x="208" y="197"/>
                  <a:pt x="208" y="197"/>
                  <a:pt x="208" y="197"/>
                </a:cubicBezTo>
                <a:cubicBezTo>
                  <a:pt x="209" y="197"/>
                  <a:pt x="209" y="197"/>
                  <a:pt x="210" y="197"/>
                </a:cubicBezTo>
                <a:cubicBezTo>
                  <a:pt x="210" y="197"/>
                  <a:pt x="211" y="197"/>
                  <a:pt x="211" y="197"/>
                </a:cubicBezTo>
                <a:cubicBezTo>
                  <a:pt x="211" y="197"/>
                  <a:pt x="211" y="196"/>
                  <a:pt x="211" y="196"/>
                </a:cubicBezTo>
                <a:cubicBezTo>
                  <a:pt x="212" y="196"/>
                  <a:pt x="212" y="195"/>
                  <a:pt x="212" y="195"/>
                </a:cubicBezTo>
                <a:cubicBezTo>
                  <a:pt x="212" y="195"/>
                  <a:pt x="213" y="195"/>
                  <a:pt x="213" y="195"/>
                </a:cubicBezTo>
                <a:cubicBezTo>
                  <a:pt x="214" y="195"/>
                  <a:pt x="214" y="195"/>
                  <a:pt x="214" y="195"/>
                </a:cubicBezTo>
                <a:cubicBezTo>
                  <a:pt x="215" y="195"/>
                  <a:pt x="215" y="195"/>
                  <a:pt x="216" y="195"/>
                </a:cubicBezTo>
                <a:cubicBezTo>
                  <a:pt x="216" y="196"/>
                  <a:pt x="217" y="196"/>
                  <a:pt x="217" y="196"/>
                </a:cubicBezTo>
                <a:cubicBezTo>
                  <a:pt x="217" y="196"/>
                  <a:pt x="218" y="195"/>
                  <a:pt x="218" y="195"/>
                </a:cubicBezTo>
                <a:cubicBezTo>
                  <a:pt x="218" y="195"/>
                  <a:pt x="218" y="195"/>
                  <a:pt x="218" y="195"/>
                </a:cubicBezTo>
                <a:cubicBezTo>
                  <a:pt x="218" y="195"/>
                  <a:pt x="218" y="194"/>
                  <a:pt x="218" y="194"/>
                </a:cubicBezTo>
                <a:cubicBezTo>
                  <a:pt x="219" y="194"/>
                  <a:pt x="219" y="194"/>
                  <a:pt x="219" y="195"/>
                </a:cubicBezTo>
                <a:cubicBezTo>
                  <a:pt x="220" y="195"/>
                  <a:pt x="220" y="195"/>
                  <a:pt x="221" y="194"/>
                </a:cubicBezTo>
                <a:cubicBezTo>
                  <a:pt x="221" y="194"/>
                  <a:pt x="221" y="194"/>
                  <a:pt x="222" y="194"/>
                </a:cubicBezTo>
                <a:cubicBezTo>
                  <a:pt x="223" y="194"/>
                  <a:pt x="223" y="194"/>
                  <a:pt x="224" y="194"/>
                </a:cubicBezTo>
                <a:cubicBezTo>
                  <a:pt x="226" y="194"/>
                  <a:pt x="228" y="194"/>
                  <a:pt x="229" y="193"/>
                </a:cubicBezTo>
                <a:cubicBezTo>
                  <a:pt x="229" y="192"/>
                  <a:pt x="230" y="192"/>
                  <a:pt x="231" y="192"/>
                </a:cubicBezTo>
                <a:cubicBezTo>
                  <a:pt x="231" y="192"/>
                  <a:pt x="232" y="192"/>
                  <a:pt x="233" y="192"/>
                </a:cubicBezTo>
                <a:cubicBezTo>
                  <a:pt x="233" y="192"/>
                  <a:pt x="234" y="192"/>
                  <a:pt x="234" y="192"/>
                </a:cubicBezTo>
                <a:cubicBezTo>
                  <a:pt x="235" y="192"/>
                  <a:pt x="236" y="192"/>
                  <a:pt x="236" y="192"/>
                </a:cubicBezTo>
                <a:cubicBezTo>
                  <a:pt x="237" y="192"/>
                  <a:pt x="237" y="192"/>
                  <a:pt x="238" y="192"/>
                </a:cubicBezTo>
                <a:cubicBezTo>
                  <a:pt x="238" y="192"/>
                  <a:pt x="238" y="192"/>
                  <a:pt x="239" y="192"/>
                </a:cubicBezTo>
                <a:cubicBezTo>
                  <a:pt x="240" y="192"/>
                  <a:pt x="240" y="191"/>
                  <a:pt x="241" y="191"/>
                </a:cubicBezTo>
                <a:cubicBezTo>
                  <a:pt x="242" y="192"/>
                  <a:pt x="243" y="192"/>
                  <a:pt x="244" y="191"/>
                </a:cubicBezTo>
                <a:cubicBezTo>
                  <a:pt x="245" y="191"/>
                  <a:pt x="246" y="191"/>
                  <a:pt x="246" y="191"/>
                </a:cubicBezTo>
                <a:cubicBezTo>
                  <a:pt x="247" y="190"/>
                  <a:pt x="247" y="190"/>
                  <a:pt x="248" y="190"/>
                </a:cubicBezTo>
                <a:cubicBezTo>
                  <a:pt x="248" y="190"/>
                  <a:pt x="249" y="190"/>
                  <a:pt x="249" y="189"/>
                </a:cubicBezTo>
                <a:cubicBezTo>
                  <a:pt x="250" y="189"/>
                  <a:pt x="251" y="188"/>
                  <a:pt x="251" y="188"/>
                </a:cubicBezTo>
                <a:cubicBezTo>
                  <a:pt x="252" y="188"/>
                  <a:pt x="252" y="187"/>
                  <a:pt x="253" y="187"/>
                </a:cubicBezTo>
                <a:cubicBezTo>
                  <a:pt x="253" y="187"/>
                  <a:pt x="254" y="186"/>
                  <a:pt x="254" y="186"/>
                </a:cubicBezTo>
                <a:cubicBezTo>
                  <a:pt x="254" y="186"/>
                  <a:pt x="255" y="186"/>
                  <a:pt x="255" y="186"/>
                </a:cubicBezTo>
                <a:cubicBezTo>
                  <a:pt x="255" y="186"/>
                  <a:pt x="255" y="186"/>
                  <a:pt x="255" y="187"/>
                </a:cubicBezTo>
                <a:cubicBezTo>
                  <a:pt x="255" y="187"/>
                  <a:pt x="255" y="187"/>
                  <a:pt x="254" y="187"/>
                </a:cubicBezTo>
                <a:cubicBezTo>
                  <a:pt x="254" y="188"/>
                  <a:pt x="253" y="189"/>
                  <a:pt x="253" y="190"/>
                </a:cubicBezTo>
                <a:cubicBezTo>
                  <a:pt x="253" y="190"/>
                  <a:pt x="253" y="191"/>
                  <a:pt x="252" y="191"/>
                </a:cubicBezTo>
                <a:cubicBezTo>
                  <a:pt x="252" y="191"/>
                  <a:pt x="251" y="191"/>
                  <a:pt x="251" y="191"/>
                </a:cubicBezTo>
                <a:cubicBezTo>
                  <a:pt x="251" y="191"/>
                  <a:pt x="251" y="191"/>
                  <a:pt x="250" y="192"/>
                </a:cubicBezTo>
                <a:cubicBezTo>
                  <a:pt x="250" y="192"/>
                  <a:pt x="249" y="192"/>
                  <a:pt x="249" y="192"/>
                </a:cubicBezTo>
                <a:cubicBezTo>
                  <a:pt x="248" y="193"/>
                  <a:pt x="248" y="193"/>
                  <a:pt x="248" y="193"/>
                </a:cubicBezTo>
                <a:cubicBezTo>
                  <a:pt x="247" y="193"/>
                  <a:pt x="247" y="193"/>
                  <a:pt x="247" y="194"/>
                </a:cubicBezTo>
                <a:cubicBezTo>
                  <a:pt x="247" y="194"/>
                  <a:pt x="247" y="194"/>
                  <a:pt x="247" y="194"/>
                </a:cubicBezTo>
                <a:cubicBezTo>
                  <a:pt x="248" y="194"/>
                  <a:pt x="248" y="194"/>
                  <a:pt x="248" y="194"/>
                </a:cubicBezTo>
                <a:cubicBezTo>
                  <a:pt x="248" y="194"/>
                  <a:pt x="248" y="194"/>
                  <a:pt x="249" y="195"/>
                </a:cubicBezTo>
                <a:cubicBezTo>
                  <a:pt x="249" y="195"/>
                  <a:pt x="249" y="194"/>
                  <a:pt x="250" y="194"/>
                </a:cubicBezTo>
                <a:cubicBezTo>
                  <a:pt x="251" y="194"/>
                  <a:pt x="252" y="194"/>
                  <a:pt x="253" y="193"/>
                </a:cubicBezTo>
                <a:cubicBezTo>
                  <a:pt x="254" y="193"/>
                  <a:pt x="254" y="192"/>
                  <a:pt x="255" y="192"/>
                </a:cubicBezTo>
                <a:cubicBezTo>
                  <a:pt x="255" y="191"/>
                  <a:pt x="256" y="191"/>
                  <a:pt x="256" y="191"/>
                </a:cubicBezTo>
                <a:cubicBezTo>
                  <a:pt x="257" y="190"/>
                  <a:pt x="257" y="190"/>
                  <a:pt x="258" y="190"/>
                </a:cubicBezTo>
                <a:cubicBezTo>
                  <a:pt x="258" y="190"/>
                  <a:pt x="259" y="190"/>
                  <a:pt x="259" y="190"/>
                </a:cubicBezTo>
                <a:cubicBezTo>
                  <a:pt x="259" y="190"/>
                  <a:pt x="260" y="189"/>
                  <a:pt x="260" y="189"/>
                </a:cubicBezTo>
                <a:cubicBezTo>
                  <a:pt x="260" y="189"/>
                  <a:pt x="261" y="189"/>
                  <a:pt x="261" y="189"/>
                </a:cubicBezTo>
                <a:cubicBezTo>
                  <a:pt x="261" y="189"/>
                  <a:pt x="261" y="188"/>
                  <a:pt x="262" y="188"/>
                </a:cubicBezTo>
                <a:cubicBezTo>
                  <a:pt x="262" y="188"/>
                  <a:pt x="263" y="189"/>
                  <a:pt x="263" y="189"/>
                </a:cubicBezTo>
                <a:cubicBezTo>
                  <a:pt x="263" y="189"/>
                  <a:pt x="264" y="189"/>
                  <a:pt x="265" y="189"/>
                </a:cubicBezTo>
                <a:cubicBezTo>
                  <a:pt x="265" y="189"/>
                  <a:pt x="266" y="189"/>
                  <a:pt x="267" y="189"/>
                </a:cubicBezTo>
                <a:cubicBezTo>
                  <a:pt x="267" y="189"/>
                  <a:pt x="268" y="188"/>
                  <a:pt x="269" y="188"/>
                </a:cubicBezTo>
                <a:cubicBezTo>
                  <a:pt x="269" y="188"/>
                  <a:pt x="269" y="188"/>
                  <a:pt x="270" y="188"/>
                </a:cubicBezTo>
                <a:cubicBezTo>
                  <a:pt x="270" y="187"/>
                  <a:pt x="270" y="187"/>
                  <a:pt x="271" y="187"/>
                </a:cubicBezTo>
                <a:cubicBezTo>
                  <a:pt x="271" y="187"/>
                  <a:pt x="272" y="187"/>
                  <a:pt x="272" y="188"/>
                </a:cubicBezTo>
                <a:cubicBezTo>
                  <a:pt x="272" y="189"/>
                  <a:pt x="271" y="189"/>
                  <a:pt x="270" y="189"/>
                </a:cubicBezTo>
                <a:cubicBezTo>
                  <a:pt x="270" y="189"/>
                  <a:pt x="270" y="189"/>
                  <a:pt x="270" y="189"/>
                </a:cubicBezTo>
                <a:cubicBezTo>
                  <a:pt x="270" y="189"/>
                  <a:pt x="269" y="189"/>
                  <a:pt x="269" y="189"/>
                </a:cubicBezTo>
                <a:cubicBezTo>
                  <a:pt x="268" y="190"/>
                  <a:pt x="268" y="190"/>
                  <a:pt x="267" y="190"/>
                </a:cubicBezTo>
                <a:cubicBezTo>
                  <a:pt x="267" y="191"/>
                  <a:pt x="266" y="191"/>
                  <a:pt x="265" y="191"/>
                </a:cubicBezTo>
                <a:cubicBezTo>
                  <a:pt x="265" y="191"/>
                  <a:pt x="265" y="192"/>
                  <a:pt x="264" y="192"/>
                </a:cubicBezTo>
                <a:cubicBezTo>
                  <a:pt x="264" y="192"/>
                  <a:pt x="264" y="192"/>
                  <a:pt x="263" y="192"/>
                </a:cubicBezTo>
                <a:cubicBezTo>
                  <a:pt x="263" y="193"/>
                  <a:pt x="263" y="193"/>
                  <a:pt x="262" y="193"/>
                </a:cubicBezTo>
                <a:cubicBezTo>
                  <a:pt x="262" y="193"/>
                  <a:pt x="261" y="193"/>
                  <a:pt x="261" y="193"/>
                </a:cubicBezTo>
                <a:cubicBezTo>
                  <a:pt x="260" y="193"/>
                  <a:pt x="260" y="194"/>
                  <a:pt x="259" y="194"/>
                </a:cubicBezTo>
                <a:cubicBezTo>
                  <a:pt x="259" y="194"/>
                  <a:pt x="258" y="194"/>
                  <a:pt x="258" y="194"/>
                </a:cubicBezTo>
                <a:cubicBezTo>
                  <a:pt x="258" y="195"/>
                  <a:pt x="257" y="195"/>
                  <a:pt x="257" y="195"/>
                </a:cubicBezTo>
                <a:cubicBezTo>
                  <a:pt x="256" y="195"/>
                  <a:pt x="256" y="195"/>
                  <a:pt x="256" y="195"/>
                </a:cubicBezTo>
                <a:cubicBezTo>
                  <a:pt x="255" y="195"/>
                  <a:pt x="255" y="196"/>
                  <a:pt x="255" y="196"/>
                </a:cubicBezTo>
                <a:cubicBezTo>
                  <a:pt x="255" y="196"/>
                  <a:pt x="254" y="196"/>
                  <a:pt x="254" y="196"/>
                </a:cubicBezTo>
                <a:cubicBezTo>
                  <a:pt x="254" y="196"/>
                  <a:pt x="253" y="196"/>
                  <a:pt x="253" y="196"/>
                </a:cubicBezTo>
                <a:cubicBezTo>
                  <a:pt x="253" y="196"/>
                  <a:pt x="253" y="196"/>
                  <a:pt x="253" y="196"/>
                </a:cubicBezTo>
                <a:cubicBezTo>
                  <a:pt x="253" y="195"/>
                  <a:pt x="252" y="196"/>
                  <a:pt x="251" y="196"/>
                </a:cubicBezTo>
                <a:cubicBezTo>
                  <a:pt x="251" y="196"/>
                  <a:pt x="251" y="195"/>
                  <a:pt x="251" y="196"/>
                </a:cubicBezTo>
                <a:cubicBezTo>
                  <a:pt x="251" y="196"/>
                  <a:pt x="251" y="196"/>
                  <a:pt x="250" y="196"/>
                </a:cubicBezTo>
                <a:cubicBezTo>
                  <a:pt x="250" y="196"/>
                  <a:pt x="250" y="196"/>
                  <a:pt x="250" y="197"/>
                </a:cubicBezTo>
                <a:cubicBezTo>
                  <a:pt x="250" y="197"/>
                  <a:pt x="250" y="198"/>
                  <a:pt x="250" y="198"/>
                </a:cubicBezTo>
                <a:cubicBezTo>
                  <a:pt x="249" y="198"/>
                  <a:pt x="249" y="199"/>
                  <a:pt x="248" y="199"/>
                </a:cubicBezTo>
                <a:cubicBezTo>
                  <a:pt x="248" y="199"/>
                  <a:pt x="247" y="199"/>
                  <a:pt x="247" y="199"/>
                </a:cubicBezTo>
                <a:cubicBezTo>
                  <a:pt x="246" y="199"/>
                  <a:pt x="246" y="199"/>
                  <a:pt x="245" y="199"/>
                </a:cubicBezTo>
                <a:cubicBezTo>
                  <a:pt x="244" y="199"/>
                  <a:pt x="244" y="200"/>
                  <a:pt x="244" y="200"/>
                </a:cubicBezTo>
                <a:cubicBezTo>
                  <a:pt x="243" y="200"/>
                  <a:pt x="242" y="200"/>
                  <a:pt x="241" y="200"/>
                </a:cubicBezTo>
                <a:cubicBezTo>
                  <a:pt x="241" y="200"/>
                  <a:pt x="240" y="200"/>
                  <a:pt x="240" y="200"/>
                </a:cubicBezTo>
                <a:cubicBezTo>
                  <a:pt x="239" y="201"/>
                  <a:pt x="239" y="201"/>
                  <a:pt x="239" y="201"/>
                </a:cubicBezTo>
                <a:cubicBezTo>
                  <a:pt x="239" y="202"/>
                  <a:pt x="238" y="202"/>
                  <a:pt x="238" y="202"/>
                </a:cubicBezTo>
                <a:cubicBezTo>
                  <a:pt x="237" y="202"/>
                  <a:pt x="237" y="202"/>
                  <a:pt x="236" y="202"/>
                </a:cubicBezTo>
                <a:cubicBezTo>
                  <a:pt x="235" y="202"/>
                  <a:pt x="235" y="202"/>
                  <a:pt x="234" y="202"/>
                </a:cubicBezTo>
                <a:cubicBezTo>
                  <a:pt x="234" y="202"/>
                  <a:pt x="233" y="202"/>
                  <a:pt x="233" y="202"/>
                </a:cubicBezTo>
                <a:cubicBezTo>
                  <a:pt x="232" y="202"/>
                  <a:pt x="232" y="202"/>
                  <a:pt x="232" y="202"/>
                </a:cubicBezTo>
                <a:cubicBezTo>
                  <a:pt x="231" y="202"/>
                  <a:pt x="231" y="202"/>
                  <a:pt x="231" y="202"/>
                </a:cubicBezTo>
                <a:cubicBezTo>
                  <a:pt x="230" y="202"/>
                  <a:pt x="230" y="203"/>
                  <a:pt x="230" y="203"/>
                </a:cubicBezTo>
                <a:cubicBezTo>
                  <a:pt x="229" y="203"/>
                  <a:pt x="229" y="203"/>
                  <a:pt x="229" y="203"/>
                </a:cubicBezTo>
                <a:cubicBezTo>
                  <a:pt x="229" y="203"/>
                  <a:pt x="229" y="203"/>
                  <a:pt x="229" y="203"/>
                </a:cubicBezTo>
                <a:cubicBezTo>
                  <a:pt x="228" y="204"/>
                  <a:pt x="228" y="204"/>
                  <a:pt x="227" y="204"/>
                </a:cubicBezTo>
                <a:cubicBezTo>
                  <a:pt x="226" y="204"/>
                  <a:pt x="226" y="204"/>
                  <a:pt x="225" y="204"/>
                </a:cubicBezTo>
                <a:cubicBezTo>
                  <a:pt x="225" y="204"/>
                  <a:pt x="224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ubicBezTo>
                  <a:pt x="223" y="204"/>
                  <a:pt x="223" y="204"/>
                  <a:pt x="223" y="205"/>
                </a:cubicBezTo>
                <a:cubicBezTo>
                  <a:pt x="222" y="205"/>
                  <a:pt x="222" y="205"/>
                  <a:pt x="222" y="205"/>
                </a:cubicBezTo>
                <a:cubicBezTo>
                  <a:pt x="221" y="205"/>
                  <a:pt x="221" y="205"/>
                  <a:pt x="220" y="206"/>
                </a:cubicBezTo>
                <a:cubicBezTo>
                  <a:pt x="219" y="206"/>
                  <a:pt x="218" y="206"/>
                  <a:pt x="218" y="206"/>
                </a:cubicBezTo>
                <a:cubicBezTo>
                  <a:pt x="217" y="206"/>
                  <a:pt x="217" y="206"/>
                  <a:pt x="217" y="206"/>
                </a:cubicBezTo>
                <a:cubicBezTo>
                  <a:pt x="216" y="207"/>
                  <a:pt x="216" y="207"/>
                  <a:pt x="216" y="207"/>
                </a:cubicBezTo>
                <a:cubicBezTo>
                  <a:pt x="216" y="207"/>
                  <a:pt x="216" y="208"/>
                  <a:pt x="215" y="209"/>
                </a:cubicBezTo>
                <a:cubicBezTo>
                  <a:pt x="214" y="209"/>
                  <a:pt x="214" y="208"/>
                  <a:pt x="213" y="208"/>
                </a:cubicBezTo>
                <a:cubicBezTo>
                  <a:pt x="213" y="208"/>
                  <a:pt x="211" y="207"/>
                  <a:pt x="211" y="208"/>
                </a:cubicBezTo>
                <a:cubicBezTo>
                  <a:pt x="211" y="208"/>
                  <a:pt x="211" y="208"/>
                  <a:pt x="211" y="209"/>
                </a:cubicBezTo>
                <a:cubicBezTo>
                  <a:pt x="211" y="209"/>
                  <a:pt x="210" y="209"/>
                  <a:pt x="210" y="209"/>
                </a:cubicBezTo>
                <a:cubicBezTo>
                  <a:pt x="210" y="209"/>
                  <a:pt x="209" y="209"/>
                  <a:pt x="209" y="209"/>
                </a:cubicBezTo>
                <a:cubicBezTo>
                  <a:pt x="209" y="209"/>
                  <a:pt x="208" y="209"/>
                  <a:pt x="208" y="209"/>
                </a:cubicBezTo>
                <a:cubicBezTo>
                  <a:pt x="207" y="209"/>
                  <a:pt x="207" y="209"/>
                  <a:pt x="206" y="209"/>
                </a:cubicBezTo>
                <a:cubicBezTo>
                  <a:pt x="206" y="209"/>
                  <a:pt x="206" y="208"/>
                  <a:pt x="206" y="208"/>
                </a:cubicBezTo>
                <a:cubicBezTo>
                  <a:pt x="206" y="208"/>
                  <a:pt x="207" y="208"/>
                  <a:pt x="206" y="208"/>
                </a:cubicBezTo>
                <a:cubicBezTo>
                  <a:pt x="206" y="208"/>
                  <a:pt x="205" y="208"/>
                  <a:pt x="205" y="207"/>
                </a:cubicBezTo>
                <a:cubicBezTo>
                  <a:pt x="205" y="207"/>
                  <a:pt x="205" y="207"/>
                  <a:pt x="205" y="207"/>
                </a:cubicBezTo>
                <a:cubicBezTo>
                  <a:pt x="204" y="207"/>
                  <a:pt x="204" y="207"/>
                  <a:pt x="204" y="207"/>
                </a:cubicBezTo>
                <a:cubicBezTo>
                  <a:pt x="204" y="208"/>
                  <a:pt x="204" y="208"/>
                  <a:pt x="203" y="208"/>
                </a:cubicBezTo>
                <a:cubicBezTo>
                  <a:pt x="203" y="208"/>
                  <a:pt x="203" y="208"/>
                  <a:pt x="203" y="209"/>
                </a:cubicBezTo>
                <a:cubicBezTo>
                  <a:pt x="202" y="209"/>
                  <a:pt x="202" y="209"/>
                  <a:pt x="202" y="209"/>
                </a:cubicBezTo>
                <a:cubicBezTo>
                  <a:pt x="202" y="209"/>
                  <a:pt x="201" y="209"/>
                  <a:pt x="201" y="209"/>
                </a:cubicBezTo>
                <a:cubicBezTo>
                  <a:pt x="201" y="209"/>
                  <a:pt x="201" y="210"/>
                  <a:pt x="201" y="210"/>
                </a:cubicBezTo>
                <a:cubicBezTo>
                  <a:pt x="200" y="210"/>
                  <a:pt x="200" y="210"/>
                  <a:pt x="199" y="210"/>
                </a:cubicBezTo>
                <a:cubicBezTo>
                  <a:pt x="199" y="210"/>
                  <a:pt x="199" y="210"/>
                  <a:pt x="198" y="209"/>
                </a:cubicBezTo>
                <a:cubicBezTo>
                  <a:pt x="198" y="209"/>
                  <a:pt x="198" y="208"/>
                  <a:pt x="198" y="207"/>
                </a:cubicBezTo>
                <a:cubicBezTo>
                  <a:pt x="198" y="207"/>
                  <a:pt x="198" y="206"/>
                  <a:pt x="198" y="206"/>
                </a:cubicBezTo>
                <a:cubicBezTo>
                  <a:pt x="198" y="206"/>
                  <a:pt x="199" y="205"/>
                  <a:pt x="199" y="204"/>
                </a:cubicBezTo>
                <a:cubicBezTo>
                  <a:pt x="199" y="204"/>
                  <a:pt x="199" y="203"/>
                  <a:pt x="199" y="202"/>
                </a:cubicBezTo>
                <a:cubicBezTo>
                  <a:pt x="199" y="202"/>
                  <a:pt x="199" y="202"/>
                  <a:pt x="199" y="202"/>
                </a:cubicBezTo>
                <a:cubicBezTo>
                  <a:pt x="199" y="202"/>
                  <a:pt x="198" y="202"/>
                  <a:pt x="198" y="202"/>
                </a:cubicBezTo>
                <a:cubicBezTo>
                  <a:pt x="202" y="191"/>
                  <a:pt x="202" y="191"/>
                  <a:pt x="202" y="191"/>
                </a:cubicBezTo>
                <a:cubicBezTo>
                  <a:pt x="202" y="191"/>
                  <a:pt x="176" y="175"/>
                  <a:pt x="176" y="175"/>
                </a:cubicBezTo>
                <a:cubicBezTo>
                  <a:pt x="176" y="175"/>
                  <a:pt x="174" y="173"/>
                  <a:pt x="174" y="173"/>
                </a:cubicBezTo>
                <a:cubicBezTo>
                  <a:pt x="174" y="173"/>
                  <a:pt x="173" y="171"/>
                  <a:pt x="173" y="171"/>
                </a:cubicBezTo>
                <a:cubicBezTo>
                  <a:pt x="173" y="170"/>
                  <a:pt x="172" y="170"/>
                  <a:pt x="172" y="170"/>
                </a:cubicBezTo>
                <a:cubicBezTo>
                  <a:pt x="171" y="170"/>
                  <a:pt x="169" y="170"/>
                  <a:pt x="168" y="170"/>
                </a:cubicBezTo>
                <a:cubicBezTo>
                  <a:pt x="167" y="170"/>
                  <a:pt x="167" y="169"/>
                  <a:pt x="167" y="169"/>
                </a:cubicBezTo>
                <a:cubicBezTo>
                  <a:pt x="167" y="169"/>
                  <a:pt x="167" y="168"/>
                  <a:pt x="167" y="168"/>
                </a:cubicBezTo>
                <a:cubicBezTo>
                  <a:pt x="166" y="168"/>
                  <a:pt x="165" y="168"/>
                  <a:pt x="164" y="168"/>
                </a:cubicBezTo>
                <a:cubicBezTo>
                  <a:pt x="164" y="168"/>
                  <a:pt x="162" y="162"/>
                  <a:pt x="162" y="162"/>
                </a:cubicBezTo>
                <a:cubicBezTo>
                  <a:pt x="162" y="162"/>
                  <a:pt x="162" y="162"/>
                  <a:pt x="162" y="162"/>
                </a:cubicBezTo>
                <a:cubicBezTo>
                  <a:pt x="163" y="162"/>
                  <a:pt x="163" y="161"/>
                  <a:pt x="163" y="161"/>
                </a:cubicBezTo>
                <a:cubicBezTo>
                  <a:pt x="163" y="161"/>
                  <a:pt x="162" y="160"/>
                  <a:pt x="162" y="159"/>
                </a:cubicBezTo>
                <a:cubicBezTo>
                  <a:pt x="162" y="159"/>
                  <a:pt x="162" y="158"/>
                  <a:pt x="162" y="158"/>
                </a:cubicBezTo>
                <a:cubicBezTo>
                  <a:pt x="162" y="158"/>
                  <a:pt x="162" y="156"/>
                  <a:pt x="162" y="156"/>
                </a:cubicBezTo>
                <a:cubicBezTo>
                  <a:pt x="162" y="155"/>
                  <a:pt x="161" y="155"/>
                  <a:pt x="161" y="155"/>
                </a:cubicBezTo>
                <a:cubicBezTo>
                  <a:pt x="161" y="154"/>
                  <a:pt x="161" y="154"/>
                  <a:pt x="161" y="154"/>
                </a:cubicBezTo>
                <a:cubicBezTo>
                  <a:pt x="161" y="154"/>
                  <a:pt x="162" y="152"/>
                  <a:pt x="162" y="152"/>
                </a:cubicBezTo>
                <a:cubicBezTo>
                  <a:pt x="162" y="152"/>
                  <a:pt x="158" y="150"/>
                  <a:pt x="158" y="150"/>
                </a:cubicBezTo>
                <a:cubicBezTo>
                  <a:pt x="158" y="149"/>
                  <a:pt x="157" y="150"/>
                  <a:pt x="156" y="150"/>
                </a:cubicBezTo>
                <a:cubicBezTo>
                  <a:pt x="156" y="150"/>
                  <a:pt x="155" y="150"/>
                  <a:pt x="155" y="150"/>
                </a:cubicBezTo>
                <a:cubicBezTo>
                  <a:pt x="155" y="150"/>
                  <a:pt x="154" y="147"/>
                  <a:pt x="154" y="146"/>
                </a:cubicBezTo>
                <a:cubicBezTo>
                  <a:pt x="154" y="146"/>
                  <a:pt x="152" y="144"/>
                  <a:pt x="152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32"/>
                  <a:pt x="0" y="132"/>
                  <a:pt x="0" y="132"/>
                </a:cubicBezTo>
                <a:cubicBezTo>
                  <a:pt x="0" y="132"/>
                  <a:pt x="0" y="131"/>
                  <a:pt x="0" y="131"/>
                </a:cubicBezTo>
                <a:cubicBezTo>
                  <a:pt x="4" y="129"/>
                  <a:pt x="7" y="127"/>
                  <a:pt x="10" y="125"/>
                </a:cubicBezTo>
                <a:cubicBezTo>
                  <a:pt x="11" y="124"/>
                  <a:pt x="12" y="123"/>
                  <a:pt x="13" y="122"/>
                </a:cubicBezTo>
                <a:cubicBezTo>
                  <a:pt x="14" y="122"/>
                  <a:pt x="15" y="122"/>
                  <a:pt x="16" y="121"/>
                </a:cubicBezTo>
                <a:cubicBezTo>
                  <a:pt x="16" y="121"/>
                  <a:pt x="16" y="121"/>
                  <a:pt x="17" y="120"/>
                </a:cubicBezTo>
                <a:cubicBezTo>
                  <a:pt x="17" y="120"/>
                  <a:pt x="18" y="120"/>
                  <a:pt x="18" y="120"/>
                </a:cubicBezTo>
                <a:cubicBezTo>
                  <a:pt x="19" y="119"/>
                  <a:pt x="19" y="119"/>
                  <a:pt x="20" y="119"/>
                </a:cubicBezTo>
                <a:cubicBezTo>
                  <a:pt x="20" y="118"/>
                  <a:pt x="21" y="118"/>
                  <a:pt x="22" y="118"/>
                </a:cubicBezTo>
                <a:cubicBezTo>
                  <a:pt x="22" y="117"/>
                  <a:pt x="22" y="117"/>
                  <a:pt x="23" y="116"/>
                </a:cubicBezTo>
                <a:cubicBezTo>
                  <a:pt x="23" y="116"/>
                  <a:pt x="23" y="115"/>
                  <a:pt x="23" y="115"/>
                </a:cubicBezTo>
                <a:cubicBezTo>
                  <a:pt x="24" y="114"/>
                  <a:pt x="24" y="114"/>
                  <a:pt x="24" y="114"/>
                </a:cubicBezTo>
                <a:cubicBezTo>
                  <a:pt x="24" y="113"/>
                  <a:pt x="24" y="113"/>
                  <a:pt x="24" y="113"/>
                </a:cubicBezTo>
                <a:cubicBezTo>
                  <a:pt x="25" y="113"/>
                  <a:pt x="25" y="112"/>
                  <a:pt x="25" y="112"/>
                </a:cubicBezTo>
                <a:cubicBezTo>
                  <a:pt x="27" y="111"/>
                  <a:pt x="28" y="110"/>
                  <a:pt x="29" y="110"/>
                </a:cubicBezTo>
                <a:cubicBezTo>
                  <a:pt x="30" y="109"/>
                  <a:pt x="31" y="108"/>
                  <a:pt x="31" y="107"/>
                </a:cubicBezTo>
                <a:cubicBezTo>
                  <a:pt x="31" y="106"/>
                  <a:pt x="31" y="105"/>
                  <a:pt x="31" y="105"/>
                </a:cubicBezTo>
                <a:cubicBezTo>
                  <a:pt x="31" y="105"/>
                  <a:pt x="31" y="104"/>
                  <a:pt x="30" y="103"/>
                </a:cubicBezTo>
                <a:cubicBezTo>
                  <a:pt x="30" y="103"/>
                  <a:pt x="30" y="103"/>
                  <a:pt x="30" y="103"/>
                </a:cubicBezTo>
                <a:cubicBezTo>
                  <a:pt x="29" y="103"/>
                  <a:pt x="29" y="103"/>
                  <a:pt x="29" y="102"/>
                </a:cubicBezTo>
                <a:cubicBezTo>
                  <a:pt x="29" y="100"/>
                  <a:pt x="29" y="100"/>
                  <a:pt x="29" y="100"/>
                </a:cubicBezTo>
                <a:cubicBezTo>
                  <a:pt x="25" y="98"/>
                  <a:pt x="25" y="98"/>
                  <a:pt x="25" y="98"/>
                </a:cubicBezTo>
                <a:cubicBezTo>
                  <a:pt x="25" y="96"/>
                  <a:pt x="25" y="96"/>
                  <a:pt x="25" y="96"/>
                </a:cubicBezTo>
                <a:cubicBezTo>
                  <a:pt x="26" y="95"/>
                  <a:pt x="26" y="95"/>
                  <a:pt x="26" y="95"/>
                </a:cubicBezTo>
                <a:cubicBezTo>
                  <a:pt x="26" y="94"/>
                  <a:pt x="26" y="94"/>
                  <a:pt x="26" y="94"/>
                </a:cubicBezTo>
                <a:cubicBezTo>
                  <a:pt x="23" y="93"/>
                  <a:pt x="23" y="93"/>
                  <a:pt x="23" y="93"/>
                </a:cubicBezTo>
                <a:cubicBezTo>
                  <a:pt x="24" y="91"/>
                  <a:pt x="24" y="91"/>
                  <a:pt x="24" y="91"/>
                </a:cubicBezTo>
                <a:cubicBezTo>
                  <a:pt x="24" y="85"/>
                  <a:pt x="24" y="85"/>
                  <a:pt x="24" y="85"/>
                </a:cubicBezTo>
                <a:cubicBezTo>
                  <a:pt x="25" y="85"/>
                  <a:pt x="26" y="84"/>
                  <a:pt x="26" y="84"/>
                </a:cubicBezTo>
                <a:cubicBezTo>
                  <a:pt x="28" y="83"/>
                  <a:pt x="29" y="83"/>
                  <a:pt x="31" y="83"/>
                </a:cubicBezTo>
                <a:cubicBezTo>
                  <a:pt x="32" y="83"/>
                  <a:pt x="33" y="82"/>
                  <a:pt x="35" y="82"/>
                </a:cubicBezTo>
                <a:cubicBezTo>
                  <a:pt x="36" y="81"/>
                  <a:pt x="38" y="81"/>
                  <a:pt x="39" y="81"/>
                </a:cubicBezTo>
                <a:cubicBezTo>
                  <a:pt x="42" y="81"/>
                  <a:pt x="46" y="80"/>
                  <a:pt x="49" y="80"/>
                </a:cubicBezTo>
                <a:cubicBezTo>
                  <a:pt x="51" y="80"/>
                  <a:pt x="53" y="80"/>
                  <a:pt x="55" y="80"/>
                </a:cubicBezTo>
                <a:cubicBezTo>
                  <a:pt x="57" y="80"/>
                  <a:pt x="59" y="80"/>
                  <a:pt x="61" y="80"/>
                </a:cubicBezTo>
                <a:cubicBezTo>
                  <a:pt x="64" y="80"/>
                  <a:pt x="67" y="81"/>
                  <a:pt x="70" y="82"/>
                </a:cubicBezTo>
                <a:cubicBezTo>
                  <a:pt x="71" y="82"/>
                  <a:pt x="72" y="84"/>
                  <a:pt x="73" y="84"/>
                </a:cubicBezTo>
                <a:cubicBezTo>
                  <a:pt x="75" y="85"/>
                  <a:pt x="76" y="87"/>
                  <a:pt x="78" y="86"/>
                </a:cubicBezTo>
                <a:cubicBezTo>
                  <a:pt x="79" y="86"/>
                  <a:pt x="80" y="86"/>
                  <a:pt x="81" y="85"/>
                </a:cubicBezTo>
                <a:cubicBezTo>
                  <a:pt x="82" y="85"/>
                  <a:pt x="84" y="85"/>
                  <a:pt x="85" y="85"/>
                </a:cubicBezTo>
                <a:cubicBezTo>
                  <a:pt x="87" y="85"/>
                  <a:pt x="89" y="85"/>
                  <a:pt x="91" y="85"/>
                </a:cubicBezTo>
                <a:cubicBezTo>
                  <a:pt x="93" y="85"/>
                  <a:pt x="96" y="85"/>
                  <a:pt x="98" y="84"/>
                </a:cubicBezTo>
                <a:cubicBezTo>
                  <a:pt x="99" y="84"/>
                  <a:pt x="100" y="84"/>
                  <a:pt x="101" y="83"/>
                </a:cubicBezTo>
                <a:cubicBezTo>
                  <a:pt x="102" y="83"/>
                  <a:pt x="103" y="83"/>
                  <a:pt x="104" y="82"/>
                </a:cubicBezTo>
                <a:cubicBezTo>
                  <a:pt x="106" y="81"/>
                  <a:pt x="107" y="79"/>
                  <a:pt x="109" y="78"/>
                </a:cubicBezTo>
                <a:cubicBezTo>
                  <a:pt x="111" y="76"/>
                  <a:pt x="113" y="75"/>
                  <a:pt x="115" y="73"/>
                </a:cubicBezTo>
                <a:cubicBezTo>
                  <a:pt x="117" y="73"/>
                  <a:pt x="118" y="72"/>
                  <a:pt x="119" y="72"/>
                </a:cubicBezTo>
                <a:cubicBezTo>
                  <a:pt x="120" y="72"/>
                  <a:pt x="122" y="72"/>
                  <a:pt x="122" y="71"/>
                </a:cubicBezTo>
                <a:cubicBezTo>
                  <a:pt x="123" y="71"/>
                  <a:pt x="123" y="69"/>
                  <a:pt x="123" y="68"/>
                </a:cubicBezTo>
                <a:cubicBezTo>
                  <a:pt x="123" y="68"/>
                  <a:pt x="124" y="67"/>
                  <a:pt x="124" y="66"/>
                </a:cubicBezTo>
                <a:cubicBezTo>
                  <a:pt x="124" y="65"/>
                  <a:pt x="123" y="65"/>
                  <a:pt x="123" y="64"/>
                </a:cubicBezTo>
                <a:cubicBezTo>
                  <a:pt x="123" y="64"/>
                  <a:pt x="123" y="64"/>
                  <a:pt x="123" y="63"/>
                </a:cubicBezTo>
                <a:cubicBezTo>
                  <a:pt x="123" y="63"/>
                  <a:pt x="123" y="63"/>
                  <a:pt x="123" y="62"/>
                </a:cubicBezTo>
                <a:cubicBezTo>
                  <a:pt x="123" y="62"/>
                  <a:pt x="123" y="62"/>
                  <a:pt x="123" y="61"/>
                </a:cubicBezTo>
                <a:cubicBezTo>
                  <a:pt x="123" y="61"/>
                  <a:pt x="123" y="61"/>
                  <a:pt x="122" y="60"/>
                </a:cubicBezTo>
                <a:cubicBezTo>
                  <a:pt x="122" y="60"/>
                  <a:pt x="122" y="59"/>
                  <a:pt x="121" y="59"/>
                </a:cubicBezTo>
                <a:cubicBezTo>
                  <a:pt x="121" y="59"/>
                  <a:pt x="121" y="58"/>
                  <a:pt x="120" y="58"/>
                </a:cubicBezTo>
                <a:cubicBezTo>
                  <a:pt x="120" y="58"/>
                  <a:pt x="120" y="58"/>
                  <a:pt x="120" y="57"/>
                </a:cubicBezTo>
                <a:cubicBezTo>
                  <a:pt x="120" y="57"/>
                  <a:pt x="120" y="57"/>
                  <a:pt x="121" y="56"/>
                </a:cubicBezTo>
                <a:cubicBezTo>
                  <a:pt x="121" y="56"/>
                  <a:pt x="122" y="56"/>
                  <a:pt x="123" y="56"/>
                </a:cubicBezTo>
                <a:cubicBezTo>
                  <a:pt x="123" y="55"/>
                  <a:pt x="124" y="55"/>
                  <a:pt x="124" y="55"/>
                </a:cubicBezTo>
                <a:cubicBezTo>
                  <a:pt x="125" y="55"/>
                  <a:pt x="126" y="55"/>
                  <a:pt x="126" y="54"/>
                </a:cubicBezTo>
                <a:cubicBezTo>
                  <a:pt x="126" y="54"/>
                  <a:pt x="126" y="54"/>
                  <a:pt x="126" y="54"/>
                </a:cubicBezTo>
                <a:cubicBezTo>
                  <a:pt x="126" y="53"/>
                  <a:pt x="126" y="53"/>
                  <a:pt x="126" y="53"/>
                </a:cubicBezTo>
                <a:cubicBezTo>
                  <a:pt x="126" y="53"/>
                  <a:pt x="126" y="53"/>
                  <a:pt x="126" y="53"/>
                </a:cubicBezTo>
                <a:cubicBezTo>
                  <a:pt x="126" y="53"/>
                  <a:pt x="126" y="52"/>
                  <a:pt x="125" y="52"/>
                </a:cubicBezTo>
                <a:cubicBezTo>
                  <a:pt x="125" y="51"/>
                  <a:pt x="124" y="51"/>
                  <a:pt x="124" y="51"/>
                </a:cubicBezTo>
                <a:cubicBezTo>
                  <a:pt x="124" y="51"/>
                  <a:pt x="123" y="51"/>
                  <a:pt x="123" y="51"/>
                </a:cubicBezTo>
                <a:cubicBezTo>
                  <a:pt x="122" y="51"/>
                  <a:pt x="123" y="51"/>
                  <a:pt x="124" y="50"/>
                </a:cubicBezTo>
                <a:cubicBezTo>
                  <a:pt x="124" y="50"/>
                  <a:pt x="125" y="49"/>
                  <a:pt x="124" y="49"/>
                </a:cubicBezTo>
                <a:cubicBezTo>
                  <a:pt x="124" y="49"/>
                  <a:pt x="124" y="49"/>
                  <a:pt x="123" y="49"/>
                </a:cubicBezTo>
                <a:cubicBezTo>
                  <a:pt x="123" y="48"/>
                  <a:pt x="123" y="48"/>
                  <a:pt x="123" y="49"/>
                </a:cubicBezTo>
                <a:cubicBezTo>
                  <a:pt x="122" y="49"/>
                  <a:pt x="122" y="49"/>
                  <a:pt x="122" y="50"/>
                </a:cubicBezTo>
                <a:cubicBezTo>
                  <a:pt x="122" y="50"/>
                  <a:pt x="121" y="50"/>
                  <a:pt x="121" y="51"/>
                </a:cubicBezTo>
                <a:cubicBezTo>
                  <a:pt x="121" y="51"/>
                  <a:pt x="121" y="51"/>
                  <a:pt x="121" y="51"/>
                </a:cubicBezTo>
                <a:cubicBezTo>
                  <a:pt x="120" y="51"/>
                  <a:pt x="120" y="50"/>
                  <a:pt x="120" y="50"/>
                </a:cubicBezTo>
                <a:cubicBezTo>
                  <a:pt x="120" y="50"/>
                  <a:pt x="120" y="49"/>
                  <a:pt x="119" y="49"/>
                </a:cubicBezTo>
                <a:cubicBezTo>
                  <a:pt x="119" y="49"/>
                  <a:pt x="119" y="48"/>
                  <a:pt x="119" y="48"/>
                </a:cubicBezTo>
                <a:cubicBezTo>
                  <a:pt x="119" y="47"/>
                  <a:pt x="119" y="47"/>
                  <a:pt x="119" y="46"/>
                </a:cubicBezTo>
                <a:cubicBezTo>
                  <a:pt x="119" y="46"/>
                  <a:pt x="118" y="46"/>
                  <a:pt x="118" y="45"/>
                </a:cubicBezTo>
                <a:cubicBezTo>
                  <a:pt x="118" y="44"/>
                  <a:pt x="118" y="44"/>
                  <a:pt x="119" y="44"/>
                </a:cubicBezTo>
                <a:cubicBezTo>
                  <a:pt x="119" y="44"/>
                  <a:pt x="119" y="44"/>
                  <a:pt x="119" y="43"/>
                </a:cubicBezTo>
                <a:cubicBezTo>
                  <a:pt x="119" y="43"/>
                  <a:pt x="120" y="43"/>
                  <a:pt x="120" y="42"/>
                </a:cubicBezTo>
                <a:cubicBezTo>
                  <a:pt x="121" y="42"/>
                  <a:pt x="122" y="41"/>
                  <a:pt x="123" y="41"/>
                </a:cubicBezTo>
                <a:cubicBezTo>
                  <a:pt x="124" y="40"/>
                  <a:pt x="124" y="40"/>
                  <a:pt x="125" y="39"/>
                </a:cubicBezTo>
                <a:cubicBezTo>
                  <a:pt x="126" y="39"/>
                  <a:pt x="126" y="39"/>
                  <a:pt x="127" y="38"/>
                </a:cubicBezTo>
                <a:cubicBezTo>
                  <a:pt x="127" y="38"/>
                  <a:pt x="128" y="37"/>
                  <a:pt x="128" y="37"/>
                </a:cubicBezTo>
                <a:cubicBezTo>
                  <a:pt x="128" y="36"/>
                  <a:pt x="129" y="35"/>
                  <a:pt x="129" y="35"/>
                </a:cubicBezTo>
                <a:cubicBezTo>
                  <a:pt x="129" y="34"/>
                  <a:pt x="129" y="34"/>
                  <a:pt x="130" y="34"/>
                </a:cubicBezTo>
                <a:cubicBezTo>
                  <a:pt x="130" y="33"/>
                  <a:pt x="131" y="33"/>
                  <a:pt x="131" y="33"/>
                </a:cubicBezTo>
                <a:cubicBezTo>
                  <a:pt x="132" y="33"/>
                  <a:pt x="133" y="33"/>
                  <a:pt x="133" y="33"/>
                </a:cubicBezTo>
                <a:cubicBezTo>
                  <a:pt x="134" y="32"/>
                  <a:pt x="134" y="32"/>
                  <a:pt x="135" y="31"/>
                </a:cubicBezTo>
                <a:cubicBezTo>
                  <a:pt x="135" y="31"/>
                  <a:pt x="136" y="30"/>
                  <a:pt x="136" y="30"/>
                </a:cubicBezTo>
                <a:cubicBezTo>
                  <a:pt x="137" y="30"/>
                  <a:pt x="137" y="29"/>
                  <a:pt x="138" y="29"/>
                </a:cubicBezTo>
                <a:cubicBezTo>
                  <a:pt x="138" y="28"/>
                  <a:pt x="138" y="28"/>
                  <a:pt x="139" y="27"/>
                </a:cubicBezTo>
                <a:cubicBezTo>
                  <a:pt x="139" y="27"/>
                  <a:pt x="139" y="26"/>
                  <a:pt x="139" y="25"/>
                </a:cubicBezTo>
                <a:cubicBezTo>
                  <a:pt x="139" y="25"/>
                  <a:pt x="139" y="25"/>
                  <a:pt x="139" y="25"/>
                </a:cubicBezTo>
                <a:cubicBezTo>
                  <a:pt x="152" y="12"/>
                  <a:pt x="152" y="12"/>
                  <a:pt x="152" y="12"/>
                </a:cubicBezTo>
                <a:cubicBezTo>
                  <a:pt x="152" y="10"/>
                  <a:pt x="152" y="10"/>
                  <a:pt x="152" y="10"/>
                </a:cubicBezTo>
                <a:cubicBezTo>
                  <a:pt x="156" y="8"/>
                  <a:pt x="156" y="8"/>
                  <a:pt x="156" y="8"/>
                </a:cubicBezTo>
                <a:cubicBezTo>
                  <a:pt x="157" y="8"/>
                  <a:pt x="157" y="8"/>
                  <a:pt x="157" y="8"/>
                </a:cubicBezTo>
                <a:cubicBezTo>
                  <a:pt x="157" y="8"/>
                  <a:pt x="161" y="6"/>
                  <a:pt x="161" y="6"/>
                </a:cubicBezTo>
                <a:cubicBezTo>
                  <a:pt x="161" y="6"/>
                  <a:pt x="168" y="2"/>
                  <a:pt x="168" y="2"/>
                </a:cubicBezTo>
                <a:cubicBezTo>
                  <a:pt x="168" y="2"/>
                  <a:pt x="169" y="1"/>
                  <a:pt x="169" y="1"/>
                </a:cubicBezTo>
                <a:cubicBezTo>
                  <a:pt x="169" y="1"/>
                  <a:pt x="170" y="0"/>
                  <a:pt x="170" y="0"/>
                </a:cubicBezTo>
                <a:cubicBezTo>
                  <a:pt x="173" y="2"/>
                  <a:pt x="173" y="2"/>
                  <a:pt x="173" y="2"/>
                </a:cubicBezTo>
                <a:cubicBezTo>
                  <a:pt x="221" y="0"/>
                  <a:pt x="221" y="0"/>
                  <a:pt x="221" y="0"/>
                </a:cubicBezTo>
                <a:cubicBezTo>
                  <a:pt x="221" y="0"/>
                  <a:pt x="221" y="4"/>
                  <a:pt x="221" y="5"/>
                </a:cubicBezTo>
                <a:cubicBezTo>
                  <a:pt x="221" y="6"/>
                  <a:pt x="220" y="7"/>
                  <a:pt x="220" y="8"/>
                </a:cubicBezTo>
                <a:cubicBezTo>
                  <a:pt x="219" y="9"/>
                  <a:pt x="220" y="9"/>
                  <a:pt x="221" y="10"/>
                </a:cubicBezTo>
                <a:cubicBezTo>
                  <a:pt x="221" y="11"/>
                  <a:pt x="221" y="12"/>
                  <a:pt x="221" y="13"/>
                </a:cubicBezTo>
                <a:cubicBezTo>
                  <a:pt x="221" y="13"/>
                  <a:pt x="221" y="15"/>
                  <a:pt x="220" y="16"/>
                </a:cubicBezTo>
                <a:cubicBezTo>
                  <a:pt x="220" y="18"/>
                  <a:pt x="220" y="20"/>
                  <a:pt x="220" y="21"/>
                </a:cubicBezTo>
                <a:cubicBezTo>
                  <a:pt x="219" y="22"/>
                  <a:pt x="221" y="24"/>
                  <a:pt x="222" y="25"/>
                </a:cubicBezTo>
                <a:cubicBezTo>
                  <a:pt x="222" y="26"/>
                  <a:pt x="222" y="28"/>
                  <a:pt x="222" y="28"/>
                </a:cubicBezTo>
                <a:cubicBezTo>
                  <a:pt x="222" y="29"/>
                  <a:pt x="222" y="31"/>
                  <a:pt x="222" y="32"/>
                </a:cubicBezTo>
                <a:cubicBezTo>
                  <a:pt x="221" y="32"/>
                  <a:pt x="222" y="37"/>
                  <a:pt x="222" y="37"/>
                </a:cubicBezTo>
                <a:cubicBezTo>
                  <a:pt x="222" y="37"/>
                  <a:pt x="221" y="38"/>
                  <a:pt x="221" y="39"/>
                </a:cubicBezTo>
                <a:cubicBezTo>
                  <a:pt x="220" y="39"/>
                  <a:pt x="219" y="40"/>
                  <a:pt x="219" y="41"/>
                </a:cubicBezTo>
                <a:cubicBezTo>
                  <a:pt x="219" y="41"/>
                  <a:pt x="219" y="43"/>
                  <a:pt x="218" y="44"/>
                </a:cubicBezTo>
                <a:cubicBezTo>
                  <a:pt x="218" y="44"/>
                  <a:pt x="218" y="47"/>
                  <a:pt x="218" y="47"/>
                </a:cubicBezTo>
                <a:cubicBezTo>
                  <a:pt x="218" y="47"/>
                  <a:pt x="219" y="49"/>
                  <a:pt x="219" y="49"/>
                </a:cubicBezTo>
                <a:cubicBezTo>
                  <a:pt x="219" y="49"/>
                  <a:pt x="219" y="52"/>
                  <a:pt x="219" y="53"/>
                </a:cubicBezTo>
                <a:cubicBezTo>
                  <a:pt x="219" y="53"/>
                  <a:pt x="219" y="58"/>
                  <a:pt x="219" y="58"/>
                </a:cubicBezTo>
                <a:cubicBezTo>
                  <a:pt x="221" y="61"/>
                  <a:pt x="221" y="61"/>
                  <a:pt x="221" y="61"/>
                </a:cubicBezTo>
                <a:cubicBezTo>
                  <a:pt x="221" y="61"/>
                  <a:pt x="219" y="65"/>
                  <a:pt x="219" y="65"/>
                </a:cubicBezTo>
                <a:cubicBezTo>
                  <a:pt x="219" y="66"/>
                  <a:pt x="218" y="68"/>
                  <a:pt x="218" y="68"/>
                </a:cubicBezTo>
                <a:cubicBezTo>
                  <a:pt x="218" y="68"/>
                  <a:pt x="219" y="69"/>
                  <a:pt x="219" y="70"/>
                </a:cubicBezTo>
                <a:cubicBezTo>
                  <a:pt x="219" y="70"/>
                  <a:pt x="220" y="70"/>
                  <a:pt x="220" y="70"/>
                </a:cubicBezTo>
                <a:cubicBezTo>
                  <a:pt x="220" y="69"/>
                  <a:pt x="220" y="69"/>
                  <a:pt x="220" y="69"/>
                </a:cubicBezTo>
                <a:cubicBezTo>
                  <a:pt x="220" y="69"/>
                  <a:pt x="221" y="68"/>
                  <a:pt x="221" y="68"/>
                </a:cubicBezTo>
                <a:cubicBezTo>
                  <a:pt x="221" y="68"/>
                  <a:pt x="222" y="68"/>
                  <a:pt x="222" y="68"/>
                </a:cubicBezTo>
                <a:cubicBezTo>
                  <a:pt x="223" y="68"/>
                  <a:pt x="223" y="69"/>
                  <a:pt x="223" y="70"/>
                </a:cubicBezTo>
                <a:cubicBezTo>
                  <a:pt x="223" y="70"/>
                  <a:pt x="224" y="71"/>
                  <a:pt x="224" y="71"/>
                </a:cubicBezTo>
                <a:cubicBezTo>
                  <a:pt x="223" y="105"/>
                  <a:pt x="223" y="105"/>
                  <a:pt x="223" y="105"/>
                </a:cubicBezTo>
                <a:cubicBezTo>
                  <a:pt x="224" y="109"/>
                  <a:pt x="224" y="109"/>
                  <a:pt x="224" y="109"/>
                </a:cubicBezTo>
                <a:cubicBezTo>
                  <a:pt x="215" y="140"/>
                  <a:pt x="215" y="140"/>
                  <a:pt x="215" y="140"/>
                </a:cubicBezTo>
                <a:cubicBezTo>
                  <a:pt x="216" y="142"/>
                  <a:pt x="216" y="142"/>
                  <a:pt x="216" y="142"/>
                </a:cubicBezTo>
                <a:cubicBezTo>
                  <a:pt x="215" y="161"/>
                  <a:pt x="215" y="161"/>
                  <a:pt x="215" y="161"/>
                </a:cubicBezTo>
                <a:cubicBezTo>
                  <a:pt x="214" y="176"/>
                  <a:pt x="214" y="176"/>
                  <a:pt x="214" y="176"/>
                </a:cubicBezTo>
                <a:cubicBezTo>
                  <a:pt x="214" y="176"/>
                  <a:pt x="215" y="178"/>
                  <a:pt x="215" y="178"/>
                </a:cubicBezTo>
                <a:cubicBezTo>
                  <a:pt x="215" y="178"/>
                  <a:pt x="216" y="181"/>
                  <a:pt x="216" y="181"/>
                </a:cubicBezTo>
                <a:cubicBezTo>
                  <a:pt x="210" y="184"/>
                  <a:pt x="210" y="184"/>
                  <a:pt x="210" y="184"/>
                </a:cubicBezTo>
                <a:cubicBezTo>
                  <a:pt x="210" y="184"/>
                  <a:pt x="208" y="186"/>
                  <a:pt x="208" y="186"/>
                </a:cubicBezTo>
                <a:cubicBezTo>
                  <a:pt x="208" y="187"/>
                  <a:pt x="208" y="188"/>
                  <a:pt x="208" y="188"/>
                </a:cubicBezTo>
                <a:close/>
                <a:moveTo>
                  <a:pt x="195" y="206"/>
                </a:moveTo>
                <a:cubicBezTo>
                  <a:pt x="195" y="206"/>
                  <a:pt x="193" y="206"/>
                  <a:pt x="193" y="206"/>
                </a:cubicBezTo>
                <a:cubicBezTo>
                  <a:pt x="193" y="206"/>
                  <a:pt x="192" y="207"/>
                  <a:pt x="192" y="207"/>
                </a:cubicBezTo>
                <a:cubicBezTo>
                  <a:pt x="192" y="208"/>
                  <a:pt x="191" y="209"/>
                  <a:pt x="191" y="209"/>
                </a:cubicBezTo>
                <a:cubicBezTo>
                  <a:pt x="190" y="210"/>
                  <a:pt x="190" y="211"/>
                  <a:pt x="190" y="212"/>
                </a:cubicBezTo>
                <a:cubicBezTo>
                  <a:pt x="190" y="212"/>
                  <a:pt x="190" y="213"/>
                  <a:pt x="190" y="213"/>
                </a:cubicBezTo>
                <a:cubicBezTo>
                  <a:pt x="192" y="214"/>
                  <a:pt x="192" y="214"/>
                  <a:pt x="192" y="214"/>
                </a:cubicBezTo>
                <a:cubicBezTo>
                  <a:pt x="192" y="213"/>
                  <a:pt x="193" y="213"/>
                  <a:pt x="193" y="212"/>
                </a:cubicBezTo>
                <a:cubicBezTo>
                  <a:pt x="194" y="212"/>
                  <a:pt x="194" y="211"/>
                  <a:pt x="195" y="211"/>
                </a:cubicBezTo>
                <a:cubicBezTo>
                  <a:pt x="195" y="210"/>
                  <a:pt x="195" y="210"/>
                  <a:pt x="195" y="209"/>
                </a:cubicBezTo>
                <a:cubicBezTo>
                  <a:pt x="195" y="209"/>
                  <a:pt x="195" y="209"/>
                  <a:pt x="195" y="208"/>
                </a:cubicBezTo>
                <a:cubicBezTo>
                  <a:pt x="196" y="208"/>
                  <a:pt x="196" y="207"/>
                  <a:pt x="196" y="207"/>
                </a:cubicBezTo>
                <a:cubicBezTo>
                  <a:pt x="196" y="207"/>
                  <a:pt x="196" y="206"/>
                  <a:pt x="196" y="206"/>
                </a:cubicBezTo>
                <a:cubicBezTo>
                  <a:pt x="196" y="206"/>
                  <a:pt x="196" y="206"/>
                  <a:pt x="196" y="206"/>
                </a:cubicBezTo>
                <a:cubicBezTo>
                  <a:pt x="196" y="206"/>
                  <a:pt x="195" y="205"/>
                  <a:pt x="195" y="20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0" name="Freeform 28">
            <a:extLst>
              <a:ext uri="{FF2B5EF4-FFF2-40B4-BE49-F238E27FC236}">
                <a16:creationId xmlns:a16="http://schemas.microsoft.com/office/drawing/2014/main" id="{93200E6A-A45F-4776-9942-9FA3E7819A35}"/>
              </a:ext>
            </a:extLst>
          </p:cNvPr>
          <p:cNvSpPr>
            <a:spLocks/>
          </p:cNvSpPr>
          <p:nvPr/>
        </p:nvSpPr>
        <p:spPr bwMode="auto">
          <a:xfrm>
            <a:off x="10722997" y="2744988"/>
            <a:ext cx="224700" cy="436182"/>
          </a:xfrm>
          <a:custGeom>
            <a:avLst/>
            <a:gdLst>
              <a:gd name="T0" fmla="*/ 52 w 57"/>
              <a:gd name="T1" fmla="*/ 44 h 110"/>
              <a:gd name="T2" fmla="*/ 48 w 57"/>
              <a:gd name="T3" fmla="*/ 43 h 110"/>
              <a:gd name="T4" fmla="*/ 45 w 57"/>
              <a:gd name="T5" fmla="*/ 42 h 110"/>
              <a:gd name="T6" fmla="*/ 45 w 57"/>
              <a:gd name="T7" fmla="*/ 41 h 110"/>
              <a:gd name="T8" fmla="*/ 45 w 57"/>
              <a:gd name="T9" fmla="*/ 36 h 110"/>
              <a:gd name="T10" fmla="*/ 47 w 57"/>
              <a:gd name="T11" fmla="*/ 33 h 110"/>
              <a:gd name="T12" fmla="*/ 50 w 57"/>
              <a:gd name="T13" fmla="*/ 32 h 110"/>
              <a:gd name="T14" fmla="*/ 52 w 57"/>
              <a:gd name="T15" fmla="*/ 32 h 110"/>
              <a:gd name="T16" fmla="*/ 53 w 57"/>
              <a:gd name="T17" fmla="*/ 29 h 110"/>
              <a:gd name="T18" fmla="*/ 31 w 57"/>
              <a:gd name="T19" fmla="*/ 2 h 110"/>
              <a:gd name="T20" fmla="*/ 25 w 57"/>
              <a:gd name="T21" fmla="*/ 4 h 110"/>
              <a:gd name="T22" fmla="*/ 20 w 57"/>
              <a:gd name="T23" fmla="*/ 13 h 110"/>
              <a:gd name="T24" fmla="*/ 17 w 57"/>
              <a:gd name="T25" fmla="*/ 23 h 110"/>
              <a:gd name="T26" fmla="*/ 12 w 57"/>
              <a:gd name="T27" fmla="*/ 28 h 110"/>
              <a:gd name="T28" fmla="*/ 17 w 57"/>
              <a:gd name="T29" fmla="*/ 38 h 110"/>
              <a:gd name="T30" fmla="*/ 21 w 57"/>
              <a:gd name="T31" fmla="*/ 47 h 110"/>
              <a:gd name="T32" fmla="*/ 27 w 57"/>
              <a:gd name="T33" fmla="*/ 57 h 110"/>
              <a:gd name="T34" fmla="*/ 14 w 57"/>
              <a:gd name="T35" fmla="*/ 68 h 110"/>
              <a:gd name="T36" fmla="*/ 8 w 57"/>
              <a:gd name="T37" fmla="*/ 70 h 110"/>
              <a:gd name="T38" fmla="*/ 3 w 57"/>
              <a:gd name="T39" fmla="*/ 75 h 110"/>
              <a:gd name="T40" fmla="*/ 1 w 57"/>
              <a:gd name="T41" fmla="*/ 80 h 110"/>
              <a:gd name="T42" fmla="*/ 1 w 57"/>
              <a:gd name="T43" fmla="*/ 85 h 110"/>
              <a:gd name="T44" fmla="*/ 6 w 57"/>
              <a:gd name="T45" fmla="*/ 88 h 110"/>
              <a:gd name="T46" fmla="*/ 7 w 57"/>
              <a:gd name="T47" fmla="*/ 92 h 110"/>
              <a:gd name="T48" fmla="*/ 12 w 57"/>
              <a:gd name="T49" fmla="*/ 97 h 110"/>
              <a:gd name="T50" fmla="*/ 14 w 57"/>
              <a:gd name="T51" fmla="*/ 99 h 110"/>
              <a:gd name="T52" fmla="*/ 17 w 57"/>
              <a:gd name="T53" fmla="*/ 98 h 110"/>
              <a:gd name="T54" fmla="*/ 20 w 57"/>
              <a:gd name="T55" fmla="*/ 99 h 110"/>
              <a:gd name="T56" fmla="*/ 23 w 57"/>
              <a:gd name="T57" fmla="*/ 101 h 110"/>
              <a:gd name="T58" fmla="*/ 22 w 57"/>
              <a:gd name="T59" fmla="*/ 105 h 110"/>
              <a:gd name="T60" fmla="*/ 21 w 57"/>
              <a:gd name="T61" fmla="*/ 110 h 110"/>
              <a:gd name="T62" fmla="*/ 25 w 57"/>
              <a:gd name="T63" fmla="*/ 108 h 110"/>
              <a:gd name="T64" fmla="*/ 28 w 57"/>
              <a:gd name="T65" fmla="*/ 104 h 110"/>
              <a:gd name="T66" fmla="*/ 31 w 57"/>
              <a:gd name="T67" fmla="*/ 98 h 110"/>
              <a:gd name="T68" fmla="*/ 32 w 57"/>
              <a:gd name="T69" fmla="*/ 95 h 110"/>
              <a:gd name="T70" fmla="*/ 35 w 57"/>
              <a:gd name="T71" fmla="*/ 94 h 110"/>
              <a:gd name="T72" fmla="*/ 39 w 57"/>
              <a:gd name="T73" fmla="*/ 91 h 110"/>
              <a:gd name="T74" fmla="*/ 42 w 57"/>
              <a:gd name="T75" fmla="*/ 88 h 110"/>
              <a:gd name="T76" fmla="*/ 40 w 57"/>
              <a:gd name="T77" fmla="*/ 89 h 110"/>
              <a:gd name="T78" fmla="*/ 38 w 57"/>
              <a:gd name="T79" fmla="*/ 89 h 110"/>
              <a:gd name="T80" fmla="*/ 40 w 57"/>
              <a:gd name="T81" fmla="*/ 86 h 110"/>
              <a:gd name="T82" fmla="*/ 40 w 57"/>
              <a:gd name="T83" fmla="*/ 83 h 110"/>
              <a:gd name="T84" fmla="*/ 43 w 57"/>
              <a:gd name="T85" fmla="*/ 81 h 110"/>
              <a:gd name="T86" fmla="*/ 46 w 57"/>
              <a:gd name="T87" fmla="*/ 79 h 110"/>
              <a:gd name="T88" fmla="*/ 48 w 57"/>
              <a:gd name="T89" fmla="*/ 71 h 110"/>
              <a:gd name="T90" fmla="*/ 49 w 57"/>
              <a:gd name="T91" fmla="*/ 64 h 110"/>
              <a:gd name="T92" fmla="*/ 52 w 57"/>
              <a:gd name="T93" fmla="*/ 60 h 110"/>
              <a:gd name="T94" fmla="*/ 53 w 57"/>
              <a:gd name="T95" fmla="*/ 55 h 110"/>
              <a:gd name="T96" fmla="*/ 54 w 57"/>
              <a:gd name="T97" fmla="*/ 50 h 110"/>
              <a:gd name="T98" fmla="*/ 54 w 57"/>
              <a:gd name="T99" fmla="*/ 46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7" h="110">
                <a:moveTo>
                  <a:pt x="54" y="46"/>
                </a:moveTo>
                <a:cubicBezTo>
                  <a:pt x="54" y="45"/>
                  <a:pt x="53" y="45"/>
                  <a:pt x="53" y="44"/>
                </a:cubicBezTo>
                <a:cubicBezTo>
                  <a:pt x="52" y="44"/>
                  <a:pt x="52" y="44"/>
                  <a:pt x="52" y="44"/>
                </a:cubicBezTo>
                <a:cubicBezTo>
                  <a:pt x="51" y="43"/>
                  <a:pt x="51" y="43"/>
                  <a:pt x="51" y="43"/>
                </a:cubicBezTo>
                <a:cubicBezTo>
                  <a:pt x="51" y="43"/>
                  <a:pt x="50" y="43"/>
                  <a:pt x="50" y="43"/>
                </a:cubicBezTo>
                <a:cubicBezTo>
                  <a:pt x="49" y="43"/>
                  <a:pt x="49" y="43"/>
                  <a:pt x="48" y="43"/>
                </a:cubicBezTo>
                <a:cubicBezTo>
                  <a:pt x="48" y="43"/>
                  <a:pt x="48" y="43"/>
                  <a:pt x="47" y="42"/>
                </a:cubicBezTo>
                <a:cubicBezTo>
                  <a:pt x="47" y="42"/>
                  <a:pt x="47" y="42"/>
                  <a:pt x="46" y="42"/>
                </a:cubicBezTo>
                <a:cubicBezTo>
                  <a:pt x="46" y="42"/>
                  <a:pt x="45" y="42"/>
                  <a:pt x="45" y="42"/>
                </a:cubicBezTo>
                <a:cubicBezTo>
                  <a:pt x="45" y="41"/>
                  <a:pt x="45" y="41"/>
                  <a:pt x="45" y="41"/>
                </a:cubicBezTo>
                <a:cubicBezTo>
                  <a:pt x="45" y="41"/>
                  <a:pt x="46" y="41"/>
                  <a:pt x="46" y="41"/>
                </a:cubicBezTo>
                <a:cubicBezTo>
                  <a:pt x="45" y="41"/>
                  <a:pt x="45" y="41"/>
                  <a:pt x="45" y="41"/>
                </a:cubicBezTo>
                <a:cubicBezTo>
                  <a:pt x="45" y="41"/>
                  <a:pt x="45" y="41"/>
                  <a:pt x="44" y="41"/>
                </a:cubicBezTo>
                <a:cubicBezTo>
                  <a:pt x="44" y="40"/>
                  <a:pt x="44" y="39"/>
                  <a:pt x="44" y="39"/>
                </a:cubicBezTo>
                <a:cubicBezTo>
                  <a:pt x="44" y="38"/>
                  <a:pt x="45" y="36"/>
                  <a:pt x="45" y="36"/>
                </a:cubicBezTo>
                <a:cubicBezTo>
                  <a:pt x="45" y="36"/>
                  <a:pt x="45" y="36"/>
                  <a:pt x="46" y="35"/>
                </a:cubicBezTo>
                <a:cubicBezTo>
                  <a:pt x="46" y="34"/>
                  <a:pt x="46" y="34"/>
                  <a:pt x="47" y="34"/>
                </a:cubicBezTo>
                <a:cubicBezTo>
                  <a:pt x="47" y="34"/>
                  <a:pt x="47" y="33"/>
                  <a:pt x="47" y="33"/>
                </a:cubicBezTo>
                <a:cubicBezTo>
                  <a:pt x="47" y="33"/>
                  <a:pt x="47" y="32"/>
                  <a:pt x="47" y="32"/>
                </a:cubicBezTo>
                <a:cubicBezTo>
                  <a:pt x="48" y="32"/>
                  <a:pt x="48" y="32"/>
                  <a:pt x="50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32"/>
                  <a:pt x="51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52" y="32"/>
                  <a:pt x="52" y="31"/>
                  <a:pt x="52" y="31"/>
                </a:cubicBezTo>
                <a:cubicBezTo>
                  <a:pt x="52" y="31"/>
                  <a:pt x="53" y="30"/>
                  <a:pt x="53" y="30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7" y="18"/>
                  <a:pt x="57" y="18"/>
                  <a:pt x="57" y="18"/>
                </a:cubicBezTo>
                <a:cubicBezTo>
                  <a:pt x="57" y="18"/>
                  <a:pt x="31" y="2"/>
                  <a:pt x="31" y="2"/>
                </a:cubicBezTo>
                <a:cubicBezTo>
                  <a:pt x="31" y="2"/>
                  <a:pt x="30" y="1"/>
                  <a:pt x="30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5" y="4"/>
                  <a:pt x="25" y="4"/>
                  <a:pt x="25" y="4"/>
                </a:cubicBezTo>
                <a:cubicBezTo>
                  <a:pt x="23" y="9"/>
                  <a:pt x="23" y="9"/>
                  <a:pt x="23" y="9"/>
                </a:cubicBezTo>
                <a:cubicBezTo>
                  <a:pt x="20" y="11"/>
                  <a:pt x="20" y="11"/>
                  <a:pt x="20" y="11"/>
                </a:cubicBezTo>
                <a:cubicBezTo>
                  <a:pt x="20" y="13"/>
                  <a:pt x="20" y="13"/>
                  <a:pt x="20" y="13"/>
                </a:cubicBezTo>
                <a:cubicBezTo>
                  <a:pt x="15" y="17"/>
                  <a:pt x="15" y="17"/>
                  <a:pt x="15" y="17"/>
                </a:cubicBezTo>
                <a:cubicBezTo>
                  <a:pt x="15" y="20"/>
                  <a:pt x="15" y="20"/>
                  <a:pt x="15" y="20"/>
                </a:cubicBezTo>
                <a:cubicBezTo>
                  <a:pt x="17" y="23"/>
                  <a:pt x="17" y="23"/>
                  <a:pt x="17" y="23"/>
                </a:cubicBezTo>
                <a:cubicBezTo>
                  <a:pt x="16" y="24"/>
                  <a:pt x="16" y="24"/>
                  <a:pt x="16" y="24"/>
                </a:cubicBezTo>
                <a:cubicBezTo>
                  <a:pt x="15" y="26"/>
                  <a:pt x="15" y="26"/>
                  <a:pt x="15" y="26"/>
                </a:cubicBezTo>
                <a:cubicBezTo>
                  <a:pt x="12" y="28"/>
                  <a:pt x="12" y="28"/>
                  <a:pt x="12" y="28"/>
                </a:cubicBezTo>
                <a:cubicBezTo>
                  <a:pt x="12" y="36"/>
                  <a:pt x="12" y="36"/>
                  <a:pt x="12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8"/>
                  <a:pt x="17" y="38"/>
                  <a:pt x="17" y="38"/>
                </a:cubicBezTo>
                <a:cubicBezTo>
                  <a:pt x="16" y="43"/>
                  <a:pt x="16" y="43"/>
                  <a:pt x="16" y="43"/>
                </a:cubicBezTo>
                <a:cubicBezTo>
                  <a:pt x="20" y="44"/>
                  <a:pt x="20" y="44"/>
                  <a:pt x="20" y="44"/>
                </a:cubicBezTo>
                <a:cubicBezTo>
                  <a:pt x="21" y="47"/>
                  <a:pt x="21" y="47"/>
                  <a:pt x="21" y="47"/>
                </a:cubicBezTo>
                <a:cubicBezTo>
                  <a:pt x="27" y="53"/>
                  <a:pt x="27" y="53"/>
                  <a:pt x="27" y="53"/>
                </a:cubicBezTo>
                <a:cubicBezTo>
                  <a:pt x="28" y="54"/>
                  <a:pt x="28" y="54"/>
                  <a:pt x="28" y="54"/>
                </a:cubicBezTo>
                <a:cubicBezTo>
                  <a:pt x="27" y="57"/>
                  <a:pt x="27" y="57"/>
                  <a:pt x="27" y="57"/>
                </a:cubicBezTo>
                <a:cubicBezTo>
                  <a:pt x="24" y="58"/>
                  <a:pt x="24" y="58"/>
                  <a:pt x="24" y="58"/>
                </a:cubicBezTo>
                <a:cubicBezTo>
                  <a:pt x="14" y="64"/>
                  <a:pt x="14" y="64"/>
                  <a:pt x="14" y="64"/>
                </a:cubicBezTo>
                <a:cubicBezTo>
                  <a:pt x="14" y="68"/>
                  <a:pt x="14" y="68"/>
                  <a:pt x="14" y="68"/>
                </a:cubicBezTo>
                <a:cubicBezTo>
                  <a:pt x="14" y="68"/>
                  <a:pt x="14" y="68"/>
                  <a:pt x="13" y="68"/>
                </a:cubicBezTo>
                <a:cubicBezTo>
                  <a:pt x="13" y="69"/>
                  <a:pt x="12" y="69"/>
                  <a:pt x="12" y="69"/>
                </a:cubicBezTo>
                <a:cubicBezTo>
                  <a:pt x="10" y="70"/>
                  <a:pt x="9" y="70"/>
                  <a:pt x="8" y="70"/>
                </a:cubicBezTo>
                <a:cubicBezTo>
                  <a:pt x="7" y="71"/>
                  <a:pt x="6" y="71"/>
                  <a:pt x="5" y="72"/>
                </a:cubicBezTo>
                <a:cubicBezTo>
                  <a:pt x="4" y="72"/>
                  <a:pt x="4" y="73"/>
                  <a:pt x="4" y="74"/>
                </a:cubicBezTo>
                <a:cubicBezTo>
                  <a:pt x="3" y="74"/>
                  <a:pt x="3" y="75"/>
                  <a:pt x="3" y="75"/>
                </a:cubicBezTo>
                <a:cubicBezTo>
                  <a:pt x="2" y="76"/>
                  <a:pt x="2" y="77"/>
                  <a:pt x="1" y="78"/>
                </a:cubicBezTo>
                <a:cubicBezTo>
                  <a:pt x="1" y="78"/>
                  <a:pt x="0" y="78"/>
                  <a:pt x="1" y="79"/>
                </a:cubicBezTo>
                <a:cubicBezTo>
                  <a:pt x="1" y="79"/>
                  <a:pt x="1" y="80"/>
                  <a:pt x="1" y="80"/>
                </a:cubicBezTo>
                <a:cubicBezTo>
                  <a:pt x="2" y="81"/>
                  <a:pt x="2" y="81"/>
                  <a:pt x="3" y="81"/>
                </a:cubicBezTo>
                <a:cubicBezTo>
                  <a:pt x="3" y="82"/>
                  <a:pt x="2" y="83"/>
                  <a:pt x="2" y="84"/>
                </a:cubicBezTo>
                <a:cubicBezTo>
                  <a:pt x="2" y="84"/>
                  <a:pt x="1" y="84"/>
                  <a:pt x="1" y="85"/>
                </a:cubicBezTo>
                <a:cubicBezTo>
                  <a:pt x="1" y="85"/>
                  <a:pt x="1" y="86"/>
                  <a:pt x="1" y="86"/>
                </a:cubicBezTo>
                <a:cubicBezTo>
                  <a:pt x="1" y="87"/>
                  <a:pt x="3" y="87"/>
                  <a:pt x="4" y="87"/>
                </a:cubicBezTo>
                <a:cubicBezTo>
                  <a:pt x="5" y="87"/>
                  <a:pt x="6" y="87"/>
                  <a:pt x="6" y="88"/>
                </a:cubicBezTo>
                <a:cubicBezTo>
                  <a:pt x="6" y="88"/>
                  <a:pt x="6" y="90"/>
                  <a:pt x="6" y="90"/>
                </a:cubicBezTo>
                <a:cubicBezTo>
                  <a:pt x="6" y="91"/>
                  <a:pt x="5" y="91"/>
                  <a:pt x="6" y="92"/>
                </a:cubicBezTo>
                <a:cubicBezTo>
                  <a:pt x="6" y="92"/>
                  <a:pt x="7" y="92"/>
                  <a:pt x="7" y="92"/>
                </a:cubicBezTo>
                <a:cubicBezTo>
                  <a:pt x="8" y="93"/>
                  <a:pt x="8" y="93"/>
                  <a:pt x="9" y="93"/>
                </a:cubicBezTo>
                <a:cubicBezTo>
                  <a:pt x="10" y="94"/>
                  <a:pt x="10" y="94"/>
                  <a:pt x="11" y="95"/>
                </a:cubicBezTo>
                <a:cubicBezTo>
                  <a:pt x="11" y="96"/>
                  <a:pt x="12" y="96"/>
                  <a:pt x="12" y="97"/>
                </a:cubicBezTo>
                <a:cubicBezTo>
                  <a:pt x="13" y="97"/>
                  <a:pt x="13" y="97"/>
                  <a:pt x="13" y="98"/>
                </a:cubicBezTo>
                <a:cubicBezTo>
                  <a:pt x="14" y="98"/>
                  <a:pt x="14" y="98"/>
                  <a:pt x="14" y="98"/>
                </a:cubicBezTo>
                <a:cubicBezTo>
                  <a:pt x="14" y="99"/>
                  <a:pt x="14" y="99"/>
                  <a:pt x="14" y="99"/>
                </a:cubicBezTo>
                <a:cubicBezTo>
                  <a:pt x="15" y="99"/>
                  <a:pt x="15" y="99"/>
                  <a:pt x="15" y="99"/>
                </a:cubicBezTo>
                <a:cubicBezTo>
                  <a:pt x="16" y="99"/>
                  <a:pt x="16" y="99"/>
                  <a:pt x="16" y="98"/>
                </a:cubicBezTo>
                <a:cubicBezTo>
                  <a:pt x="17" y="98"/>
                  <a:pt x="17" y="98"/>
                  <a:pt x="17" y="98"/>
                </a:cubicBezTo>
                <a:cubicBezTo>
                  <a:pt x="17" y="97"/>
                  <a:pt x="18" y="98"/>
                  <a:pt x="18" y="98"/>
                </a:cubicBezTo>
                <a:cubicBezTo>
                  <a:pt x="19" y="98"/>
                  <a:pt x="19" y="98"/>
                  <a:pt x="19" y="99"/>
                </a:cubicBezTo>
                <a:cubicBezTo>
                  <a:pt x="20" y="99"/>
                  <a:pt x="20" y="99"/>
                  <a:pt x="20" y="99"/>
                </a:cubicBezTo>
                <a:cubicBezTo>
                  <a:pt x="20" y="99"/>
                  <a:pt x="21" y="99"/>
                  <a:pt x="21" y="99"/>
                </a:cubicBezTo>
                <a:cubicBezTo>
                  <a:pt x="21" y="99"/>
                  <a:pt x="22" y="99"/>
                  <a:pt x="22" y="99"/>
                </a:cubicBezTo>
                <a:cubicBezTo>
                  <a:pt x="22" y="100"/>
                  <a:pt x="23" y="100"/>
                  <a:pt x="23" y="101"/>
                </a:cubicBezTo>
                <a:cubicBezTo>
                  <a:pt x="23" y="101"/>
                  <a:pt x="23" y="102"/>
                  <a:pt x="23" y="102"/>
                </a:cubicBezTo>
                <a:cubicBezTo>
                  <a:pt x="23" y="103"/>
                  <a:pt x="23" y="103"/>
                  <a:pt x="23" y="104"/>
                </a:cubicBezTo>
                <a:cubicBezTo>
                  <a:pt x="23" y="104"/>
                  <a:pt x="22" y="104"/>
                  <a:pt x="22" y="105"/>
                </a:cubicBezTo>
                <a:cubicBezTo>
                  <a:pt x="22" y="106"/>
                  <a:pt x="22" y="107"/>
                  <a:pt x="21" y="107"/>
                </a:cubicBezTo>
                <a:cubicBezTo>
                  <a:pt x="21" y="108"/>
                  <a:pt x="21" y="108"/>
                  <a:pt x="21" y="109"/>
                </a:cubicBezTo>
                <a:cubicBezTo>
                  <a:pt x="21" y="109"/>
                  <a:pt x="21" y="110"/>
                  <a:pt x="21" y="110"/>
                </a:cubicBezTo>
                <a:cubicBezTo>
                  <a:pt x="22" y="110"/>
                  <a:pt x="22" y="110"/>
                  <a:pt x="22" y="110"/>
                </a:cubicBezTo>
                <a:cubicBezTo>
                  <a:pt x="23" y="110"/>
                  <a:pt x="23" y="110"/>
                  <a:pt x="24" y="109"/>
                </a:cubicBezTo>
                <a:cubicBezTo>
                  <a:pt x="24" y="109"/>
                  <a:pt x="24" y="109"/>
                  <a:pt x="25" y="108"/>
                </a:cubicBezTo>
                <a:cubicBezTo>
                  <a:pt x="25" y="108"/>
                  <a:pt x="26" y="108"/>
                  <a:pt x="26" y="108"/>
                </a:cubicBezTo>
                <a:cubicBezTo>
                  <a:pt x="27" y="107"/>
                  <a:pt x="27" y="106"/>
                  <a:pt x="27" y="106"/>
                </a:cubicBezTo>
                <a:cubicBezTo>
                  <a:pt x="28" y="105"/>
                  <a:pt x="28" y="104"/>
                  <a:pt x="28" y="104"/>
                </a:cubicBezTo>
                <a:cubicBezTo>
                  <a:pt x="29" y="103"/>
                  <a:pt x="29" y="102"/>
                  <a:pt x="29" y="102"/>
                </a:cubicBezTo>
                <a:cubicBezTo>
                  <a:pt x="29" y="102"/>
                  <a:pt x="30" y="101"/>
                  <a:pt x="30" y="101"/>
                </a:cubicBezTo>
                <a:cubicBezTo>
                  <a:pt x="30" y="100"/>
                  <a:pt x="30" y="99"/>
                  <a:pt x="31" y="98"/>
                </a:cubicBezTo>
                <a:cubicBezTo>
                  <a:pt x="31" y="97"/>
                  <a:pt x="32" y="97"/>
                  <a:pt x="32" y="97"/>
                </a:cubicBezTo>
                <a:cubicBezTo>
                  <a:pt x="32" y="96"/>
                  <a:pt x="34" y="96"/>
                  <a:pt x="34" y="95"/>
                </a:cubicBezTo>
                <a:cubicBezTo>
                  <a:pt x="33" y="94"/>
                  <a:pt x="33" y="95"/>
                  <a:pt x="32" y="95"/>
                </a:cubicBezTo>
                <a:cubicBezTo>
                  <a:pt x="32" y="95"/>
                  <a:pt x="31" y="95"/>
                  <a:pt x="32" y="94"/>
                </a:cubicBezTo>
                <a:cubicBezTo>
                  <a:pt x="32" y="94"/>
                  <a:pt x="33" y="94"/>
                  <a:pt x="33" y="94"/>
                </a:cubicBezTo>
                <a:cubicBezTo>
                  <a:pt x="34" y="94"/>
                  <a:pt x="34" y="94"/>
                  <a:pt x="35" y="94"/>
                </a:cubicBezTo>
                <a:cubicBezTo>
                  <a:pt x="36" y="94"/>
                  <a:pt x="36" y="93"/>
                  <a:pt x="37" y="93"/>
                </a:cubicBezTo>
                <a:cubicBezTo>
                  <a:pt x="37" y="92"/>
                  <a:pt x="37" y="92"/>
                  <a:pt x="38" y="92"/>
                </a:cubicBezTo>
                <a:cubicBezTo>
                  <a:pt x="38" y="92"/>
                  <a:pt x="38" y="91"/>
                  <a:pt x="39" y="91"/>
                </a:cubicBezTo>
                <a:cubicBezTo>
                  <a:pt x="39" y="91"/>
                  <a:pt x="39" y="91"/>
                  <a:pt x="39" y="91"/>
                </a:cubicBezTo>
                <a:cubicBezTo>
                  <a:pt x="40" y="90"/>
                  <a:pt x="40" y="90"/>
                  <a:pt x="41" y="89"/>
                </a:cubicBezTo>
                <a:cubicBezTo>
                  <a:pt x="41" y="89"/>
                  <a:pt x="41" y="89"/>
                  <a:pt x="42" y="88"/>
                </a:cubicBezTo>
                <a:cubicBezTo>
                  <a:pt x="42" y="88"/>
                  <a:pt x="42" y="87"/>
                  <a:pt x="41" y="88"/>
                </a:cubicBezTo>
                <a:cubicBezTo>
                  <a:pt x="41" y="88"/>
                  <a:pt x="41" y="88"/>
                  <a:pt x="41" y="88"/>
                </a:cubicBezTo>
                <a:cubicBezTo>
                  <a:pt x="41" y="88"/>
                  <a:pt x="40" y="88"/>
                  <a:pt x="40" y="89"/>
                </a:cubicBezTo>
                <a:cubicBezTo>
                  <a:pt x="40" y="89"/>
                  <a:pt x="40" y="89"/>
                  <a:pt x="39" y="89"/>
                </a:cubicBezTo>
                <a:cubicBezTo>
                  <a:pt x="39" y="89"/>
                  <a:pt x="39" y="89"/>
                  <a:pt x="39" y="89"/>
                </a:cubicBezTo>
                <a:cubicBezTo>
                  <a:pt x="39" y="89"/>
                  <a:pt x="38" y="89"/>
                  <a:pt x="38" y="89"/>
                </a:cubicBezTo>
                <a:cubicBezTo>
                  <a:pt x="38" y="89"/>
                  <a:pt x="38" y="88"/>
                  <a:pt x="38" y="88"/>
                </a:cubicBezTo>
                <a:cubicBezTo>
                  <a:pt x="38" y="88"/>
                  <a:pt x="39" y="87"/>
                  <a:pt x="39" y="87"/>
                </a:cubicBezTo>
                <a:cubicBezTo>
                  <a:pt x="39" y="87"/>
                  <a:pt x="40" y="87"/>
                  <a:pt x="40" y="86"/>
                </a:cubicBezTo>
                <a:cubicBezTo>
                  <a:pt x="40" y="86"/>
                  <a:pt x="40" y="86"/>
                  <a:pt x="40" y="85"/>
                </a:cubicBezTo>
                <a:cubicBezTo>
                  <a:pt x="40" y="85"/>
                  <a:pt x="40" y="85"/>
                  <a:pt x="40" y="85"/>
                </a:cubicBezTo>
                <a:cubicBezTo>
                  <a:pt x="40" y="84"/>
                  <a:pt x="39" y="84"/>
                  <a:pt x="40" y="83"/>
                </a:cubicBezTo>
                <a:cubicBezTo>
                  <a:pt x="40" y="83"/>
                  <a:pt x="41" y="82"/>
                  <a:pt x="41" y="82"/>
                </a:cubicBezTo>
                <a:cubicBezTo>
                  <a:pt x="42" y="82"/>
                  <a:pt x="42" y="81"/>
                  <a:pt x="42" y="81"/>
                </a:cubicBezTo>
                <a:cubicBezTo>
                  <a:pt x="43" y="81"/>
                  <a:pt x="43" y="81"/>
                  <a:pt x="43" y="81"/>
                </a:cubicBezTo>
                <a:cubicBezTo>
                  <a:pt x="44" y="80"/>
                  <a:pt x="44" y="80"/>
                  <a:pt x="45" y="80"/>
                </a:cubicBezTo>
                <a:cubicBezTo>
                  <a:pt x="45" y="79"/>
                  <a:pt x="45" y="79"/>
                  <a:pt x="46" y="79"/>
                </a:cubicBezTo>
                <a:cubicBezTo>
                  <a:pt x="46" y="79"/>
                  <a:pt x="46" y="79"/>
                  <a:pt x="46" y="79"/>
                </a:cubicBezTo>
                <a:cubicBezTo>
                  <a:pt x="47" y="78"/>
                  <a:pt x="47" y="77"/>
                  <a:pt x="48" y="76"/>
                </a:cubicBezTo>
                <a:cubicBezTo>
                  <a:pt x="48" y="75"/>
                  <a:pt x="48" y="74"/>
                  <a:pt x="48" y="73"/>
                </a:cubicBezTo>
                <a:cubicBezTo>
                  <a:pt x="48" y="73"/>
                  <a:pt x="48" y="72"/>
                  <a:pt x="48" y="71"/>
                </a:cubicBezTo>
                <a:cubicBezTo>
                  <a:pt x="48" y="70"/>
                  <a:pt x="48" y="70"/>
                  <a:pt x="49" y="69"/>
                </a:cubicBezTo>
                <a:cubicBezTo>
                  <a:pt x="49" y="69"/>
                  <a:pt x="49" y="68"/>
                  <a:pt x="49" y="67"/>
                </a:cubicBezTo>
                <a:cubicBezTo>
                  <a:pt x="49" y="66"/>
                  <a:pt x="49" y="65"/>
                  <a:pt x="49" y="64"/>
                </a:cubicBezTo>
                <a:cubicBezTo>
                  <a:pt x="50" y="64"/>
                  <a:pt x="50" y="63"/>
                  <a:pt x="50" y="63"/>
                </a:cubicBezTo>
                <a:cubicBezTo>
                  <a:pt x="50" y="62"/>
                  <a:pt x="50" y="62"/>
                  <a:pt x="50" y="62"/>
                </a:cubicBezTo>
                <a:cubicBezTo>
                  <a:pt x="51" y="61"/>
                  <a:pt x="51" y="60"/>
                  <a:pt x="52" y="60"/>
                </a:cubicBezTo>
                <a:cubicBezTo>
                  <a:pt x="52" y="59"/>
                  <a:pt x="52" y="59"/>
                  <a:pt x="53" y="58"/>
                </a:cubicBezTo>
                <a:cubicBezTo>
                  <a:pt x="53" y="58"/>
                  <a:pt x="53" y="57"/>
                  <a:pt x="53" y="56"/>
                </a:cubicBezTo>
                <a:cubicBezTo>
                  <a:pt x="53" y="56"/>
                  <a:pt x="53" y="55"/>
                  <a:pt x="53" y="55"/>
                </a:cubicBezTo>
                <a:cubicBezTo>
                  <a:pt x="53" y="54"/>
                  <a:pt x="54" y="54"/>
                  <a:pt x="54" y="53"/>
                </a:cubicBezTo>
                <a:cubicBezTo>
                  <a:pt x="54" y="53"/>
                  <a:pt x="54" y="52"/>
                  <a:pt x="54" y="51"/>
                </a:cubicBezTo>
                <a:cubicBezTo>
                  <a:pt x="54" y="51"/>
                  <a:pt x="54" y="51"/>
                  <a:pt x="54" y="50"/>
                </a:cubicBezTo>
                <a:cubicBezTo>
                  <a:pt x="54" y="50"/>
                  <a:pt x="55" y="50"/>
                  <a:pt x="55" y="49"/>
                </a:cubicBezTo>
                <a:cubicBezTo>
                  <a:pt x="55" y="49"/>
                  <a:pt x="55" y="48"/>
                  <a:pt x="55" y="47"/>
                </a:cubicBezTo>
                <a:cubicBezTo>
                  <a:pt x="55" y="47"/>
                  <a:pt x="55" y="46"/>
                  <a:pt x="54" y="4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" name="Freeform 29">
            <a:extLst>
              <a:ext uri="{FF2B5EF4-FFF2-40B4-BE49-F238E27FC236}">
                <a16:creationId xmlns:a16="http://schemas.microsoft.com/office/drawing/2014/main" id="{EC092EFD-0192-4227-A5DE-40A67B8F86F1}"/>
              </a:ext>
            </a:extLst>
          </p:cNvPr>
          <p:cNvSpPr>
            <a:spLocks/>
          </p:cNvSpPr>
          <p:nvPr/>
        </p:nvSpPr>
        <p:spPr bwMode="auto">
          <a:xfrm>
            <a:off x="11131090" y="2004800"/>
            <a:ext cx="252788" cy="498966"/>
          </a:xfrm>
          <a:custGeom>
            <a:avLst/>
            <a:gdLst>
              <a:gd name="T0" fmla="*/ 37 w 64"/>
              <a:gd name="T1" fmla="*/ 20 h 126"/>
              <a:gd name="T2" fmla="*/ 34 w 64"/>
              <a:gd name="T3" fmla="*/ 24 h 126"/>
              <a:gd name="T4" fmla="*/ 32 w 64"/>
              <a:gd name="T5" fmla="*/ 28 h 126"/>
              <a:gd name="T6" fmla="*/ 36 w 64"/>
              <a:gd name="T7" fmla="*/ 35 h 126"/>
              <a:gd name="T8" fmla="*/ 34 w 64"/>
              <a:gd name="T9" fmla="*/ 37 h 126"/>
              <a:gd name="T10" fmla="*/ 33 w 64"/>
              <a:gd name="T11" fmla="*/ 40 h 126"/>
              <a:gd name="T12" fmla="*/ 30 w 64"/>
              <a:gd name="T13" fmla="*/ 43 h 126"/>
              <a:gd name="T14" fmla="*/ 26 w 64"/>
              <a:gd name="T15" fmla="*/ 46 h 126"/>
              <a:gd name="T16" fmla="*/ 21 w 64"/>
              <a:gd name="T17" fmla="*/ 47 h 126"/>
              <a:gd name="T18" fmla="*/ 18 w 64"/>
              <a:gd name="T19" fmla="*/ 50 h 126"/>
              <a:gd name="T20" fmla="*/ 18 w 64"/>
              <a:gd name="T21" fmla="*/ 60 h 126"/>
              <a:gd name="T22" fmla="*/ 16 w 64"/>
              <a:gd name="T23" fmla="*/ 66 h 126"/>
              <a:gd name="T24" fmla="*/ 12 w 64"/>
              <a:gd name="T25" fmla="*/ 71 h 126"/>
              <a:gd name="T26" fmla="*/ 9 w 64"/>
              <a:gd name="T27" fmla="*/ 77 h 126"/>
              <a:gd name="T28" fmla="*/ 7 w 64"/>
              <a:gd name="T29" fmla="*/ 82 h 126"/>
              <a:gd name="T30" fmla="*/ 6 w 64"/>
              <a:gd name="T31" fmla="*/ 91 h 126"/>
              <a:gd name="T32" fmla="*/ 6 w 64"/>
              <a:gd name="T33" fmla="*/ 97 h 126"/>
              <a:gd name="T34" fmla="*/ 3 w 64"/>
              <a:gd name="T35" fmla="*/ 104 h 126"/>
              <a:gd name="T36" fmla="*/ 3 w 64"/>
              <a:gd name="T37" fmla="*/ 111 h 126"/>
              <a:gd name="T38" fmla="*/ 1 w 64"/>
              <a:gd name="T39" fmla="*/ 115 h 126"/>
              <a:gd name="T40" fmla="*/ 1 w 64"/>
              <a:gd name="T41" fmla="*/ 120 h 126"/>
              <a:gd name="T42" fmla="*/ 3 w 64"/>
              <a:gd name="T43" fmla="*/ 124 h 126"/>
              <a:gd name="T44" fmla="*/ 45 w 64"/>
              <a:gd name="T45" fmla="*/ 123 h 126"/>
              <a:gd name="T46" fmla="*/ 47 w 64"/>
              <a:gd name="T47" fmla="*/ 122 h 126"/>
              <a:gd name="T48" fmla="*/ 52 w 64"/>
              <a:gd name="T49" fmla="*/ 119 h 126"/>
              <a:gd name="T50" fmla="*/ 57 w 64"/>
              <a:gd name="T51" fmla="*/ 117 h 126"/>
              <a:gd name="T52" fmla="*/ 61 w 64"/>
              <a:gd name="T53" fmla="*/ 116 h 126"/>
              <a:gd name="T54" fmla="*/ 63 w 64"/>
              <a:gd name="T55" fmla="*/ 111 h 126"/>
              <a:gd name="T56" fmla="*/ 63 w 64"/>
              <a:gd name="T57" fmla="*/ 109 h 126"/>
              <a:gd name="T58" fmla="*/ 59 w 64"/>
              <a:gd name="T59" fmla="*/ 106 h 126"/>
              <a:gd name="T60" fmla="*/ 60 w 64"/>
              <a:gd name="T61" fmla="*/ 103 h 126"/>
              <a:gd name="T62" fmla="*/ 55 w 64"/>
              <a:gd name="T63" fmla="*/ 94 h 126"/>
              <a:gd name="T64" fmla="*/ 55 w 64"/>
              <a:gd name="T65" fmla="*/ 78 h 126"/>
              <a:gd name="T66" fmla="*/ 51 w 64"/>
              <a:gd name="T67" fmla="*/ 0 h 126"/>
              <a:gd name="T68" fmla="*/ 49 w 64"/>
              <a:gd name="T69" fmla="*/ 3 h 126"/>
              <a:gd name="T70" fmla="*/ 44 w 64"/>
              <a:gd name="T71" fmla="*/ 0 h 126"/>
              <a:gd name="T72" fmla="*/ 39 w 64"/>
              <a:gd name="T73" fmla="*/ 4 h 126"/>
              <a:gd name="T74" fmla="*/ 39 w 64"/>
              <a:gd name="T75" fmla="*/ 9 h 126"/>
              <a:gd name="T76" fmla="*/ 37 w 64"/>
              <a:gd name="T77" fmla="*/ 14 h 126"/>
              <a:gd name="T78" fmla="*/ 37 w 64"/>
              <a:gd name="T79" fmla="*/ 19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4" h="126">
                <a:moveTo>
                  <a:pt x="37" y="19"/>
                </a:moveTo>
                <a:cubicBezTo>
                  <a:pt x="37" y="19"/>
                  <a:pt x="37" y="20"/>
                  <a:pt x="37" y="20"/>
                </a:cubicBezTo>
                <a:cubicBezTo>
                  <a:pt x="37" y="20"/>
                  <a:pt x="36" y="21"/>
                  <a:pt x="36" y="21"/>
                </a:cubicBezTo>
                <a:cubicBezTo>
                  <a:pt x="35" y="21"/>
                  <a:pt x="35" y="24"/>
                  <a:pt x="34" y="24"/>
                </a:cubicBezTo>
                <a:cubicBezTo>
                  <a:pt x="34" y="25"/>
                  <a:pt x="34" y="26"/>
                  <a:pt x="33" y="26"/>
                </a:cubicBezTo>
                <a:cubicBezTo>
                  <a:pt x="33" y="26"/>
                  <a:pt x="32" y="27"/>
                  <a:pt x="32" y="28"/>
                </a:cubicBezTo>
                <a:cubicBezTo>
                  <a:pt x="32" y="28"/>
                  <a:pt x="33" y="30"/>
                  <a:pt x="34" y="30"/>
                </a:cubicBezTo>
                <a:cubicBezTo>
                  <a:pt x="34" y="31"/>
                  <a:pt x="36" y="35"/>
                  <a:pt x="36" y="35"/>
                </a:cubicBezTo>
                <a:cubicBezTo>
                  <a:pt x="36" y="35"/>
                  <a:pt x="34" y="36"/>
                  <a:pt x="34" y="36"/>
                </a:cubicBezTo>
                <a:cubicBezTo>
                  <a:pt x="34" y="36"/>
                  <a:pt x="34" y="37"/>
                  <a:pt x="34" y="37"/>
                </a:cubicBezTo>
                <a:cubicBezTo>
                  <a:pt x="34" y="38"/>
                  <a:pt x="34" y="39"/>
                  <a:pt x="34" y="39"/>
                </a:cubicBezTo>
                <a:cubicBezTo>
                  <a:pt x="34" y="39"/>
                  <a:pt x="34" y="40"/>
                  <a:pt x="33" y="40"/>
                </a:cubicBezTo>
                <a:cubicBezTo>
                  <a:pt x="33" y="40"/>
                  <a:pt x="32" y="41"/>
                  <a:pt x="32" y="41"/>
                </a:cubicBezTo>
                <a:cubicBezTo>
                  <a:pt x="31" y="42"/>
                  <a:pt x="31" y="43"/>
                  <a:pt x="30" y="43"/>
                </a:cubicBezTo>
                <a:cubicBezTo>
                  <a:pt x="30" y="43"/>
                  <a:pt x="27" y="44"/>
                  <a:pt x="27" y="44"/>
                </a:cubicBezTo>
                <a:cubicBezTo>
                  <a:pt x="26" y="46"/>
                  <a:pt x="26" y="46"/>
                  <a:pt x="26" y="46"/>
                </a:cubicBezTo>
                <a:cubicBezTo>
                  <a:pt x="26" y="46"/>
                  <a:pt x="24" y="47"/>
                  <a:pt x="23" y="47"/>
                </a:cubicBezTo>
                <a:cubicBezTo>
                  <a:pt x="23" y="47"/>
                  <a:pt x="21" y="47"/>
                  <a:pt x="21" y="47"/>
                </a:cubicBezTo>
                <a:cubicBezTo>
                  <a:pt x="21" y="47"/>
                  <a:pt x="19" y="48"/>
                  <a:pt x="18" y="48"/>
                </a:cubicBezTo>
                <a:cubicBezTo>
                  <a:pt x="18" y="48"/>
                  <a:pt x="18" y="50"/>
                  <a:pt x="18" y="50"/>
                </a:cubicBezTo>
                <a:cubicBezTo>
                  <a:pt x="18" y="51"/>
                  <a:pt x="18" y="54"/>
                  <a:pt x="18" y="54"/>
                </a:cubicBezTo>
                <a:cubicBezTo>
                  <a:pt x="18" y="54"/>
                  <a:pt x="18" y="59"/>
                  <a:pt x="18" y="60"/>
                </a:cubicBezTo>
                <a:cubicBezTo>
                  <a:pt x="18" y="60"/>
                  <a:pt x="16" y="63"/>
                  <a:pt x="16" y="63"/>
                </a:cubicBezTo>
                <a:cubicBezTo>
                  <a:pt x="16" y="63"/>
                  <a:pt x="16" y="66"/>
                  <a:pt x="16" y="66"/>
                </a:cubicBezTo>
                <a:cubicBezTo>
                  <a:pt x="16" y="66"/>
                  <a:pt x="15" y="67"/>
                  <a:pt x="15" y="68"/>
                </a:cubicBezTo>
                <a:cubicBezTo>
                  <a:pt x="14" y="68"/>
                  <a:pt x="13" y="71"/>
                  <a:pt x="12" y="71"/>
                </a:cubicBezTo>
                <a:cubicBezTo>
                  <a:pt x="12" y="72"/>
                  <a:pt x="12" y="74"/>
                  <a:pt x="12" y="74"/>
                </a:cubicBezTo>
                <a:cubicBezTo>
                  <a:pt x="11" y="75"/>
                  <a:pt x="9" y="77"/>
                  <a:pt x="9" y="77"/>
                </a:cubicBezTo>
                <a:cubicBezTo>
                  <a:pt x="9" y="77"/>
                  <a:pt x="9" y="78"/>
                  <a:pt x="9" y="78"/>
                </a:cubicBezTo>
                <a:cubicBezTo>
                  <a:pt x="9" y="79"/>
                  <a:pt x="8" y="81"/>
                  <a:pt x="7" y="82"/>
                </a:cubicBezTo>
                <a:cubicBezTo>
                  <a:pt x="7" y="82"/>
                  <a:pt x="5" y="86"/>
                  <a:pt x="5" y="87"/>
                </a:cubicBezTo>
                <a:cubicBezTo>
                  <a:pt x="5" y="87"/>
                  <a:pt x="6" y="91"/>
                  <a:pt x="6" y="91"/>
                </a:cubicBezTo>
                <a:cubicBezTo>
                  <a:pt x="6" y="92"/>
                  <a:pt x="5" y="94"/>
                  <a:pt x="5" y="95"/>
                </a:cubicBezTo>
                <a:cubicBezTo>
                  <a:pt x="5" y="96"/>
                  <a:pt x="6" y="97"/>
                  <a:pt x="6" y="97"/>
                </a:cubicBezTo>
                <a:cubicBezTo>
                  <a:pt x="6" y="97"/>
                  <a:pt x="4" y="102"/>
                  <a:pt x="4" y="102"/>
                </a:cubicBezTo>
                <a:cubicBezTo>
                  <a:pt x="4" y="103"/>
                  <a:pt x="3" y="103"/>
                  <a:pt x="3" y="104"/>
                </a:cubicBezTo>
                <a:cubicBezTo>
                  <a:pt x="3" y="104"/>
                  <a:pt x="4" y="105"/>
                  <a:pt x="4" y="106"/>
                </a:cubicBezTo>
                <a:cubicBezTo>
                  <a:pt x="4" y="106"/>
                  <a:pt x="3" y="110"/>
                  <a:pt x="3" y="111"/>
                </a:cubicBezTo>
                <a:cubicBezTo>
                  <a:pt x="3" y="111"/>
                  <a:pt x="1" y="113"/>
                  <a:pt x="1" y="113"/>
                </a:cubicBezTo>
                <a:cubicBezTo>
                  <a:pt x="1" y="113"/>
                  <a:pt x="1" y="115"/>
                  <a:pt x="1" y="115"/>
                </a:cubicBezTo>
                <a:cubicBezTo>
                  <a:pt x="1" y="115"/>
                  <a:pt x="0" y="117"/>
                  <a:pt x="0" y="117"/>
                </a:cubicBezTo>
                <a:cubicBezTo>
                  <a:pt x="0" y="118"/>
                  <a:pt x="1" y="120"/>
                  <a:pt x="1" y="120"/>
                </a:cubicBezTo>
                <a:cubicBezTo>
                  <a:pt x="1" y="120"/>
                  <a:pt x="1" y="121"/>
                  <a:pt x="1" y="121"/>
                </a:cubicBezTo>
                <a:cubicBezTo>
                  <a:pt x="3" y="124"/>
                  <a:pt x="3" y="124"/>
                  <a:pt x="3" y="124"/>
                </a:cubicBezTo>
                <a:cubicBezTo>
                  <a:pt x="43" y="126"/>
                  <a:pt x="43" y="126"/>
                  <a:pt x="43" y="126"/>
                </a:cubicBezTo>
                <a:cubicBezTo>
                  <a:pt x="43" y="126"/>
                  <a:pt x="45" y="124"/>
                  <a:pt x="45" y="123"/>
                </a:cubicBezTo>
                <a:cubicBezTo>
                  <a:pt x="45" y="123"/>
                  <a:pt x="47" y="123"/>
                  <a:pt x="47" y="123"/>
                </a:cubicBezTo>
                <a:cubicBezTo>
                  <a:pt x="47" y="123"/>
                  <a:pt x="47" y="122"/>
                  <a:pt x="47" y="122"/>
                </a:cubicBezTo>
                <a:cubicBezTo>
                  <a:pt x="47" y="121"/>
                  <a:pt x="49" y="120"/>
                  <a:pt x="49" y="120"/>
                </a:cubicBezTo>
                <a:cubicBezTo>
                  <a:pt x="49" y="120"/>
                  <a:pt x="52" y="119"/>
                  <a:pt x="52" y="119"/>
                </a:cubicBezTo>
                <a:cubicBezTo>
                  <a:pt x="52" y="119"/>
                  <a:pt x="53" y="118"/>
                  <a:pt x="53" y="118"/>
                </a:cubicBezTo>
                <a:cubicBezTo>
                  <a:pt x="53" y="118"/>
                  <a:pt x="56" y="117"/>
                  <a:pt x="57" y="117"/>
                </a:cubicBezTo>
                <a:cubicBezTo>
                  <a:pt x="57" y="117"/>
                  <a:pt x="59" y="117"/>
                  <a:pt x="61" y="117"/>
                </a:cubicBezTo>
                <a:cubicBezTo>
                  <a:pt x="61" y="117"/>
                  <a:pt x="61" y="116"/>
                  <a:pt x="61" y="116"/>
                </a:cubicBezTo>
                <a:cubicBezTo>
                  <a:pt x="61" y="115"/>
                  <a:pt x="61" y="114"/>
                  <a:pt x="62" y="114"/>
                </a:cubicBezTo>
                <a:cubicBezTo>
                  <a:pt x="63" y="113"/>
                  <a:pt x="63" y="112"/>
                  <a:pt x="63" y="111"/>
                </a:cubicBezTo>
                <a:cubicBezTo>
                  <a:pt x="63" y="111"/>
                  <a:pt x="64" y="110"/>
                  <a:pt x="64" y="110"/>
                </a:cubicBezTo>
                <a:cubicBezTo>
                  <a:pt x="64" y="109"/>
                  <a:pt x="63" y="109"/>
                  <a:pt x="63" y="109"/>
                </a:cubicBezTo>
                <a:cubicBezTo>
                  <a:pt x="63" y="108"/>
                  <a:pt x="63" y="108"/>
                  <a:pt x="63" y="107"/>
                </a:cubicBezTo>
                <a:cubicBezTo>
                  <a:pt x="62" y="106"/>
                  <a:pt x="60" y="107"/>
                  <a:pt x="59" y="106"/>
                </a:cubicBezTo>
                <a:cubicBezTo>
                  <a:pt x="60" y="106"/>
                  <a:pt x="60" y="106"/>
                  <a:pt x="60" y="106"/>
                </a:cubicBezTo>
                <a:cubicBezTo>
                  <a:pt x="60" y="105"/>
                  <a:pt x="60" y="103"/>
                  <a:pt x="60" y="103"/>
                </a:cubicBezTo>
                <a:cubicBezTo>
                  <a:pt x="60" y="103"/>
                  <a:pt x="60" y="100"/>
                  <a:pt x="60" y="100"/>
                </a:cubicBezTo>
                <a:cubicBezTo>
                  <a:pt x="55" y="94"/>
                  <a:pt x="55" y="94"/>
                  <a:pt x="55" y="94"/>
                </a:cubicBezTo>
                <a:cubicBezTo>
                  <a:pt x="55" y="94"/>
                  <a:pt x="55" y="87"/>
                  <a:pt x="55" y="87"/>
                </a:cubicBezTo>
                <a:cubicBezTo>
                  <a:pt x="55" y="87"/>
                  <a:pt x="55" y="78"/>
                  <a:pt x="55" y="78"/>
                </a:cubicBezTo>
                <a:cubicBezTo>
                  <a:pt x="54" y="58"/>
                  <a:pt x="54" y="58"/>
                  <a:pt x="54" y="58"/>
                </a:cubicBezTo>
                <a:cubicBezTo>
                  <a:pt x="51" y="0"/>
                  <a:pt x="51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49" y="3"/>
                  <a:pt x="49" y="3"/>
                  <a:pt x="49" y="3"/>
                </a:cubicBezTo>
                <a:cubicBezTo>
                  <a:pt x="46" y="3"/>
                  <a:pt x="46" y="3"/>
                  <a:pt x="46" y="3"/>
                </a:cubicBezTo>
                <a:cubicBezTo>
                  <a:pt x="44" y="0"/>
                  <a:pt x="44" y="0"/>
                  <a:pt x="44" y="0"/>
                </a:cubicBezTo>
                <a:cubicBezTo>
                  <a:pt x="41" y="4"/>
                  <a:pt x="41" y="4"/>
                  <a:pt x="41" y="4"/>
                </a:cubicBezTo>
                <a:cubicBezTo>
                  <a:pt x="39" y="4"/>
                  <a:pt x="39" y="4"/>
                  <a:pt x="39" y="4"/>
                </a:cubicBezTo>
                <a:cubicBezTo>
                  <a:pt x="40" y="5"/>
                  <a:pt x="40" y="5"/>
                  <a:pt x="40" y="5"/>
                </a:cubicBezTo>
                <a:cubicBezTo>
                  <a:pt x="40" y="5"/>
                  <a:pt x="39" y="9"/>
                  <a:pt x="39" y="9"/>
                </a:cubicBezTo>
                <a:cubicBezTo>
                  <a:pt x="39" y="10"/>
                  <a:pt x="37" y="12"/>
                  <a:pt x="37" y="12"/>
                </a:cubicBezTo>
                <a:cubicBezTo>
                  <a:pt x="37" y="14"/>
                  <a:pt x="37" y="14"/>
                  <a:pt x="37" y="14"/>
                </a:cubicBezTo>
                <a:cubicBezTo>
                  <a:pt x="37" y="14"/>
                  <a:pt x="36" y="17"/>
                  <a:pt x="36" y="17"/>
                </a:cubicBezTo>
                <a:cubicBezTo>
                  <a:pt x="36" y="17"/>
                  <a:pt x="37" y="18"/>
                  <a:pt x="37" y="19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Freeform 30">
            <a:extLst>
              <a:ext uri="{FF2B5EF4-FFF2-40B4-BE49-F238E27FC236}">
                <a16:creationId xmlns:a16="http://schemas.microsoft.com/office/drawing/2014/main" id="{E9AA2F34-5062-4D43-AE1F-49003C866FB0}"/>
              </a:ext>
            </a:extLst>
          </p:cNvPr>
          <p:cNvSpPr>
            <a:spLocks/>
          </p:cNvSpPr>
          <p:nvPr/>
        </p:nvSpPr>
        <p:spPr bwMode="auto">
          <a:xfrm>
            <a:off x="4642887" y="2630985"/>
            <a:ext cx="816189" cy="1224284"/>
          </a:xfrm>
          <a:custGeom>
            <a:avLst/>
            <a:gdLst>
              <a:gd name="T0" fmla="*/ 0 w 206"/>
              <a:gd name="T1" fmla="*/ 0 h 309"/>
              <a:gd name="T2" fmla="*/ 0 w 206"/>
              <a:gd name="T3" fmla="*/ 137 h 309"/>
              <a:gd name="T4" fmla="*/ 40 w 206"/>
              <a:gd name="T5" fmla="*/ 171 h 309"/>
              <a:gd name="T6" fmla="*/ 186 w 206"/>
              <a:gd name="T7" fmla="*/ 309 h 309"/>
              <a:gd name="T8" fmla="*/ 186 w 206"/>
              <a:gd name="T9" fmla="*/ 307 h 309"/>
              <a:gd name="T10" fmla="*/ 186 w 206"/>
              <a:gd name="T11" fmla="*/ 305 h 309"/>
              <a:gd name="T12" fmla="*/ 185 w 206"/>
              <a:gd name="T13" fmla="*/ 305 h 309"/>
              <a:gd name="T14" fmla="*/ 187 w 206"/>
              <a:gd name="T15" fmla="*/ 304 h 309"/>
              <a:gd name="T16" fmla="*/ 188 w 206"/>
              <a:gd name="T17" fmla="*/ 302 h 309"/>
              <a:gd name="T18" fmla="*/ 187 w 206"/>
              <a:gd name="T19" fmla="*/ 298 h 309"/>
              <a:gd name="T20" fmla="*/ 187 w 206"/>
              <a:gd name="T21" fmla="*/ 295 h 309"/>
              <a:gd name="T22" fmla="*/ 186 w 206"/>
              <a:gd name="T23" fmla="*/ 292 h 309"/>
              <a:gd name="T24" fmla="*/ 184 w 206"/>
              <a:gd name="T25" fmla="*/ 289 h 309"/>
              <a:gd name="T26" fmla="*/ 184 w 206"/>
              <a:gd name="T27" fmla="*/ 286 h 309"/>
              <a:gd name="T28" fmla="*/ 185 w 206"/>
              <a:gd name="T29" fmla="*/ 283 h 309"/>
              <a:gd name="T30" fmla="*/ 183 w 206"/>
              <a:gd name="T31" fmla="*/ 279 h 309"/>
              <a:gd name="T32" fmla="*/ 183 w 206"/>
              <a:gd name="T33" fmla="*/ 277 h 309"/>
              <a:gd name="T34" fmla="*/ 183 w 206"/>
              <a:gd name="T35" fmla="*/ 274 h 309"/>
              <a:gd name="T36" fmla="*/ 185 w 206"/>
              <a:gd name="T37" fmla="*/ 272 h 309"/>
              <a:gd name="T38" fmla="*/ 183 w 206"/>
              <a:gd name="T39" fmla="*/ 271 h 309"/>
              <a:gd name="T40" fmla="*/ 183 w 206"/>
              <a:gd name="T41" fmla="*/ 269 h 309"/>
              <a:gd name="T42" fmla="*/ 183 w 206"/>
              <a:gd name="T43" fmla="*/ 265 h 309"/>
              <a:gd name="T44" fmla="*/ 182 w 206"/>
              <a:gd name="T45" fmla="*/ 263 h 309"/>
              <a:gd name="T46" fmla="*/ 183 w 206"/>
              <a:gd name="T47" fmla="*/ 262 h 309"/>
              <a:gd name="T48" fmla="*/ 185 w 206"/>
              <a:gd name="T49" fmla="*/ 262 h 309"/>
              <a:gd name="T50" fmla="*/ 188 w 206"/>
              <a:gd name="T51" fmla="*/ 261 h 309"/>
              <a:gd name="T52" fmla="*/ 190 w 206"/>
              <a:gd name="T53" fmla="*/ 261 h 309"/>
              <a:gd name="T54" fmla="*/ 191 w 206"/>
              <a:gd name="T55" fmla="*/ 262 h 309"/>
              <a:gd name="T56" fmla="*/ 193 w 206"/>
              <a:gd name="T57" fmla="*/ 261 h 309"/>
              <a:gd name="T58" fmla="*/ 195 w 206"/>
              <a:gd name="T59" fmla="*/ 263 h 309"/>
              <a:gd name="T60" fmla="*/ 198 w 206"/>
              <a:gd name="T61" fmla="*/ 265 h 309"/>
              <a:gd name="T62" fmla="*/ 201 w 206"/>
              <a:gd name="T63" fmla="*/ 266 h 309"/>
              <a:gd name="T64" fmla="*/ 203 w 206"/>
              <a:gd name="T65" fmla="*/ 265 h 309"/>
              <a:gd name="T66" fmla="*/ 203 w 206"/>
              <a:gd name="T67" fmla="*/ 262 h 309"/>
              <a:gd name="T68" fmla="*/ 204 w 206"/>
              <a:gd name="T69" fmla="*/ 260 h 309"/>
              <a:gd name="T70" fmla="*/ 206 w 206"/>
              <a:gd name="T71" fmla="*/ 259 h 309"/>
              <a:gd name="T72" fmla="*/ 206 w 206"/>
              <a:gd name="T73" fmla="*/ 224 h 309"/>
              <a:gd name="T74" fmla="*/ 206 w 206"/>
              <a:gd name="T75" fmla="*/ 0 h 309"/>
              <a:gd name="T76" fmla="*/ 0 w 206"/>
              <a:gd name="T77" fmla="*/ 0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6" h="309">
                <a:moveTo>
                  <a:pt x="0" y="0"/>
                </a:moveTo>
                <a:cubicBezTo>
                  <a:pt x="0" y="137"/>
                  <a:pt x="0" y="137"/>
                  <a:pt x="0" y="137"/>
                </a:cubicBezTo>
                <a:cubicBezTo>
                  <a:pt x="40" y="171"/>
                  <a:pt x="40" y="171"/>
                  <a:pt x="40" y="171"/>
                </a:cubicBezTo>
                <a:cubicBezTo>
                  <a:pt x="186" y="309"/>
                  <a:pt x="186" y="309"/>
                  <a:pt x="186" y="309"/>
                </a:cubicBezTo>
                <a:cubicBezTo>
                  <a:pt x="186" y="309"/>
                  <a:pt x="186" y="307"/>
                  <a:pt x="186" y="307"/>
                </a:cubicBezTo>
                <a:cubicBezTo>
                  <a:pt x="186" y="307"/>
                  <a:pt x="187" y="306"/>
                  <a:pt x="186" y="305"/>
                </a:cubicBezTo>
                <a:cubicBezTo>
                  <a:pt x="186" y="305"/>
                  <a:pt x="185" y="305"/>
                  <a:pt x="185" y="305"/>
                </a:cubicBezTo>
                <a:cubicBezTo>
                  <a:pt x="186" y="305"/>
                  <a:pt x="187" y="304"/>
                  <a:pt x="187" y="304"/>
                </a:cubicBezTo>
                <a:cubicBezTo>
                  <a:pt x="187" y="304"/>
                  <a:pt x="189" y="302"/>
                  <a:pt x="188" y="302"/>
                </a:cubicBezTo>
                <a:cubicBezTo>
                  <a:pt x="188" y="301"/>
                  <a:pt x="187" y="299"/>
                  <a:pt x="187" y="298"/>
                </a:cubicBezTo>
                <a:cubicBezTo>
                  <a:pt x="188" y="298"/>
                  <a:pt x="187" y="296"/>
                  <a:pt x="187" y="295"/>
                </a:cubicBezTo>
                <a:cubicBezTo>
                  <a:pt x="187" y="295"/>
                  <a:pt x="186" y="293"/>
                  <a:pt x="186" y="292"/>
                </a:cubicBezTo>
                <a:cubicBezTo>
                  <a:pt x="185" y="291"/>
                  <a:pt x="184" y="290"/>
                  <a:pt x="184" y="289"/>
                </a:cubicBezTo>
                <a:cubicBezTo>
                  <a:pt x="184" y="288"/>
                  <a:pt x="184" y="287"/>
                  <a:pt x="184" y="286"/>
                </a:cubicBezTo>
                <a:cubicBezTo>
                  <a:pt x="185" y="285"/>
                  <a:pt x="185" y="284"/>
                  <a:pt x="185" y="283"/>
                </a:cubicBezTo>
                <a:cubicBezTo>
                  <a:pt x="184" y="283"/>
                  <a:pt x="183" y="280"/>
                  <a:pt x="183" y="279"/>
                </a:cubicBezTo>
                <a:cubicBezTo>
                  <a:pt x="183" y="278"/>
                  <a:pt x="183" y="278"/>
                  <a:pt x="183" y="277"/>
                </a:cubicBezTo>
                <a:cubicBezTo>
                  <a:pt x="183" y="276"/>
                  <a:pt x="182" y="275"/>
                  <a:pt x="183" y="274"/>
                </a:cubicBezTo>
                <a:cubicBezTo>
                  <a:pt x="183" y="274"/>
                  <a:pt x="185" y="272"/>
                  <a:pt x="185" y="272"/>
                </a:cubicBezTo>
                <a:cubicBezTo>
                  <a:pt x="185" y="272"/>
                  <a:pt x="183" y="271"/>
                  <a:pt x="183" y="271"/>
                </a:cubicBezTo>
                <a:cubicBezTo>
                  <a:pt x="183" y="270"/>
                  <a:pt x="183" y="270"/>
                  <a:pt x="183" y="269"/>
                </a:cubicBezTo>
                <a:cubicBezTo>
                  <a:pt x="183" y="268"/>
                  <a:pt x="183" y="266"/>
                  <a:pt x="183" y="265"/>
                </a:cubicBezTo>
                <a:cubicBezTo>
                  <a:pt x="182" y="264"/>
                  <a:pt x="182" y="263"/>
                  <a:pt x="182" y="263"/>
                </a:cubicBezTo>
                <a:cubicBezTo>
                  <a:pt x="182" y="263"/>
                  <a:pt x="182" y="263"/>
                  <a:pt x="183" y="262"/>
                </a:cubicBezTo>
                <a:cubicBezTo>
                  <a:pt x="184" y="262"/>
                  <a:pt x="185" y="262"/>
                  <a:pt x="185" y="262"/>
                </a:cubicBezTo>
                <a:cubicBezTo>
                  <a:pt x="186" y="261"/>
                  <a:pt x="187" y="261"/>
                  <a:pt x="188" y="261"/>
                </a:cubicBezTo>
                <a:cubicBezTo>
                  <a:pt x="188" y="261"/>
                  <a:pt x="189" y="260"/>
                  <a:pt x="190" y="261"/>
                </a:cubicBezTo>
                <a:cubicBezTo>
                  <a:pt x="190" y="261"/>
                  <a:pt x="190" y="262"/>
                  <a:pt x="191" y="262"/>
                </a:cubicBezTo>
                <a:cubicBezTo>
                  <a:pt x="192" y="262"/>
                  <a:pt x="193" y="261"/>
                  <a:pt x="193" y="261"/>
                </a:cubicBezTo>
                <a:cubicBezTo>
                  <a:pt x="193" y="261"/>
                  <a:pt x="195" y="262"/>
                  <a:pt x="195" y="263"/>
                </a:cubicBezTo>
                <a:cubicBezTo>
                  <a:pt x="196" y="263"/>
                  <a:pt x="197" y="265"/>
                  <a:pt x="198" y="265"/>
                </a:cubicBezTo>
                <a:cubicBezTo>
                  <a:pt x="199" y="266"/>
                  <a:pt x="200" y="267"/>
                  <a:pt x="201" y="266"/>
                </a:cubicBezTo>
                <a:cubicBezTo>
                  <a:pt x="202" y="266"/>
                  <a:pt x="202" y="266"/>
                  <a:pt x="203" y="265"/>
                </a:cubicBezTo>
                <a:cubicBezTo>
                  <a:pt x="203" y="264"/>
                  <a:pt x="203" y="263"/>
                  <a:pt x="203" y="262"/>
                </a:cubicBezTo>
                <a:cubicBezTo>
                  <a:pt x="204" y="262"/>
                  <a:pt x="204" y="261"/>
                  <a:pt x="204" y="260"/>
                </a:cubicBezTo>
                <a:cubicBezTo>
                  <a:pt x="205" y="259"/>
                  <a:pt x="206" y="259"/>
                  <a:pt x="206" y="259"/>
                </a:cubicBezTo>
                <a:cubicBezTo>
                  <a:pt x="206" y="224"/>
                  <a:pt x="206" y="224"/>
                  <a:pt x="206" y="224"/>
                </a:cubicBezTo>
                <a:cubicBezTo>
                  <a:pt x="206" y="0"/>
                  <a:pt x="206" y="0"/>
                  <a:pt x="20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3" name="Freeform 31">
            <a:extLst>
              <a:ext uri="{FF2B5EF4-FFF2-40B4-BE49-F238E27FC236}">
                <a16:creationId xmlns:a16="http://schemas.microsoft.com/office/drawing/2014/main" id="{896D0305-A76C-4C30-81E8-E1A949948FB7}"/>
              </a:ext>
            </a:extLst>
          </p:cNvPr>
          <p:cNvSpPr>
            <a:spLocks/>
          </p:cNvSpPr>
          <p:nvPr/>
        </p:nvSpPr>
        <p:spPr bwMode="auto">
          <a:xfrm>
            <a:off x="6825448" y="2444286"/>
            <a:ext cx="1191239" cy="546879"/>
          </a:xfrm>
          <a:custGeom>
            <a:avLst/>
            <a:gdLst>
              <a:gd name="T0" fmla="*/ 299 w 301"/>
              <a:gd name="T1" fmla="*/ 137 h 138"/>
              <a:gd name="T2" fmla="*/ 299 w 301"/>
              <a:gd name="T3" fmla="*/ 134 h 138"/>
              <a:gd name="T4" fmla="*/ 296 w 301"/>
              <a:gd name="T5" fmla="*/ 130 h 138"/>
              <a:gd name="T6" fmla="*/ 293 w 301"/>
              <a:gd name="T7" fmla="*/ 126 h 138"/>
              <a:gd name="T8" fmla="*/ 291 w 301"/>
              <a:gd name="T9" fmla="*/ 123 h 138"/>
              <a:gd name="T10" fmla="*/ 288 w 301"/>
              <a:gd name="T11" fmla="*/ 116 h 138"/>
              <a:gd name="T12" fmla="*/ 289 w 301"/>
              <a:gd name="T13" fmla="*/ 113 h 138"/>
              <a:gd name="T14" fmla="*/ 286 w 301"/>
              <a:gd name="T15" fmla="*/ 114 h 138"/>
              <a:gd name="T16" fmla="*/ 285 w 301"/>
              <a:gd name="T17" fmla="*/ 109 h 138"/>
              <a:gd name="T18" fmla="*/ 282 w 301"/>
              <a:gd name="T19" fmla="*/ 105 h 138"/>
              <a:gd name="T20" fmla="*/ 284 w 301"/>
              <a:gd name="T21" fmla="*/ 98 h 138"/>
              <a:gd name="T22" fmla="*/ 282 w 301"/>
              <a:gd name="T23" fmla="*/ 89 h 138"/>
              <a:gd name="T24" fmla="*/ 280 w 301"/>
              <a:gd name="T25" fmla="*/ 83 h 138"/>
              <a:gd name="T26" fmla="*/ 282 w 301"/>
              <a:gd name="T27" fmla="*/ 79 h 138"/>
              <a:gd name="T28" fmla="*/ 280 w 301"/>
              <a:gd name="T29" fmla="*/ 72 h 138"/>
              <a:gd name="T30" fmla="*/ 278 w 301"/>
              <a:gd name="T31" fmla="*/ 68 h 138"/>
              <a:gd name="T32" fmla="*/ 275 w 301"/>
              <a:gd name="T33" fmla="*/ 68 h 138"/>
              <a:gd name="T34" fmla="*/ 274 w 301"/>
              <a:gd name="T35" fmla="*/ 63 h 138"/>
              <a:gd name="T36" fmla="*/ 275 w 301"/>
              <a:gd name="T37" fmla="*/ 61 h 138"/>
              <a:gd name="T38" fmla="*/ 276 w 301"/>
              <a:gd name="T39" fmla="*/ 56 h 138"/>
              <a:gd name="T40" fmla="*/ 273 w 301"/>
              <a:gd name="T41" fmla="*/ 49 h 138"/>
              <a:gd name="T42" fmla="*/ 271 w 301"/>
              <a:gd name="T43" fmla="*/ 47 h 138"/>
              <a:gd name="T44" fmla="*/ 270 w 301"/>
              <a:gd name="T45" fmla="*/ 45 h 138"/>
              <a:gd name="T46" fmla="*/ 268 w 301"/>
              <a:gd name="T47" fmla="*/ 41 h 138"/>
              <a:gd name="T48" fmla="*/ 266 w 301"/>
              <a:gd name="T49" fmla="*/ 37 h 138"/>
              <a:gd name="T50" fmla="*/ 265 w 301"/>
              <a:gd name="T51" fmla="*/ 33 h 138"/>
              <a:gd name="T52" fmla="*/ 264 w 301"/>
              <a:gd name="T53" fmla="*/ 28 h 138"/>
              <a:gd name="T54" fmla="*/ 261 w 301"/>
              <a:gd name="T55" fmla="*/ 24 h 138"/>
              <a:gd name="T56" fmla="*/ 257 w 301"/>
              <a:gd name="T57" fmla="*/ 23 h 138"/>
              <a:gd name="T58" fmla="*/ 254 w 301"/>
              <a:gd name="T59" fmla="*/ 16 h 138"/>
              <a:gd name="T60" fmla="*/ 249 w 301"/>
              <a:gd name="T61" fmla="*/ 13 h 138"/>
              <a:gd name="T62" fmla="*/ 244 w 301"/>
              <a:gd name="T63" fmla="*/ 12 h 138"/>
              <a:gd name="T64" fmla="*/ 236 w 301"/>
              <a:gd name="T65" fmla="*/ 9 h 138"/>
              <a:gd name="T66" fmla="*/ 232 w 301"/>
              <a:gd name="T67" fmla="*/ 7 h 138"/>
              <a:gd name="T68" fmla="*/ 227 w 301"/>
              <a:gd name="T69" fmla="*/ 7 h 138"/>
              <a:gd name="T70" fmla="*/ 219 w 301"/>
              <a:gd name="T71" fmla="*/ 8 h 138"/>
              <a:gd name="T72" fmla="*/ 212 w 301"/>
              <a:gd name="T73" fmla="*/ 10 h 138"/>
              <a:gd name="T74" fmla="*/ 203 w 301"/>
              <a:gd name="T75" fmla="*/ 7 h 138"/>
              <a:gd name="T76" fmla="*/ 192 w 301"/>
              <a:gd name="T77" fmla="*/ 0 h 138"/>
              <a:gd name="T78" fmla="*/ 0 w 301"/>
              <a:gd name="T79" fmla="*/ 93 h 138"/>
              <a:gd name="T80" fmla="*/ 69 w 301"/>
              <a:gd name="T81" fmla="*/ 13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1" h="138">
                <a:moveTo>
                  <a:pt x="301" y="138"/>
                </a:moveTo>
                <a:cubicBezTo>
                  <a:pt x="301" y="138"/>
                  <a:pt x="299" y="137"/>
                  <a:pt x="299" y="137"/>
                </a:cubicBezTo>
                <a:cubicBezTo>
                  <a:pt x="299" y="137"/>
                  <a:pt x="298" y="136"/>
                  <a:pt x="298" y="136"/>
                </a:cubicBezTo>
                <a:cubicBezTo>
                  <a:pt x="298" y="135"/>
                  <a:pt x="299" y="134"/>
                  <a:pt x="299" y="134"/>
                </a:cubicBezTo>
                <a:cubicBezTo>
                  <a:pt x="299" y="133"/>
                  <a:pt x="298" y="132"/>
                  <a:pt x="298" y="132"/>
                </a:cubicBezTo>
                <a:cubicBezTo>
                  <a:pt x="297" y="132"/>
                  <a:pt x="296" y="131"/>
                  <a:pt x="296" y="130"/>
                </a:cubicBezTo>
                <a:cubicBezTo>
                  <a:pt x="296" y="130"/>
                  <a:pt x="296" y="128"/>
                  <a:pt x="296" y="128"/>
                </a:cubicBezTo>
                <a:cubicBezTo>
                  <a:pt x="296" y="127"/>
                  <a:pt x="294" y="126"/>
                  <a:pt x="293" y="126"/>
                </a:cubicBezTo>
                <a:cubicBezTo>
                  <a:pt x="292" y="125"/>
                  <a:pt x="290" y="125"/>
                  <a:pt x="290" y="125"/>
                </a:cubicBezTo>
                <a:cubicBezTo>
                  <a:pt x="290" y="125"/>
                  <a:pt x="291" y="123"/>
                  <a:pt x="291" y="123"/>
                </a:cubicBezTo>
                <a:cubicBezTo>
                  <a:pt x="291" y="122"/>
                  <a:pt x="290" y="120"/>
                  <a:pt x="290" y="120"/>
                </a:cubicBezTo>
                <a:cubicBezTo>
                  <a:pt x="289" y="119"/>
                  <a:pt x="288" y="117"/>
                  <a:pt x="288" y="116"/>
                </a:cubicBezTo>
                <a:cubicBezTo>
                  <a:pt x="288" y="116"/>
                  <a:pt x="290" y="115"/>
                  <a:pt x="290" y="114"/>
                </a:cubicBezTo>
                <a:cubicBezTo>
                  <a:pt x="290" y="114"/>
                  <a:pt x="289" y="113"/>
                  <a:pt x="289" y="113"/>
                </a:cubicBezTo>
                <a:cubicBezTo>
                  <a:pt x="289" y="113"/>
                  <a:pt x="289" y="114"/>
                  <a:pt x="288" y="114"/>
                </a:cubicBezTo>
                <a:cubicBezTo>
                  <a:pt x="288" y="115"/>
                  <a:pt x="286" y="115"/>
                  <a:pt x="286" y="114"/>
                </a:cubicBezTo>
                <a:cubicBezTo>
                  <a:pt x="286" y="114"/>
                  <a:pt x="286" y="112"/>
                  <a:pt x="286" y="112"/>
                </a:cubicBezTo>
                <a:cubicBezTo>
                  <a:pt x="286" y="112"/>
                  <a:pt x="286" y="109"/>
                  <a:pt x="285" y="109"/>
                </a:cubicBezTo>
                <a:cubicBezTo>
                  <a:pt x="285" y="108"/>
                  <a:pt x="283" y="108"/>
                  <a:pt x="283" y="107"/>
                </a:cubicBezTo>
                <a:cubicBezTo>
                  <a:pt x="282" y="107"/>
                  <a:pt x="281" y="106"/>
                  <a:pt x="282" y="105"/>
                </a:cubicBezTo>
                <a:cubicBezTo>
                  <a:pt x="283" y="105"/>
                  <a:pt x="283" y="105"/>
                  <a:pt x="284" y="103"/>
                </a:cubicBezTo>
                <a:cubicBezTo>
                  <a:pt x="284" y="102"/>
                  <a:pt x="284" y="99"/>
                  <a:pt x="284" y="98"/>
                </a:cubicBezTo>
                <a:cubicBezTo>
                  <a:pt x="284" y="97"/>
                  <a:pt x="284" y="94"/>
                  <a:pt x="283" y="93"/>
                </a:cubicBezTo>
                <a:cubicBezTo>
                  <a:pt x="283" y="92"/>
                  <a:pt x="282" y="90"/>
                  <a:pt x="282" y="89"/>
                </a:cubicBezTo>
                <a:cubicBezTo>
                  <a:pt x="282" y="88"/>
                  <a:pt x="282" y="86"/>
                  <a:pt x="282" y="85"/>
                </a:cubicBezTo>
                <a:cubicBezTo>
                  <a:pt x="281" y="85"/>
                  <a:pt x="280" y="84"/>
                  <a:pt x="280" y="83"/>
                </a:cubicBezTo>
                <a:cubicBezTo>
                  <a:pt x="280" y="82"/>
                  <a:pt x="280" y="81"/>
                  <a:pt x="281" y="81"/>
                </a:cubicBezTo>
                <a:cubicBezTo>
                  <a:pt x="281" y="80"/>
                  <a:pt x="282" y="80"/>
                  <a:pt x="282" y="79"/>
                </a:cubicBezTo>
                <a:cubicBezTo>
                  <a:pt x="282" y="78"/>
                  <a:pt x="281" y="75"/>
                  <a:pt x="281" y="75"/>
                </a:cubicBezTo>
                <a:cubicBezTo>
                  <a:pt x="281" y="74"/>
                  <a:pt x="281" y="73"/>
                  <a:pt x="280" y="72"/>
                </a:cubicBezTo>
                <a:cubicBezTo>
                  <a:pt x="280" y="72"/>
                  <a:pt x="277" y="71"/>
                  <a:pt x="277" y="71"/>
                </a:cubicBezTo>
                <a:cubicBezTo>
                  <a:pt x="277" y="71"/>
                  <a:pt x="278" y="68"/>
                  <a:pt x="278" y="68"/>
                </a:cubicBezTo>
                <a:cubicBezTo>
                  <a:pt x="277" y="68"/>
                  <a:pt x="276" y="70"/>
                  <a:pt x="276" y="70"/>
                </a:cubicBezTo>
                <a:cubicBezTo>
                  <a:pt x="276" y="70"/>
                  <a:pt x="275" y="68"/>
                  <a:pt x="275" y="68"/>
                </a:cubicBezTo>
                <a:cubicBezTo>
                  <a:pt x="275" y="67"/>
                  <a:pt x="274" y="65"/>
                  <a:pt x="274" y="65"/>
                </a:cubicBezTo>
                <a:cubicBezTo>
                  <a:pt x="274" y="65"/>
                  <a:pt x="274" y="63"/>
                  <a:pt x="274" y="63"/>
                </a:cubicBezTo>
                <a:cubicBezTo>
                  <a:pt x="274" y="63"/>
                  <a:pt x="274" y="61"/>
                  <a:pt x="274" y="61"/>
                </a:cubicBezTo>
                <a:cubicBezTo>
                  <a:pt x="274" y="61"/>
                  <a:pt x="275" y="61"/>
                  <a:pt x="275" y="61"/>
                </a:cubicBezTo>
                <a:cubicBezTo>
                  <a:pt x="275" y="60"/>
                  <a:pt x="275" y="58"/>
                  <a:pt x="275" y="58"/>
                </a:cubicBezTo>
                <a:cubicBezTo>
                  <a:pt x="275" y="58"/>
                  <a:pt x="276" y="56"/>
                  <a:pt x="276" y="56"/>
                </a:cubicBezTo>
                <a:cubicBezTo>
                  <a:pt x="275" y="55"/>
                  <a:pt x="272" y="52"/>
                  <a:pt x="272" y="52"/>
                </a:cubicBezTo>
                <a:cubicBezTo>
                  <a:pt x="272" y="52"/>
                  <a:pt x="274" y="49"/>
                  <a:pt x="273" y="49"/>
                </a:cubicBezTo>
                <a:cubicBezTo>
                  <a:pt x="273" y="48"/>
                  <a:pt x="272" y="48"/>
                  <a:pt x="272" y="48"/>
                </a:cubicBezTo>
                <a:cubicBezTo>
                  <a:pt x="272" y="48"/>
                  <a:pt x="272" y="47"/>
                  <a:pt x="271" y="47"/>
                </a:cubicBezTo>
                <a:cubicBezTo>
                  <a:pt x="271" y="47"/>
                  <a:pt x="270" y="48"/>
                  <a:pt x="270" y="47"/>
                </a:cubicBezTo>
                <a:cubicBezTo>
                  <a:pt x="270" y="47"/>
                  <a:pt x="270" y="45"/>
                  <a:pt x="270" y="45"/>
                </a:cubicBezTo>
                <a:cubicBezTo>
                  <a:pt x="270" y="45"/>
                  <a:pt x="268" y="45"/>
                  <a:pt x="268" y="45"/>
                </a:cubicBezTo>
                <a:cubicBezTo>
                  <a:pt x="268" y="41"/>
                  <a:pt x="268" y="41"/>
                  <a:pt x="268" y="41"/>
                </a:cubicBezTo>
                <a:cubicBezTo>
                  <a:pt x="268" y="41"/>
                  <a:pt x="266" y="39"/>
                  <a:pt x="266" y="39"/>
                </a:cubicBezTo>
                <a:cubicBezTo>
                  <a:pt x="266" y="39"/>
                  <a:pt x="266" y="38"/>
                  <a:pt x="266" y="37"/>
                </a:cubicBezTo>
                <a:cubicBezTo>
                  <a:pt x="266" y="37"/>
                  <a:pt x="267" y="35"/>
                  <a:pt x="267" y="35"/>
                </a:cubicBezTo>
                <a:cubicBezTo>
                  <a:pt x="267" y="35"/>
                  <a:pt x="266" y="34"/>
                  <a:pt x="265" y="33"/>
                </a:cubicBezTo>
                <a:cubicBezTo>
                  <a:pt x="265" y="33"/>
                  <a:pt x="264" y="31"/>
                  <a:pt x="264" y="31"/>
                </a:cubicBezTo>
                <a:cubicBezTo>
                  <a:pt x="264" y="30"/>
                  <a:pt x="264" y="29"/>
                  <a:pt x="264" y="28"/>
                </a:cubicBezTo>
                <a:cubicBezTo>
                  <a:pt x="264" y="28"/>
                  <a:pt x="265" y="25"/>
                  <a:pt x="265" y="25"/>
                </a:cubicBezTo>
                <a:cubicBezTo>
                  <a:pt x="261" y="24"/>
                  <a:pt x="261" y="24"/>
                  <a:pt x="261" y="24"/>
                </a:cubicBezTo>
                <a:cubicBezTo>
                  <a:pt x="258" y="23"/>
                  <a:pt x="258" y="23"/>
                  <a:pt x="258" y="23"/>
                </a:cubicBezTo>
                <a:cubicBezTo>
                  <a:pt x="257" y="23"/>
                  <a:pt x="257" y="23"/>
                  <a:pt x="257" y="23"/>
                </a:cubicBezTo>
                <a:cubicBezTo>
                  <a:pt x="257" y="23"/>
                  <a:pt x="253" y="19"/>
                  <a:pt x="253" y="19"/>
                </a:cubicBezTo>
                <a:cubicBezTo>
                  <a:pt x="253" y="19"/>
                  <a:pt x="254" y="16"/>
                  <a:pt x="254" y="16"/>
                </a:cubicBezTo>
                <a:cubicBezTo>
                  <a:pt x="254" y="16"/>
                  <a:pt x="251" y="16"/>
                  <a:pt x="251" y="16"/>
                </a:cubicBezTo>
                <a:cubicBezTo>
                  <a:pt x="251" y="16"/>
                  <a:pt x="249" y="13"/>
                  <a:pt x="249" y="13"/>
                </a:cubicBezTo>
                <a:cubicBezTo>
                  <a:pt x="244" y="13"/>
                  <a:pt x="244" y="13"/>
                  <a:pt x="244" y="13"/>
                </a:cubicBezTo>
                <a:cubicBezTo>
                  <a:pt x="244" y="12"/>
                  <a:pt x="244" y="12"/>
                  <a:pt x="244" y="12"/>
                </a:cubicBezTo>
                <a:cubicBezTo>
                  <a:pt x="239" y="11"/>
                  <a:pt x="239" y="11"/>
                  <a:pt x="239" y="11"/>
                </a:cubicBezTo>
                <a:cubicBezTo>
                  <a:pt x="239" y="11"/>
                  <a:pt x="236" y="10"/>
                  <a:pt x="236" y="9"/>
                </a:cubicBezTo>
                <a:cubicBezTo>
                  <a:pt x="236" y="9"/>
                  <a:pt x="235" y="7"/>
                  <a:pt x="235" y="7"/>
                </a:cubicBezTo>
                <a:cubicBezTo>
                  <a:pt x="232" y="7"/>
                  <a:pt x="232" y="7"/>
                  <a:pt x="232" y="7"/>
                </a:cubicBezTo>
                <a:cubicBezTo>
                  <a:pt x="229" y="6"/>
                  <a:pt x="229" y="6"/>
                  <a:pt x="229" y="6"/>
                </a:cubicBezTo>
                <a:cubicBezTo>
                  <a:pt x="229" y="6"/>
                  <a:pt x="228" y="7"/>
                  <a:pt x="227" y="7"/>
                </a:cubicBezTo>
                <a:cubicBezTo>
                  <a:pt x="227" y="7"/>
                  <a:pt x="222" y="8"/>
                  <a:pt x="222" y="8"/>
                </a:cubicBezTo>
                <a:cubicBezTo>
                  <a:pt x="221" y="8"/>
                  <a:pt x="220" y="8"/>
                  <a:pt x="219" y="8"/>
                </a:cubicBezTo>
                <a:cubicBezTo>
                  <a:pt x="219" y="8"/>
                  <a:pt x="214" y="6"/>
                  <a:pt x="214" y="6"/>
                </a:cubicBezTo>
                <a:cubicBezTo>
                  <a:pt x="212" y="10"/>
                  <a:pt x="212" y="10"/>
                  <a:pt x="212" y="10"/>
                </a:cubicBezTo>
                <a:cubicBezTo>
                  <a:pt x="212" y="10"/>
                  <a:pt x="207" y="12"/>
                  <a:pt x="207" y="11"/>
                </a:cubicBezTo>
                <a:cubicBezTo>
                  <a:pt x="207" y="11"/>
                  <a:pt x="203" y="7"/>
                  <a:pt x="203" y="7"/>
                </a:cubicBezTo>
                <a:cubicBezTo>
                  <a:pt x="203" y="7"/>
                  <a:pt x="193" y="4"/>
                  <a:pt x="193" y="4"/>
                </a:cubicBezTo>
                <a:cubicBezTo>
                  <a:pt x="192" y="0"/>
                  <a:pt x="192" y="0"/>
                  <a:pt x="19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3"/>
                  <a:pt x="0" y="93"/>
                  <a:pt x="0" y="93"/>
                </a:cubicBezTo>
                <a:cubicBezTo>
                  <a:pt x="69" y="93"/>
                  <a:pt x="69" y="93"/>
                  <a:pt x="69" y="93"/>
                </a:cubicBezTo>
                <a:cubicBezTo>
                  <a:pt x="69" y="138"/>
                  <a:pt x="69" y="138"/>
                  <a:pt x="69" y="138"/>
                </a:cubicBezTo>
                <a:lnTo>
                  <a:pt x="301" y="138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4" name="Freeform 32">
            <a:extLst>
              <a:ext uri="{FF2B5EF4-FFF2-40B4-BE49-F238E27FC236}">
                <a16:creationId xmlns:a16="http://schemas.microsoft.com/office/drawing/2014/main" id="{690696F7-C00C-4202-94FB-CF97D691761C}"/>
              </a:ext>
            </a:extLst>
          </p:cNvPr>
          <p:cNvSpPr>
            <a:spLocks/>
          </p:cNvSpPr>
          <p:nvPr/>
        </p:nvSpPr>
        <p:spPr bwMode="auto">
          <a:xfrm>
            <a:off x="5184810" y="1258003"/>
            <a:ext cx="1640639" cy="928539"/>
          </a:xfrm>
          <a:custGeom>
            <a:avLst/>
            <a:gdLst>
              <a:gd name="T0" fmla="*/ 10 w 414"/>
              <a:gd name="T1" fmla="*/ 67 h 234"/>
              <a:gd name="T2" fmla="*/ 10 w 414"/>
              <a:gd name="T3" fmla="*/ 75 h 234"/>
              <a:gd name="T4" fmla="*/ 14 w 414"/>
              <a:gd name="T5" fmla="*/ 79 h 234"/>
              <a:gd name="T6" fmla="*/ 10 w 414"/>
              <a:gd name="T7" fmla="*/ 82 h 234"/>
              <a:gd name="T8" fmla="*/ 15 w 414"/>
              <a:gd name="T9" fmla="*/ 85 h 234"/>
              <a:gd name="T10" fmla="*/ 23 w 414"/>
              <a:gd name="T11" fmla="*/ 90 h 234"/>
              <a:gd name="T12" fmla="*/ 30 w 414"/>
              <a:gd name="T13" fmla="*/ 98 h 234"/>
              <a:gd name="T14" fmla="*/ 36 w 414"/>
              <a:gd name="T15" fmla="*/ 106 h 234"/>
              <a:gd name="T16" fmla="*/ 40 w 414"/>
              <a:gd name="T17" fmla="*/ 114 h 234"/>
              <a:gd name="T18" fmla="*/ 44 w 414"/>
              <a:gd name="T19" fmla="*/ 117 h 234"/>
              <a:gd name="T20" fmla="*/ 48 w 414"/>
              <a:gd name="T21" fmla="*/ 118 h 234"/>
              <a:gd name="T22" fmla="*/ 52 w 414"/>
              <a:gd name="T23" fmla="*/ 122 h 234"/>
              <a:gd name="T24" fmla="*/ 58 w 414"/>
              <a:gd name="T25" fmla="*/ 121 h 234"/>
              <a:gd name="T26" fmla="*/ 58 w 414"/>
              <a:gd name="T27" fmla="*/ 128 h 234"/>
              <a:gd name="T28" fmla="*/ 57 w 414"/>
              <a:gd name="T29" fmla="*/ 134 h 234"/>
              <a:gd name="T30" fmla="*/ 54 w 414"/>
              <a:gd name="T31" fmla="*/ 143 h 234"/>
              <a:gd name="T32" fmla="*/ 53 w 414"/>
              <a:gd name="T33" fmla="*/ 147 h 234"/>
              <a:gd name="T34" fmla="*/ 54 w 414"/>
              <a:gd name="T35" fmla="*/ 153 h 234"/>
              <a:gd name="T36" fmla="*/ 57 w 414"/>
              <a:gd name="T37" fmla="*/ 160 h 234"/>
              <a:gd name="T38" fmla="*/ 52 w 414"/>
              <a:gd name="T39" fmla="*/ 163 h 234"/>
              <a:gd name="T40" fmla="*/ 52 w 414"/>
              <a:gd name="T41" fmla="*/ 172 h 234"/>
              <a:gd name="T42" fmla="*/ 55 w 414"/>
              <a:gd name="T43" fmla="*/ 176 h 234"/>
              <a:gd name="T44" fmla="*/ 61 w 414"/>
              <a:gd name="T45" fmla="*/ 179 h 234"/>
              <a:gd name="T46" fmla="*/ 68 w 414"/>
              <a:gd name="T47" fmla="*/ 173 h 234"/>
              <a:gd name="T48" fmla="*/ 73 w 414"/>
              <a:gd name="T49" fmla="*/ 171 h 234"/>
              <a:gd name="T50" fmla="*/ 76 w 414"/>
              <a:gd name="T51" fmla="*/ 176 h 234"/>
              <a:gd name="T52" fmla="*/ 78 w 414"/>
              <a:gd name="T53" fmla="*/ 180 h 234"/>
              <a:gd name="T54" fmla="*/ 80 w 414"/>
              <a:gd name="T55" fmla="*/ 185 h 234"/>
              <a:gd name="T56" fmla="*/ 84 w 414"/>
              <a:gd name="T57" fmla="*/ 194 h 234"/>
              <a:gd name="T58" fmla="*/ 88 w 414"/>
              <a:gd name="T59" fmla="*/ 199 h 234"/>
              <a:gd name="T60" fmla="*/ 90 w 414"/>
              <a:gd name="T61" fmla="*/ 205 h 234"/>
              <a:gd name="T62" fmla="*/ 91 w 414"/>
              <a:gd name="T63" fmla="*/ 210 h 234"/>
              <a:gd name="T64" fmla="*/ 95 w 414"/>
              <a:gd name="T65" fmla="*/ 212 h 234"/>
              <a:gd name="T66" fmla="*/ 102 w 414"/>
              <a:gd name="T67" fmla="*/ 217 h 234"/>
              <a:gd name="T68" fmla="*/ 102 w 414"/>
              <a:gd name="T69" fmla="*/ 223 h 234"/>
              <a:gd name="T70" fmla="*/ 105 w 414"/>
              <a:gd name="T71" fmla="*/ 229 h 234"/>
              <a:gd name="T72" fmla="*/ 111 w 414"/>
              <a:gd name="T73" fmla="*/ 234 h 234"/>
              <a:gd name="T74" fmla="*/ 117 w 414"/>
              <a:gd name="T75" fmla="*/ 228 h 234"/>
              <a:gd name="T76" fmla="*/ 127 w 414"/>
              <a:gd name="T77" fmla="*/ 228 h 234"/>
              <a:gd name="T78" fmla="*/ 137 w 414"/>
              <a:gd name="T79" fmla="*/ 226 h 234"/>
              <a:gd name="T80" fmla="*/ 145 w 414"/>
              <a:gd name="T81" fmla="*/ 227 h 234"/>
              <a:gd name="T82" fmla="*/ 155 w 414"/>
              <a:gd name="T83" fmla="*/ 225 h 234"/>
              <a:gd name="T84" fmla="*/ 156 w 414"/>
              <a:gd name="T85" fmla="*/ 222 h 234"/>
              <a:gd name="T86" fmla="*/ 160 w 414"/>
              <a:gd name="T87" fmla="*/ 217 h 234"/>
              <a:gd name="T88" fmla="*/ 172 w 414"/>
              <a:gd name="T89" fmla="*/ 229 h 234"/>
              <a:gd name="T90" fmla="*/ 414 w 414"/>
              <a:gd name="T91" fmla="*/ 0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14" h="234">
                <a:moveTo>
                  <a:pt x="0" y="0"/>
                </a:moveTo>
                <a:cubicBezTo>
                  <a:pt x="0" y="54"/>
                  <a:pt x="0" y="54"/>
                  <a:pt x="0" y="54"/>
                </a:cubicBezTo>
                <a:cubicBezTo>
                  <a:pt x="10" y="67"/>
                  <a:pt x="10" y="67"/>
                  <a:pt x="10" y="67"/>
                </a:cubicBezTo>
                <a:cubicBezTo>
                  <a:pt x="10" y="67"/>
                  <a:pt x="12" y="70"/>
                  <a:pt x="12" y="71"/>
                </a:cubicBezTo>
                <a:cubicBezTo>
                  <a:pt x="12" y="71"/>
                  <a:pt x="12" y="74"/>
                  <a:pt x="12" y="74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6"/>
                  <a:pt x="10" y="76"/>
                  <a:pt x="10" y="76"/>
                </a:cubicBezTo>
                <a:cubicBezTo>
                  <a:pt x="10" y="76"/>
                  <a:pt x="12" y="78"/>
                  <a:pt x="13" y="78"/>
                </a:cubicBezTo>
                <a:cubicBezTo>
                  <a:pt x="13" y="79"/>
                  <a:pt x="14" y="79"/>
                  <a:pt x="14" y="79"/>
                </a:cubicBezTo>
                <a:cubicBezTo>
                  <a:pt x="14" y="80"/>
                  <a:pt x="14" y="80"/>
                  <a:pt x="14" y="80"/>
                </a:cubicBezTo>
                <a:cubicBezTo>
                  <a:pt x="14" y="80"/>
                  <a:pt x="13" y="81"/>
                  <a:pt x="12" y="81"/>
                </a:cubicBezTo>
                <a:cubicBezTo>
                  <a:pt x="12" y="81"/>
                  <a:pt x="10" y="82"/>
                  <a:pt x="10" y="82"/>
                </a:cubicBezTo>
                <a:cubicBezTo>
                  <a:pt x="11" y="83"/>
                  <a:pt x="11" y="83"/>
                  <a:pt x="11" y="83"/>
                </a:cubicBezTo>
                <a:cubicBezTo>
                  <a:pt x="11" y="83"/>
                  <a:pt x="13" y="83"/>
                  <a:pt x="13" y="84"/>
                </a:cubicBezTo>
                <a:cubicBezTo>
                  <a:pt x="14" y="84"/>
                  <a:pt x="15" y="84"/>
                  <a:pt x="15" y="85"/>
                </a:cubicBezTo>
                <a:cubicBezTo>
                  <a:pt x="16" y="86"/>
                  <a:pt x="17" y="88"/>
                  <a:pt x="18" y="89"/>
                </a:cubicBezTo>
                <a:cubicBezTo>
                  <a:pt x="19" y="89"/>
                  <a:pt x="19" y="89"/>
                  <a:pt x="20" y="90"/>
                </a:cubicBezTo>
                <a:cubicBezTo>
                  <a:pt x="21" y="90"/>
                  <a:pt x="23" y="90"/>
                  <a:pt x="23" y="90"/>
                </a:cubicBezTo>
                <a:cubicBezTo>
                  <a:pt x="24" y="91"/>
                  <a:pt x="25" y="91"/>
                  <a:pt x="25" y="91"/>
                </a:cubicBezTo>
                <a:cubicBezTo>
                  <a:pt x="25" y="92"/>
                  <a:pt x="25" y="94"/>
                  <a:pt x="26" y="94"/>
                </a:cubicBezTo>
                <a:cubicBezTo>
                  <a:pt x="26" y="95"/>
                  <a:pt x="30" y="98"/>
                  <a:pt x="30" y="98"/>
                </a:cubicBezTo>
                <a:cubicBezTo>
                  <a:pt x="31" y="99"/>
                  <a:pt x="32" y="100"/>
                  <a:pt x="32" y="101"/>
                </a:cubicBezTo>
                <a:cubicBezTo>
                  <a:pt x="32" y="101"/>
                  <a:pt x="33" y="104"/>
                  <a:pt x="34" y="105"/>
                </a:cubicBezTo>
                <a:cubicBezTo>
                  <a:pt x="34" y="105"/>
                  <a:pt x="35" y="105"/>
                  <a:pt x="36" y="106"/>
                </a:cubicBezTo>
                <a:cubicBezTo>
                  <a:pt x="37" y="106"/>
                  <a:pt x="38" y="107"/>
                  <a:pt x="38" y="108"/>
                </a:cubicBezTo>
                <a:cubicBezTo>
                  <a:pt x="38" y="109"/>
                  <a:pt x="38" y="111"/>
                  <a:pt x="38" y="112"/>
                </a:cubicBezTo>
                <a:cubicBezTo>
                  <a:pt x="38" y="112"/>
                  <a:pt x="39" y="114"/>
                  <a:pt x="40" y="114"/>
                </a:cubicBezTo>
                <a:cubicBezTo>
                  <a:pt x="40" y="114"/>
                  <a:pt x="41" y="113"/>
                  <a:pt x="41" y="113"/>
                </a:cubicBezTo>
                <a:cubicBezTo>
                  <a:pt x="42" y="114"/>
                  <a:pt x="43" y="115"/>
                  <a:pt x="43" y="115"/>
                </a:cubicBezTo>
                <a:cubicBezTo>
                  <a:pt x="44" y="116"/>
                  <a:pt x="44" y="116"/>
                  <a:pt x="44" y="117"/>
                </a:cubicBezTo>
                <a:cubicBezTo>
                  <a:pt x="44" y="118"/>
                  <a:pt x="44" y="119"/>
                  <a:pt x="44" y="119"/>
                </a:cubicBezTo>
                <a:cubicBezTo>
                  <a:pt x="45" y="119"/>
                  <a:pt x="46" y="117"/>
                  <a:pt x="46" y="117"/>
                </a:cubicBezTo>
                <a:cubicBezTo>
                  <a:pt x="47" y="117"/>
                  <a:pt x="48" y="117"/>
                  <a:pt x="48" y="118"/>
                </a:cubicBezTo>
                <a:cubicBezTo>
                  <a:pt x="48" y="118"/>
                  <a:pt x="48" y="119"/>
                  <a:pt x="49" y="120"/>
                </a:cubicBezTo>
                <a:cubicBezTo>
                  <a:pt x="49" y="121"/>
                  <a:pt x="50" y="122"/>
                  <a:pt x="50" y="122"/>
                </a:cubicBezTo>
                <a:cubicBezTo>
                  <a:pt x="50" y="122"/>
                  <a:pt x="52" y="122"/>
                  <a:pt x="52" y="122"/>
                </a:cubicBezTo>
                <a:cubicBezTo>
                  <a:pt x="52" y="122"/>
                  <a:pt x="53" y="122"/>
                  <a:pt x="54" y="122"/>
                </a:cubicBezTo>
                <a:cubicBezTo>
                  <a:pt x="54" y="122"/>
                  <a:pt x="55" y="123"/>
                  <a:pt x="55" y="122"/>
                </a:cubicBezTo>
                <a:cubicBezTo>
                  <a:pt x="56" y="122"/>
                  <a:pt x="58" y="121"/>
                  <a:pt x="58" y="121"/>
                </a:cubicBezTo>
                <a:cubicBezTo>
                  <a:pt x="58" y="121"/>
                  <a:pt x="59" y="121"/>
                  <a:pt x="59" y="122"/>
                </a:cubicBezTo>
                <a:cubicBezTo>
                  <a:pt x="59" y="122"/>
                  <a:pt x="59" y="125"/>
                  <a:pt x="59" y="125"/>
                </a:cubicBezTo>
                <a:cubicBezTo>
                  <a:pt x="59" y="125"/>
                  <a:pt x="59" y="128"/>
                  <a:pt x="58" y="128"/>
                </a:cubicBezTo>
                <a:cubicBezTo>
                  <a:pt x="58" y="128"/>
                  <a:pt x="57" y="129"/>
                  <a:pt x="57" y="129"/>
                </a:cubicBezTo>
                <a:cubicBezTo>
                  <a:pt x="57" y="129"/>
                  <a:pt x="57" y="130"/>
                  <a:pt x="57" y="130"/>
                </a:cubicBezTo>
                <a:cubicBezTo>
                  <a:pt x="57" y="131"/>
                  <a:pt x="57" y="133"/>
                  <a:pt x="57" y="134"/>
                </a:cubicBezTo>
                <a:cubicBezTo>
                  <a:pt x="57" y="135"/>
                  <a:pt x="56" y="137"/>
                  <a:pt x="56" y="138"/>
                </a:cubicBezTo>
                <a:cubicBezTo>
                  <a:pt x="56" y="138"/>
                  <a:pt x="55" y="140"/>
                  <a:pt x="55" y="140"/>
                </a:cubicBezTo>
                <a:cubicBezTo>
                  <a:pt x="54" y="141"/>
                  <a:pt x="54" y="142"/>
                  <a:pt x="54" y="143"/>
                </a:cubicBezTo>
                <a:cubicBezTo>
                  <a:pt x="55" y="143"/>
                  <a:pt x="55" y="144"/>
                  <a:pt x="55" y="145"/>
                </a:cubicBezTo>
                <a:cubicBezTo>
                  <a:pt x="55" y="145"/>
                  <a:pt x="55" y="146"/>
                  <a:pt x="54" y="146"/>
                </a:cubicBezTo>
                <a:cubicBezTo>
                  <a:pt x="53" y="146"/>
                  <a:pt x="53" y="147"/>
                  <a:pt x="53" y="147"/>
                </a:cubicBezTo>
                <a:cubicBezTo>
                  <a:pt x="53" y="148"/>
                  <a:pt x="54" y="149"/>
                  <a:pt x="54" y="149"/>
                </a:cubicBezTo>
                <a:cubicBezTo>
                  <a:pt x="54" y="150"/>
                  <a:pt x="54" y="151"/>
                  <a:pt x="54" y="151"/>
                </a:cubicBezTo>
                <a:cubicBezTo>
                  <a:pt x="54" y="151"/>
                  <a:pt x="54" y="153"/>
                  <a:pt x="54" y="153"/>
                </a:cubicBezTo>
                <a:cubicBezTo>
                  <a:pt x="54" y="154"/>
                  <a:pt x="55" y="154"/>
                  <a:pt x="56" y="155"/>
                </a:cubicBezTo>
                <a:cubicBezTo>
                  <a:pt x="56" y="155"/>
                  <a:pt x="56" y="156"/>
                  <a:pt x="57" y="158"/>
                </a:cubicBezTo>
                <a:cubicBezTo>
                  <a:pt x="57" y="159"/>
                  <a:pt x="57" y="159"/>
                  <a:pt x="57" y="160"/>
                </a:cubicBezTo>
                <a:cubicBezTo>
                  <a:pt x="57" y="161"/>
                  <a:pt x="57" y="161"/>
                  <a:pt x="56" y="161"/>
                </a:cubicBezTo>
                <a:cubicBezTo>
                  <a:pt x="55" y="161"/>
                  <a:pt x="54" y="161"/>
                  <a:pt x="54" y="161"/>
                </a:cubicBezTo>
                <a:cubicBezTo>
                  <a:pt x="53" y="162"/>
                  <a:pt x="53" y="162"/>
                  <a:pt x="52" y="163"/>
                </a:cubicBezTo>
                <a:cubicBezTo>
                  <a:pt x="52" y="164"/>
                  <a:pt x="51" y="164"/>
                  <a:pt x="51" y="165"/>
                </a:cubicBezTo>
                <a:cubicBezTo>
                  <a:pt x="51" y="166"/>
                  <a:pt x="53" y="168"/>
                  <a:pt x="53" y="169"/>
                </a:cubicBezTo>
                <a:cubicBezTo>
                  <a:pt x="53" y="169"/>
                  <a:pt x="53" y="171"/>
                  <a:pt x="52" y="172"/>
                </a:cubicBezTo>
                <a:cubicBezTo>
                  <a:pt x="52" y="172"/>
                  <a:pt x="51" y="173"/>
                  <a:pt x="51" y="174"/>
                </a:cubicBezTo>
                <a:cubicBezTo>
                  <a:pt x="51" y="175"/>
                  <a:pt x="51" y="176"/>
                  <a:pt x="52" y="176"/>
                </a:cubicBezTo>
                <a:cubicBezTo>
                  <a:pt x="53" y="176"/>
                  <a:pt x="54" y="176"/>
                  <a:pt x="55" y="176"/>
                </a:cubicBezTo>
                <a:cubicBezTo>
                  <a:pt x="55" y="177"/>
                  <a:pt x="55" y="178"/>
                  <a:pt x="56" y="179"/>
                </a:cubicBezTo>
                <a:cubicBezTo>
                  <a:pt x="57" y="179"/>
                  <a:pt x="58" y="180"/>
                  <a:pt x="59" y="180"/>
                </a:cubicBezTo>
                <a:cubicBezTo>
                  <a:pt x="59" y="180"/>
                  <a:pt x="60" y="179"/>
                  <a:pt x="61" y="179"/>
                </a:cubicBezTo>
                <a:cubicBezTo>
                  <a:pt x="62" y="179"/>
                  <a:pt x="62" y="177"/>
                  <a:pt x="62" y="177"/>
                </a:cubicBezTo>
                <a:cubicBezTo>
                  <a:pt x="62" y="176"/>
                  <a:pt x="63" y="176"/>
                  <a:pt x="64" y="176"/>
                </a:cubicBezTo>
                <a:cubicBezTo>
                  <a:pt x="65" y="176"/>
                  <a:pt x="68" y="174"/>
                  <a:pt x="68" y="173"/>
                </a:cubicBezTo>
                <a:cubicBezTo>
                  <a:pt x="69" y="173"/>
                  <a:pt x="70" y="172"/>
                  <a:pt x="70" y="171"/>
                </a:cubicBezTo>
                <a:cubicBezTo>
                  <a:pt x="70" y="170"/>
                  <a:pt x="69" y="169"/>
                  <a:pt x="70" y="169"/>
                </a:cubicBezTo>
                <a:cubicBezTo>
                  <a:pt x="72" y="169"/>
                  <a:pt x="73" y="171"/>
                  <a:pt x="73" y="171"/>
                </a:cubicBezTo>
                <a:cubicBezTo>
                  <a:pt x="73" y="172"/>
                  <a:pt x="74" y="173"/>
                  <a:pt x="75" y="173"/>
                </a:cubicBezTo>
                <a:cubicBezTo>
                  <a:pt x="76" y="173"/>
                  <a:pt x="76" y="173"/>
                  <a:pt x="76" y="174"/>
                </a:cubicBezTo>
                <a:cubicBezTo>
                  <a:pt x="77" y="174"/>
                  <a:pt x="77" y="176"/>
                  <a:pt x="76" y="176"/>
                </a:cubicBezTo>
                <a:cubicBezTo>
                  <a:pt x="76" y="176"/>
                  <a:pt x="76" y="177"/>
                  <a:pt x="77" y="177"/>
                </a:cubicBezTo>
                <a:cubicBezTo>
                  <a:pt x="78" y="178"/>
                  <a:pt x="78" y="178"/>
                  <a:pt x="78" y="178"/>
                </a:cubicBezTo>
                <a:cubicBezTo>
                  <a:pt x="78" y="179"/>
                  <a:pt x="79" y="180"/>
                  <a:pt x="78" y="180"/>
                </a:cubicBezTo>
                <a:cubicBezTo>
                  <a:pt x="78" y="181"/>
                  <a:pt x="78" y="182"/>
                  <a:pt x="78" y="182"/>
                </a:cubicBezTo>
                <a:cubicBezTo>
                  <a:pt x="79" y="183"/>
                  <a:pt x="79" y="184"/>
                  <a:pt x="80" y="184"/>
                </a:cubicBezTo>
                <a:cubicBezTo>
                  <a:pt x="80" y="184"/>
                  <a:pt x="80" y="184"/>
                  <a:pt x="80" y="185"/>
                </a:cubicBezTo>
                <a:cubicBezTo>
                  <a:pt x="80" y="186"/>
                  <a:pt x="80" y="187"/>
                  <a:pt x="81" y="188"/>
                </a:cubicBezTo>
                <a:cubicBezTo>
                  <a:pt x="81" y="189"/>
                  <a:pt x="81" y="190"/>
                  <a:pt x="82" y="191"/>
                </a:cubicBezTo>
                <a:cubicBezTo>
                  <a:pt x="83" y="192"/>
                  <a:pt x="83" y="194"/>
                  <a:pt x="84" y="194"/>
                </a:cubicBezTo>
                <a:cubicBezTo>
                  <a:pt x="84" y="195"/>
                  <a:pt x="85" y="196"/>
                  <a:pt x="85" y="196"/>
                </a:cubicBezTo>
                <a:cubicBezTo>
                  <a:pt x="86" y="197"/>
                  <a:pt x="87" y="197"/>
                  <a:pt x="87" y="197"/>
                </a:cubicBezTo>
                <a:cubicBezTo>
                  <a:pt x="87" y="198"/>
                  <a:pt x="88" y="199"/>
                  <a:pt x="88" y="199"/>
                </a:cubicBezTo>
                <a:cubicBezTo>
                  <a:pt x="88" y="199"/>
                  <a:pt x="89" y="199"/>
                  <a:pt x="89" y="200"/>
                </a:cubicBezTo>
                <a:cubicBezTo>
                  <a:pt x="89" y="200"/>
                  <a:pt x="90" y="200"/>
                  <a:pt x="90" y="201"/>
                </a:cubicBezTo>
                <a:cubicBezTo>
                  <a:pt x="90" y="202"/>
                  <a:pt x="90" y="205"/>
                  <a:pt x="90" y="205"/>
                </a:cubicBezTo>
                <a:cubicBezTo>
                  <a:pt x="90" y="205"/>
                  <a:pt x="88" y="205"/>
                  <a:pt x="88" y="206"/>
                </a:cubicBezTo>
                <a:cubicBezTo>
                  <a:pt x="88" y="206"/>
                  <a:pt x="88" y="207"/>
                  <a:pt x="88" y="208"/>
                </a:cubicBezTo>
                <a:cubicBezTo>
                  <a:pt x="89" y="208"/>
                  <a:pt x="90" y="210"/>
                  <a:pt x="91" y="210"/>
                </a:cubicBezTo>
                <a:cubicBezTo>
                  <a:pt x="91" y="211"/>
                  <a:pt x="92" y="211"/>
                  <a:pt x="92" y="212"/>
                </a:cubicBezTo>
                <a:cubicBezTo>
                  <a:pt x="92" y="212"/>
                  <a:pt x="93" y="213"/>
                  <a:pt x="93" y="213"/>
                </a:cubicBezTo>
                <a:cubicBezTo>
                  <a:pt x="93" y="213"/>
                  <a:pt x="94" y="213"/>
                  <a:pt x="95" y="212"/>
                </a:cubicBezTo>
                <a:cubicBezTo>
                  <a:pt x="96" y="212"/>
                  <a:pt x="96" y="212"/>
                  <a:pt x="97" y="212"/>
                </a:cubicBezTo>
                <a:cubicBezTo>
                  <a:pt x="98" y="213"/>
                  <a:pt x="99" y="214"/>
                  <a:pt x="100" y="214"/>
                </a:cubicBezTo>
                <a:cubicBezTo>
                  <a:pt x="100" y="215"/>
                  <a:pt x="101" y="216"/>
                  <a:pt x="102" y="217"/>
                </a:cubicBezTo>
                <a:cubicBezTo>
                  <a:pt x="102" y="218"/>
                  <a:pt x="102" y="219"/>
                  <a:pt x="103" y="220"/>
                </a:cubicBezTo>
                <a:cubicBezTo>
                  <a:pt x="103" y="221"/>
                  <a:pt x="103" y="221"/>
                  <a:pt x="103" y="222"/>
                </a:cubicBezTo>
                <a:cubicBezTo>
                  <a:pt x="103" y="222"/>
                  <a:pt x="102" y="223"/>
                  <a:pt x="102" y="223"/>
                </a:cubicBezTo>
                <a:cubicBezTo>
                  <a:pt x="102" y="223"/>
                  <a:pt x="104" y="224"/>
                  <a:pt x="104" y="225"/>
                </a:cubicBezTo>
                <a:cubicBezTo>
                  <a:pt x="104" y="226"/>
                  <a:pt x="105" y="226"/>
                  <a:pt x="105" y="227"/>
                </a:cubicBezTo>
                <a:cubicBezTo>
                  <a:pt x="105" y="228"/>
                  <a:pt x="104" y="228"/>
                  <a:pt x="105" y="229"/>
                </a:cubicBezTo>
                <a:cubicBezTo>
                  <a:pt x="105" y="230"/>
                  <a:pt x="106" y="230"/>
                  <a:pt x="106" y="231"/>
                </a:cubicBezTo>
                <a:cubicBezTo>
                  <a:pt x="107" y="232"/>
                  <a:pt x="108" y="232"/>
                  <a:pt x="109" y="233"/>
                </a:cubicBezTo>
                <a:cubicBezTo>
                  <a:pt x="110" y="234"/>
                  <a:pt x="111" y="234"/>
                  <a:pt x="111" y="234"/>
                </a:cubicBezTo>
                <a:cubicBezTo>
                  <a:pt x="111" y="233"/>
                  <a:pt x="111" y="231"/>
                  <a:pt x="111" y="230"/>
                </a:cubicBezTo>
                <a:cubicBezTo>
                  <a:pt x="112" y="229"/>
                  <a:pt x="113" y="229"/>
                  <a:pt x="114" y="228"/>
                </a:cubicBezTo>
                <a:cubicBezTo>
                  <a:pt x="115" y="228"/>
                  <a:pt x="115" y="227"/>
                  <a:pt x="117" y="228"/>
                </a:cubicBezTo>
                <a:cubicBezTo>
                  <a:pt x="119" y="229"/>
                  <a:pt x="121" y="229"/>
                  <a:pt x="123" y="229"/>
                </a:cubicBezTo>
                <a:cubicBezTo>
                  <a:pt x="124" y="230"/>
                  <a:pt x="126" y="230"/>
                  <a:pt x="126" y="230"/>
                </a:cubicBezTo>
                <a:cubicBezTo>
                  <a:pt x="126" y="230"/>
                  <a:pt x="126" y="229"/>
                  <a:pt x="127" y="228"/>
                </a:cubicBezTo>
                <a:cubicBezTo>
                  <a:pt x="127" y="227"/>
                  <a:pt x="127" y="224"/>
                  <a:pt x="128" y="224"/>
                </a:cubicBezTo>
                <a:cubicBezTo>
                  <a:pt x="128" y="224"/>
                  <a:pt x="129" y="224"/>
                  <a:pt x="129" y="224"/>
                </a:cubicBezTo>
                <a:cubicBezTo>
                  <a:pt x="130" y="224"/>
                  <a:pt x="136" y="226"/>
                  <a:pt x="137" y="226"/>
                </a:cubicBezTo>
                <a:cubicBezTo>
                  <a:pt x="137" y="226"/>
                  <a:pt x="141" y="225"/>
                  <a:pt x="141" y="225"/>
                </a:cubicBezTo>
                <a:cubicBezTo>
                  <a:pt x="142" y="225"/>
                  <a:pt x="144" y="225"/>
                  <a:pt x="144" y="225"/>
                </a:cubicBezTo>
                <a:cubicBezTo>
                  <a:pt x="144" y="225"/>
                  <a:pt x="145" y="227"/>
                  <a:pt x="145" y="227"/>
                </a:cubicBezTo>
                <a:cubicBezTo>
                  <a:pt x="145" y="227"/>
                  <a:pt x="146" y="227"/>
                  <a:pt x="147" y="226"/>
                </a:cubicBezTo>
                <a:cubicBezTo>
                  <a:pt x="148" y="226"/>
                  <a:pt x="149" y="225"/>
                  <a:pt x="151" y="225"/>
                </a:cubicBezTo>
                <a:cubicBezTo>
                  <a:pt x="152" y="224"/>
                  <a:pt x="154" y="225"/>
                  <a:pt x="155" y="225"/>
                </a:cubicBezTo>
                <a:cubicBezTo>
                  <a:pt x="155" y="225"/>
                  <a:pt x="157" y="225"/>
                  <a:pt x="157" y="225"/>
                </a:cubicBezTo>
                <a:cubicBezTo>
                  <a:pt x="158" y="225"/>
                  <a:pt x="157" y="225"/>
                  <a:pt x="157" y="224"/>
                </a:cubicBezTo>
                <a:cubicBezTo>
                  <a:pt x="157" y="223"/>
                  <a:pt x="156" y="222"/>
                  <a:pt x="156" y="222"/>
                </a:cubicBezTo>
                <a:cubicBezTo>
                  <a:pt x="157" y="221"/>
                  <a:pt x="157" y="220"/>
                  <a:pt x="157" y="219"/>
                </a:cubicBezTo>
                <a:cubicBezTo>
                  <a:pt x="157" y="218"/>
                  <a:pt x="157" y="218"/>
                  <a:pt x="158" y="217"/>
                </a:cubicBezTo>
                <a:cubicBezTo>
                  <a:pt x="159" y="217"/>
                  <a:pt x="159" y="217"/>
                  <a:pt x="160" y="217"/>
                </a:cubicBezTo>
                <a:cubicBezTo>
                  <a:pt x="160" y="216"/>
                  <a:pt x="161" y="214"/>
                  <a:pt x="161" y="215"/>
                </a:cubicBezTo>
                <a:cubicBezTo>
                  <a:pt x="162" y="215"/>
                  <a:pt x="170" y="228"/>
                  <a:pt x="170" y="228"/>
                </a:cubicBezTo>
                <a:cubicBezTo>
                  <a:pt x="172" y="229"/>
                  <a:pt x="172" y="229"/>
                  <a:pt x="172" y="229"/>
                </a:cubicBezTo>
                <a:cubicBezTo>
                  <a:pt x="172" y="203"/>
                  <a:pt x="172" y="203"/>
                  <a:pt x="172" y="203"/>
                </a:cubicBezTo>
                <a:cubicBezTo>
                  <a:pt x="414" y="203"/>
                  <a:pt x="414" y="203"/>
                  <a:pt x="414" y="203"/>
                </a:cubicBezTo>
                <a:cubicBezTo>
                  <a:pt x="414" y="0"/>
                  <a:pt x="414" y="0"/>
                  <a:pt x="414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5" name="Freeform 33">
            <a:extLst>
              <a:ext uri="{FF2B5EF4-FFF2-40B4-BE49-F238E27FC236}">
                <a16:creationId xmlns:a16="http://schemas.microsoft.com/office/drawing/2014/main" id="{D1588096-DDFF-4504-AF4E-C6255DFFB75B}"/>
              </a:ext>
            </a:extLst>
          </p:cNvPr>
          <p:cNvSpPr>
            <a:spLocks/>
          </p:cNvSpPr>
          <p:nvPr/>
        </p:nvSpPr>
        <p:spPr bwMode="auto">
          <a:xfrm>
            <a:off x="7957208" y="2883773"/>
            <a:ext cx="915321" cy="804623"/>
          </a:xfrm>
          <a:custGeom>
            <a:avLst/>
            <a:gdLst>
              <a:gd name="T0" fmla="*/ 223 w 231"/>
              <a:gd name="T1" fmla="*/ 157 h 203"/>
              <a:gd name="T2" fmla="*/ 224 w 231"/>
              <a:gd name="T3" fmla="*/ 160 h 203"/>
              <a:gd name="T4" fmla="*/ 220 w 231"/>
              <a:gd name="T5" fmla="*/ 157 h 203"/>
              <a:gd name="T6" fmla="*/ 218 w 231"/>
              <a:gd name="T7" fmla="*/ 149 h 203"/>
              <a:gd name="T8" fmla="*/ 217 w 231"/>
              <a:gd name="T9" fmla="*/ 146 h 203"/>
              <a:gd name="T10" fmla="*/ 218 w 231"/>
              <a:gd name="T11" fmla="*/ 141 h 203"/>
              <a:gd name="T12" fmla="*/ 216 w 231"/>
              <a:gd name="T13" fmla="*/ 135 h 203"/>
              <a:gd name="T14" fmla="*/ 216 w 231"/>
              <a:gd name="T15" fmla="*/ 131 h 203"/>
              <a:gd name="T16" fmla="*/ 211 w 231"/>
              <a:gd name="T17" fmla="*/ 125 h 203"/>
              <a:gd name="T18" fmla="*/ 202 w 231"/>
              <a:gd name="T19" fmla="*/ 122 h 203"/>
              <a:gd name="T20" fmla="*/ 202 w 231"/>
              <a:gd name="T21" fmla="*/ 119 h 203"/>
              <a:gd name="T22" fmla="*/ 187 w 231"/>
              <a:gd name="T23" fmla="*/ 103 h 203"/>
              <a:gd name="T24" fmla="*/ 190 w 231"/>
              <a:gd name="T25" fmla="*/ 95 h 203"/>
              <a:gd name="T26" fmla="*/ 192 w 231"/>
              <a:gd name="T27" fmla="*/ 85 h 203"/>
              <a:gd name="T28" fmla="*/ 190 w 231"/>
              <a:gd name="T29" fmla="*/ 75 h 203"/>
              <a:gd name="T30" fmla="*/ 179 w 231"/>
              <a:gd name="T31" fmla="*/ 78 h 203"/>
              <a:gd name="T32" fmla="*/ 175 w 231"/>
              <a:gd name="T33" fmla="*/ 71 h 203"/>
              <a:gd name="T34" fmla="*/ 174 w 231"/>
              <a:gd name="T35" fmla="*/ 61 h 203"/>
              <a:gd name="T36" fmla="*/ 161 w 231"/>
              <a:gd name="T37" fmla="*/ 48 h 203"/>
              <a:gd name="T38" fmla="*/ 154 w 231"/>
              <a:gd name="T39" fmla="*/ 42 h 203"/>
              <a:gd name="T40" fmla="*/ 150 w 231"/>
              <a:gd name="T41" fmla="*/ 35 h 203"/>
              <a:gd name="T42" fmla="*/ 149 w 231"/>
              <a:gd name="T43" fmla="*/ 28 h 203"/>
              <a:gd name="T44" fmla="*/ 147 w 231"/>
              <a:gd name="T45" fmla="*/ 20 h 203"/>
              <a:gd name="T46" fmla="*/ 150 w 231"/>
              <a:gd name="T47" fmla="*/ 11 h 203"/>
              <a:gd name="T48" fmla="*/ 146 w 231"/>
              <a:gd name="T49" fmla="*/ 8 h 203"/>
              <a:gd name="T50" fmla="*/ 144 w 231"/>
              <a:gd name="T51" fmla="*/ 4 h 203"/>
              <a:gd name="T52" fmla="*/ 139 w 231"/>
              <a:gd name="T53" fmla="*/ 0 h 203"/>
              <a:gd name="T54" fmla="*/ 0 w 231"/>
              <a:gd name="T55" fmla="*/ 3 h 203"/>
              <a:gd name="T56" fmla="*/ 4 w 231"/>
              <a:gd name="T57" fmla="*/ 3 h 203"/>
              <a:gd name="T58" fmla="*/ 5 w 231"/>
              <a:gd name="T59" fmla="*/ 12 h 203"/>
              <a:gd name="T60" fmla="*/ 10 w 231"/>
              <a:gd name="T61" fmla="*/ 17 h 203"/>
              <a:gd name="T62" fmla="*/ 13 w 231"/>
              <a:gd name="T63" fmla="*/ 23 h 203"/>
              <a:gd name="T64" fmla="*/ 15 w 231"/>
              <a:gd name="T65" fmla="*/ 27 h 203"/>
              <a:gd name="T66" fmla="*/ 21 w 231"/>
              <a:gd name="T67" fmla="*/ 32 h 203"/>
              <a:gd name="T68" fmla="*/ 26 w 231"/>
              <a:gd name="T69" fmla="*/ 33 h 203"/>
              <a:gd name="T70" fmla="*/ 29 w 231"/>
              <a:gd name="T71" fmla="*/ 35 h 203"/>
              <a:gd name="T72" fmla="*/ 30 w 231"/>
              <a:gd name="T73" fmla="*/ 38 h 203"/>
              <a:gd name="T74" fmla="*/ 28 w 231"/>
              <a:gd name="T75" fmla="*/ 40 h 203"/>
              <a:gd name="T76" fmla="*/ 26 w 231"/>
              <a:gd name="T77" fmla="*/ 43 h 203"/>
              <a:gd name="T78" fmla="*/ 24 w 231"/>
              <a:gd name="T79" fmla="*/ 46 h 203"/>
              <a:gd name="T80" fmla="*/ 28 w 231"/>
              <a:gd name="T81" fmla="*/ 55 h 203"/>
              <a:gd name="T82" fmla="*/ 30 w 231"/>
              <a:gd name="T83" fmla="*/ 57 h 203"/>
              <a:gd name="T84" fmla="*/ 38 w 231"/>
              <a:gd name="T85" fmla="*/ 65 h 203"/>
              <a:gd name="T86" fmla="*/ 40 w 231"/>
              <a:gd name="T87" fmla="*/ 182 h 203"/>
              <a:gd name="T88" fmla="*/ 197 w 231"/>
              <a:gd name="T89" fmla="*/ 186 h 203"/>
              <a:gd name="T90" fmla="*/ 190 w 231"/>
              <a:gd name="T91" fmla="*/ 197 h 203"/>
              <a:gd name="T92" fmla="*/ 209 w 231"/>
              <a:gd name="T93" fmla="*/ 203 h 203"/>
              <a:gd name="T94" fmla="*/ 210 w 231"/>
              <a:gd name="T95" fmla="*/ 201 h 203"/>
              <a:gd name="T96" fmla="*/ 211 w 231"/>
              <a:gd name="T97" fmla="*/ 199 h 203"/>
              <a:gd name="T98" fmla="*/ 212 w 231"/>
              <a:gd name="T99" fmla="*/ 194 h 203"/>
              <a:gd name="T100" fmla="*/ 211 w 231"/>
              <a:gd name="T101" fmla="*/ 192 h 203"/>
              <a:gd name="T102" fmla="*/ 214 w 231"/>
              <a:gd name="T103" fmla="*/ 191 h 203"/>
              <a:gd name="T104" fmla="*/ 214 w 231"/>
              <a:gd name="T105" fmla="*/ 188 h 203"/>
              <a:gd name="T106" fmla="*/ 215 w 231"/>
              <a:gd name="T107" fmla="*/ 180 h 203"/>
              <a:gd name="T108" fmla="*/ 217 w 231"/>
              <a:gd name="T109" fmla="*/ 179 h 203"/>
              <a:gd name="T110" fmla="*/ 217 w 231"/>
              <a:gd name="T111" fmla="*/ 182 h 203"/>
              <a:gd name="T112" fmla="*/ 219 w 231"/>
              <a:gd name="T113" fmla="*/ 182 h 203"/>
              <a:gd name="T114" fmla="*/ 224 w 231"/>
              <a:gd name="T115" fmla="*/ 177 h 203"/>
              <a:gd name="T116" fmla="*/ 228 w 231"/>
              <a:gd name="T117" fmla="*/ 175 h 203"/>
              <a:gd name="T118" fmla="*/ 227 w 231"/>
              <a:gd name="T119" fmla="*/ 168 h 203"/>
              <a:gd name="T120" fmla="*/ 229 w 231"/>
              <a:gd name="T121" fmla="*/ 161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1" h="203">
                <a:moveTo>
                  <a:pt x="226" y="160"/>
                </a:moveTo>
                <a:cubicBezTo>
                  <a:pt x="226" y="159"/>
                  <a:pt x="225" y="157"/>
                  <a:pt x="225" y="157"/>
                </a:cubicBezTo>
                <a:cubicBezTo>
                  <a:pt x="223" y="157"/>
                  <a:pt x="223" y="157"/>
                  <a:pt x="223" y="157"/>
                </a:cubicBezTo>
                <a:cubicBezTo>
                  <a:pt x="223" y="157"/>
                  <a:pt x="224" y="158"/>
                  <a:pt x="224" y="158"/>
                </a:cubicBezTo>
                <a:cubicBezTo>
                  <a:pt x="224" y="158"/>
                  <a:pt x="225" y="159"/>
                  <a:pt x="225" y="159"/>
                </a:cubicBezTo>
                <a:cubicBezTo>
                  <a:pt x="225" y="159"/>
                  <a:pt x="224" y="160"/>
                  <a:pt x="224" y="160"/>
                </a:cubicBezTo>
                <a:cubicBezTo>
                  <a:pt x="224" y="160"/>
                  <a:pt x="223" y="160"/>
                  <a:pt x="223" y="160"/>
                </a:cubicBezTo>
                <a:cubicBezTo>
                  <a:pt x="223" y="160"/>
                  <a:pt x="221" y="159"/>
                  <a:pt x="221" y="159"/>
                </a:cubicBezTo>
                <a:cubicBezTo>
                  <a:pt x="221" y="159"/>
                  <a:pt x="220" y="157"/>
                  <a:pt x="220" y="157"/>
                </a:cubicBezTo>
                <a:cubicBezTo>
                  <a:pt x="220" y="156"/>
                  <a:pt x="220" y="155"/>
                  <a:pt x="220" y="155"/>
                </a:cubicBezTo>
                <a:cubicBezTo>
                  <a:pt x="218" y="151"/>
                  <a:pt x="218" y="151"/>
                  <a:pt x="218" y="151"/>
                </a:cubicBezTo>
                <a:cubicBezTo>
                  <a:pt x="218" y="151"/>
                  <a:pt x="218" y="149"/>
                  <a:pt x="218" y="149"/>
                </a:cubicBezTo>
                <a:cubicBezTo>
                  <a:pt x="218" y="149"/>
                  <a:pt x="216" y="149"/>
                  <a:pt x="216" y="148"/>
                </a:cubicBezTo>
                <a:cubicBezTo>
                  <a:pt x="216" y="148"/>
                  <a:pt x="216" y="147"/>
                  <a:pt x="216" y="147"/>
                </a:cubicBezTo>
                <a:cubicBezTo>
                  <a:pt x="217" y="146"/>
                  <a:pt x="217" y="146"/>
                  <a:pt x="217" y="146"/>
                </a:cubicBezTo>
                <a:cubicBezTo>
                  <a:pt x="217" y="146"/>
                  <a:pt x="218" y="145"/>
                  <a:pt x="218" y="145"/>
                </a:cubicBezTo>
                <a:cubicBezTo>
                  <a:pt x="218" y="145"/>
                  <a:pt x="219" y="144"/>
                  <a:pt x="219" y="143"/>
                </a:cubicBezTo>
                <a:cubicBezTo>
                  <a:pt x="219" y="143"/>
                  <a:pt x="218" y="141"/>
                  <a:pt x="218" y="141"/>
                </a:cubicBezTo>
                <a:cubicBezTo>
                  <a:pt x="218" y="141"/>
                  <a:pt x="217" y="138"/>
                  <a:pt x="216" y="138"/>
                </a:cubicBezTo>
                <a:cubicBezTo>
                  <a:pt x="216" y="138"/>
                  <a:pt x="216" y="136"/>
                  <a:pt x="216" y="136"/>
                </a:cubicBezTo>
                <a:cubicBezTo>
                  <a:pt x="216" y="136"/>
                  <a:pt x="216" y="135"/>
                  <a:pt x="216" y="135"/>
                </a:cubicBezTo>
                <a:cubicBezTo>
                  <a:pt x="217" y="135"/>
                  <a:pt x="217" y="135"/>
                  <a:pt x="217" y="135"/>
                </a:cubicBezTo>
                <a:cubicBezTo>
                  <a:pt x="217" y="135"/>
                  <a:pt x="217" y="133"/>
                  <a:pt x="217" y="133"/>
                </a:cubicBezTo>
                <a:cubicBezTo>
                  <a:pt x="217" y="132"/>
                  <a:pt x="216" y="131"/>
                  <a:pt x="216" y="131"/>
                </a:cubicBezTo>
                <a:cubicBezTo>
                  <a:pt x="216" y="130"/>
                  <a:pt x="213" y="128"/>
                  <a:pt x="213" y="128"/>
                </a:cubicBezTo>
                <a:cubicBezTo>
                  <a:pt x="212" y="128"/>
                  <a:pt x="210" y="128"/>
                  <a:pt x="210" y="128"/>
                </a:cubicBezTo>
                <a:cubicBezTo>
                  <a:pt x="210" y="127"/>
                  <a:pt x="211" y="125"/>
                  <a:pt x="211" y="125"/>
                </a:cubicBezTo>
                <a:cubicBezTo>
                  <a:pt x="205" y="121"/>
                  <a:pt x="205" y="121"/>
                  <a:pt x="205" y="121"/>
                </a:cubicBezTo>
                <a:cubicBezTo>
                  <a:pt x="205" y="121"/>
                  <a:pt x="204" y="121"/>
                  <a:pt x="204" y="121"/>
                </a:cubicBezTo>
                <a:cubicBezTo>
                  <a:pt x="204" y="122"/>
                  <a:pt x="202" y="122"/>
                  <a:pt x="202" y="122"/>
                </a:cubicBezTo>
                <a:cubicBezTo>
                  <a:pt x="202" y="122"/>
                  <a:pt x="200" y="122"/>
                  <a:pt x="200" y="121"/>
                </a:cubicBezTo>
                <a:cubicBezTo>
                  <a:pt x="200" y="121"/>
                  <a:pt x="200" y="119"/>
                  <a:pt x="200" y="119"/>
                </a:cubicBezTo>
                <a:cubicBezTo>
                  <a:pt x="202" y="119"/>
                  <a:pt x="202" y="119"/>
                  <a:pt x="202" y="119"/>
                </a:cubicBezTo>
                <a:cubicBezTo>
                  <a:pt x="198" y="117"/>
                  <a:pt x="198" y="117"/>
                  <a:pt x="198" y="117"/>
                </a:cubicBezTo>
                <a:cubicBezTo>
                  <a:pt x="187" y="108"/>
                  <a:pt x="187" y="108"/>
                  <a:pt x="187" y="108"/>
                </a:cubicBezTo>
                <a:cubicBezTo>
                  <a:pt x="187" y="108"/>
                  <a:pt x="187" y="103"/>
                  <a:pt x="187" y="103"/>
                </a:cubicBezTo>
                <a:cubicBezTo>
                  <a:pt x="187" y="103"/>
                  <a:pt x="187" y="101"/>
                  <a:pt x="187" y="101"/>
                </a:cubicBezTo>
                <a:cubicBezTo>
                  <a:pt x="187" y="100"/>
                  <a:pt x="189" y="97"/>
                  <a:pt x="189" y="97"/>
                </a:cubicBezTo>
                <a:cubicBezTo>
                  <a:pt x="189" y="97"/>
                  <a:pt x="190" y="95"/>
                  <a:pt x="190" y="95"/>
                </a:cubicBezTo>
                <a:cubicBezTo>
                  <a:pt x="190" y="95"/>
                  <a:pt x="191" y="93"/>
                  <a:pt x="191" y="93"/>
                </a:cubicBezTo>
                <a:cubicBezTo>
                  <a:pt x="191" y="93"/>
                  <a:pt x="192" y="89"/>
                  <a:pt x="192" y="89"/>
                </a:cubicBezTo>
                <a:cubicBezTo>
                  <a:pt x="192" y="89"/>
                  <a:pt x="192" y="86"/>
                  <a:pt x="192" y="85"/>
                </a:cubicBezTo>
                <a:cubicBezTo>
                  <a:pt x="192" y="85"/>
                  <a:pt x="194" y="83"/>
                  <a:pt x="194" y="83"/>
                </a:cubicBezTo>
                <a:cubicBezTo>
                  <a:pt x="194" y="82"/>
                  <a:pt x="195" y="79"/>
                  <a:pt x="195" y="79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84" y="74"/>
                  <a:pt x="184" y="74"/>
                  <a:pt x="184" y="74"/>
                </a:cubicBezTo>
                <a:cubicBezTo>
                  <a:pt x="184" y="74"/>
                  <a:pt x="181" y="77"/>
                  <a:pt x="181" y="78"/>
                </a:cubicBezTo>
                <a:cubicBezTo>
                  <a:pt x="181" y="78"/>
                  <a:pt x="179" y="78"/>
                  <a:pt x="179" y="78"/>
                </a:cubicBezTo>
                <a:cubicBezTo>
                  <a:pt x="179" y="78"/>
                  <a:pt x="177" y="78"/>
                  <a:pt x="177" y="78"/>
                </a:cubicBezTo>
                <a:cubicBezTo>
                  <a:pt x="177" y="78"/>
                  <a:pt x="176" y="73"/>
                  <a:pt x="176" y="73"/>
                </a:cubicBezTo>
                <a:cubicBezTo>
                  <a:pt x="176" y="73"/>
                  <a:pt x="175" y="72"/>
                  <a:pt x="175" y="71"/>
                </a:cubicBezTo>
                <a:cubicBezTo>
                  <a:pt x="175" y="71"/>
                  <a:pt x="175" y="70"/>
                  <a:pt x="175" y="70"/>
                </a:cubicBezTo>
                <a:cubicBezTo>
                  <a:pt x="176" y="68"/>
                  <a:pt x="176" y="68"/>
                  <a:pt x="176" y="68"/>
                </a:cubicBezTo>
                <a:cubicBezTo>
                  <a:pt x="174" y="61"/>
                  <a:pt x="174" y="61"/>
                  <a:pt x="174" y="61"/>
                </a:cubicBezTo>
                <a:cubicBezTo>
                  <a:pt x="166" y="54"/>
                  <a:pt x="166" y="54"/>
                  <a:pt x="166" y="54"/>
                </a:cubicBezTo>
                <a:cubicBezTo>
                  <a:pt x="164" y="53"/>
                  <a:pt x="164" y="53"/>
                  <a:pt x="164" y="53"/>
                </a:cubicBezTo>
                <a:cubicBezTo>
                  <a:pt x="164" y="53"/>
                  <a:pt x="161" y="48"/>
                  <a:pt x="161" y="48"/>
                </a:cubicBezTo>
                <a:cubicBezTo>
                  <a:pt x="161" y="48"/>
                  <a:pt x="159" y="48"/>
                  <a:pt x="159" y="48"/>
                </a:cubicBezTo>
                <a:cubicBezTo>
                  <a:pt x="159" y="48"/>
                  <a:pt x="159" y="46"/>
                  <a:pt x="159" y="46"/>
                </a:cubicBezTo>
                <a:cubicBezTo>
                  <a:pt x="154" y="42"/>
                  <a:pt x="154" y="42"/>
                  <a:pt x="154" y="42"/>
                </a:cubicBezTo>
                <a:cubicBezTo>
                  <a:pt x="152" y="39"/>
                  <a:pt x="152" y="39"/>
                  <a:pt x="152" y="39"/>
                </a:cubicBezTo>
                <a:cubicBezTo>
                  <a:pt x="152" y="37"/>
                  <a:pt x="152" y="37"/>
                  <a:pt x="152" y="37"/>
                </a:cubicBezTo>
                <a:cubicBezTo>
                  <a:pt x="150" y="35"/>
                  <a:pt x="150" y="35"/>
                  <a:pt x="150" y="35"/>
                </a:cubicBezTo>
                <a:cubicBezTo>
                  <a:pt x="150" y="35"/>
                  <a:pt x="150" y="33"/>
                  <a:pt x="150" y="33"/>
                </a:cubicBezTo>
                <a:cubicBezTo>
                  <a:pt x="150" y="33"/>
                  <a:pt x="150" y="31"/>
                  <a:pt x="150" y="31"/>
                </a:cubicBezTo>
                <a:cubicBezTo>
                  <a:pt x="149" y="28"/>
                  <a:pt x="149" y="28"/>
                  <a:pt x="149" y="28"/>
                </a:cubicBezTo>
                <a:cubicBezTo>
                  <a:pt x="149" y="28"/>
                  <a:pt x="148" y="26"/>
                  <a:pt x="148" y="26"/>
                </a:cubicBezTo>
                <a:cubicBezTo>
                  <a:pt x="148" y="26"/>
                  <a:pt x="148" y="25"/>
                  <a:pt x="148" y="25"/>
                </a:cubicBezTo>
                <a:cubicBezTo>
                  <a:pt x="148" y="25"/>
                  <a:pt x="147" y="20"/>
                  <a:pt x="147" y="20"/>
                </a:cubicBezTo>
                <a:cubicBezTo>
                  <a:pt x="147" y="20"/>
                  <a:pt x="147" y="16"/>
                  <a:pt x="147" y="16"/>
                </a:cubicBezTo>
                <a:cubicBezTo>
                  <a:pt x="147" y="16"/>
                  <a:pt x="148" y="14"/>
                  <a:pt x="148" y="14"/>
                </a:cubicBezTo>
                <a:cubicBezTo>
                  <a:pt x="148" y="14"/>
                  <a:pt x="150" y="11"/>
                  <a:pt x="150" y="11"/>
                </a:cubicBezTo>
                <a:cubicBezTo>
                  <a:pt x="150" y="11"/>
                  <a:pt x="150" y="10"/>
                  <a:pt x="150" y="10"/>
                </a:cubicBezTo>
                <a:cubicBezTo>
                  <a:pt x="150" y="10"/>
                  <a:pt x="148" y="9"/>
                  <a:pt x="148" y="9"/>
                </a:cubicBezTo>
                <a:cubicBezTo>
                  <a:pt x="147" y="9"/>
                  <a:pt x="147" y="9"/>
                  <a:pt x="146" y="8"/>
                </a:cubicBezTo>
                <a:cubicBezTo>
                  <a:pt x="146" y="8"/>
                  <a:pt x="146" y="7"/>
                  <a:pt x="146" y="7"/>
                </a:cubicBezTo>
                <a:cubicBezTo>
                  <a:pt x="146" y="7"/>
                  <a:pt x="145" y="6"/>
                  <a:pt x="145" y="6"/>
                </a:cubicBezTo>
                <a:cubicBezTo>
                  <a:pt x="144" y="6"/>
                  <a:pt x="144" y="4"/>
                  <a:pt x="144" y="4"/>
                </a:cubicBezTo>
                <a:cubicBezTo>
                  <a:pt x="144" y="4"/>
                  <a:pt x="143" y="3"/>
                  <a:pt x="143" y="3"/>
                </a:cubicBezTo>
                <a:cubicBezTo>
                  <a:pt x="143" y="3"/>
                  <a:pt x="141" y="2"/>
                  <a:pt x="141" y="2"/>
                </a:cubicBezTo>
                <a:cubicBezTo>
                  <a:pt x="140" y="2"/>
                  <a:pt x="139" y="0"/>
                  <a:pt x="139" y="0"/>
                </a:cubicBezTo>
                <a:cubicBezTo>
                  <a:pt x="40" y="1"/>
                  <a:pt x="40" y="1"/>
                  <a:pt x="4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3"/>
                  <a:pt x="0" y="3"/>
                </a:cubicBezTo>
                <a:cubicBezTo>
                  <a:pt x="0" y="4"/>
                  <a:pt x="2" y="4"/>
                  <a:pt x="2" y="3"/>
                </a:cubicBezTo>
                <a:cubicBezTo>
                  <a:pt x="3" y="3"/>
                  <a:pt x="3" y="2"/>
                  <a:pt x="3" y="2"/>
                </a:cubicBezTo>
                <a:cubicBezTo>
                  <a:pt x="3" y="2"/>
                  <a:pt x="4" y="3"/>
                  <a:pt x="4" y="3"/>
                </a:cubicBezTo>
                <a:cubicBezTo>
                  <a:pt x="4" y="4"/>
                  <a:pt x="2" y="5"/>
                  <a:pt x="2" y="5"/>
                </a:cubicBezTo>
                <a:cubicBezTo>
                  <a:pt x="2" y="6"/>
                  <a:pt x="3" y="8"/>
                  <a:pt x="4" y="9"/>
                </a:cubicBezTo>
                <a:cubicBezTo>
                  <a:pt x="4" y="9"/>
                  <a:pt x="5" y="11"/>
                  <a:pt x="5" y="12"/>
                </a:cubicBezTo>
                <a:cubicBezTo>
                  <a:pt x="5" y="12"/>
                  <a:pt x="4" y="14"/>
                  <a:pt x="4" y="14"/>
                </a:cubicBezTo>
                <a:cubicBezTo>
                  <a:pt x="4" y="14"/>
                  <a:pt x="6" y="14"/>
                  <a:pt x="7" y="15"/>
                </a:cubicBezTo>
                <a:cubicBezTo>
                  <a:pt x="8" y="15"/>
                  <a:pt x="10" y="16"/>
                  <a:pt x="10" y="17"/>
                </a:cubicBezTo>
                <a:cubicBezTo>
                  <a:pt x="10" y="17"/>
                  <a:pt x="10" y="19"/>
                  <a:pt x="10" y="19"/>
                </a:cubicBezTo>
                <a:cubicBezTo>
                  <a:pt x="10" y="20"/>
                  <a:pt x="11" y="21"/>
                  <a:pt x="12" y="21"/>
                </a:cubicBezTo>
                <a:cubicBezTo>
                  <a:pt x="12" y="21"/>
                  <a:pt x="13" y="22"/>
                  <a:pt x="13" y="23"/>
                </a:cubicBezTo>
                <a:cubicBezTo>
                  <a:pt x="13" y="23"/>
                  <a:pt x="12" y="24"/>
                  <a:pt x="12" y="25"/>
                </a:cubicBezTo>
                <a:cubicBezTo>
                  <a:pt x="12" y="25"/>
                  <a:pt x="13" y="26"/>
                  <a:pt x="13" y="26"/>
                </a:cubicBezTo>
                <a:cubicBezTo>
                  <a:pt x="13" y="26"/>
                  <a:pt x="15" y="27"/>
                  <a:pt x="15" y="27"/>
                </a:cubicBezTo>
                <a:cubicBezTo>
                  <a:pt x="16" y="28"/>
                  <a:pt x="16" y="28"/>
                  <a:pt x="17" y="28"/>
                </a:cubicBezTo>
                <a:cubicBezTo>
                  <a:pt x="18" y="29"/>
                  <a:pt x="18" y="29"/>
                  <a:pt x="19" y="30"/>
                </a:cubicBezTo>
                <a:cubicBezTo>
                  <a:pt x="19" y="31"/>
                  <a:pt x="20" y="31"/>
                  <a:pt x="21" y="32"/>
                </a:cubicBezTo>
                <a:cubicBezTo>
                  <a:pt x="21" y="32"/>
                  <a:pt x="22" y="33"/>
                  <a:pt x="23" y="34"/>
                </a:cubicBezTo>
                <a:cubicBezTo>
                  <a:pt x="24" y="34"/>
                  <a:pt x="25" y="34"/>
                  <a:pt x="25" y="34"/>
                </a:cubicBezTo>
                <a:cubicBezTo>
                  <a:pt x="26" y="34"/>
                  <a:pt x="26" y="33"/>
                  <a:pt x="26" y="33"/>
                </a:cubicBezTo>
                <a:cubicBezTo>
                  <a:pt x="26" y="32"/>
                  <a:pt x="27" y="32"/>
                  <a:pt x="27" y="32"/>
                </a:cubicBezTo>
                <a:cubicBezTo>
                  <a:pt x="28" y="32"/>
                  <a:pt x="28" y="32"/>
                  <a:pt x="29" y="33"/>
                </a:cubicBezTo>
                <a:cubicBezTo>
                  <a:pt x="29" y="33"/>
                  <a:pt x="29" y="34"/>
                  <a:pt x="29" y="35"/>
                </a:cubicBezTo>
                <a:cubicBezTo>
                  <a:pt x="30" y="35"/>
                  <a:pt x="30" y="35"/>
                  <a:pt x="31" y="35"/>
                </a:cubicBezTo>
                <a:cubicBezTo>
                  <a:pt x="31" y="36"/>
                  <a:pt x="31" y="36"/>
                  <a:pt x="31" y="37"/>
                </a:cubicBezTo>
                <a:cubicBezTo>
                  <a:pt x="31" y="37"/>
                  <a:pt x="31" y="38"/>
                  <a:pt x="30" y="38"/>
                </a:cubicBezTo>
                <a:cubicBezTo>
                  <a:pt x="30" y="38"/>
                  <a:pt x="30" y="37"/>
                  <a:pt x="29" y="38"/>
                </a:cubicBezTo>
                <a:cubicBezTo>
                  <a:pt x="28" y="39"/>
                  <a:pt x="30" y="39"/>
                  <a:pt x="30" y="40"/>
                </a:cubicBezTo>
                <a:cubicBezTo>
                  <a:pt x="30" y="40"/>
                  <a:pt x="29" y="40"/>
                  <a:pt x="28" y="40"/>
                </a:cubicBezTo>
                <a:cubicBezTo>
                  <a:pt x="28" y="40"/>
                  <a:pt x="28" y="41"/>
                  <a:pt x="28" y="42"/>
                </a:cubicBezTo>
                <a:cubicBezTo>
                  <a:pt x="27" y="42"/>
                  <a:pt x="27" y="42"/>
                  <a:pt x="26" y="42"/>
                </a:cubicBezTo>
                <a:cubicBezTo>
                  <a:pt x="26" y="43"/>
                  <a:pt x="26" y="43"/>
                  <a:pt x="26" y="43"/>
                </a:cubicBezTo>
                <a:cubicBezTo>
                  <a:pt x="25" y="44"/>
                  <a:pt x="25" y="44"/>
                  <a:pt x="25" y="45"/>
                </a:cubicBezTo>
                <a:cubicBezTo>
                  <a:pt x="25" y="45"/>
                  <a:pt x="25" y="46"/>
                  <a:pt x="25" y="46"/>
                </a:cubicBezTo>
                <a:cubicBezTo>
                  <a:pt x="25" y="46"/>
                  <a:pt x="24" y="46"/>
                  <a:pt x="24" y="46"/>
                </a:cubicBezTo>
                <a:cubicBezTo>
                  <a:pt x="22" y="47"/>
                  <a:pt x="24" y="50"/>
                  <a:pt x="25" y="51"/>
                </a:cubicBezTo>
                <a:cubicBezTo>
                  <a:pt x="25" y="51"/>
                  <a:pt x="26" y="52"/>
                  <a:pt x="26" y="53"/>
                </a:cubicBezTo>
                <a:cubicBezTo>
                  <a:pt x="27" y="53"/>
                  <a:pt x="27" y="54"/>
                  <a:pt x="28" y="55"/>
                </a:cubicBezTo>
                <a:cubicBezTo>
                  <a:pt x="28" y="55"/>
                  <a:pt x="28" y="55"/>
                  <a:pt x="29" y="55"/>
                </a:cubicBezTo>
                <a:cubicBezTo>
                  <a:pt x="29" y="55"/>
                  <a:pt x="30" y="55"/>
                  <a:pt x="30" y="55"/>
                </a:cubicBezTo>
                <a:cubicBezTo>
                  <a:pt x="30" y="56"/>
                  <a:pt x="30" y="56"/>
                  <a:pt x="30" y="57"/>
                </a:cubicBezTo>
                <a:cubicBezTo>
                  <a:pt x="29" y="59"/>
                  <a:pt x="31" y="60"/>
                  <a:pt x="32" y="61"/>
                </a:cubicBezTo>
                <a:cubicBezTo>
                  <a:pt x="33" y="62"/>
                  <a:pt x="33" y="63"/>
                  <a:pt x="34" y="64"/>
                </a:cubicBezTo>
                <a:cubicBezTo>
                  <a:pt x="36" y="64"/>
                  <a:pt x="37" y="65"/>
                  <a:pt x="38" y="65"/>
                </a:cubicBezTo>
                <a:cubicBezTo>
                  <a:pt x="39" y="65"/>
                  <a:pt x="40" y="65"/>
                  <a:pt x="40" y="65"/>
                </a:cubicBezTo>
                <a:cubicBezTo>
                  <a:pt x="41" y="67"/>
                  <a:pt x="41" y="67"/>
                  <a:pt x="41" y="67"/>
                </a:cubicBezTo>
                <a:cubicBezTo>
                  <a:pt x="40" y="182"/>
                  <a:pt x="40" y="182"/>
                  <a:pt x="40" y="182"/>
                </a:cubicBezTo>
                <a:cubicBezTo>
                  <a:pt x="194" y="182"/>
                  <a:pt x="194" y="182"/>
                  <a:pt x="194" y="182"/>
                </a:cubicBezTo>
                <a:cubicBezTo>
                  <a:pt x="194" y="184"/>
                  <a:pt x="194" y="184"/>
                  <a:pt x="194" y="184"/>
                </a:cubicBezTo>
                <a:cubicBezTo>
                  <a:pt x="197" y="186"/>
                  <a:pt x="197" y="186"/>
                  <a:pt x="197" y="186"/>
                </a:cubicBezTo>
                <a:cubicBezTo>
                  <a:pt x="197" y="191"/>
                  <a:pt x="197" y="191"/>
                  <a:pt x="197" y="191"/>
                </a:cubicBezTo>
                <a:cubicBezTo>
                  <a:pt x="197" y="191"/>
                  <a:pt x="193" y="194"/>
                  <a:pt x="193" y="194"/>
                </a:cubicBezTo>
                <a:cubicBezTo>
                  <a:pt x="193" y="194"/>
                  <a:pt x="190" y="197"/>
                  <a:pt x="190" y="197"/>
                </a:cubicBezTo>
                <a:cubicBezTo>
                  <a:pt x="190" y="198"/>
                  <a:pt x="187" y="202"/>
                  <a:pt x="187" y="202"/>
                </a:cubicBezTo>
                <a:cubicBezTo>
                  <a:pt x="187" y="203"/>
                  <a:pt x="187" y="203"/>
                  <a:pt x="187" y="203"/>
                </a:cubicBezTo>
                <a:cubicBezTo>
                  <a:pt x="209" y="203"/>
                  <a:pt x="209" y="203"/>
                  <a:pt x="209" y="203"/>
                </a:cubicBezTo>
                <a:cubicBezTo>
                  <a:pt x="209" y="203"/>
                  <a:pt x="209" y="202"/>
                  <a:pt x="209" y="202"/>
                </a:cubicBezTo>
                <a:cubicBezTo>
                  <a:pt x="209" y="202"/>
                  <a:pt x="209" y="202"/>
                  <a:pt x="209" y="202"/>
                </a:cubicBezTo>
                <a:cubicBezTo>
                  <a:pt x="210" y="202"/>
                  <a:pt x="210" y="201"/>
                  <a:pt x="210" y="201"/>
                </a:cubicBezTo>
                <a:cubicBezTo>
                  <a:pt x="210" y="200"/>
                  <a:pt x="210" y="200"/>
                  <a:pt x="210" y="200"/>
                </a:cubicBezTo>
                <a:cubicBezTo>
                  <a:pt x="210" y="200"/>
                  <a:pt x="211" y="200"/>
                  <a:pt x="211" y="200"/>
                </a:cubicBezTo>
                <a:cubicBezTo>
                  <a:pt x="211" y="200"/>
                  <a:pt x="211" y="199"/>
                  <a:pt x="211" y="199"/>
                </a:cubicBezTo>
                <a:cubicBezTo>
                  <a:pt x="212" y="198"/>
                  <a:pt x="212" y="198"/>
                  <a:pt x="213" y="198"/>
                </a:cubicBezTo>
                <a:cubicBezTo>
                  <a:pt x="213" y="197"/>
                  <a:pt x="213" y="196"/>
                  <a:pt x="213" y="196"/>
                </a:cubicBezTo>
                <a:cubicBezTo>
                  <a:pt x="213" y="195"/>
                  <a:pt x="212" y="195"/>
                  <a:pt x="212" y="194"/>
                </a:cubicBezTo>
                <a:cubicBezTo>
                  <a:pt x="212" y="194"/>
                  <a:pt x="211" y="194"/>
                  <a:pt x="211" y="193"/>
                </a:cubicBezTo>
                <a:cubicBezTo>
                  <a:pt x="210" y="193"/>
                  <a:pt x="210" y="192"/>
                  <a:pt x="210" y="192"/>
                </a:cubicBezTo>
                <a:cubicBezTo>
                  <a:pt x="210" y="192"/>
                  <a:pt x="211" y="192"/>
                  <a:pt x="211" y="192"/>
                </a:cubicBezTo>
                <a:cubicBezTo>
                  <a:pt x="212" y="192"/>
                  <a:pt x="213" y="192"/>
                  <a:pt x="214" y="192"/>
                </a:cubicBezTo>
                <a:cubicBezTo>
                  <a:pt x="214" y="192"/>
                  <a:pt x="215" y="192"/>
                  <a:pt x="215" y="192"/>
                </a:cubicBezTo>
                <a:cubicBezTo>
                  <a:pt x="215" y="192"/>
                  <a:pt x="214" y="191"/>
                  <a:pt x="214" y="191"/>
                </a:cubicBezTo>
                <a:cubicBezTo>
                  <a:pt x="213" y="190"/>
                  <a:pt x="213" y="190"/>
                  <a:pt x="213" y="189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13" y="188"/>
                  <a:pt x="213" y="188"/>
                  <a:pt x="214" y="188"/>
                </a:cubicBezTo>
                <a:cubicBezTo>
                  <a:pt x="215" y="188"/>
                  <a:pt x="215" y="188"/>
                  <a:pt x="216" y="188"/>
                </a:cubicBezTo>
                <a:cubicBezTo>
                  <a:pt x="216" y="186"/>
                  <a:pt x="216" y="184"/>
                  <a:pt x="215" y="182"/>
                </a:cubicBezTo>
                <a:cubicBezTo>
                  <a:pt x="215" y="182"/>
                  <a:pt x="214" y="181"/>
                  <a:pt x="215" y="180"/>
                </a:cubicBezTo>
                <a:cubicBezTo>
                  <a:pt x="215" y="180"/>
                  <a:pt x="215" y="180"/>
                  <a:pt x="215" y="179"/>
                </a:cubicBezTo>
                <a:cubicBezTo>
                  <a:pt x="215" y="179"/>
                  <a:pt x="215" y="179"/>
                  <a:pt x="215" y="178"/>
                </a:cubicBezTo>
                <a:cubicBezTo>
                  <a:pt x="216" y="178"/>
                  <a:pt x="217" y="178"/>
                  <a:pt x="217" y="179"/>
                </a:cubicBezTo>
                <a:cubicBezTo>
                  <a:pt x="217" y="179"/>
                  <a:pt x="217" y="180"/>
                  <a:pt x="217" y="181"/>
                </a:cubicBezTo>
                <a:cubicBezTo>
                  <a:pt x="217" y="181"/>
                  <a:pt x="216" y="182"/>
                  <a:pt x="216" y="182"/>
                </a:cubicBezTo>
                <a:cubicBezTo>
                  <a:pt x="216" y="182"/>
                  <a:pt x="217" y="182"/>
                  <a:pt x="217" y="182"/>
                </a:cubicBezTo>
                <a:cubicBezTo>
                  <a:pt x="217" y="183"/>
                  <a:pt x="217" y="183"/>
                  <a:pt x="217" y="183"/>
                </a:cubicBezTo>
                <a:cubicBezTo>
                  <a:pt x="218" y="184"/>
                  <a:pt x="218" y="183"/>
                  <a:pt x="218" y="183"/>
                </a:cubicBezTo>
                <a:cubicBezTo>
                  <a:pt x="219" y="183"/>
                  <a:pt x="219" y="182"/>
                  <a:pt x="219" y="182"/>
                </a:cubicBezTo>
                <a:cubicBezTo>
                  <a:pt x="220" y="178"/>
                  <a:pt x="220" y="178"/>
                  <a:pt x="220" y="178"/>
                </a:cubicBezTo>
                <a:cubicBezTo>
                  <a:pt x="220" y="178"/>
                  <a:pt x="222" y="176"/>
                  <a:pt x="222" y="176"/>
                </a:cubicBezTo>
                <a:cubicBezTo>
                  <a:pt x="222" y="176"/>
                  <a:pt x="224" y="177"/>
                  <a:pt x="224" y="177"/>
                </a:cubicBezTo>
                <a:cubicBezTo>
                  <a:pt x="224" y="177"/>
                  <a:pt x="225" y="178"/>
                  <a:pt x="225" y="178"/>
                </a:cubicBezTo>
                <a:cubicBezTo>
                  <a:pt x="225" y="178"/>
                  <a:pt x="226" y="179"/>
                  <a:pt x="226" y="179"/>
                </a:cubicBezTo>
                <a:cubicBezTo>
                  <a:pt x="226" y="179"/>
                  <a:pt x="228" y="175"/>
                  <a:pt x="228" y="175"/>
                </a:cubicBezTo>
                <a:cubicBezTo>
                  <a:pt x="228" y="175"/>
                  <a:pt x="227" y="171"/>
                  <a:pt x="227" y="171"/>
                </a:cubicBezTo>
                <a:cubicBezTo>
                  <a:pt x="227" y="171"/>
                  <a:pt x="230" y="170"/>
                  <a:pt x="230" y="170"/>
                </a:cubicBezTo>
                <a:cubicBezTo>
                  <a:pt x="230" y="170"/>
                  <a:pt x="227" y="168"/>
                  <a:pt x="227" y="168"/>
                </a:cubicBezTo>
                <a:cubicBezTo>
                  <a:pt x="227" y="168"/>
                  <a:pt x="229" y="165"/>
                  <a:pt x="229" y="165"/>
                </a:cubicBezTo>
                <a:cubicBezTo>
                  <a:pt x="229" y="165"/>
                  <a:pt x="231" y="163"/>
                  <a:pt x="231" y="163"/>
                </a:cubicBezTo>
                <a:cubicBezTo>
                  <a:pt x="229" y="161"/>
                  <a:pt x="229" y="161"/>
                  <a:pt x="229" y="161"/>
                </a:cubicBezTo>
                <a:cubicBezTo>
                  <a:pt x="227" y="161"/>
                  <a:pt x="227" y="161"/>
                  <a:pt x="227" y="161"/>
                </a:cubicBezTo>
                <a:cubicBezTo>
                  <a:pt x="227" y="161"/>
                  <a:pt x="226" y="160"/>
                  <a:pt x="226" y="16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6" name="Freeform 34">
            <a:extLst>
              <a:ext uri="{FF2B5EF4-FFF2-40B4-BE49-F238E27FC236}">
                <a16:creationId xmlns:a16="http://schemas.microsoft.com/office/drawing/2014/main" id="{17A7A509-75DA-4459-A4D8-8B5425B92694}"/>
              </a:ext>
            </a:extLst>
          </p:cNvPr>
          <p:cNvSpPr>
            <a:spLocks/>
          </p:cNvSpPr>
          <p:nvPr/>
        </p:nvSpPr>
        <p:spPr bwMode="auto">
          <a:xfrm>
            <a:off x="8523913" y="3858574"/>
            <a:ext cx="484096" cy="781493"/>
          </a:xfrm>
          <a:custGeom>
            <a:avLst/>
            <a:gdLst>
              <a:gd name="T0" fmla="*/ 47 w 122"/>
              <a:gd name="T1" fmla="*/ 1 h 197"/>
              <a:gd name="T2" fmla="*/ 41 w 122"/>
              <a:gd name="T3" fmla="*/ 6 h 197"/>
              <a:gd name="T4" fmla="*/ 39 w 122"/>
              <a:gd name="T5" fmla="*/ 10 h 197"/>
              <a:gd name="T6" fmla="*/ 40 w 122"/>
              <a:gd name="T7" fmla="*/ 13 h 197"/>
              <a:gd name="T8" fmla="*/ 37 w 122"/>
              <a:gd name="T9" fmla="*/ 13 h 197"/>
              <a:gd name="T10" fmla="*/ 36 w 122"/>
              <a:gd name="T11" fmla="*/ 20 h 197"/>
              <a:gd name="T12" fmla="*/ 34 w 122"/>
              <a:gd name="T13" fmla="*/ 28 h 197"/>
              <a:gd name="T14" fmla="*/ 29 w 122"/>
              <a:gd name="T15" fmla="*/ 29 h 197"/>
              <a:gd name="T16" fmla="*/ 24 w 122"/>
              <a:gd name="T17" fmla="*/ 32 h 197"/>
              <a:gd name="T18" fmla="*/ 24 w 122"/>
              <a:gd name="T19" fmla="*/ 35 h 197"/>
              <a:gd name="T20" fmla="*/ 23 w 122"/>
              <a:gd name="T21" fmla="*/ 41 h 197"/>
              <a:gd name="T22" fmla="*/ 19 w 122"/>
              <a:gd name="T23" fmla="*/ 41 h 197"/>
              <a:gd name="T24" fmla="*/ 21 w 122"/>
              <a:gd name="T25" fmla="*/ 44 h 197"/>
              <a:gd name="T26" fmla="*/ 20 w 122"/>
              <a:gd name="T27" fmla="*/ 49 h 197"/>
              <a:gd name="T28" fmla="*/ 20 w 122"/>
              <a:gd name="T29" fmla="*/ 51 h 197"/>
              <a:gd name="T30" fmla="*/ 20 w 122"/>
              <a:gd name="T31" fmla="*/ 54 h 197"/>
              <a:gd name="T32" fmla="*/ 16 w 122"/>
              <a:gd name="T33" fmla="*/ 53 h 197"/>
              <a:gd name="T34" fmla="*/ 14 w 122"/>
              <a:gd name="T35" fmla="*/ 59 h 197"/>
              <a:gd name="T36" fmla="*/ 14 w 122"/>
              <a:gd name="T37" fmla="*/ 64 h 197"/>
              <a:gd name="T38" fmla="*/ 16 w 122"/>
              <a:gd name="T39" fmla="*/ 67 h 197"/>
              <a:gd name="T40" fmla="*/ 19 w 122"/>
              <a:gd name="T41" fmla="*/ 65 h 197"/>
              <a:gd name="T42" fmla="*/ 18 w 122"/>
              <a:gd name="T43" fmla="*/ 71 h 197"/>
              <a:gd name="T44" fmla="*/ 19 w 122"/>
              <a:gd name="T45" fmla="*/ 76 h 197"/>
              <a:gd name="T46" fmla="*/ 16 w 122"/>
              <a:gd name="T47" fmla="*/ 80 h 197"/>
              <a:gd name="T48" fmla="*/ 16 w 122"/>
              <a:gd name="T49" fmla="*/ 87 h 197"/>
              <a:gd name="T50" fmla="*/ 19 w 122"/>
              <a:gd name="T51" fmla="*/ 86 h 197"/>
              <a:gd name="T52" fmla="*/ 16 w 122"/>
              <a:gd name="T53" fmla="*/ 93 h 197"/>
              <a:gd name="T54" fmla="*/ 17 w 122"/>
              <a:gd name="T55" fmla="*/ 100 h 197"/>
              <a:gd name="T56" fmla="*/ 20 w 122"/>
              <a:gd name="T57" fmla="*/ 102 h 197"/>
              <a:gd name="T58" fmla="*/ 18 w 122"/>
              <a:gd name="T59" fmla="*/ 102 h 197"/>
              <a:gd name="T60" fmla="*/ 23 w 122"/>
              <a:gd name="T61" fmla="*/ 106 h 197"/>
              <a:gd name="T62" fmla="*/ 23 w 122"/>
              <a:gd name="T63" fmla="*/ 112 h 197"/>
              <a:gd name="T64" fmla="*/ 19 w 122"/>
              <a:gd name="T65" fmla="*/ 115 h 197"/>
              <a:gd name="T66" fmla="*/ 20 w 122"/>
              <a:gd name="T67" fmla="*/ 118 h 197"/>
              <a:gd name="T68" fmla="*/ 21 w 122"/>
              <a:gd name="T69" fmla="*/ 119 h 197"/>
              <a:gd name="T70" fmla="*/ 16 w 122"/>
              <a:gd name="T71" fmla="*/ 121 h 197"/>
              <a:gd name="T72" fmla="*/ 14 w 122"/>
              <a:gd name="T73" fmla="*/ 128 h 197"/>
              <a:gd name="T74" fmla="*/ 10 w 122"/>
              <a:gd name="T75" fmla="*/ 131 h 197"/>
              <a:gd name="T76" fmla="*/ 10 w 122"/>
              <a:gd name="T77" fmla="*/ 134 h 197"/>
              <a:gd name="T78" fmla="*/ 5 w 122"/>
              <a:gd name="T79" fmla="*/ 139 h 197"/>
              <a:gd name="T80" fmla="*/ 5 w 122"/>
              <a:gd name="T81" fmla="*/ 142 h 197"/>
              <a:gd name="T82" fmla="*/ 5 w 122"/>
              <a:gd name="T83" fmla="*/ 149 h 197"/>
              <a:gd name="T84" fmla="*/ 4 w 122"/>
              <a:gd name="T85" fmla="*/ 153 h 197"/>
              <a:gd name="T86" fmla="*/ 1 w 122"/>
              <a:gd name="T87" fmla="*/ 157 h 197"/>
              <a:gd name="T88" fmla="*/ 0 w 122"/>
              <a:gd name="T89" fmla="*/ 164 h 197"/>
              <a:gd name="T90" fmla="*/ 67 w 122"/>
              <a:gd name="T91" fmla="*/ 186 h 197"/>
              <a:gd name="T92" fmla="*/ 75 w 122"/>
              <a:gd name="T93" fmla="*/ 197 h 197"/>
              <a:gd name="T94" fmla="*/ 79 w 122"/>
              <a:gd name="T95" fmla="*/ 190 h 197"/>
              <a:gd name="T96" fmla="*/ 86 w 122"/>
              <a:gd name="T97" fmla="*/ 191 h 197"/>
              <a:gd name="T98" fmla="*/ 98 w 122"/>
              <a:gd name="T99" fmla="*/ 190 h 197"/>
              <a:gd name="T100" fmla="*/ 104 w 122"/>
              <a:gd name="T101" fmla="*/ 190 h 197"/>
              <a:gd name="T102" fmla="*/ 106 w 122"/>
              <a:gd name="T103" fmla="*/ 186 h 197"/>
              <a:gd name="T104" fmla="*/ 110 w 122"/>
              <a:gd name="T105" fmla="*/ 191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2" h="197">
                <a:moveTo>
                  <a:pt x="122" y="4"/>
                </a:moveTo>
                <a:cubicBezTo>
                  <a:pt x="120" y="3"/>
                  <a:pt x="120" y="3"/>
                  <a:pt x="120" y="3"/>
                </a:cubicBezTo>
                <a:cubicBezTo>
                  <a:pt x="119" y="0"/>
                  <a:pt x="119" y="0"/>
                  <a:pt x="119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6" y="0"/>
                  <a:pt x="47" y="0"/>
                  <a:pt x="47" y="1"/>
                </a:cubicBezTo>
                <a:cubicBezTo>
                  <a:pt x="48" y="2"/>
                  <a:pt x="48" y="2"/>
                  <a:pt x="47" y="3"/>
                </a:cubicBezTo>
                <a:cubicBezTo>
                  <a:pt x="47" y="4"/>
                  <a:pt x="47" y="4"/>
                  <a:pt x="47" y="5"/>
                </a:cubicBezTo>
                <a:cubicBezTo>
                  <a:pt x="46" y="5"/>
                  <a:pt x="46" y="5"/>
                  <a:pt x="46" y="5"/>
                </a:cubicBezTo>
                <a:cubicBezTo>
                  <a:pt x="45" y="6"/>
                  <a:pt x="44" y="6"/>
                  <a:pt x="43" y="6"/>
                </a:cubicBezTo>
                <a:cubicBezTo>
                  <a:pt x="42" y="6"/>
                  <a:pt x="42" y="6"/>
                  <a:pt x="41" y="6"/>
                </a:cubicBezTo>
                <a:cubicBezTo>
                  <a:pt x="41" y="5"/>
                  <a:pt x="41" y="5"/>
                  <a:pt x="41" y="4"/>
                </a:cubicBezTo>
                <a:cubicBezTo>
                  <a:pt x="40" y="4"/>
                  <a:pt x="40" y="5"/>
                  <a:pt x="40" y="5"/>
                </a:cubicBezTo>
                <a:cubicBezTo>
                  <a:pt x="40" y="5"/>
                  <a:pt x="40" y="6"/>
                  <a:pt x="40" y="6"/>
                </a:cubicBezTo>
                <a:cubicBezTo>
                  <a:pt x="40" y="7"/>
                  <a:pt x="41" y="8"/>
                  <a:pt x="41" y="10"/>
                </a:cubicBezTo>
                <a:cubicBezTo>
                  <a:pt x="40" y="11"/>
                  <a:pt x="39" y="11"/>
                  <a:pt x="39" y="10"/>
                </a:cubicBezTo>
                <a:cubicBezTo>
                  <a:pt x="38" y="10"/>
                  <a:pt x="38" y="9"/>
                  <a:pt x="38" y="9"/>
                </a:cubicBezTo>
                <a:cubicBezTo>
                  <a:pt x="38" y="9"/>
                  <a:pt x="38" y="8"/>
                  <a:pt x="38" y="7"/>
                </a:cubicBezTo>
                <a:cubicBezTo>
                  <a:pt x="37" y="8"/>
                  <a:pt x="37" y="8"/>
                  <a:pt x="37" y="9"/>
                </a:cubicBezTo>
                <a:cubicBezTo>
                  <a:pt x="37" y="9"/>
                  <a:pt x="37" y="10"/>
                  <a:pt x="37" y="11"/>
                </a:cubicBezTo>
                <a:cubicBezTo>
                  <a:pt x="38" y="12"/>
                  <a:pt x="39" y="12"/>
                  <a:pt x="40" y="13"/>
                </a:cubicBezTo>
                <a:cubicBezTo>
                  <a:pt x="40" y="13"/>
                  <a:pt x="40" y="14"/>
                  <a:pt x="40" y="14"/>
                </a:cubicBezTo>
                <a:cubicBezTo>
                  <a:pt x="40" y="14"/>
                  <a:pt x="40" y="14"/>
                  <a:pt x="39" y="15"/>
                </a:cubicBezTo>
                <a:cubicBezTo>
                  <a:pt x="39" y="15"/>
                  <a:pt x="39" y="15"/>
                  <a:pt x="38" y="15"/>
                </a:cubicBezTo>
                <a:cubicBezTo>
                  <a:pt x="38" y="15"/>
                  <a:pt x="37" y="15"/>
                  <a:pt x="37" y="14"/>
                </a:cubicBezTo>
                <a:cubicBezTo>
                  <a:pt x="37" y="14"/>
                  <a:pt x="37" y="13"/>
                  <a:pt x="37" y="13"/>
                </a:cubicBezTo>
                <a:cubicBezTo>
                  <a:pt x="36" y="13"/>
                  <a:pt x="36" y="14"/>
                  <a:pt x="36" y="14"/>
                </a:cubicBezTo>
                <a:cubicBezTo>
                  <a:pt x="36" y="15"/>
                  <a:pt x="36" y="15"/>
                  <a:pt x="37" y="16"/>
                </a:cubicBezTo>
                <a:cubicBezTo>
                  <a:pt x="37" y="17"/>
                  <a:pt x="37" y="17"/>
                  <a:pt x="37" y="18"/>
                </a:cubicBezTo>
                <a:cubicBezTo>
                  <a:pt x="37" y="18"/>
                  <a:pt x="37" y="19"/>
                  <a:pt x="37" y="19"/>
                </a:cubicBezTo>
                <a:cubicBezTo>
                  <a:pt x="37" y="19"/>
                  <a:pt x="37" y="20"/>
                  <a:pt x="36" y="20"/>
                </a:cubicBezTo>
                <a:cubicBezTo>
                  <a:pt x="36" y="21"/>
                  <a:pt x="36" y="22"/>
                  <a:pt x="36" y="23"/>
                </a:cubicBezTo>
                <a:cubicBezTo>
                  <a:pt x="37" y="24"/>
                  <a:pt x="36" y="24"/>
                  <a:pt x="35" y="25"/>
                </a:cubicBezTo>
                <a:cubicBezTo>
                  <a:pt x="35" y="25"/>
                  <a:pt x="34" y="26"/>
                  <a:pt x="34" y="26"/>
                </a:cubicBezTo>
                <a:cubicBezTo>
                  <a:pt x="34" y="26"/>
                  <a:pt x="34" y="27"/>
                  <a:pt x="34" y="27"/>
                </a:cubicBezTo>
                <a:cubicBezTo>
                  <a:pt x="34" y="27"/>
                  <a:pt x="34" y="28"/>
                  <a:pt x="34" y="28"/>
                </a:cubicBezTo>
                <a:cubicBezTo>
                  <a:pt x="33" y="29"/>
                  <a:pt x="33" y="28"/>
                  <a:pt x="33" y="28"/>
                </a:cubicBezTo>
                <a:cubicBezTo>
                  <a:pt x="32" y="27"/>
                  <a:pt x="33" y="26"/>
                  <a:pt x="32" y="26"/>
                </a:cubicBezTo>
                <a:cubicBezTo>
                  <a:pt x="32" y="26"/>
                  <a:pt x="30" y="26"/>
                  <a:pt x="30" y="27"/>
                </a:cubicBezTo>
                <a:cubicBezTo>
                  <a:pt x="30" y="28"/>
                  <a:pt x="31" y="28"/>
                  <a:pt x="30" y="29"/>
                </a:cubicBezTo>
                <a:cubicBezTo>
                  <a:pt x="30" y="29"/>
                  <a:pt x="29" y="29"/>
                  <a:pt x="29" y="29"/>
                </a:cubicBezTo>
                <a:cubicBezTo>
                  <a:pt x="29" y="29"/>
                  <a:pt x="28" y="30"/>
                  <a:pt x="28" y="30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33"/>
                  <a:pt x="27" y="32"/>
                  <a:pt x="26" y="32"/>
                </a:cubicBezTo>
                <a:cubicBezTo>
                  <a:pt x="25" y="32"/>
                  <a:pt x="25" y="31"/>
                  <a:pt x="24" y="31"/>
                </a:cubicBezTo>
                <a:cubicBezTo>
                  <a:pt x="24" y="32"/>
                  <a:pt x="24" y="32"/>
                  <a:pt x="24" y="32"/>
                </a:cubicBezTo>
                <a:cubicBezTo>
                  <a:pt x="24" y="33"/>
                  <a:pt x="26" y="34"/>
                  <a:pt x="26" y="34"/>
                </a:cubicBezTo>
                <a:cubicBezTo>
                  <a:pt x="27" y="34"/>
                  <a:pt x="28" y="34"/>
                  <a:pt x="28" y="34"/>
                </a:cubicBezTo>
                <a:cubicBezTo>
                  <a:pt x="28" y="35"/>
                  <a:pt x="28" y="35"/>
                  <a:pt x="27" y="35"/>
                </a:cubicBezTo>
                <a:cubicBezTo>
                  <a:pt x="27" y="35"/>
                  <a:pt x="26" y="35"/>
                  <a:pt x="26" y="35"/>
                </a:cubicBezTo>
                <a:cubicBezTo>
                  <a:pt x="25" y="35"/>
                  <a:pt x="25" y="35"/>
                  <a:pt x="24" y="35"/>
                </a:cubicBezTo>
                <a:cubicBezTo>
                  <a:pt x="24" y="35"/>
                  <a:pt x="23" y="36"/>
                  <a:pt x="24" y="36"/>
                </a:cubicBezTo>
                <a:cubicBezTo>
                  <a:pt x="24" y="37"/>
                  <a:pt x="25" y="37"/>
                  <a:pt x="26" y="38"/>
                </a:cubicBezTo>
                <a:cubicBezTo>
                  <a:pt x="26" y="38"/>
                  <a:pt x="26" y="40"/>
                  <a:pt x="26" y="40"/>
                </a:cubicBezTo>
                <a:cubicBezTo>
                  <a:pt x="25" y="41"/>
                  <a:pt x="24" y="40"/>
                  <a:pt x="23" y="41"/>
                </a:cubicBezTo>
                <a:cubicBezTo>
                  <a:pt x="23" y="41"/>
                  <a:pt x="22" y="41"/>
                  <a:pt x="23" y="41"/>
                </a:cubicBezTo>
                <a:cubicBezTo>
                  <a:pt x="23" y="42"/>
                  <a:pt x="23" y="42"/>
                  <a:pt x="23" y="42"/>
                </a:cubicBezTo>
                <a:cubicBezTo>
                  <a:pt x="23" y="43"/>
                  <a:pt x="23" y="43"/>
                  <a:pt x="22" y="42"/>
                </a:cubicBezTo>
                <a:cubicBezTo>
                  <a:pt x="22" y="42"/>
                  <a:pt x="22" y="42"/>
                  <a:pt x="22" y="42"/>
                </a:cubicBezTo>
                <a:cubicBezTo>
                  <a:pt x="22" y="42"/>
                  <a:pt x="22" y="42"/>
                  <a:pt x="22" y="42"/>
                </a:cubicBezTo>
                <a:cubicBezTo>
                  <a:pt x="21" y="42"/>
                  <a:pt x="20" y="41"/>
                  <a:pt x="19" y="41"/>
                </a:cubicBezTo>
                <a:cubicBezTo>
                  <a:pt x="19" y="42"/>
                  <a:pt x="19" y="42"/>
                  <a:pt x="19" y="42"/>
                </a:cubicBezTo>
                <a:cubicBezTo>
                  <a:pt x="19" y="43"/>
                  <a:pt x="19" y="43"/>
                  <a:pt x="19" y="43"/>
                </a:cubicBezTo>
                <a:cubicBezTo>
                  <a:pt x="19" y="43"/>
                  <a:pt x="19" y="43"/>
                  <a:pt x="20" y="44"/>
                </a:cubicBezTo>
                <a:cubicBezTo>
                  <a:pt x="20" y="44"/>
                  <a:pt x="20" y="44"/>
                  <a:pt x="20" y="44"/>
                </a:cubicBezTo>
                <a:cubicBezTo>
                  <a:pt x="21" y="44"/>
                  <a:pt x="21" y="44"/>
                  <a:pt x="21" y="44"/>
                </a:cubicBezTo>
                <a:cubicBezTo>
                  <a:pt x="21" y="44"/>
                  <a:pt x="21" y="44"/>
                  <a:pt x="21" y="45"/>
                </a:cubicBezTo>
                <a:cubicBezTo>
                  <a:pt x="21" y="45"/>
                  <a:pt x="21" y="45"/>
                  <a:pt x="21" y="46"/>
                </a:cubicBezTo>
                <a:cubicBezTo>
                  <a:pt x="21" y="46"/>
                  <a:pt x="20" y="46"/>
                  <a:pt x="20" y="47"/>
                </a:cubicBezTo>
                <a:cubicBezTo>
                  <a:pt x="20" y="47"/>
                  <a:pt x="20" y="47"/>
                  <a:pt x="20" y="48"/>
                </a:cubicBezTo>
                <a:cubicBezTo>
                  <a:pt x="20" y="48"/>
                  <a:pt x="20" y="48"/>
                  <a:pt x="20" y="49"/>
                </a:cubicBezTo>
                <a:cubicBezTo>
                  <a:pt x="20" y="49"/>
                  <a:pt x="21" y="49"/>
                  <a:pt x="21" y="49"/>
                </a:cubicBezTo>
                <a:cubicBezTo>
                  <a:pt x="21" y="50"/>
                  <a:pt x="21" y="50"/>
                  <a:pt x="22" y="50"/>
                </a:cubicBezTo>
                <a:cubicBezTo>
                  <a:pt x="22" y="51"/>
                  <a:pt x="22" y="51"/>
                  <a:pt x="22" y="51"/>
                </a:cubicBezTo>
                <a:cubicBezTo>
                  <a:pt x="21" y="51"/>
                  <a:pt x="21" y="51"/>
                  <a:pt x="21" y="51"/>
                </a:cubicBezTo>
                <a:cubicBezTo>
                  <a:pt x="20" y="51"/>
                  <a:pt x="20" y="51"/>
                  <a:pt x="20" y="51"/>
                </a:cubicBezTo>
                <a:cubicBezTo>
                  <a:pt x="19" y="50"/>
                  <a:pt x="18" y="51"/>
                  <a:pt x="17" y="51"/>
                </a:cubicBezTo>
                <a:cubicBezTo>
                  <a:pt x="17" y="51"/>
                  <a:pt x="17" y="52"/>
                  <a:pt x="17" y="52"/>
                </a:cubicBezTo>
                <a:cubicBezTo>
                  <a:pt x="17" y="52"/>
                  <a:pt x="17" y="53"/>
                  <a:pt x="17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19" y="53"/>
                  <a:pt x="19" y="53"/>
                  <a:pt x="20" y="54"/>
                </a:cubicBezTo>
                <a:cubicBezTo>
                  <a:pt x="20" y="54"/>
                  <a:pt x="21" y="54"/>
                  <a:pt x="21" y="55"/>
                </a:cubicBezTo>
                <a:cubicBezTo>
                  <a:pt x="21" y="55"/>
                  <a:pt x="20" y="56"/>
                  <a:pt x="19" y="55"/>
                </a:cubicBezTo>
                <a:cubicBezTo>
                  <a:pt x="19" y="55"/>
                  <a:pt x="19" y="55"/>
                  <a:pt x="18" y="55"/>
                </a:cubicBezTo>
                <a:cubicBezTo>
                  <a:pt x="18" y="55"/>
                  <a:pt x="18" y="55"/>
                  <a:pt x="17" y="54"/>
                </a:cubicBezTo>
                <a:cubicBezTo>
                  <a:pt x="17" y="54"/>
                  <a:pt x="17" y="53"/>
                  <a:pt x="16" y="53"/>
                </a:cubicBezTo>
                <a:cubicBezTo>
                  <a:pt x="15" y="53"/>
                  <a:pt x="14" y="55"/>
                  <a:pt x="15" y="55"/>
                </a:cubicBezTo>
                <a:cubicBezTo>
                  <a:pt x="15" y="56"/>
                  <a:pt x="16" y="56"/>
                  <a:pt x="16" y="57"/>
                </a:cubicBezTo>
                <a:cubicBezTo>
                  <a:pt x="16" y="57"/>
                  <a:pt x="17" y="57"/>
                  <a:pt x="17" y="58"/>
                </a:cubicBezTo>
                <a:cubicBezTo>
                  <a:pt x="17" y="58"/>
                  <a:pt x="16" y="58"/>
                  <a:pt x="16" y="59"/>
                </a:cubicBezTo>
                <a:cubicBezTo>
                  <a:pt x="15" y="59"/>
                  <a:pt x="15" y="59"/>
                  <a:pt x="14" y="59"/>
                </a:cubicBezTo>
                <a:cubicBezTo>
                  <a:pt x="14" y="60"/>
                  <a:pt x="14" y="60"/>
                  <a:pt x="14" y="61"/>
                </a:cubicBezTo>
                <a:cubicBezTo>
                  <a:pt x="14" y="61"/>
                  <a:pt x="15" y="61"/>
                  <a:pt x="15" y="61"/>
                </a:cubicBezTo>
                <a:cubicBezTo>
                  <a:pt x="15" y="62"/>
                  <a:pt x="15" y="62"/>
                  <a:pt x="15" y="62"/>
                </a:cubicBezTo>
                <a:cubicBezTo>
                  <a:pt x="16" y="63"/>
                  <a:pt x="15" y="63"/>
                  <a:pt x="15" y="63"/>
                </a:cubicBezTo>
                <a:cubicBezTo>
                  <a:pt x="14" y="63"/>
                  <a:pt x="13" y="64"/>
                  <a:pt x="14" y="64"/>
                </a:cubicBezTo>
                <a:cubicBezTo>
                  <a:pt x="14" y="65"/>
                  <a:pt x="15" y="64"/>
                  <a:pt x="16" y="64"/>
                </a:cubicBezTo>
                <a:cubicBezTo>
                  <a:pt x="16" y="64"/>
                  <a:pt x="17" y="64"/>
                  <a:pt x="17" y="64"/>
                </a:cubicBezTo>
                <a:cubicBezTo>
                  <a:pt x="17" y="65"/>
                  <a:pt x="16" y="65"/>
                  <a:pt x="16" y="65"/>
                </a:cubicBezTo>
                <a:cubicBezTo>
                  <a:pt x="16" y="66"/>
                  <a:pt x="15" y="66"/>
                  <a:pt x="15" y="66"/>
                </a:cubicBezTo>
                <a:cubicBezTo>
                  <a:pt x="15" y="67"/>
                  <a:pt x="16" y="67"/>
                  <a:pt x="16" y="67"/>
                </a:cubicBezTo>
                <a:cubicBezTo>
                  <a:pt x="17" y="67"/>
                  <a:pt x="17" y="67"/>
                  <a:pt x="17" y="67"/>
                </a:cubicBezTo>
                <a:cubicBezTo>
                  <a:pt x="17" y="66"/>
                  <a:pt x="18" y="66"/>
                  <a:pt x="18" y="66"/>
                </a:cubicBezTo>
                <a:cubicBezTo>
                  <a:pt x="18" y="65"/>
                  <a:pt x="18" y="65"/>
                  <a:pt x="18" y="65"/>
                </a:cubicBezTo>
                <a:cubicBezTo>
                  <a:pt x="18" y="64"/>
                  <a:pt x="19" y="64"/>
                  <a:pt x="19" y="64"/>
                </a:cubicBezTo>
                <a:cubicBezTo>
                  <a:pt x="19" y="64"/>
                  <a:pt x="19" y="65"/>
                  <a:pt x="19" y="65"/>
                </a:cubicBezTo>
                <a:cubicBezTo>
                  <a:pt x="19" y="66"/>
                  <a:pt x="18" y="67"/>
                  <a:pt x="17" y="68"/>
                </a:cubicBezTo>
                <a:cubicBezTo>
                  <a:pt x="17" y="68"/>
                  <a:pt x="17" y="68"/>
                  <a:pt x="17" y="69"/>
                </a:cubicBezTo>
                <a:cubicBezTo>
                  <a:pt x="17" y="70"/>
                  <a:pt x="17" y="71"/>
                  <a:pt x="17" y="72"/>
                </a:cubicBezTo>
                <a:cubicBezTo>
                  <a:pt x="17" y="72"/>
                  <a:pt x="18" y="72"/>
                  <a:pt x="18" y="72"/>
                </a:cubicBezTo>
                <a:cubicBezTo>
                  <a:pt x="18" y="72"/>
                  <a:pt x="18" y="71"/>
                  <a:pt x="18" y="71"/>
                </a:cubicBezTo>
                <a:cubicBezTo>
                  <a:pt x="19" y="71"/>
                  <a:pt x="19" y="71"/>
                  <a:pt x="19" y="71"/>
                </a:cubicBezTo>
                <a:cubicBezTo>
                  <a:pt x="20" y="72"/>
                  <a:pt x="20" y="72"/>
                  <a:pt x="20" y="72"/>
                </a:cubicBezTo>
                <a:cubicBezTo>
                  <a:pt x="20" y="73"/>
                  <a:pt x="19" y="73"/>
                  <a:pt x="19" y="73"/>
                </a:cubicBezTo>
                <a:cubicBezTo>
                  <a:pt x="18" y="74"/>
                  <a:pt x="18" y="74"/>
                  <a:pt x="18" y="75"/>
                </a:cubicBezTo>
                <a:cubicBezTo>
                  <a:pt x="19" y="75"/>
                  <a:pt x="19" y="76"/>
                  <a:pt x="19" y="76"/>
                </a:cubicBezTo>
                <a:cubicBezTo>
                  <a:pt x="19" y="76"/>
                  <a:pt x="19" y="77"/>
                  <a:pt x="19" y="77"/>
                </a:cubicBezTo>
                <a:cubicBezTo>
                  <a:pt x="18" y="77"/>
                  <a:pt x="17" y="77"/>
                  <a:pt x="17" y="77"/>
                </a:cubicBezTo>
                <a:cubicBezTo>
                  <a:pt x="16" y="77"/>
                  <a:pt x="15" y="78"/>
                  <a:pt x="15" y="78"/>
                </a:cubicBezTo>
                <a:cubicBezTo>
                  <a:pt x="15" y="78"/>
                  <a:pt x="15" y="79"/>
                  <a:pt x="15" y="79"/>
                </a:cubicBezTo>
                <a:cubicBezTo>
                  <a:pt x="16" y="79"/>
                  <a:pt x="16" y="79"/>
                  <a:pt x="16" y="80"/>
                </a:cubicBezTo>
                <a:cubicBezTo>
                  <a:pt x="16" y="80"/>
                  <a:pt x="17" y="80"/>
                  <a:pt x="17" y="80"/>
                </a:cubicBezTo>
                <a:cubicBezTo>
                  <a:pt x="18" y="81"/>
                  <a:pt x="17" y="82"/>
                  <a:pt x="16" y="82"/>
                </a:cubicBezTo>
                <a:cubicBezTo>
                  <a:pt x="15" y="84"/>
                  <a:pt x="15" y="84"/>
                  <a:pt x="15" y="84"/>
                </a:cubicBezTo>
                <a:cubicBezTo>
                  <a:pt x="15" y="84"/>
                  <a:pt x="14" y="85"/>
                  <a:pt x="14" y="85"/>
                </a:cubicBezTo>
                <a:cubicBezTo>
                  <a:pt x="14" y="86"/>
                  <a:pt x="15" y="87"/>
                  <a:pt x="16" y="87"/>
                </a:cubicBezTo>
                <a:cubicBezTo>
                  <a:pt x="17" y="86"/>
                  <a:pt x="17" y="86"/>
                  <a:pt x="17" y="85"/>
                </a:cubicBezTo>
                <a:cubicBezTo>
                  <a:pt x="17" y="85"/>
                  <a:pt x="17" y="85"/>
                  <a:pt x="17" y="84"/>
                </a:cubicBezTo>
                <a:cubicBezTo>
                  <a:pt x="17" y="84"/>
                  <a:pt x="17" y="83"/>
                  <a:pt x="17" y="83"/>
                </a:cubicBezTo>
                <a:cubicBezTo>
                  <a:pt x="18" y="83"/>
                  <a:pt x="18" y="84"/>
                  <a:pt x="18" y="84"/>
                </a:cubicBezTo>
                <a:cubicBezTo>
                  <a:pt x="19" y="85"/>
                  <a:pt x="19" y="85"/>
                  <a:pt x="19" y="86"/>
                </a:cubicBezTo>
                <a:cubicBezTo>
                  <a:pt x="20" y="88"/>
                  <a:pt x="18" y="89"/>
                  <a:pt x="17" y="89"/>
                </a:cubicBezTo>
                <a:cubicBezTo>
                  <a:pt x="17" y="90"/>
                  <a:pt x="16" y="90"/>
                  <a:pt x="16" y="90"/>
                </a:cubicBezTo>
                <a:cubicBezTo>
                  <a:pt x="16" y="90"/>
                  <a:pt x="16" y="91"/>
                  <a:pt x="16" y="91"/>
                </a:cubicBezTo>
                <a:cubicBezTo>
                  <a:pt x="16" y="91"/>
                  <a:pt x="16" y="92"/>
                  <a:pt x="16" y="92"/>
                </a:cubicBezTo>
                <a:cubicBezTo>
                  <a:pt x="16" y="92"/>
                  <a:pt x="16" y="93"/>
                  <a:pt x="16" y="93"/>
                </a:cubicBezTo>
                <a:cubicBezTo>
                  <a:pt x="17" y="94"/>
                  <a:pt x="18" y="94"/>
                  <a:pt x="19" y="94"/>
                </a:cubicBezTo>
                <a:cubicBezTo>
                  <a:pt x="20" y="94"/>
                  <a:pt x="20" y="94"/>
                  <a:pt x="19" y="95"/>
                </a:cubicBezTo>
                <a:cubicBezTo>
                  <a:pt x="19" y="95"/>
                  <a:pt x="18" y="96"/>
                  <a:pt x="18" y="96"/>
                </a:cubicBezTo>
                <a:cubicBezTo>
                  <a:pt x="18" y="97"/>
                  <a:pt x="17" y="98"/>
                  <a:pt x="17" y="99"/>
                </a:cubicBezTo>
                <a:cubicBezTo>
                  <a:pt x="17" y="99"/>
                  <a:pt x="17" y="100"/>
                  <a:pt x="17" y="100"/>
                </a:cubicBezTo>
                <a:cubicBezTo>
                  <a:pt x="18" y="100"/>
                  <a:pt x="19" y="99"/>
                  <a:pt x="19" y="99"/>
                </a:cubicBezTo>
                <a:cubicBezTo>
                  <a:pt x="20" y="98"/>
                  <a:pt x="20" y="98"/>
                  <a:pt x="21" y="98"/>
                </a:cubicBezTo>
                <a:cubicBezTo>
                  <a:pt x="22" y="98"/>
                  <a:pt x="22" y="98"/>
                  <a:pt x="21" y="99"/>
                </a:cubicBezTo>
                <a:cubicBezTo>
                  <a:pt x="21" y="100"/>
                  <a:pt x="20" y="100"/>
                  <a:pt x="19" y="101"/>
                </a:cubicBezTo>
                <a:cubicBezTo>
                  <a:pt x="19" y="101"/>
                  <a:pt x="20" y="101"/>
                  <a:pt x="20" y="102"/>
                </a:cubicBezTo>
                <a:cubicBezTo>
                  <a:pt x="20" y="102"/>
                  <a:pt x="20" y="102"/>
                  <a:pt x="20" y="102"/>
                </a:cubicBezTo>
                <a:cubicBezTo>
                  <a:pt x="21" y="102"/>
                  <a:pt x="22" y="103"/>
                  <a:pt x="22" y="104"/>
                </a:cubicBezTo>
                <a:cubicBezTo>
                  <a:pt x="22" y="104"/>
                  <a:pt x="20" y="103"/>
                  <a:pt x="20" y="103"/>
                </a:cubicBezTo>
                <a:cubicBezTo>
                  <a:pt x="19" y="103"/>
                  <a:pt x="19" y="102"/>
                  <a:pt x="19" y="102"/>
                </a:cubicBezTo>
                <a:cubicBezTo>
                  <a:pt x="18" y="101"/>
                  <a:pt x="18" y="102"/>
                  <a:pt x="18" y="102"/>
                </a:cubicBezTo>
                <a:cubicBezTo>
                  <a:pt x="18" y="103"/>
                  <a:pt x="18" y="103"/>
                  <a:pt x="18" y="104"/>
                </a:cubicBezTo>
                <a:cubicBezTo>
                  <a:pt x="18" y="104"/>
                  <a:pt x="18" y="105"/>
                  <a:pt x="18" y="105"/>
                </a:cubicBezTo>
                <a:cubicBezTo>
                  <a:pt x="19" y="105"/>
                  <a:pt x="19" y="106"/>
                  <a:pt x="20" y="106"/>
                </a:cubicBezTo>
                <a:cubicBezTo>
                  <a:pt x="20" y="106"/>
                  <a:pt x="21" y="106"/>
                  <a:pt x="21" y="106"/>
                </a:cubicBezTo>
                <a:cubicBezTo>
                  <a:pt x="22" y="106"/>
                  <a:pt x="22" y="106"/>
                  <a:pt x="23" y="106"/>
                </a:cubicBezTo>
                <a:cubicBezTo>
                  <a:pt x="23" y="107"/>
                  <a:pt x="22" y="108"/>
                  <a:pt x="22" y="109"/>
                </a:cubicBezTo>
                <a:cubicBezTo>
                  <a:pt x="22" y="110"/>
                  <a:pt x="24" y="110"/>
                  <a:pt x="24" y="110"/>
                </a:cubicBezTo>
                <a:cubicBezTo>
                  <a:pt x="25" y="110"/>
                  <a:pt x="25" y="109"/>
                  <a:pt x="26" y="109"/>
                </a:cubicBezTo>
                <a:cubicBezTo>
                  <a:pt x="26" y="110"/>
                  <a:pt x="26" y="111"/>
                  <a:pt x="25" y="111"/>
                </a:cubicBezTo>
                <a:cubicBezTo>
                  <a:pt x="25" y="111"/>
                  <a:pt x="23" y="112"/>
                  <a:pt x="23" y="112"/>
                </a:cubicBezTo>
                <a:cubicBezTo>
                  <a:pt x="22" y="112"/>
                  <a:pt x="22" y="113"/>
                  <a:pt x="22" y="114"/>
                </a:cubicBezTo>
                <a:cubicBezTo>
                  <a:pt x="22" y="114"/>
                  <a:pt x="23" y="116"/>
                  <a:pt x="22" y="116"/>
                </a:cubicBezTo>
                <a:cubicBezTo>
                  <a:pt x="21" y="116"/>
                  <a:pt x="21" y="115"/>
                  <a:pt x="21" y="115"/>
                </a:cubicBezTo>
                <a:cubicBezTo>
                  <a:pt x="21" y="115"/>
                  <a:pt x="21" y="115"/>
                  <a:pt x="21" y="114"/>
                </a:cubicBezTo>
                <a:cubicBezTo>
                  <a:pt x="20" y="114"/>
                  <a:pt x="19" y="114"/>
                  <a:pt x="19" y="115"/>
                </a:cubicBezTo>
                <a:cubicBezTo>
                  <a:pt x="18" y="115"/>
                  <a:pt x="18" y="115"/>
                  <a:pt x="17" y="115"/>
                </a:cubicBezTo>
                <a:cubicBezTo>
                  <a:pt x="16" y="115"/>
                  <a:pt x="16" y="116"/>
                  <a:pt x="16" y="116"/>
                </a:cubicBezTo>
                <a:cubicBezTo>
                  <a:pt x="16" y="117"/>
                  <a:pt x="16" y="118"/>
                  <a:pt x="17" y="118"/>
                </a:cubicBezTo>
                <a:cubicBezTo>
                  <a:pt x="17" y="119"/>
                  <a:pt x="18" y="119"/>
                  <a:pt x="19" y="119"/>
                </a:cubicBezTo>
                <a:cubicBezTo>
                  <a:pt x="19" y="118"/>
                  <a:pt x="20" y="118"/>
                  <a:pt x="20" y="118"/>
                </a:cubicBezTo>
                <a:cubicBezTo>
                  <a:pt x="20" y="118"/>
                  <a:pt x="20" y="117"/>
                  <a:pt x="20" y="117"/>
                </a:cubicBezTo>
                <a:cubicBezTo>
                  <a:pt x="20" y="117"/>
                  <a:pt x="20" y="117"/>
                  <a:pt x="20" y="116"/>
                </a:cubicBezTo>
                <a:cubicBezTo>
                  <a:pt x="20" y="116"/>
                  <a:pt x="21" y="117"/>
                  <a:pt x="21" y="117"/>
                </a:cubicBezTo>
                <a:cubicBezTo>
                  <a:pt x="21" y="118"/>
                  <a:pt x="21" y="118"/>
                  <a:pt x="21" y="119"/>
                </a:cubicBezTo>
                <a:cubicBezTo>
                  <a:pt x="21" y="119"/>
                  <a:pt x="21" y="119"/>
                  <a:pt x="21" y="119"/>
                </a:cubicBezTo>
                <a:cubicBezTo>
                  <a:pt x="20" y="119"/>
                  <a:pt x="20" y="120"/>
                  <a:pt x="20" y="120"/>
                </a:cubicBezTo>
                <a:cubicBezTo>
                  <a:pt x="20" y="120"/>
                  <a:pt x="19" y="121"/>
                  <a:pt x="19" y="121"/>
                </a:cubicBezTo>
                <a:cubicBezTo>
                  <a:pt x="19" y="122"/>
                  <a:pt x="18" y="121"/>
                  <a:pt x="18" y="121"/>
                </a:cubicBezTo>
                <a:cubicBezTo>
                  <a:pt x="17" y="121"/>
                  <a:pt x="17" y="121"/>
                  <a:pt x="17" y="120"/>
                </a:cubicBezTo>
                <a:cubicBezTo>
                  <a:pt x="17" y="120"/>
                  <a:pt x="16" y="120"/>
                  <a:pt x="16" y="121"/>
                </a:cubicBezTo>
                <a:cubicBezTo>
                  <a:pt x="16" y="121"/>
                  <a:pt x="17" y="121"/>
                  <a:pt x="18" y="122"/>
                </a:cubicBezTo>
                <a:cubicBezTo>
                  <a:pt x="18" y="122"/>
                  <a:pt x="18" y="122"/>
                  <a:pt x="18" y="123"/>
                </a:cubicBezTo>
                <a:cubicBezTo>
                  <a:pt x="19" y="124"/>
                  <a:pt x="18" y="124"/>
                  <a:pt x="17" y="124"/>
                </a:cubicBezTo>
                <a:cubicBezTo>
                  <a:pt x="16" y="125"/>
                  <a:pt x="15" y="126"/>
                  <a:pt x="15" y="127"/>
                </a:cubicBezTo>
                <a:cubicBezTo>
                  <a:pt x="15" y="127"/>
                  <a:pt x="15" y="127"/>
                  <a:pt x="14" y="128"/>
                </a:cubicBezTo>
                <a:cubicBezTo>
                  <a:pt x="14" y="128"/>
                  <a:pt x="13" y="128"/>
                  <a:pt x="13" y="129"/>
                </a:cubicBezTo>
                <a:cubicBezTo>
                  <a:pt x="13" y="129"/>
                  <a:pt x="13" y="130"/>
                  <a:pt x="13" y="131"/>
                </a:cubicBezTo>
                <a:cubicBezTo>
                  <a:pt x="12" y="131"/>
                  <a:pt x="12" y="131"/>
                  <a:pt x="12" y="131"/>
                </a:cubicBezTo>
                <a:cubicBezTo>
                  <a:pt x="11" y="131"/>
                  <a:pt x="12" y="130"/>
                  <a:pt x="11" y="130"/>
                </a:cubicBezTo>
                <a:cubicBezTo>
                  <a:pt x="11" y="129"/>
                  <a:pt x="10" y="130"/>
                  <a:pt x="10" y="131"/>
                </a:cubicBezTo>
                <a:cubicBezTo>
                  <a:pt x="10" y="131"/>
                  <a:pt x="9" y="132"/>
                  <a:pt x="10" y="133"/>
                </a:cubicBezTo>
                <a:cubicBezTo>
                  <a:pt x="10" y="133"/>
                  <a:pt x="11" y="133"/>
                  <a:pt x="11" y="133"/>
                </a:cubicBezTo>
                <a:cubicBezTo>
                  <a:pt x="11" y="133"/>
                  <a:pt x="12" y="133"/>
                  <a:pt x="12" y="133"/>
                </a:cubicBezTo>
                <a:cubicBezTo>
                  <a:pt x="12" y="134"/>
                  <a:pt x="11" y="134"/>
                  <a:pt x="11" y="134"/>
                </a:cubicBezTo>
                <a:cubicBezTo>
                  <a:pt x="11" y="134"/>
                  <a:pt x="10" y="134"/>
                  <a:pt x="10" y="134"/>
                </a:cubicBezTo>
                <a:cubicBezTo>
                  <a:pt x="10" y="134"/>
                  <a:pt x="10" y="134"/>
                  <a:pt x="9" y="134"/>
                </a:cubicBezTo>
                <a:cubicBezTo>
                  <a:pt x="9" y="135"/>
                  <a:pt x="9" y="135"/>
                  <a:pt x="9" y="135"/>
                </a:cubicBezTo>
                <a:cubicBezTo>
                  <a:pt x="8" y="137"/>
                  <a:pt x="8" y="139"/>
                  <a:pt x="8" y="140"/>
                </a:cubicBezTo>
                <a:cubicBezTo>
                  <a:pt x="7" y="140"/>
                  <a:pt x="7" y="139"/>
                  <a:pt x="7" y="139"/>
                </a:cubicBezTo>
                <a:cubicBezTo>
                  <a:pt x="6" y="139"/>
                  <a:pt x="5" y="139"/>
                  <a:pt x="5" y="139"/>
                </a:cubicBezTo>
                <a:cubicBezTo>
                  <a:pt x="4" y="139"/>
                  <a:pt x="4" y="139"/>
                  <a:pt x="4" y="139"/>
                </a:cubicBezTo>
                <a:cubicBezTo>
                  <a:pt x="5" y="140"/>
                  <a:pt x="5" y="140"/>
                  <a:pt x="6" y="140"/>
                </a:cubicBezTo>
                <a:cubicBezTo>
                  <a:pt x="6" y="140"/>
                  <a:pt x="7" y="140"/>
                  <a:pt x="7" y="141"/>
                </a:cubicBezTo>
                <a:cubicBezTo>
                  <a:pt x="7" y="141"/>
                  <a:pt x="7" y="141"/>
                  <a:pt x="7" y="141"/>
                </a:cubicBezTo>
                <a:cubicBezTo>
                  <a:pt x="6" y="142"/>
                  <a:pt x="6" y="142"/>
                  <a:pt x="5" y="142"/>
                </a:cubicBezTo>
                <a:cubicBezTo>
                  <a:pt x="5" y="143"/>
                  <a:pt x="3" y="143"/>
                  <a:pt x="4" y="144"/>
                </a:cubicBezTo>
                <a:cubicBezTo>
                  <a:pt x="4" y="144"/>
                  <a:pt x="4" y="144"/>
                  <a:pt x="4" y="145"/>
                </a:cubicBezTo>
                <a:cubicBezTo>
                  <a:pt x="4" y="145"/>
                  <a:pt x="4" y="145"/>
                  <a:pt x="4" y="146"/>
                </a:cubicBezTo>
                <a:cubicBezTo>
                  <a:pt x="5" y="146"/>
                  <a:pt x="5" y="147"/>
                  <a:pt x="5" y="148"/>
                </a:cubicBezTo>
                <a:cubicBezTo>
                  <a:pt x="5" y="148"/>
                  <a:pt x="5" y="149"/>
                  <a:pt x="5" y="149"/>
                </a:cubicBezTo>
                <a:cubicBezTo>
                  <a:pt x="4" y="150"/>
                  <a:pt x="4" y="149"/>
                  <a:pt x="3" y="148"/>
                </a:cubicBezTo>
                <a:cubicBezTo>
                  <a:pt x="3" y="148"/>
                  <a:pt x="4" y="147"/>
                  <a:pt x="3" y="147"/>
                </a:cubicBezTo>
                <a:cubicBezTo>
                  <a:pt x="3" y="147"/>
                  <a:pt x="2" y="147"/>
                  <a:pt x="2" y="147"/>
                </a:cubicBezTo>
                <a:cubicBezTo>
                  <a:pt x="2" y="148"/>
                  <a:pt x="2" y="149"/>
                  <a:pt x="3" y="150"/>
                </a:cubicBezTo>
                <a:cubicBezTo>
                  <a:pt x="3" y="151"/>
                  <a:pt x="4" y="153"/>
                  <a:pt x="4" y="153"/>
                </a:cubicBezTo>
                <a:cubicBezTo>
                  <a:pt x="4" y="153"/>
                  <a:pt x="3" y="153"/>
                  <a:pt x="2" y="153"/>
                </a:cubicBezTo>
                <a:cubicBezTo>
                  <a:pt x="1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5"/>
                  <a:pt x="0" y="155"/>
                  <a:pt x="1" y="156"/>
                </a:cubicBezTo>
                <a:cubicBezTo>
                  <a:pt x="1" y="156"/>
                  <a:pt x="1" y="157"/>
                  <a:pt x="1" y="157"/>
                </a:cubicBezTo>
                <a:cubicBezTo>
                  <a:pt x="1" y="157"/>
                  <a:pt x="0" y="158"/>
                  <a:pt x="0" y="159"/>
                </a:cubicBezTo>
                <a:cubicBezTo>
                  <a:pt x="0" y="159"/>
                  <a:pt x="0" y="160"/>
                  <a:pt x="0" y="160"/>
                </a:cubicBezTo>
                <a:cubicBezTo>
                  <a:pt x="0" y="160"/>
                  <a:pt x="2" y="161"/>
                  <a:pt x="2" y="162"/>
                </a:cubicBezTo>
                <a:cubicBezTo>
                  <a:pt x="2" y="162"/>
                  <a:pt x="1" y="163"/>
                  <a:pt x="1" y="163"/>
                </a:cubicBezTo>
                <a:cubicBezTo>
                  <a:pt x="1" y="163"/>
                  <a:pt x="0" y="164"/>
                  <a:pt x="0" y="164"/>
                </a:cubicBezTo>
                <a:cubicBezTo>
                  <a:pt x="65" y="164"/>
                  <a:pt x="65" y="164"/>
                  <a:pt x="65" y="164"/>
                </a:cubicBezTo>
                <a:cubicBezTo>
                  <a:pt x="65" y="164"/>
                  <a:pt x="65" y="167"/>
                  <a:pt x="65" y="167"/>
                </a:cubicBezTo>
                <a:cubicBezTo>
                  <a:pt x="65" y="167"/>
                  <a:pt x="62" y="177"/>
                  <a:pt x="62" y="177"/>
                </a:cubicBezTo>
                <a:cubicBezTo>
                  <a:pt x="62" y="178"/>
                  <a:pt x="62" y="178"/>
                  <a:pt x="62" y="178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67" y="186"/>
                  <a:pt x="69" y="195"/>
                  <a:pt x="69" y="195"/>
                </a:cubicBezTo>
                <a:cubicBezTo>
                  <a:pt x="70" y="195"/>
                  <a:pt x="72" y="197"/>
                  <a:pt x="72" y="197"/>
                </a:cubicBezTo>
                <a:cubicBezTo>
                  <a:pt x="74" y="197"/>
                  <a:pt x="74" y="197"/>
                  <a:pt x="74" y="197"/>
                </a:cubicBezTo>
                <a:cubicBezTo>
                  <a:pt x="74" y="197"/>
                  <a:pt x="74" y="197"/>
                  <a:pt x="74" y="197"/>
                </a:cubicBezTo>
                <a:cubicBezTo>
                  <a:pt x="75" y="197"/>
                  <a:pt x="75" y="197"/>
                  <a:pt x="75" y="197"/>
                </a:cubicBezTo>
                <a:cubicBezTo>
                  <a:pt x="76" y="197"/>
                  <a:pt x="76" y="196"/>
                  <a:pt x="76" y="196"/>
                </a:cubicBezTo>
                <a:cubicBezTo>
                  <a:pt x="77" y="196"/>
                  <a:pt x="77" y="195"/>
                  <a:pt x="77" y="195"/>
                </a:cubicBezTo>
                <a:cubicBezTo>
                  <a:pt x="78" y="195"/>
                  <a:pt x="78" y="194"/>
                  <a:pt x="78" y="194"/>
                </a:cubicBezTo>
                <a:cubicBezTo>
                  <a:pt x="79" y="193"/>
                  <a:pt x="79" y="192"/>
                  <a:pt x="79" y="190"/>
                </a:cubicBezTo>
                <a:cubicBezTo>
                  <a:pt x="79" y="190"/>
                  <a:pt x="79" y="190"/>
                  <a:pt x="79" y="190"/>
                </a:cubicBezTo>
                <a:cubicBezTo>
                  <a:pt x="80" y="190"/>
                  <a:pt x="81" y="190"/>
                  <a:pt x="81" y="191"/>
                </a:cubicBezTo>
                <a:cubicBezTo>
                  <a:pt x="82" y="191"/>
                  <a:pt x="82" y="191"/>
                  <a:pt x="81" y="192"/>
                </a:cubicBezTo>
                <a:cubicBezTo>
                  <a:pt x="81" y="192"/>
                  <a:pt x="81" y="192"/>
                  <a:pt x="81" y="193"/>
                </a:cubicBezTo>
                <a:cubicBezTo>
                  <a:pt x="82" y="192"/>
                  <a:pt x="82" y="192"/>
                  <a:pt x="83" y="192"/>
                </a:cubicBezTo>
                <a:cubicBezTo>
                  <a:pt x="84" y="192"/>
                  <a:pt x="85" y="191"/>
                  <a:pt x="86" y="191"/>
                </a:cubicBezTo>
                <a:cubicBezTo>
                  <a:pt x="87" y="191"/>
                  <a:pt x="88" y="190"/>
                  <a:pt x="89" y="190"/>
                </a:cubicBezTo>
                <a:cubicBezTo>
                  <a:pt x="89" y="190"/>
                  <a:pt x="90" y="189"/>
                  <a:pt x="91" y="189"/>
                </a:cubicBezTo>
                <a:cubicBezTo>
                  <a:pt x="92" y="189"/>
                  <a:pt x="94" y="189"/>
                  <a:pt x="95" y="189"/>
                </a:cubicBezTo>
                <a:cubicBezTo>
                  <a:pt x="96" y="189"/>
                  <a:pt x="97" y="189"/>
                  <a:pt x="97" y="189"/>
                </a:cubicBezTo>
                <a:cubicBezTo>
                  <a:pt x="98" y="189"/>
                  <a:pt x="98" y="190"/>
                  <a:pt x="98" y="190"/>
                </a:cubicBezTo>
                <a:cubicBezTo>
                  <a:pt x="99" y="190"/>
                  <a:pt x="99" y="190"/>
                  <a:pt x="99" y="190"/>
                </a:cubicBezTo>
                <a:cubicBezTo>
                  <a:pt x="99" y="190"/>
                  <a:pt x="100" y="190"/>
                  <a:pt x="100" y="190"/>
                </a:cubicBezTo>
                <a:cubicBezTo>
                  <a:pt x="100" y="190"/>
                  <a:pt x="100" y="190"/>
                  <a:pt x="100" y="189"/>
                </a:cubicBezTo>
                <a:cubicBezTo>
                  <a:pt x="101" y="189"/>
                  <a:pt x="102" y="189"/>
                  <a:pt x="103" y="189"/>
                </a:cubicBezTo>
                <a:cubicBezTo>
                  <a:pt x="103" y="190"/>
                  <a:pt x="104" y="190"/>
                  <a:pt x="104" y="190"/>
                </a:cubicBezTo>
                <a:cubicBezTo>
                  <a:pt x="105" y="190"/>
                  <a:pt x="105" y="190"/>
                  <a:pt x="105" y="189"/>
                </a:cubicBezTo>
                <a:cubicBezTo>
                  <a:pt x="106" y="189"/>
                  <a:pt x="105" y="189"/>
                  <a:pt x="105" y="188"/>
                </a:cubicBezTo>
                <a:cubicBezTo>
                  <a:pt x="104" y="188"/>
                  <a:pt x="104" y="188"/>
                  <a:pt x="104" y="187"/>
                </a:cubicBezTo>
                <a:cubicBezTo>
                  <a:pt x="104" y="187"/>
                  <a:pt x="104" y="186"/>
                  <a:pt x="105" y="186"/>
                </a:cubicBezTo>
                <a:cubicBezTo>
                  <a:pt x="105" y="185"/>
                  <a:pt x="106" y="186"/>
                  <a:pt x="106" y="186"/>
                </a:cubicBezTo>
                <a:cubicBezTo>
                  <a:pt x="106" y="186"/>
                  <a:pt x="106" y="187"/>
                  <a:pt x="106" y="188"/>
                </a:cubicBezTo>
                <a:cubicBezTo>
                  <a:pt x="106" y="188"/>
                  <a:pt x="106" y="189"/>
                  <a:pt x="107" y="189"/>
                </a:cubicBezTo>
                <a:cubicBezTo>
                  <a:pt x="107" y="190"/>
                  <a:pt x="107" y="190"/>
                  <a:pt x="107" y="190"/>
                </a:cubicBezTo>
                <a:cubicBezTo>
                  <a:pt x="107" y="191"/>
                  <a:pt x="108" y="191"/>
                  <a:pt x="108" y="191"/>
                </a:cubicBezTo>
                <a:cubicBezTo>
                  <a:pt x="109" y="191"/>
                  <a:pt x="109" y="191"/>
                  <a:pt x="110" y="191"/>
                </a:cubicBezTo>
                <a:cubicBezTo>
                  <a:pt x="110" y="191"/>
                  <a:pt x="111" y="190"/>
                  <a:pt x="111" y="190"/>
                </a:cubicBezTo>
                <a:cubicBezTo>
                  <a:pt x="111" y="190"/>
                  <a:pt x="112" y="190"/>
                  <a:pt x="112" y="189"/>
                </a:cubicBezTo>
                <a:cubicBezTo>
                  <a:pt x="109" y="126"/>
                  <a:pt x="109" y="126"/>
                  <a:pt x="109" y="126"/>
                </a:cubicBezTo>
                <a:lnTo>
                  <a:pt x="122" y="4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7" name="Freeform 35">
            <a:extLst>
              <a:ext uri="{FF2B5EF4-FFF2-40B4-BE49-F238E27FC236}">
                <a16:creationId xmlns:a16="http://schemas.microsoft.com/office/drawing/2014/main" id="{6B9F62BD-C416-4D67-B90F-86C23CB9BECC}"/>
              </a:ext>
            </a:extLst>
          </p:cNvPr>
          <p:cNvSpPr>
            <a:spLocks/>
          </p:cNvSpPr>
          <p:nvPr/>
        </p:nvSpPr>
        <p:spPr bwMode="auto">
          <a:xfrm>
            <a:off x="7760595" y="1178697"/>
            <a:ext cx="1044193" cy="1174717"/>
          </a:xfrm>
          <a:custGeom>
            <a:avLst/>
            <a:gdLst>
              <a:gd name="T0" fmla="*/ 15 w 264"/>
              <a:gd name="T1" fmla="*/ 190 h 296"/>
              <a:gd name="T2" fmla="*/ 15 w 264"/>
              <a:gd name="T3" fmla="*/ 197 h 296"/>
              <a:gd name="T4" fmla="*/ 25 w 264"/>
              <a:gd name="T5" fmla="*/ 206 h 296"/>
              <a:gd name="T6" fmla="*/ 207 w 264"/>
              <a:gd name="T7" fmla="*/ 295 h 296"/>
              <a:gd name="T8" fmla="*/ 206 w 264"/>
              <a:gd name="T9" fmla="*/ 284 h 296"/>
              <a:gd name="T10" fmla="*/ 200 w 264"/>
              <a:gd name="T11" fmla="*/ 272 h 296"/>
              <a:gd name="T12" fmla="*/ 188 w 264"/>
              <a:gd name="T13" fmla="*/ 264 h 296"/>
              <a:gd name="T14" fmla="*/ 181 w 264"/>
              <a:gd name="T15" fmla="*/ 253 h 296"/>
              <a:gd name="T16" fmla="*/ 169 w 264"/>
              <a:gd name="T17" fmla="*/ 246 h 296"/>
              <a:gd name="T18" fmla="*/ 160 w 264"/>
              <a:gd name="T19" fmla="*/ 243 h 296"/>
              <a:gd name="T20" fmla="*/ 153 w 264"/>
              <a:gd name="T21" fmla="*/ 231 h 296"/>
              <a:gd name="T22" fmla="*/ 153 w 264"/>
              <a:gd name="T23" fmla="*/ 220 h 296"/>
              <a:gd name="T24" fmla="*/ 154 w 264"/>
              <a:gd name="T25" fmla="*/ 213 h 296"/>
              <a:gd name="T26" fmla="*/ 158 w 264"/>
              <a:gd name="T27" fmla="*/ 203 h 296"/>
              <a:gd name="T28" fmla="*/ 150 w 264"/>
              <a:gd name="T29" fmla="*/ 195 h 296"/>
              <a:gd name="T30" fmla="*/ 153 w 264"/>
              <a:gd name="T31" fmla="*/ 186 h 296"/>
              <a:gd name="T32" fmla="*/ 160 w 264"/>
              <a:gd name="T33" fmla="*/ 177 h 296"/>
              <a:gd name="T34" fmla="*/ 166 w 264"/>
              <a:gd name="T35" fmla="*/ 173 h 296"/>
              <a:gd name="T36" fmla="*/ 170 w 264"/>
              <a:gd name="T37" fmla="*/ 169 h 296"/>
              <a:gd name="T38" fmla="*/ 174 w 264"/>
              <a:gd name="T39" fmla="*/ 139 h 296"/>
              <a:gd name="T40" fmla="*/ 181 w 264"/>
              <a:gd name="T41" fmla="*/ 132 h 296"/>
              <a:gd name="T42" fmla="*/ 196 w 264"/>
              <a:gd name="T43" fmla="*/ 120 h 296"/>
              <a:gd name="T44" fmla="*/ 235 w 264"/>
              <a:gd name="T45" fmla="*/ 86 h 296"/>
              <a:gd name="T46" fmla="*/ 264 w 264"/>
              <a:gd name="T47" fmla="*/ 72 h 296"/>
              <a:gd name="T48" fmla="*/ 258 w 264"/>
              <a:gd name="T49" fmla="*/ 72 h 296"/>
              <a:gd name="T50" fmla="*/ 249 w 264"/>
              <a:gd name="T51" fmla="*/ 71 h 296"/>
              <a:gd name="T52" fmla="*/ 247 w 264"/>
              <a:gd name="T53" fmla="*/ 68 h 296"/>
              <a:gd name="T54" fmla="*/ 230 w 264"/>
              <a:gd name="T55" fmla="*/ 67 h 296"/>
              <a:gd name="T56" fmla="*/ 223 w 264"/>
              <a:gd name="T57" fmla="*/ 68 h 296"/>
              <a:gd name="T58" fmla="*/ 222 w 264"/>
              <a:gd name="T59" fmla="*/ 65 h 296"/>
              <a:gd name="T60" fmla="*/ 220 w 264"/>
              <a:gd name="T61" fmla="*/ 64 h 296"/>
              <a:gd name="T62" fmla="*/ 209 w 264"/>
              <a:gd name="T63" fmla="*/ 65 h 296"/>
              <a:gd name="T64" fmla="*/ 195 w 264"/>
              <a:gd name="T65" fmla="*/ 70 h 296"/>
              <a:gd name="T66" fmla="*/ 192 w 264"/>
              <a:gd name="T67" fmla="*/ 67 h 296"/>
              <a:gd name="T68" fmla="*/ 190 w 264"/>
              <a:gd name="T69" fmla="*/ 62 h 296"/>
              <a:gd name="T70" fmla="*/ 181 w 264"/>
              <a:gd name="T71" fmla="*/ 61 h 296"/>
              <a:gd name="T72" fmla="*/ 180 w 264"/>
              <a:gd name="T73" fmla="*/ 56 h 296"/>
              <a:gd name="T74" fmla="*/ 169 w 264"/>
              <a:gd name="T75" fmla="*/ 56 h 296"/>
              <a:gd name="T76" fmla="*/ 167 w 264"/>
              <a:gd name="T77" fmla="*/ 61 h 296"/>
              <a:gd name="T78" fmla="*/ 164 w 264"/>
              <a:gd name="T79" fmla="*/ 51 h 296"/>
              <a:gd name="T80" fmla="*/ 155 w 264"/>
              <a:gd name="T81" fmla="*/ 48 h 296"/>
              <a:gd name="T82" fmla="*/ 158 w 264"/>
              <a:gd name="T83" fmla="*/ 45 h 296"/>
              <a:gd name="T84" fmla="*/ 147 w 264"/>
              <a:gd name="T85" fmla="*/ 40 h 296"/>
              <a:gd name="T86" fmla="*/ 137 w 264"/>
              <a:gd name="T87" fmla="*/ 40 h 296"/>
              <a:gd name="T88" fmla="*/ 118 w 264"/>
              <a:gd name="T89" fmla="*/ 46 h 296"/>
              <a:gd name="T90" fmla="*/ 102 w 264"/>
              <a:gd name="T91" fmla="*/ 37 h 296"/>
              <a:gd name="T92" fmla="*/ 96 w 264"/>
              <a:gd name="T93" fmla="*/ 37 h 296"/>
              <a:gd name="T94" fmla="*/ 87 w 264"/>
              <a:gd name="T95" fmla="*/ 24 h 296"/>
              <a:gd name="T96" fmla="*/ 77 w 264"/>
              <a:gd name="T97" fmla="*/ 1 h 296"/>
              <a:gd name="T98" fmla="*/ 71 w 264"/>
              <a:gd name="T99" fmla="*/ 20 h 296"/>
              <a:gd name="T100" fmla="*/ 1 w 264"/>
              <a:gd name="T101" fmla="*/ 28 h 296"/>
              <a:gd name="T102" fmla="*/ 3 w 264"/>
              <a:gd name="T103" fmla="*/ 41 h 296"/>
              <a:gd name="T104" fmla="*/ 2 w 264"/>
              <a:gd name="T105" fmla="*/ 47 h 296"/>
              <a:gd name="T106" fmla="*/ 2 w 264"/>
              <a:gd name="T107" fmla="*/ 53 h 296"/>
              <a:gd name="T108" fmla="*/ 3 w 264"/>
              <a:gd name="T109" fmla="*/ 67 h 296"/>
              <a:gd name="T110" fmla="*/ 11 w 264"/>
              <a:gd name="T111" fmla="*/ 89 h 296"/>
              <a:gd name="T112" fmla="*/ 13 w 264"/>
              <a:gd name="T113" fmla="*/ 110 h 296"/>
              <a:gd name="T114" fmla="*/ 16 w 264"/>
              <a:gd name="T115" fmla="*/ 129 h 296"/>
              <a:gd name="T116" fmla="*/ 15 w 264"/>
              <a:gd name="T117" fmla="*/ 143 h 296"/>
              <a:gd name="T118" fmla="*/ 20 w 264"/>
              <a:gd name="T119" fmla="*/ 154 h 296"/>
              <a:gd name="T120" fmla="*/ 22 w 264"/>
              <a:gd name="T121" fmla="*/ 182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4" h="296">
                <a:moveTo>
                  <a:pt x="22" y="182"/>
                </a:moveTo>
                <a:cubicBezTo>
                  <a:pt x="22" y="182"/>
                  <a:pt x="19" y="187"/>
                  <a:pt x="19" y="187"/>
                </a:cubicBezTo>
                <a:cubicBezTo>
                  <a:pt x="19" y="187"/>
                  <a:pt x="15" y="190"/>
                  <a:pt x="15" y="190"/>
                </a:cubicBezTo>
                <a:cubicBezTo>
                  <a:pt x="14" y="191"/>
                  <a:pt x="13" y="191"/>
                  <a:pt x="13" y="191"/>
                </a:cubicBezTo>
                <a:cubicBezTo>
                  <a:pt x="13" y="191"/>
                  <a:pt x="13" y="193"/>
                  <a:pt x="13" y="193"/>
                </a:cubicBezTo>
                <a:cubicBezTo>
                  <a:pt x="13" y="193"/>
                  <a:pt x="14" y="197"/>
                  <a:pt x="15" y="197"/>
                </a:cubicBezTo>
                <a:cubicBezTo>
                  <a:pt x="15" y="198"/>
                  <a:pt x="18" y="203"/>
                  <a:pt x="18" y="203"/>
                </a:cubicBezTo>
                <a:cubicBezTo>
                  <a:pt x="18" y="203"/>
                  <a:pt x="22" y="204"/>
                  <a:pt x="22" y="204"/>
                </a:cubicBezTo>
                <a:cubicBezTo>
                  <a:pt x="22" y="204"/>
                  <a:pt x="25" y="205"/>
                  <a:pt x="25" y="206"/>
                </a:cubicBezTo>
                <a:cubicBezTo>
                  <a:pt x="26" y="206"/>
                  <a:pt x="26" y="208"/>
                  <a:pt x="26" y="208"/>
                </a:cubicBezTo>
                <a:cubicBezTo>
                  <a:pt x="26" y="296"/>
                  <a:pt x="26" y="296"/>
                  <a:pt x="26" y="296"/>
                </a:cubicBezTo>
                <a:cubicBezTo>
                  <a:pt x="207" y="295"/>
                  <a:pt x="207" y="295"/>
                  <a:pt x="207" y="295"/>
                </a:cubicBezTo>
                <a:cubicBezTo>
                  <a:pt x="207" y="295"/>
                  <a:pt x="206" y="292"/>
                  <a:pt x="206" y="291"/>
                </a:cubicBezTo>
                <a:cubicBezTo>
                  <a:pt x="206" y="291"/>
                  <a:pt x="205" y="289"/>
                  <a:pt x="205" y="288"/>
                </a:cubicBezTo>
                <a:cubicBezTo>
                  <a:pt x="205" y="287"/>
                  <a:pt x="206" y="285"/>
                  <a:pt x="206" y="284"/>
                </a:cubicBezTo>
                <a:cubicBezTo>
                  <a:pt x="206" y="283"/>
                  <a:pt x="205" y="280"/>
                  <a:pt x="205" y="279"/>
                </a:cubicBezTo>
                <a:cubicBezTo>
                  <a:pt x="204" y="279"/>
                  <a:pt x="202" y="275"/>
                  <a:pt x="201" y="275"/>
                </a:cubicBezTo>
                <a:cubicBezTo>
                  <a:pt x="201" y="274"/>
                  <a:pt x="201" y="273"/>
                  <a:pt x="200" y="272"/>
                </a:cubicBezTo>
                <a:cubicBezTo>
                  <a:pt x="199" y="272"/>
                  <a:pt x="196" y="271"/>
                  <a:pt x="195" y="271"/>
                </a:cubicBezTo>
                <a:cubicBezTo>
                  <a:pt x="194" y="270"/>
                  <a:pt x="194" y="269"/>
                  <a:pt x="193" y="268"/>
                </a:cubicBezTo>
                <a:cubicBezTo>
                  <a:pt x="192" y="268"/>
                  <a:pt x="189" y="265"/>
                  <a:pt x="188" y="264"/>
                </a:cubicBezTo>
                <a:cubicBezTo>
                  <a:pt x="187" y="264"/>
                  <a:pt x="186" y="263"/>
                  <a:pt x="185" y="262"/>
                </a:cubicBezTo>
                <a:cubicBezTo>
                  <a:pt x="184" y="262"/>
                  <a:pt x="184" y="262"/>
                  <a:pt x="184" y="260"/>
                </a:cubicBezTo>
                <a:cubicBezTo>
                  <a:pt x="184" y="259"/>
                  <a:pt x="182" y="254"/>
                  <a:pt x="181" y="253"/>
                </a:cubicBezTo>
                <a:cubicBezTo>
                  <a:pt x="179" y="252"/>
                  <a:pt x="178" y="253"/>
                  <a:pt x="177" y="252"/>
                </a:cubicBezTo>
                <a:cubicBezTo>
                  <a:pt x="176" y="251"/>
                  <a:pt x="173" y="250"/>
                  <a:pt x="172" y="250"/>
                </a:cubicBezTo>
                <a:cubicBezTo>
                  <a:pt x="171" y="249"/>
                  <a:pt x="170" y="247"/>
                  <a:pt x="169" y="246"/>
                </a:cubicBezTo>
                <a:cubicBezTo>
                  <a:pt x="169" y="246"/>
                  <a:pt x="169" y="245"/>
                  <a:pt x="167" y="244"/>
                </a:cubicBezTo>
                <a:cubicBezTo>
                  <a:pt x="166" y="244"/>
                  <a:pt x="164" y="244"/>
                  <a:pt x="162" y="244"/>
                </a:cubicBezTo>
                <a:cubicBezTo>
                  <a:pt x="161" y="244"/>
                  <a:pt x="160" y="244"/>
                  <a:pt x="160" y="243"/>
                </a:cubicBezTo>
                <a:cubicBezTo>
                  <a:pt x="160" y="242"/>
                  <a:pt x="158" y="240"/>
                  <a:pt x="157" y="239"/>
                </a:cubicBezTo>
                <a:cubicBezTo>
                  <a:pt x="156" y="238"/>
                  <a:pt x="153" y="236"/>
                  <a:pt x="153" y="236"/>
                </a:cubicBezTo>
                <a:cubicBezTo>
                  <a:pt x="152" y="235"/>
                  <a:pt x="153" y="232"/>
                  <a:pt x="153" y="231"/>
                </a:cubicBezTo>
                <a:cubicBezTo>
                  <a:pt x="153" y="231"/>
                  <a:pt x="154" y="227"/>
                  <a:pt x="154" y="226"/>
                </a:cubicBezTo>
                <a:cubicBezTo>
                  <a:pt x="154" y="225"/>
                  <a:pt x="154" y="223"/>
                  <a:pt x="154" y="222"/>
                </a:cubicBezTo>
                <a:cubicBezTo>
                  <a:pt x="153" y="221"/>
                  <a:pt x="153" y="221"/>
                  <a:pt x="153" y="220"/>
                </a:cubicBezTo>
                <a:cubicBezTo>
                  <a:pt x="153" y="220"/>
                  <a:pt x="153" y="219"/>
                  <a:pt x="153" y="218"/>
                </a:cubicBezTo>
                <a:cubicBezTo>
                  <a:pt x="154" y="218"/>
                  <a:pt x="154" y="217"/>
                  <a:pt x="154" y="216"/>
                </a:cubicBezTo>
                <a:cubicBezTo>
                  <a:pt x="154" y="215"/>
                  <a:pt x="154" y="214"/>
                  <a:pt x="154" y="213"/>
                </a:cubicBezTo>
                <a:cubicBezTo>
                  <a:pt x="154" y="212"/>
                  <a:pt x="153" y="210"/>
                  <a:pt x="154" y="209"/>
                </a:cubicBezTo>
                <a:cubicBezTo>
                  <a:pt x="154" y="208"/>
                  <a:pt x="156" y="206"/>
                  <a:pt x="156" y="205"/>
                </a:cubicBezTo>
                <a:cubicBezTo>
                  <a:pt x="157" y="204"/>
                  <a:pt x="158" y="204"/>
                  <a:pt x="158" y="203"/>
                </a:cubicBezTo>
                <a:cubicBezTo>
                  <a:pt x="158" y="202"/>
                  <a:pt x="156" y="199"/>
                  <a:pt x="155" y="198"/>
                </a:cubicBezTo>
                <a:cubicBezTo>
                  <a:pt x="155" y="197"/>
                  <a:pt x="155" y="196"/>
                  <a:pt x="154" y="195"/>
                </a:cubicBezTo>
                <a:cubicBezTo>
                  <a:pt x="153" y="195"/>
                  <a:pt x="150" y="195"/>
                  <a:pt x="150" y="195"/>
                </a:cubicBezTo>
                <a:cubicBezTo>
                  <a:pt x="149" y="194"/>
                  <a:pt x="149" y="193"/>
                  <a:pt x="149" y="192"/>
                </a:cubicBezTo>
                <a:cubicBezTo>
                  <a:pt x="150" y="191"/>
                  <a:pt x="149" y="189"/>
                  <a:pt x="150" y="188"/>
                </a:cubicBezTo>
                <a:cubicBezTo>
                  <a:pt x="150" y="188"/>
                  <a:pt x="152" y="187"/>
                  <a:pt x="153" y="186"/>
                </a:cubicBezTo>
                <a:cubicBezTo>
                  <a:pt x="153" y="185"/>
                  <a:pt x="154" y="183"/>
                  <a:pt x="154" y="182"/>
                </a:cubicBezTo>
                <a:cubicBezTo>
                  <a:pt x="155" y="181"/>
                  <a:pt x="155" y="180"/>
                  <a:pt x="156" y="179"/>
                </a:cubicBezTo>
                <a:cubicBezTo>
                  <a:pt x="157" y="178"/>
                  <a:pt x="159" y="177"/>
                  <a:pt x="160" y="177"/>
                </a:cubicBezTo>
                <a:cubicBezTo>
                  <a:pt x="161" y="176"/>
                  <a:pt x="161" y="175"/>
                  <a:pt x="162" y="175"/>
                </a:cubicBezTo>
                <a:cubicBezTo>
                  <a:pt x="162" y="174"/>
                  <a:pt x="163" y="175"/>
                  <a:pt x="164" y="175"/>
                </a:cubicBezTo>
                <a:cubicBezTo>
                  <a:pt x="164" y="175"/>
                  <a:pt x="165" y="173"/>
                  <a:pt x="166" y="173"/>
                </a:cubicBezTo>
                <a:cubicBezTo>
                  <a:pt x="166" y="172"/>
                  <a:pt x="168" y="173"/>
                  <a:pt x="168" y="173"/>
                </a:cubicBezTo>
                <a:cubicBezTo>
                  <a:pt x="168" y="172"/>
                  <a:pt x="169" y="171"/>
                  <a:pt x="169" y="171"/>
                </a:cubicBezTo>
                <a:cubicBezTo>
                  <a:pt x="169" y="170"/>
                  <a:pt x="170" y="169"/>
                  <a:pt x="170" y="169"/>
                </a:cubicBezTo>
                <a:cubicBezTo>
                  <a:pt x="170" y="169"/>
                  <a:pt x="170" y="140"/>
                  <a:pt x="170" y="140"/>
                </a:cubicBezTo>
                <a:cubicBezTo>
                  <a:pt x="170" y="140"/>
                  <a:pt x="173" y="141"/>
                  <a:pt x="173" y="141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4" y="138"/>
                  <a:pt x="176" y="136"/>
                  <a:pt x="176" y="136"/>
                </a:cubicBezTo>
                <a:cubicBezTo>
                  <a:pt x="177" y="136"/>
                  <a:pt x="180" y="132"/>
                  <a:pt x="181" y="132"/>
                </a:cubicBezTo>
                <a:cubicBezTo>
                  <a:pt x="181" y="131"/>
                  <a:pt x="185" y="129"/>
                  <a:pt x="185" y="128"/>
                </a:cubicBezTo>
                <a:cubicBezTo>
                  <a:pt x="186" y="128"/>
                  <a:pt x="187" y="127"/>
                  <a:pt x="187" y="127"/>
                </a:cubicBezTo>
                <a:cubicBezTo>
                  <a:pt x="188" y="126"/>
                  <a:pt x="195" y="120"/>
                  <a:pt x="196" y="120"/>
                </a:cubicBezTo>
                <a:cubicBezTo>
                  <a:pt x="196" y="120"/>
                  <a:pt x="214" y="100"/>
                  <a:pt x="215" y="100"/>
                </a:cubicBezTo>
                <a:cubicBezTo>
                  <a:pt x="216" y="99"/>
                  <a:pt x="220" y="95"/>
                  <a:pt x="222" y="94"/>
                </a:cubicBezTo>
                <a:cubicBezTo>
                  <a:pt x="223" y="92"/>
                  <a:pt x="232" y="87"/>
                  <a:pt x="235" y="86"/>
                </a:cubicBezTo>
                <a:cubicBezTo>
                  <a:pt x="239" y="85"/>
                  <a:pt x="247" y="82"/>
                  <a:pt x="251" y="81"/>
                </a:cubicBezTo>
                <a:cubicBezTo>
                  <a:pt x="254" y="81"/>
                  <a:pt x="257" y="78"/>
                  <a:pt x="258" y="77"/>
                </a:cubicBezTo>
                <a:cubicBezTo>
                  <a:pt x="260" y="76"/>
                  <a:pt x="264" y="72"/>
                  <a:pt x="264" y="72"/>
                </a:cubicBezTo>
                <a:cubicBezTo>
                  <a:pt x="262" y="72"/>
                  <a:pt x="262" y="72"/>
                  <a:pt x="262" y="72"/>
                </a:cubicBezTo>
                <a:cubicBezTo>
                  <a:pt x="260" y="72"/>
                  <a:pt x="260" y="72"/>
                  <a:pt x="260" y="72"/>
                </a:cubicBezTo>
                <a:cubicBezTo>
                  <a:pt x="258" y="72"/>
                  <a:pt x="258" y="72"/>
                  <a:pt x="258" y="72"/>
                </a:cubicBezTo>
                <a:cubicBezTo>
                  <a:pt x="258" y="72"/>
                  <a:pt x="255" y="72"/>
                  <a:pt x="255" y="73"/>
                </a:cubicBezTo>
                <a:cubicBezTo>
                  <a:pt x="255" y="73"/>
                  <a:pt x="253" y="73"/>
                  <a:pt x="253" y="73"/>
                </a:cubicBezTo>
                <a:cubicBezTo>
                  <a:pt x="253" y="73"/>
                  <a:pt x="249" y="71"/>
                  <a:pt x="249" y="71"/>
                </a:cubicBezTo>
                <a:cubicBezTo>
                  <a:pt x="249" y="71"/>
                  <a:pt x="249" y="69"/>
                  <a:pt x="249" y="69"/>
                </a:cubicBezTo>
                <a:cubicBezTo>
                  <a:pt x="249" y="69"/>
                  <a:pt x="248" y="68"/>
                  <a:pt x="248" y="68"/>
                </a:cubicBezTo>
                <a:cubicBezTo>
                  <a:pt x="248" y="68"/>
                  <a:pt x="247" y="68"/>
                  <a:pt x="247" y="68"/>
                </a:cubicBezTo>
                <a:cubicBezTo>
                  <a:pt x="247" y="68"/>
                  <a:pt x="246" y="67"/>
                  <a:pt x="246" y="67"/>
                </a:cubicBezTo>
                <a:cubicBezTo>
                  <a:pt x="245" y="67"/>
                  <a:pt x="245" y="67"/>
                  <a:pt x="245" y="67"/>
                </a:cubicBezTo>
                <a:cubicBezTo>
                  <a:pt x="230" y="67"/>
                  <a:pt x="230" y="67"/>
                  <a:pt x="230" y="67"/>
                </a:cubicBezTo>
                <a:cubicBezTo>
                  <a:pt x="229" y="66"/>
                  <a:pt x="229" y="66"/>
                  <a:pt x="229" y="66"/>
                </a:cubicBezTo>
                <a:cubicBezTo>
                  <a:pt x="225" y="68"/>
                  <a:pt x="225" y="68"/>
                  <a:pt x="225" y="68"/>
                </a:cubicBezTo>
                <a:cubicBezTo>
                  <a:pt x="223" y="68"/>
                  <a:pt x="223" y="68"/>
                  <a:pt x="223" y="68"/>
                </a:cubicBezTo>
                <a:cubicBezTo>
                  <a:pt x="223" y="68"/>
                  <a:pt x="223" y="67"/>
                  <a:pt x="223" y="67"/>
                </a:cubicBezTo>
                <a:cubicBezTo>
                  <a:pt x="223" y="67"/>
                  <a:pt x="222" y="66"/>
                  <a:pt x="222" y="66"/>
                </a:cubicBezTo>
                <a:cubicBezTo>
                  <a:pt x="222" y="65"/>
                  <a:pt x="222" y="65"/>
                  <a:pt x="222" y="65"/>
                </a:cubicBezTo>
                <a:cubicBezTo>
                  <a:pt x="222" y="64"/>
                  <a:pt x="222" y="64"/>
                  <a:pt x="222" y="64"/>
                </a:cubicBezTo>
                <a:cubicBezTo>
                  <a:pt x="222" y="64"/>
                  <a:pt x="222" y="64"/>
                  <a:pt x="222" y="64"/>
                </a:cubicBezTo>
                <a:cubicBezTo>
                  <a:pt x="220" y="64"/>
                  <a:pt x="220" y="64"/>
                  <a:pt x="220" y="64"/>
                </a:cubicBezTo>
                <a:cubicBezTo>
                  <a:pt x="220" y="60"/>
                  <a:pt x="220" y="60"/>
                  <a:pt x="220" y="60"/>
                </a:cubicBezTo>
                <a:cubicBezTo>
                  <a:pt x="218" y="60"/>
                  <a:pt x="218" y="60"/>
                  <a:pt x="218" y="60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6" y="68"/>
                  <a:pt x="206" y="68"/>
                  <a:pt x="206" y="68"/>
                </a:cubicBezTo>
                <a:cubicBezTo>
                  <a:pt x="198" y="70"/>
                  <a:pt x="198" y="70"/>
                  <a:pt x="198" y="70"/>
                </a:cubicBezTo>
                <a:cubicBezTo>
                  <a:pt x="195" y="70"/>
                  <a:pt x="195" y="70"/>
                  <a:pt x="195" y="70"/>
                </a:cubicBezTo>
                <a:cubicBezTo>
                  <a:pt x="195" y="67"/>
                  <a:pt x="195" y="67"/>
                  <a:pt x="195" y="67"/>
                </a:cubicBezTo>
                <a:cubicBezTo>
                  <a:pt x="194" y="67"/>
                  <a:pt x="194" y="67"/>
                  <a:pt x="194" y="67"/>
                </a:cubicBezTo>
                <a:cubicBezTo>
                  <a:pt x="192" y="67"/>
                  <a:pt x="192" y="67"/>
                  <a:pt x="192" y="67"/>
                </a:cubicBezTo>
                <a:cubicBezTo>
                  <a:pt x="191" y="66"/>
                  <a:pt x="191" y="66"/>
                  <a:pt x="191" y="66"/>
                </a:cubicBezTo>
                <a:cubicBezTo>
                  <a:pt x="190" y="66"/>
                  <a:pt x="190" y="66"/>
                  <a:pt x="190" y="66"/>
                </a:cubicBezTo>
                <a:cubicBezTo>
                  <a:pt x="190" y="62"/>
                  <a:pt x="190" y="62"/>
                  <a:pt x="190" y="62"/>
                </a:cubicBezTo>
                <a:cubicBezTo>
                  <a:pt x="185" y="62"/>
                  <a:pt x="185" y="62"/>
                  <a:pt x="185" y="62"/>
                </a:cubicBezTo>
                <a:cubicBezTo>
                  <a:pt x="184" y="60"/>
                  <a:pt x="184" y="60"/>
                  <a:pt x="184" y="60"/>
                </a:cubicBezTo>
                <a:cubicBezTo>
                  <a:pt x="181" y="61"/>
                  <a:pt x="181" y="61"/>
                  <a:pt x="181" y="61"/>
                </a:cubicBezTo>
                <a:cubicBezTo>
                  <a:pt x="181" y="59"/>
                  <a:pt x="181" y="59"/>
                  <a:pt x="181" y="59"/>
                </a:cubicBezTo>
                <a:cubicBezTo>
                  <a:pt x="180" y="59"/>
                  <a:pt x="180" y="59"/>
                  <a:pt x="180" y="59"/>
                </a:cubicBezTo>
                <a:cubicBezTo>
                  <a:pt x="180" y="56"/>
                  <a:pt x="180" y="56"/>
                  <a:pt x="180" y="56"/>
                </a:cubicBezTo>
                <a:cubicBezTo>
                  <a:pt x="178" y="54"/>
                  <a:pt x="178" y="54"/>
                  <a:pt x="178" y="54"/>
                </a:cubicBezTo>
                <a:cubicBezTo>
                  <a:pt x="171" y="54"/>
                  <a:pt x="171" y="54"/>
                  <a:pt x="171" y="54"/>
                </a:cubicBezTo>
                <a:cubicBezTo>
                  <a:pt x="169" y="56"/>
                  <a:pt x="169" y="56"/>
                  <a:pt x="169" y="56"/>
                </a:cubicBezTo>
                <a:cubicBezTo>
                  <a:pt x="169" y="56"/>
                  <a:pt x="170" y="57"/>
                  <a:pt x="170" y="58"/>
                </a:cubicBezTo>
                <a:cubicBezTo>
                  <a:pt x="170" y="58"/>
                  <a:pt x="171" y="60"/>
                  <a:pt x="171" y="60"/>
                </a:cubicBezTo>
                <a:cubicBezTo>
                  <a:pt x="167" y="61"/>
                  <a:pt x="167" y="61"/>
                  <a:pt x="167" y="61"/>
                </a:cubicBezTo>
                <a:cubicBezTo>
                  <a:pt x="164" y="55"/>
                  <a:pt x="164" y="55"/>
                  <a:pt x="164" y="55"/>
                </a:cubicBezTo>
                <a:cubicBezTo>
                  <a:pt x="164" y="55"/>
                  <a:pt x="164" y="53"/>
                  <a:pt x="164" y="52"/>
                </a:cubicBezTo>
                <a:cubicBezTo>
                  <a:pt x="164" y="52"/>
                  <a:pt x="164" y="51"/>
                  <a:pt x="164" y="51"/>
                </a:cubicBezTo>
                <a:cubicBezTo>
                  <a:pt x="164" y="51"/>
                  <a:pt x="163" y="50"/>
                  <a:pt x="163" y="50"/>
                </a:cubicBezTo>
                <a:cubicBezTo>
                  <a:pt x="163" y="49"/>
                  <a:pt x="157" y="50"/>
                  <a:pt x="157" y="50"/>
                </a:cubicBezTo>
                <a:cubicBezTo>
                  <a:pt x="157" y="50"/>
                  <a:pt x="155" y="49"/>
                  <a:pt x="155" y="48"/>
                </a:cubicBezTo>
                <a:cubicBezTo>
                  <a:pt x="155" y="48"/>
                  <a:pt x="156" y="47"/>
                  <a:pt x="156" y="47"/>
                </a:cubicBezTo>
                <a:cubicBezTo>
                  <a:pt x="159" y="47"/>
                  <a:pt x="159" y="47"/>
                  <a:pt x="159" y="47"/>
                </a:cubicBezTo>
                <a:cubicBezTo>
                  <a:pt x="158" y="45"/>
                  <a:pt x="158" y="45"/>
                  <a:pt x="158" y="45"/>
                </a:cubicBezTo>
                <a:cubicBezTo>
                  <a:pt x="155" y="45"/>
                  <a:pt x="155" y="45"/>
                  <a:pt x="155" y="45"/>
                </a:cubicBezTo>
                <a:cubicBezTo>
                  <a:pt x="147" y="41"/>
                  <a:pt x="147" y="41"/>
                  <a:pt x="147" y="41"/>
                </a:cubicBezTo>
                <a:cubicBezTo>
                  <a:pt x="147" y="40"/>
                  <a:pt x="147" y="40"/>
                  <a:pt x="14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38" y="39"/>
                  <a:pt x="138" y="39"/>
                  <a:pt x="138" y="39"/>
                </a:cubicBezTo>
                <a:cubicBezTo>
                  <a:pt x="137" y="40"/>
                  <a:pt x="137" y="40"/>
                  <a:pt x="137" y="40"/>
                </a:cubicBezTo>
                <a:cubicBezTo>
                  <a:pt x="130" y="42"/>
                  <a:pt x="130" y="42"/>
                  <a:pt x="130" y="42"/>
                </a:cubicBezTo>
                <a:cubicBezTo>
                  <a:pt x="130" y="44"/>
                  <a:pt x="130" y="44"/>
                  <a:pt x="130" y="44"/>
                </a:cubicBezTo>
                <a:cubicBezTo>
                  <a:pt x="118" y="46"/>
                  <a:pt x="118" y="46"/>
                  <a:pt x="118" y="46"/>
                </a:cubicBezTo>
                <a:cubicBezTo>
                  <a:pt x="117" y="40"/>
                  <a:pt x="117" y="40"/>
                  <a:pt x="117" y="40"/>
                </a:cubicBezTo>
                <a:cubicBezTo>
                  <a:pt x="103" y="39"/>
                  <a:pt x="103" y="39"/>
                  <a:pt x="103" y="39"/>
                </a:cubicBezTo>
                <a:cubicBezTo>
                  <a:pt x="102" y="37"/>
                  <a:pt x="102" y="37"/>
                  <a:pt x="102" y="37"/>
                </a:cubicBezTo>
                <a:cubicBezTo>
                  <a:pt x="100" y="36"/>
                  <a:pt x="100" y="36"/>
                  <a:pt x="100" y="36"/>
                </a:cubicBezTo>
                <a:cubicBezTo>
                  <a:pt x="100" y="36"/>
                  <a:pt x="98" y="36"/>
                  <a:pt x="98" y="36"/>
                </a:cubicBezTo>
                <a:cubicBezTo>
                  <a:pt x="98" y="36"/>
                  <a:pt x="96" y="37"/>
                  <a:pt x="96" y="37"/>
                </a:cubicBezTo>
                <a:cubicBezTo>
                  <a:pt x="91" y="36"/>
                  <a:pt x="91" y="36"/>
                  <a:pt x="91" y="36"/>
                </a:cubicBezTo>
                <a:cubicBezTo>
                  <a:pt x="87" y="32"/>
                  <a:pt x="87" y="32"/>
                  <a:pt x="87" y="32"/>
                </a:cubicBezTo>
                <a:cubicBezTo>
                  <a:pt x="87" y="24"/>
                  <a:pt x="87" y="24"/>
                  <a:pt x="87" y="24"/>
                </a:cubicBezTo>
                <a:cubicBezTo>
                  <a:pt x="83" y="4"/>
                  <a:pt x="83" y="4"/>
                  <a:pt x="83" y="4"/>
                </a:cubicBezTo>
                <a:cubicBezTo>
                  <a:pt x="78" y="1"/>
                  <a:pt x="78" y="1"/>
                  <a:pt x="78" y="1"/>
                </a:cubicBezTo>
                <a:cubicBezTo>
                  <a:pt x="78" y="1"/>
                  <a:pt x="77" y="1"/>
                  <a:pt x="77" y="1"/>
                </a:cubicBezTo>
                <a:cubicBezTo>
                  <a:pt x="74" y="2"/>
                  <a:pt x="74" y="2"/>
                  <a:pt x="74" y="2"/>
                </a:cubicBezTo>
                <a:cubicBezTo>
                  <a:pt x="71" y="0"/>
                  <a:pt x="71" y="0"/>
                  <a:pt x="71" y="0"/>
                </a:cubicBezTo>
                <a:cubicBezTo>
                  <a:pt x="71" y="20"/>
                  <a:pt x="71" y="20"/>
                  <a:pt x="7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20"/>
                  <a:pt x="0" y="23"/>
                  <a:pt x="0" y="24"/>
                </a:cubicBezTo>
                <a:cubicBezTo>
                  <a:pt x="0" y="26"/>
                  <a:pt x="1" y="27"/>
                  <a:pt x="1" y="28"/>
                </a:cubicBezTo>
                <a:cubicBezTo>
                  <a:pt x="1" y="29"/>
                  <a:pt x="3" y="34"/>
                  <a:pt x="3" y="34"/>
                </a:cubicBezTo>
                <a:cubicBezTo>
                  <a:pt x="3" y="35"/>
                  <a:pt x="4" y="36"/>
                  <a:pt x="3" y="38"/>
                </a:cubicBezTo>
                <a:cubicBezTo>
                  <a:pt x="3" y="40"/>
                  <a:pt x="3" y="40"/>
                  <a:pt x="3" y="41"/>
                </a:cubicBezTo>
                <a:cubicBezTo>
                  <a:pt x="2" y="41"/>
                  <a:pt x="2" y="43"/>
                  <a:pt x="2" y="44"/>
                </a:cubicBezTo>
                <a:cubicBezTo>
                  <a:pt x="2" y="45"/>
                  <a:pt x="2" y="44"/>
                  <a:pt x="3" y="45"/>
                </a:cubicBezTo>
                <a:cubicBezTo>
                  <a:pt x="3" y="45"/>
                  <a:pt x="3" y="46"/>
                  <a:pt x="2" y="47"/>
                </a:cubicBezTo>
                <a:cubicBezTo>
                  <a:pt x="2" y="47"/>
                  <a:pt x="2" y="48"/>
                  <a:pt x="2" y="48"/>
                </a:cubicBezTo>
                <a:cubicBezTo>
                  <a:pt x="2" y="48"/>
                  <a:pt x="3" y="49"/>
                  <a:pt x="3" y="50"/>
                </a:cubicBezTo>
                <a:cubicBezTo>
                  <a:pt x="3" y="50"/>
                  <a:pt x="2" y="52"/>
                  <a:pt x="2" y="53"/>
                </a:cubicBezTo>
                <a:cubicBezTo>
                  <a:pt x="2" y="54"/>
                  <a:pt x="3" y="55"/>
                  <a:pt x="3" y="56"/>
                </a:cubicBezTo>
                <a:cubicBezTo>
                  <a:pt x="3" y="57"/>
                  <a:pt x="3" y="58"/>
                  <a:pt x="3" y="60"/>
                </a:cubicBezTo>
                <a:cubicBezTo>
                  <a:pt x="3" y="61"/>
                  <a:pt x="3" y="65"/>
                  <a:pt x="3" y="67"/>
                </a:cubicBezTo>
                <a:cubicBezTo>
                  <a:pt x="3" y="69"/>
                  <a:pt x="4" y="70"/>
                  <a:pt x="5" y="72"/>
                </a:cubicBezTo>
                <a:cubicBezTo>
                  <a:pt x="5" y="73"/>
                  <a:pt x="7" y="80"/>
                  <a:pt x="8" y="82"/>
                </a:cubicBezTo>
                <a:cubicBezTo>
                  <a:pt x="8" y="84"/>
                  <a:pt x="11" y="87"/>
                  <a:pt x="11" y="89"/>
                </a:cubicBezTo>
                <a:cubicBezTo>
                  <a:pt x="12" y="91"/>
                  <a:pt x="12" y="94"/>
                  <a:pt x="12" y="95"/>
                </a:cubicBezTo>
                <a:cubicBezTo>
                  <a:pt x="13" y="97"/>
                  <a:pt x="13" y="103"/>
                  <a:pt x="13" y="104"/>
                </a:cubicBezTo>
                <a:cubicBezTo>
                  <a:pt x="13" y="106"/>
                  <a:pt x="13" y="109"/>
                  <a:pt x="13" y="110"/>
                </a:cubicBezTo>
                <a:cubicBezTo>
                  <a:pt x="13" y="112"/>
                  <a:pt x="13" y="120"/>
                  <a:pt x="13" y="122"/>
                </a:cubicBezTo>
                <a:cubicBezTo>
                  <a:pt x="14" y="124"/>
                  <a:pt x="14" y="125"/>
                  <a:pt x="15" y="126"/>
                </a:cubicBezTo>
                <a:cubicBezTo>
                  <a:pt x="15" y="127"/>
                  <a:pt x="16" y="128"/>
                  <a:pt x="16" y="129"/>
                </a:cubicBezTo>
                <a:cubicBezTo>
                  <a:pt x="16" y="130"/>
                  <a:pt x="16" y="131"/>
                  <a:pt x="16" y="131"/>
                </a:cubicBezTo>
                <a:cubicBezTo>
                  <a:pt x="16" y="132"/>
                  <a:pt x="15" y="138"/>
                  <a:pt x="15" y="139"/>
                </a:cubicBezTo>
                <a:cubicBezTo>
                  <a:pt x="15" y="141"/>
                  <a:pt x="15" y="142"/>
                  <a:pt x="15" y="143"/>
                </a:cubicBezTo>
                <a:cubicBezTo>
                  <a:pt x="15" y="144"/>
                  <a:pt x="16" y="146"/>
                  <a:pt x="16" y="147"/>
                </a:cubicBezTo>
                <a:cubicBezTo>
                  <a:pt x="16" y="148"/>
                  <a:pt x="17" y="150"/>
                  <a:pt x="17" y="151"/>
                </a:cubicBezTo>
                <a:cubicBezTo>
                  <a:pt x="18" y="152"/>
                  <a:pt x="19" y="154"/>
                  <a:pt x="20" y="154"/>
                </a:cubicBezTo>
                <a:cubicBezTo>
                  <a:pt x="20" y="155"/>
                  <a:pt x="21" y="159"/>
                  <a:pt x="22" y="159"/>
                </a:cubicBezTo>
                <a:cubicBezTo>
                  <a:pt x="22" y="160"/>
                  <a:pt x="22" y="176"/>
                  <a:pt x="22" y="176"/>
                </a:cubicBezTo>
                <a:cubicBezTo>
                  <a:pt x="22" y="176"/>
                  <a:pt x="23" y="182"/>
                  <a:pt x="22" y="182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8" name="Freeform 36">
            <a:extLst>
              <a:ext uri="{FF2B5EF4-FFF2-40B4-BE49-F238E27FC236}">
                <a16:creationId xmlns:a16="http://schemas.microsoft.com/office/drawing/2014/main" id="{649D0748-6B6B-4D6D-BF58-DA3E6DFE9E2E}"/>
              </a:ext>
            </a:extLst>
          </p:cNvPr>
          <p:cNvSpPr>
            <a:spLocks noEditPoints="1"/>
          </p:cNvSpPr>
          <p:nvPr/>
        </p:nvSpPr>
        <p:spPr bwMode="auto">
          <a:xfrm>
            <a:off x="8690786" y="1436441"/>
            <a:ext cx="1093759" cy="1249067"/>
          </a:xfrm>
          <a:custGeom>
            <a:avLst/>
            <a:gdLst>
              <a:gd name="T0" fmla="*/ 63 w 276"/>
              <a:gd name="T1" fmla="*/ 5 h 315"/>
              <a:gd name="T2" fmla="*/ 45 w 276"/>
              <a:gd name="T3" fmla="*/ 17 h 315"/>
              <a:gd name="T4" fmla="*/ 129 w 276"/>
              <a:gd name="T5" fmla="*/ 83 h 315"/>
              <a:gd name="T6" fmla="*/ 167 w 276"/>
              <a:gd name="T7" fmla="*/ 123 h 315"/>
              <a:gd name="T8" fmla="*/ 154 w 276"/>
              <a:gd name="T9" fmla="*/ 155 h 315"/>
              <a:gd name="T10" fmla="*/ 208 w 276"/>
              <a:gd name="T11" fmla="*/ 121 h 315"/>
              <a:gd name="T12" fmla="*/ 208 w 276"/>
              <a:gd name="T13" fmla="*/ 122 h 315"/>
              <a:gd name="T14" fmla="*/ 239 w 276"/>
              <a:gd name="T15" fmla="*/ 111 h 315"/>
              <a:gd name="T16" fmla="*/ 232 w 276"/>
              <a:gd name="T17" fmla="*/ 107 h 315"/>
              <a:gd name="T18" fmla="*/ 7 w 276"/>
              <a:gd name="T19" fmla="*/ 84 h 315"/>
              <a:gd name="T20" fmla="*/ 72 w 276"/>
              <a:gd name="T21" fmla="*/ 111 h 315"/>
              <a:gd name="T22" fmla="*/ 90 w 276"/>
              <a:gd name="T23" fmla="*/ 126 h 315"/>
              <a:gd name="T24" fmla="*/ 95 w 276"/>
              <a:gd name="T25" fmla="*/ 139 h 315"/>
              <a:gd name="T26" fmla="*/ 110 w 276"/>
              <a:gd name="T27" fmla="*/ 130 h 315"/>
              <a:gd name="T28" fmla="*/ 118 w 276"/>
              <a:gd name="T29" fmla="*/ 116 h 315"/>
              <a:gd name="T30" fmla="*/ 124 w 276"/>
              <a:gd name="T31" fmla="*/ 121 h 315"/>
              <a:gd name="T32" fmla="*/ 128 w 276"/>
              <a:gd name="T33" fmla="*/ 126 h 315"/>
              <a:gd name="T34" fmla="*/ 145 w 276"/>
              <a:gd name="T35" fmla="*/ 112 h 315"/>
              <a:gd name="T36" fmla="*/ 169 w 276"/>
              <a:gd name="T37" fmla="*/ 105 h 315"/>
              <a:gd name="T38" fmla="*/ 192 w 276"/>
              <a:gd name="T39" fmla="*/ 114 h 315"/>
              <a:gd name="T40" fmla="*/ 204 w 276"/>
              <a:gd name="T41" fmla="*/ 109 h 315"/>
              <a:gd name="T42" fmla="*/ 222 w 276"/>
              <a:gd name="T43" fmla="*/ 108 h 315"/>
              <a:gd name="T44" fmla="*/ 214 w 276"/>
              <a:gd name="T45" fmla="*/ 97 h 315"/>
              <a:gd name="T46" fmla="*/ 212 w 276"/>
              <a:gd name="T47" fmla="*/ 88 h 315"/>
              <a:gd name="T48" fmla="*/ 211 w 276"/>
              <a:gd name="T49" fmla="*/ 85 h 315"/>
              <a:gd name="T50" fmla="*/ 194 w 276"/>
              <a:gd name="T51" fmla="*/ 86 h 315"/>
              <a:gd name="T52" fmla="*/ 186 w 276"/>
              <a:gd name="T53" fmla="*/ 71 h 315"/>
              <a:gd name="T54" fmla="*/ 140 w 276"/>
              <a:gd name="T55" fmla="*/ 80 h 315"/>
              <a:gd name="T56" fmla="*/ 119 w 276"/>
              <a:gd name="T57" fmla="*/ 84 h 315"/>
              <a:gd name="T58" fmla="*/ 98 w 276"/>
              <a:gd name="T59" fmla="*/ 72 h 315"/>
              <a:gd name="T60" fmla="*/ 82 w 276"/>
              <a:gd name="T61" fmla="*/ 64 h 315"/>
              <a:gd name="T62" fmla="*/ 67 w 276"/>
              <a:gd name="T63" fmla="*/ 69 h 315"/>
              <a:gd name="T64" fmla="*/ 91 w 276"/>
              <a:gd name="T65" fmla="*/ 39 h 315"/>
              <a:gd name="T66" fmla="*/ 63 w 276"/>
              <a:gd name="T67" fmla="*/ 46 h 315"/>
              <a:gd name="T68" fmla="*/ 45 w 276"/>
              <a:gd name="T69" fmla="*/ 60 h 315"/>
              <a:gd name="T70" fmla="*/ 0 w 276"/>
              <a:gd name="T71" fmla="*/ 80 h 315"/>
              <a:gd name="T72" fmla="*/ 254 w 276"/>
              <a:gd name="T73" fmla="*/ 286 h 315"/>
              <a:gd name="T74" fmla="*/ 267 w 276"/>
              <a:gd name="T75" fmla="*/ 270 h 315"/>
              <a:gd name="T76" fmla="*/ 272 w 276"/>
              <a:gd name="T77" fmla="*/ 238 h 315"/>
              <a:gd name="T78" fmla="*/ 265 w 276"/>
              <a:gd name="T79" fmla="*/ 207 h 315"/>
              <a:gd name="T80" fmla="*/ 245 w 276"/>
              <a:gd name="T81" fmla="*/ 211 h 315"/>
              <a:gd name="T82" fmla="*/ 236 w 276"/>
              <a:gd name="T83" fmla="*/ 223 h 315"/>
              <a:gd name="T84" fmla="*/ 225 w 276"/>
              <a:gd name="T85" fmla="*/ 212 h 315"/>
              <a:gd name="T86" fmla="*/ 239 w 276"/>
              <a:gd name="T87" fmla="*/ 194 h 315"/>
              <a:gd name="T88" fmla="*/ 247 w 276"/>
              <a:gd name="T89" fmla="*/ 171 h 315"/>
              <a:gd name="T90" fmla="*/ 244 w 276"/>
              <a:gd name="T91" fmla="*/ 155 h 315"/>
              <a:gd name="T92" fmla="*/ 242 w 276"/>
              <a:gd name="T93" fmla="*/ 143 h 315"/>
              <a:gd name="T94" fmla="*/ 212 w 276"/>
              <a:gd name="T95" fmla="*/ 127 h 315"/>
              <a:gd name="T96" fmla="*/ 197 w 276"/>
              <a:gd name="T97" fmla="*/ 121 h 315"/>
              <a:gd name="T98" fmla="*/ 185 w 276"/>
              <a:gd name="T99" fmla="*/ 128 h 315"/>
              <a:gd name="T100" fmla="*/ 183 w 276"/>
              <a:gd name="T101" fmla="*/ 141 h 315"/>
              <a:gd name="T102" fmla="*/ 173 w 276"/>
              <a:gd name="T103" fmla="*/ 158 h 315"/>
              <a:gd name="T104" fmla="*/ 169 w 276"/>
              <a:gd name="T105" fmla="*/ 166 h 315"/>
              <a:gd name="T106" fmla="*/ 165 w 276"/>
              <a:gd name="T107" fmla="*/ 167 h 315"/>
              <a:gd name="T108" fmla="*/ 166 w 276"/>
              <a:gd name="T109" fmla="*/ 153 h 315"/>
              <a:gd name="T110" fmla="*/ 157 w 276"/>
              <a:gd name="T111" fmla="*/ 160 h 315"/>
              <a:gd name="T112" fmla="*/ 145 w 276"/>
              <a:gd name="T113" fmla="*/ 173 h 315"/>
              <a:gd name="T114" fmla="*/ 142 w 276"/>
              <a:gd name="T115" fmla="*/ 193 h 315"/>
              <a:gd name="T116" fmla="*/ 137 w 276"/>
              <a:gd name="T117" fmla="*/ 211 h 315"/>
              <a:gd name="T118" fmla="*/ 142 w 276"/>
              <a:gd name="T119" fmla="*/ 245 h 315"/>
              <a:gd name="T120" fmla="*/ 141 w 276"/>
              <a:gd name="T121" fmla="*/ 286 h 315"/>
              <a:gd name="T122" fmla="*/ 125 w 276"/>
              <a:gd name="T123" fmla="*/ 312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6" h="315">
                <a:moveTo>
                  <a:pt x="41" y="15"/>
                </a:moveTo>
                <a:cubicBezTo>
                  <a:pt x="42" y="14"/>
                  <a:pt x="43" y="13"/>
                  <a:pt x="43" y="12"/>
                </a:cubicBezTo>
                <a:cubicBezTo>
                  <a:pt x="44" y="10"/>
                  <a:pt x="46" y="9"/>
                  <a:pt x="47" y="9"/>
                </a:cubicBezTo>
                <a:cubicBezTo>
                  <a:pt x="49" y="8"/>
                  <a:pt x="50" y="7"/>
                  <a:pt x="52" y="7"/>
                </a:cubicBezTo>
                <a:cubicBezTo>
                  <a:pt x="54" y="6"/>
                  <a:pt x="55" y="5"/>
                  <a:pt x="57" y="4"/>
                </a:cubicBezTo>
                <a:cubicBezTo>
                  <a:pt x="57" y="4"/>
                  <a:pt x="58" y="3"/>
                  <a:pt x="59" y="3"/>
                </a:cubicBezTo>
                <a:cubicBezTo>
                  <a:pt x="59" y="2"/>
                  <a:pt x="60" y="1"/>
                  <a:pt x="61" y="1"/>
                </a:cubicBezTo>
                <a:cubicBezTo>
                  <a:pt x="62" y="1"/>
                  <a:pt x="62" y="1"/>
                  <a:pt x="63" y="0"/>
                </a:cubicBezTo>
                <a:cubicBezTo>
                  <a:pt x="64" y="0"/>
                  <a:pt x="64" y="0"/>
                  <a:pt x="65" y="0"/>
                </a:cubicBezTo>
                <a:cubicBezTo>
                  <a:pt x="65" y="0"/>
                  <a:pt x="66" y="0"/>
                  <a:pt x="66" y="0"/>
                </a:cubicBezTo>
                <a:cubicBezTo>
                  <a:pt x="66" y="1"/>
                  <a:pt x="64" y="2"/>
                  <a:pt x="63" y="2"/>
                </a:cubicBezTo>
                <a:cubicBezTo>
                  <a:pt x="63" y="2"/>
                  <a:pt x="62" y="3"/>
                  <a:pt x="62" y="3"/>
                </a:cubicBezTo>
                <a:cubicBezTo>
                  <a:pt x="62" y="4"/>
                  <a:pt x="63" y="4"/>
                  <a:pt x="63" y="5"/>
                </a:cubicBezTo>
                <a:cubicBezTo>
                  <a:pt x="63" y="5"/>
                  <a:pt x="63" y="6"/>
                  <a:pt x="62" y="6"/>
                </a:cubicBezTo>
                <a:cubicBezTo>
                  <a:pt x="62" y="6"/>
                  <a:pt x="61" y="7"/>
                  <a:pt x="61" y="7"/>
                </a:cubicBezTo>
                <a:cubicBezTo>
                  <a:pt x="60" y="8"/>
                  <a:pt x="59" y="8"/>
                  <a:pt x="59" y="8"/>
                </a:cubicBezTo>
                <a:cubicBezTo>
                  <a:pt x="58" y="8"/>
                  <a:pt x="58" y="8"/>
                  <a:pt x="57" y="8"/>
                </a:cubicBezTo>
                <a:cubicBezTo>
                  <a:pt x="57" y="8"/>
                  <a:pt x="56" y="9"/>
                  <a:pt x="56" y="9"/>
                </a:cubicBezTo>
                <a:cubicBezTo>
                  <a:pt x="55" y="9"/>
                  <a:pt x="54" y="9"/>
                  <a:pt x="53" y="10"/>
                </a:cubicBezTo>
                <a:cubicBezTo>
                  <a:pt x="52" y="10"/>
                  <a:pt x="52" y="11"/>
                  <a:pt x="51" y="11"/>
                </a:cubicBezTo>
                <a:cubicBezTo>
                  <a:pt x="51" y="12"/>
                  <a:pt x="51" y="12"/>
                  <a:pt x="51" y="12"/>
                </a:cubicBezTo>
                <a:cubicBezTo>
                  <a:pt x="51" y="12"/>
                  <a:pt x="51" y="12"/>
                  <a:pt x="51" y="12"/>
                </a:cubicBezTo>
                <a:cubicBezTo>
                  <a:pt x="52" y="13"/>
                  <a:pt x="51" y="14"/>
                  <a:pt x="51" y="14"/>
                </a:cubicBezTo>
                <a:cubicBezTo>
                  <a:pt x="50" y="14"/>
                  <a:pt x="48" y="15"/>
                  <a:pt x="47" y="15"/>
                </a:cubicBezTo>
                <a:cubicBezTo>
                  <a:pt x="47" y="15"/>
                  <a:pt x="46" y="16"/>
                  <a:pt x="46" y="16"/>
                </a:cubicBezTo>
                <a:cubicBezTo>
                  <a:pt x="46" y="16"/>
                  <a:pt x="46" y="16"/>
                  <a:pt x="45" y="17"/>
                </a:cubicBezTo>
                <a:cubicBezTo>
                  <a:pt x="45" y="17"/>
                  <a:pt x="44" y="17"/>
                  <a:pt x="44" y="17"/>
                </a:cubicBezTo>
                <a:cubicBezTo>
                  <a:pt x="44" y="17"/>
                  <a:pt x="44" y="17"/>
                  <a:pt x="43" y="16"/>
                </a:cubicBezTo>
                <a:cubicBezTo>
                  <a:pt x="43" y="16"/>
                  <a:pt x="42" y="16"/>
                  <a:pt x="41" y="16"/>
                </a:cubicBezTo>
                <a:cubicBezTo>
                  <a:pt x="41" y="16"/>
                  <a:pt x="41" y="16"/>
                  <a:pt x="41" y="15"/>
                </a:cubicBezTo>
                <a:close/>
                <a:moveTo>
                  <a:pt x="129" y="84"/>
                </a:moveTo>
                <a:cubicBezTo>
                  <a:pt x="129" y="84"/>
                  <a:pt x="129" y="85"/>
                  <a:pt x="129" y="85"/>
                </a:cubicBezTo>
                <a:cubicBezTo>
                  <a:pt x="130" y="85"/>
                  <a:pt x="130" y="85"/>
                  <a:pt x="130" y="84"/>
                </a:cubicBezTo>
                <a:cubicBezTo>
                  <a:pt x="130" y="84"/>
                  <a:pt x="130" y="84"/>
                  <a:pt x="130" y="83"/>
                </a:cubicBezTo>
                <a:cubicBezTo>
                  <a:pt x="130" y="83"/>
                  <a:pt x="130" y="83"/>
                  <a:pt x="130" y="82"/>
                </a:cubicBezTo>
                <a:cubicBezTo>
                  <a:pt x="130" y="81"/>
                  <a:pt x="130" y="81"/>
                  <a:pt x="129" y="81"/>
                </a:cubicBezTo>
                <a:cubicBezTo>
                  <a:pt x="129" y="82"/>
                  <a:pt x="128" y="81"/>
                  <a:pt x="128" y="82"/>
                </a:cubicBezTo>
                <a:cubicBezTo>
                  <a:pt x="128" y="82"/>
                  <a:pt x="128" y="82"/>
                  <a:pt x="128" y="82"/>
                </a:cubicBezTo>
                <a:cubicBezTo>
                  <a:pt x="128" y="82"/>
                  <a:pt x="129" y="83"/>
                  <a:pt x="129" y="83"/>
                </a:cubicBezTo>
                <a:cubicBezTo>
                  <a:pt x="129" y="83"/>
                  <a:pt x="129" y="83"/>
                  <a:pt x="129" y="83"/>
                </a:cubicBezTo>
                <a:cubicBezTo>
                  <a:pt x="129" y="83"/>
                  <a:pt x="129" y="83"/>
                  <a:pt x="129" y="84"/>
                </a:cubicBezTo>
                <a:cubicBezTo>
                  <a:pt x="129" y="84"/>
                  <a:pt x="129" y="84"/>
                  <a:pt x="129" y="84"/>
                </a:cubicBezTo>
                <a:close/>
                <a:moveTo>
                  <a:pt x="166" y="130"/>
                </a:moveTo>
                <a:cubicBezTo>
                  <a:pt x="167" y="130"/>
                  <a:pt x="167" y="130"/>
                  <a:pt x="168" y="130"/>
                </a:cubicBezTo>
                <a:cubicBezTo>
                  <a:pt x="168" y="129"/>
                  <a:pt x="168" y="129"/>
                  <a:pt x="169" y="129"/>
                </a:cubicBezTo>
                <a:cubicBezTo>
                  <a:pt x="169" y="129"/>
                  <a:pt x="170" y="129"/>
                  <a:pt x="170" y="129"/>
                </a:cubicBezTo>
                <a:cubicBezTo>
                  <a:pt x="170" y="128"/>
                  <a:pt x="170" y="128"/>
                  <a:pt x="170" y="128"/>
                </a:cubicBezTo>
                <a:cubicBezTo>
                  <a:pt x="170" y="127"/>
                  <a:pt x="170" y="126"/>
                  <a:pt x="170" y="126"/>
                </a:cubicBezTo>
                <a:cubicBezTo>
                  <a:pt x="170" y="125"/>
                  <a:pt x="170" y="125"/>
                  <a:pt x="170" y="125"/>
                </a:cubicBezTo>
                <a:cubicBezTo>
                  <a:pt x="170" y="124"/>
                  <a:pt x="170" y="123"/>
                  <a:pt x="169" y="122"/>
                </a:cubicBezTo>
                <a:cubicBezTo>
                  <a:pt x="169" y="122"/>
                  <a:pt x="168" y="121"/>
                  <a:pt x="168" y="121"/>
                </a:cubicBezTo>
                <a:cubicBezTo>
                  <a:pt x="167" y="122"/>
                  <a:pt x="167" y="122"/>
                  <a:pt x="167" y="123"/>
                </a:cubicBezTo>
                <a:cubicBezTo>
                  <a:pt x="167" y="123"/>
                  <a:pt x="167" y="124"/>
                  <a:pt x="167" y="124"/>
                </a:cubicBezTo>
                <a:cubicBezTo>
                  <a:pt x="167" y="125"/>
                  <a:pt x="167" y="125"/>
                  <a:pt x="167" y="126"/>
                </a:cubicBezTo>
                <a:cubicBezTo>
                  <a:pt x="166" y="126"/>
                  <a:pt x="166" y="127"/>
                  <a:pt x="166" y="127"/>
                </a:cubicBezTo>
                <a:cubicBezTo>
                  <a:pt x="165" y="128"/>
                  <a:pt x="166" y="128"/>
                  <a:pt x="166" y="129"/>
                </a:cubicBezTo>
                <a:cubicBezTo>
                  <a:pt x="166" y="129"/>
                  <a:pt x="166" y="129"/>
                  <a:pt x="166" y="130"/>
                </a:cubicBezTo>
                <a:close/>
                <a:moveTo>
                  <a:pt x="151" y="154"/>
                </a:moveTo>
                <a:cubicBezTo>
                  <a:pt x="151" y="154"/>
                  <a:pt x="151" y="154"/>
                  <a:pt x="151" y="154"/>
                </a:cubicBezTo>
                <a:cubicBezTo>
                  <a:pt x="151" y="154"/>
                  <a:pt x="151" y="154"/>
                  <a:pt x="151" y="154"/>
                </a:cubicBezTo>
                <a:cubicBezTo>
                  <a:pt x="152" y="154"/>
                  <a:pt x="151" y="155"/>
                  <a:pt x="152" y="155"/>
                </a:cubicBezTo>
                <a:cubicBezTo>
                  <a:pt x="152" y="155"/>
                  <a:pt x="152" y="155"/>
                  <a:pt x="152" y="155"/>
                </a:cubicBezTo>
                <a:cubicBezTo>
                  <a:pt x="153" y="155"/>
                  <a:pt x="153" y="155"/>
                  <a:pt x="153" y="155"/>
                </a:cubicBezTo>
                <a:cubicBezTo>
                  <a:pt x="153" y="155"/>
                  <a:pt x="153" y="155"/>
                  <a:pt x="153" y="155"/>
                </a:cubicBezTo>
                <a:cubicBezTo>
                  <a:pt x="154" y="155"/>
                  <a:pt x="154" y="155"/>
                  <a:pt x="154" y="155"/>
                </a:cubicBez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4" y="153"/>
                  <a:pt x="154" y="152"/>
                </a:cubicBezTo>
                <a:cubicBezTo>
                  <a:pt x="154" y="152"/>
                  <a:pt x="154" y="152"/>
                  <a:pt x="153" y="152"/>
                </a:cubicBezTo>
                <a:cubicBezTo>
                  <a:pt x="153" y="151"/>
                  <a:pt x="153" y="151"/>
                  <a:pt x="152" y="151"/>
                </a:cubicBezTo>
                <a:cubicBezTo>
                  <a:pt x="152" y="151"/>
                  <a:pt x="152" y="151"/>
                  <a:pt x="152" y="151"/>
                </a:cubicBezTo>
                <a:cubicBezTo>
                  <a:pt x="152" y="151"/>
                  <a:pt x="152" y="151"/>
                  <a:pt x="152" y="151"/>
                </a:cubicBezTo>
                <a:cubicBezTo>
                  <a:pt x="152" y="151"/>
                  <a:pt x="152" y="151"/>
                  <a:pt x="152" y="151"/>
                </a:cubicBezTo>
                <a:cubicBezTo>
                  <a:pt x="152" y="151"/>
                  <a:pt x="152" y="151"/>
                  <a:pt x="151" y="151"/>
                </a:cubicBezTo>
                <a:cubicBezTo>
                  <a:pt x="151" y="151"/>
                  <a:pt x="151" y="151"/>
                  <a:pt x="151" y="151"/>
                </a:cubicBezTo>
                <a:cubicBezTo>
                  <a:pt x="150" y="151"/>
                  <a:pt x="150" y="152"/>
                  <a:pt x="150" y="152"/>
                </a:cubicBezTo>
                <a:cubicBezTo>
                  <a:pt x="150" y="152"/>
                  <a:pt x="150" y="153"/>
                  <a:pt x="151" y="153"/>
                </a:cubicBezTo>
                <a:cubicBezTo>
                  <a:pt x="151" y="153"/>
                  <a:pt x="151" y="153"/>
                  <a:pt x="151" y="154"/>
                </a:cubicBezTo>
                <a:close/>
                <a:moveTo>
                  <a:pt x="208" y="121"/>
                </a:moveTo>
                <a:cubicBezTo>
                  <a:pt x="208" y="121"/>
                  <a:pt x="208" y="120"/>
                  <a:pt x="208" y="120"/>
                </a:cubicBezTo>
                <a:cubicBezTo>
                  <a:pt x="207" y="120"/>
                  <a:pt x="207" y="120"/>
                  <a:pt x="207" y="119"/>
                </a:cubicBezTo>
                <a:cubicBezTo>
                  <a:pt x="207" y="119"/>
                  <a:pt x="207" y="119"/>
                  <a:pt x="206" y="119"/>
                </a:cubicBezTo>
                <a:cubicBezTo>
                  <a:pt x="206" y="119"/>
                  <a:pt x="206" y="119"/>
                  <a:pt x="205" y="119"/>
                </a:cubicBezTo>
                <a:cubicBezTo>
                  <a:pt x="205" y="119"/>
                  <a:pt x="204" y="119"/>
                  <a:pt x="203" y="119"/>
                </a:cubicBezTo>
                <a:cubicBezTo>
                  <a:pt x="203" y="119"/>
                  <a:pt x="203" y="118"/>
                  <a:pt x="203" y="118"/>
                </a:cubicBezTo>
                <a:cubicBezTo>
                  <a:pt x="202" y="118"/>
                  <a:pt x="202" y="118"/>
                  <a:pt x="202" y="118"/>
                </a:cubicBezTo>
                <a:cubicBezTo>
                  <a:pt x="201" y="118"/>
                  <a:pt x="202" y="119"/>
                  <a:pt x="203" y="120"/>
                </a:cubicBezTo>
                <a:cubicBezTo>
                  <a:pt x="203" y="120"/>
                  <a:pt x="203" y="120"/>
                  <a:pt x="204" y="121"/>
                </a:cubicBezTo>
                <a:cubicBezTo>
                  <a:pt x="204" y="121"/>
                  <a:pt x="204" y="122"/>
                  <a:pt x="204" y="122"/>
                </a:cubicBezTo>
                <a:cubicBezTo>
                  <a:pt x="204" y="123"/>
                  <a:pt x="205" y="123"/>
                  <a:pt x="205" y="123"/>
                </a:cubicBezTo>
                <a:cubicBezTo>
                  <a:pt x="206" y="122"/>
                  <a:pt x="206" y="122"/>
                  <a:pt x="206" y="122"/>
                </a:cubicBezTo>
                <a:cubicBezTo>
                  <a:pt x="207" y="122"/>
                  <a:pt x="207" y="122"/>
                  <a:pt x="208" y="122"/>
                </a:cubicBezTo>
                <a:cubicBezTo>
                  <a:pt x="208" y="121"/>
                  <a:pt x="208" y="121"/>
                  <a:pt x="208" y="121"/>
                </a:cubicBezTo>
                <a:close/>
                <a:moveTo>
                  <a:pt x="229" y="112"/>
                </a:moveTo>
                <a:cubicBezTo>
                  <a:pt x="229" y="112"/>
                  <a:pt x="229" y="112"/>
                  <a:pt x="230" y="112"/>
                </a:cubicBezTo>
                <a:cubicBezTo>
                  <a:pt x="230" y="112"/>
                  <a:pt x="230" y="112"/>
                  <a:pt x="230" y="112"/>
                </a:cubicBezTo>
                <a:cubicBezTo>
                  <a:pt x="230" y="113"/>
                  <a:pt x="231" y="113"/>
                  <a:pt x="231" y="113"/>
                </a:cubicBezTo>
                <a:cubicBezTo>
                  <a:pt x="232" y="112"/>
                  <a:pt x="232" y="112"/>
                  <a:pt x="232" y="112"/>
                </a:cubicBezTo>
                <a:cubicBezTo>
                  <a:pt x="233" y="112"/>
                  <a:pt x="233" y="112"/>
                  <a:pt x="233" y="112"/>
                </a:cubicBezTo>
                <a:cubicBezTo>
                  <a:pt x="234" y="112"/>
                  <a:pt x="234" y="112"/>
                  <a:pt x="234" y="112"/>
                </a:cubicBezTo>
                <a:cubicBezTo>
                  <a:pt x="235" y="112"/>
                  <a:pt x="235" y="112"/>
                  <a:pt x="235" y="112"/>
                </a:cubicBezTo>
                <a:cubicBezTo>
                  <a:pt x="236" y="113"/>
                  <a:pt x="236" y="113"/>
                  <a:pt x="236" y="113"/>
                </a:cubicBezTo>
                <a:cubicBezTo>
                  <a:pt x="236" y="113"/>
                  <a:pt x="237" y="113"/>
                  <a:pt x="237" y="112"/>
                </a:cubicBezTo>
                <a:cubicBezTo>
                  <a:pt x="238" y="112"/>
                  <a:pt x="238" y="112"/>
                  <a:pt x="238" y="112"/>
                </a:cubicBezTo>
                <a:cubicBezTo>
                  <a:pt x="238" y="111"/>
                  <a:pt x="239" y="111"/>
                  <a:pt x="239" y="111"/>
                </a:cubicBezTo>
                <a:cubicBezTo>
                  <a:pt x="240" y="110"/>
                  <a:pt x="239" y="110"/>
                  <a:pt x="238" y="109"/>
                </a:cubicBezTo>
                <a:cubicBezTo>
                  <a:pt x="238" y="109"/>
                  <a:pt x="238" y="109"/>
                  <a:pt x="238" y="108"/>
                </a:cubicBezTo>
                <a:cubicBezTo>
                  <a:pt x="238" y="108"/>
                  <a:pt x="237" y="108"/>
                  <a:pt x="237" y="107"/>
                </a:cubicBezTo>
                <a:cubicBezTo>
                  <a:pt x="237" y="107"/>
                  <a:pt x="236" y="107"/>
                  <a:pt x="236" y="106"/>
                </a:cubicBezTo>
                <a:cubicBezTo>
                  <a:pt x="236" y="106"/>
                  <a:pt x="236" y="106"/>
                  <a:pt x="236" y="105"/>
                </a:cubicBezTo>
                <a:cubicBezTo>
                  <a:pt x="236" y="105"/>
                  <a:pt x="236" y="105"/>
                  <a:pt x="235" y="105"/>
                </a:cubicBezTo>
                <a:cubicBezTo>
                  <a:pt x="235" y="105"/>
                  <a:pt x="235" y="105"/>
                  <a:pt x="234" y="105"/>
                </a:cubicBezTo>
                <a:cubicBezTo>
                  <a:pt x="233" y="105"/>
                  <a:pt x="233" y="104"/>
                  <a:pt x="232" y="105"/>
                </a:cubicBezTo>
                <a:cubicBezTo>
                  <a:pt x="232" y="105"/>
                  <a:pt x="231" y="105"/>
                  <a:pt x="231" y="105"/>
                </a:cubicBezTo>
                <a:cubicBezTo>
                  <a:pt x="231" y="105"/>
                  <a:pt x="231" y="105"/>
                  <a:pt x="231" y="105"/>
                </a:cubicBezTo>
                <a:cubicBezTo>
                  <a:pt x="232" y="106"/>
                  <a:pt x="232" y="106"/>
                  <a:pt x="233" y="106"/>
                </a:cubicBezTo>
                <a:cubicBezTo>
                  <a:pt x="233" y="106"/>
                  <a:pt x="234" y="106"/>
                  <a:pt x="233" y="107"/>
                </a:cubicBezTo>
                <a:cubicBezTo>
                  <a:pt x="233" y="107"/>
                  <a:pt x="232" y="107"/>
                  <a:pt x="232" y="107"/>
                </a:cubicBezTo>
                <a:cubicBezTo>
                  <a:pt x="231" y="107"/>
                  <a:pt x="231" y="107"/>
                  <a:pt x="231" y="108"/>
                </a:cubicBezTo>
                <a:cubicBezTo>
                  <a:pt x="231" y="108"/>
                  <a:pt x="230" y="108"/>
                  <a:pt x="230" y="109"/>
                </a:cubicBezTo>
                <a:cubicBezTo>
                  <a:pt x="230" y="109"/>
                  <a:pt x="229" y="109"/>
                  <a:pt x="229" y="109"/>
                </a:cubicBezTo>
                <a:cubicBezTo>
                  <a:pt x="229" y="110"/>
                  <a:pt x="228" y="110"/>
                  <a:pt x="228" y="110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6" y="109"/>
                  <a:pt x="227" y="110"/>
                  <a:pt x="227" y="110"/>
                </a:cubicBezTo>
                <a:cubicBezTo>
                  <a:pt x="227" y="111"/>
                  <a:pt x="227" y="111"/>
                  <a:pt x="227" y="111"/>
                </a:cubicBezTo>
                <a:cubicBezTo>
                  <a:pt x="227" y="111"/>
                  <a:pt x="227" y="111"/>
                  <a:pt x="227" y="111"/>
                </a:cubicBezTo>
                <a:cubicBezTo>
                  <a:pt x="227" y="111"/>
                  <a:pt x="227" y="112"/>
                  <a:pt x="227" y="112"/>
                </a:cubicBezTo>
                <a:cubicBezTo>
                  <a:pt x="228" y="112"/>
                  <a:pt x="228" y="112"/>
                  <a:pt x="229" y="112"/>
                </a:cubicBezTo>
                <a:close/>
                <a:moveTo>
                  <a:pt x="3" y="82"/>
                </a:moveTo>
                <a:cubicBezTo>
                  <a:pt x="3" y="82"/>
                  <a:pt x="3" y="83"/>
                  <a:pt x="3" y="83"/>
                </a:cubicBezTo>
                <a:cubicBezTo>
                  <a:pt x="3" y="83"/>
                  <a:pt x="7" y="84"/>
                  <a:pt x="7" y="84"/>
                </a:cubicBezTo>
                <a:cubicBezTo>
                  <a:pt x="10" y="91"/>
                  <a:pt x="10" y="91"/>
                  <a:pt x="10" y="91"/>
                </a:cubicBezTo>
                <a:cubicBezTo>
                  <a:pt x="42" y="101"/>
                  <a:pt x="42" y="101"/>
                  <a:pt x="42" y="101"/>
                </a:cubicBezTo>
                <a:cubicBezTo>
                  <a:pt x="46" y="102"/>
                  <a:pt x="46" y="102"/>
                  <a:pt x="46" y="102"/>
                </a:cubicBezTo>
                <a:cubicBezTo>
                  <a:pt x="55" y="108"/>
                  <a:pt x="55" y="108"/>
                  <a:pt x="55" y="108"/>
                </a:cubicBezTo>
                <a:cubicBezTo>
                  <a:pt x="58" y="108"/>
                  <a:pt x="58" y="108"/>
                  <a:pt x="58" y="108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1" y="109"/>
                  <a:pt x="62" y="108"/>
                  <a:pt x="62" y="108"/>
                </a:cubicBezTo>
                <a:cubicBezTo>
                  <a:pt x="63" y="108"/>
                  <a:pt x="65" y="108"/>
                  <a:pt x="65" y="108"/>
                </a:cubicBezTo>
                <a:cubicBezTo>
                  <a:pt x="65" y="108"/>
                  <a:pt x="67" y="109"/>
                  <a:pt x="67" y="109"/>
                </a:cubicBezTo>
                <a:cubicBezTo>
                  <a:pt x="68" y="109"/>
                  <a:pt x="68" y="109"/>
                  <a:pt x="68" y="109"/>
                </a:cubicBezTo>
                <a:cubicBezTo>
                  <a:pt x="68" y="109"/>
                  <a:pt x="69" y="110"/>
                  <a:pt x="69" y="110"/>
                </a:cubicBezTo>
                <a:cubicBezTo>
                  <a:pt x="69" y="110"/>
                  <a:pt x="70" y="109"/>
                  <a:pt x="70" y="110"/>
                </a:cubicBezTo>
                <a:cubicBezTo>
                  <a:pt x="70" y="110"/>
                  <a:pt x="72" y="111"/>
                  <a:pt x="72" y="111"/>
                </a:cubicBezTo>
                <a:cubicBezTo>
                  <a:pt x="72" y="111"/>
                  <a:pt x="75" y="111"/>
                  <a:pt x="76" y="111"/>
                </a:cubicBezTo>
                <a:cubicBezTo>
                  <a:pt x="77" y="111"/>
                  <a:pt x="78" y="112"/>
                  <a:pt x="79" y="112"/>
                </a:cubicBezTo>
                <a:cubicBezTo>
                  <a:pt x="79" y="112"/>
                  <a:pt x="80" y="113"/>
                  <a:pt x="80" y="113"/>
                </a:cubicBezTo>
                <a:cubicBezTo>
                  <a:pt x="80" y="114"/>
                  <a:pt x="80" y="115"/>
                  <a:pt x="80" y="116"/>
                </a:cubicBezTo>
                <a:cubicBezTo>
                  <a:pt x="80" y="116"/>
                  <a:pt x="79" y="117"/>
                  <a:pt x="79" y="117"/>
                </a:cubicBezTo>
                <a:cubicBezTo>
                  <a:pt x="79" y="117"/>
                  <a:pt x="79" y="118"/>
                  <a:pt x="79" y="118"/>
                </a:cubicBezTo>
                <a:cubicBezTo>
                  <a:pt x="79" y="119"/>
                  <a:pt x="80" y="119"/>
                  <a:pt x="81" y="119"/>
                </a:cubicBezTo>
                <a:cubicBezTo>
                  <a:pt x="81" y="120"/>
                  <a:pt x="83" y="119"/>
                  <a:pt x="83" y="119"/>
                </a:cubicBezTo>
                <a:cubicBezTo>
                  <a:pt x="84" y="119"/>
                  <a:pt x="84" y="119"/>
                  <a:pt x="84" y="120"/>
                </a:cubicBezTo>
                <a:cubicBezTo>
                  <a:pt x="84" y="120"/>
                  <a:pt x="85" y="121"/>
                  <a:pt x="85" y="121"/>
                </a:cubicBezTo>
                <a:cubicBezTo>
                  <a:pt x="85" y="121"/>
                  <a:pt x="88" y="121"/>
                  <a:pt x="88" y="121"/>
                </a:cubicBezTo>
                <a:cubicBezTo>
                  <a:pt x="88" y="121"/>
                  <a:pt x="91" y="124"/>
                  <a:pt x="91" y="124"/>
                </a:cubicBezTo>
                <a:cubicBezTo>
                  <a:pt x="91" y="125"/>
                  <a:pt x="90" y="125"/>
                  <a:pt x="90" y="126"/>
                </a:cubicBezTo>
                <a:cubicBezTo>
                  <a:pt x="90" y="126"/>
                  <a:pt x="89" y="127"/>
                  <a:pt x="90" y="127"/>
                </a:cubicBezTo>
                <a:cubicBezTo>
                  <a:pt x="90" y="127"/>
                  <a:pt x="90" y="128"/>
                  <a:pt x="90" y="129"/>
                </a:cubicBezTo>
                <a:cubicBezTo>
                  <a:pt x="91" y="129"/>
                  <a:pt x="91" y="130"/>
                  <a:pt x="91" y="130"/>
                </a:cubicBezTo>
                <a:cubicBezTo>
                  <a:pt x="90" y="130"/>
                  <a:pt x="89" y="131"/>
                  <a:pt x="89" y="131"/>
                </a:cubicBezTo>
                <a:cubicBezTo>
                  <a:pt x="89" y="131"/>
                  <a:pt x="89" y="131"/>
                  <a:pt x="89" y="132"/>
                </a:cubicBezTo>
                <a:cubicBezTo>
                  <a:pt x="89" y="132"/>
                  <a:pt x="90" y="133"/>
                  <a:pt x="90" y="133"/>
                </a:cubicBezTo>
                <a:cubicBezTo>
                  <a:pt x="90" y="133"/>
                  <a:pt x="89" y="135"/>
                  <a:pt x="89" y="135"/>
                </a:cubicBezTo>
                <a:cubicBezTo>
                  <a:pt x="89" y="135"/>
                  <a:pt x="88" y="137"/>
                  <a:pt x="88" y="137"/>
                </a:cubicBezTo>
                <a:cubicBezTo>
                  <a:pt x="88" y="138"/>
                  <a:pt x="87" y="139"/>
                  <a:pt x="87" y="140"/>
                </a:cubicBezTo>
                <a:cubicBezTo>
                  <a:pt x="87" y="140"/>
                  <a:pt x="87" y="140"/>
                  <a:pt x="88" y="140"/>
                </a:cubicBezTo>
                <a:cubicBezTo>
                  <a:pt x="88" y="141"/>
                  <a:pt x="91" y="141"/>
                  <a:pt x="91" y="141"/>
                </a:cubicBezTo>
                <a:cubicBezTo>
                  <a:pt x="91" y="141"/>
                  <a:pt x="93" y="139"/>
                  <a:pt x="93" y="139"/>
                </a:cubicBezTo>
                <a:cubicBezTo>
                  <a:pt x="93" y="139"/>
                  <a:pt x="95" y="139"/>
                  <a:pt x="95" y="139"/>
                </a:cubicBezTo>
                <a:cubicBezTo>
                  <a:pt x="95" y="140"/>
                  <a:pt x="95" y="140"/>
                  <a:pt x="95" y="141"/>
                </a:cubicBezTo>
                <a:cubicBezTo>
                  <a:pt x="95" y="141"/>
                  <a:pt x="93" y="146"/>
                  <a:pt x="93" y="147"/>
                </a:cubicBezTo>
                <a:cubicBezTo>
                  <a:pt x="93" y="147"/>
                  <a:pt x="92" y="149"/>
                  <a:pt x="92" y="149"/>
                </a:cubicBezTo>
                <a:cubicBezTo>
                  <a:pt x="92" y="149"/>
                  <a:pt x="93" y="151"/>
                  <a:pt x="94" y="151"/>
                </a:cubicBezTo>
                <a:cubicBezTo>
                  <a:pt x="94" y="151"/>
                  <a:pt x="95" y="152"/>
                  <a:pt x="95" y="152"/>
                </a:cubicBezTo>
                <a:cubicBezTo>
                  <a:pt x="95" y="152"/>
                  <a:pt x="96" y="153"/>
                  <a:pt x="97" y="153"/>
                </a:cubicBezTo>
                <a:cubicBezTo>
                  <a:pt x="97" y="153"/>
                  <a:pt x="97" y="152"/>
                  <a:pt x="98" y="151"/>
                </a:cubicBezTo>
                <a:cubicBezTo>
                  <a:pt x="98" y="150"/>
                  <a:pt x="99" y="149"/>
                  <a:pt x="100" y="148"/>
                </a:cubicBezTo>
                <a:cubicBezTo>
                  <a:pt x="102" y="145"/>
                  <a:pt x="103" y="143"/>
                  <a:pt x="105" y="141"/>
                </a:cubicBezTo>
                <a:cubicBezTo>
                  <a:pt x="106" y="140"/>
                  <a:pt x="106" y="139"/>
                  <a:pt x="107" y="138"/>
                </a:cubicBezTo>
                <a:cubicBezTo>
                  <a:pt x="107" y="137"/>
                  <a:pt x="108" y="136"/>
                  <a:pt x="108" y="135"/>
                </a:cubicBezTo>
                <a:cubicBezTo>
                  <a:pt x="108" y="134"/>
                  <a:pt x="109" y="133"/>
                  <a:pt x="109" y="132"/>
                </a:cubicBezTo>
                <a:cubicBezTo>
                  <a:pt x="109" y="132"/>
                  <a:pt x="110" y="131"/>
                  <a:pt x="110" y="130"/>
                </a:cubicBezTo>
                <a:cubicBezTo>
                  <a:pt x="110" y="130"/>
                  <a:pt x="110" y="129"/>
                  <a:pt x="111" y="128"/>
                </a:cubicBezTo>
                <a:cubicBezTo>
                  <a:pt x="111" y="127"/>
                  <a:pt x="111" y="127"/>
                  <a:pt x="112" y="126"/>
                </a:cubicBezTo>
                <a:cubicBezTo>
                  <a:pt x="112" y="126"/>
                  <a:pt x="112" y="126"/>
                  <a:pt x="112" y="126"/>
                </a:cubicBezTo>
                <a:cubicBezTo>
                  <a:pt x="113" y="126"/>
                  <a:pt x="113" y="126"/>
                  <a:pt x="113" y="126"/>
                </a:cubicBezTo>
                <a:cubicBezTo>
                  <a:pt x="114" y="126"/>
                  <a:pt x="114" y="125"/>
                  <a:pt x="114" y="125"/>
                </a:cubicBezTo>
                <a:cubicBezTo>
                  <a:pt x="114" y="125"/>
                  <a:pt x="115" y="124"/>
                  <a:pt x="115" y="124"/>
                </a:cubicBezTo>
                <a:cubicBezTo>
                  <a:pt x="115" y="124"/>
                  <a:pt x="115" y="123"/>
                  <a:pt x="115" y="123"/>
                </a:cubicBezTo>
                <a:cubicBezTo>
                  <a:pt x="115" y="123"/>
                  <a:pt x="115" y="123"/>
                  <a:pt x="116" y="122"/>
                </a:cubicBezTo>
                <a:cubicBezTo>
                  <a:pt x="116" y="122"/>
                  <a:pt x="116" y="122"/>
                  <a:pt x="116" y="122"/>
                </a:cubicBezTo>
                <a:cubicBezTo>
                  <a:pt x="116" y="121"/>
                  <a:pt x="115" y="120"/>
                  <a:pt x="116" y="120"/>
                </a:cubicBezTo>
                <a:cubicBezTo>
                  <a:pt x="116" y="119"/>
                  <a:pt x="116" y="119"/>
                  <a:pt x="117" y="119"/>
                </a:cubicBezTo>
                <a:cubicBezTo>
                  <a:pt x="117" y="118"/>
                  <a:pt x="117" y="118"/>
                  <a:pt x="117" y="117"/>
                </a:cubicBezTo>
                <a:cubicBezTo>
                  <a:pt x="117" y="117"/>
                  <a:pt x="117" y="116"/>
                  <a:pt x="118" y="116"/>
                </a:cubicBezTo>
                <a:cubicBezTo>
                  <a:pt x="118" y="116"/>
                  <a:pt x="118" y="115"/>
                  <a:pt x="118" y="114"/>
                </a:cubicBezTo>
                <a:cubicBezTo>
                  <a:pt x="119" y="114"/>
                  <a:pt x="120" y="115"/>
                  <a:pt x="120" y="116"/>
                </a:cubicBezTo>
                <a:cubicBezTo>
                  <a:pt x="120" y="116"/>
                  <a:pt x="119" y="116"/>
                  <a:pt x="119" y="116"/>
                </a:cubicBezTo>
                <a:cubicBezTo>
                  <a:pt x="119" y="116"/>
                  <a:pt x="119" y="117"/>
                  <a:pt x="119" y="117"/>
                </a:cubicBezTo>
                <a:cubicBezTo>
                  <a:pt x="118" y="117"/>
                  <a:pt x="118" y="118"/>
                  <a:pt x="118" y="118"/>
                </a:cubicBezTo>
                <a:cubicBezTo>
                  <a:pt x="118" y="119"/>
                  <a:pt x="118" y="120"/>
                  <a:pt x="118" y="120"/>
                </a:cubicBezTo>
                <a:cubicBezTo>
                  <a:pt x="118" y="121"/>
                  <a:pt x="118" y="122"/>
                  <a:pt x="118" y="122"/>
                </a:cubicBezTo>
                <a:cubicBezTo>
                  <a:pt x="118" y="123"/>
                  <a:pt x="119" y="123"/>
                  <a:pt x="119" y="123"/>
                </a:cubicBezTo>
                <a:cubicBezTo>
                  <a:pt x="119" y="123"/>
                  <a:pt x="119" y="123"/>
                  <a:pt x="119" y="123"/>
                </a:cubicBezTo>
                <a:cubicBezTo>
                  <a:pt x="119" y="124"/>
                  <a:pt x="119" y="124"/>
                  <a:pt x="120" y="124"/>
                </a:cubicBezTo>
                <a:cubicBezTo>
                  <a:pt x="121" y="124"/>
                  <a:pt x="121" y="124"/>
                  <a:pt x="122" y="123"/>
                </a:cubicBezTo>
                <a:cubicBezTo>
                  <a:pt x="122" y="123"/>
                  <a:pt x="123" y="123"/>
                  <a:pt x="123" y="123"/>
                </a:cubicBezTo>
                <a:cubicBezTo>
                  <a:pt x="124" y="122"/>
                  <a:pt x="124" y="122"/>
                  <a:pt x="124" y="121"/>
                </a:cubicBezTo>
                <a:cubicBezTo>
                  <a:pt x="124" y="120"/>
                  <a:pt x="124" y="120"/>
                  <a:pt x="124" y="119"/>
                </a:cubicBezTo>
                <a:cubicBezTo>
                  <a:pt x="125" y="119"/>
                  <a:pt x="125" y="118"/>
                  <a:pt x="125" y="117"/>
                </a:cubicBezTo>
                <a:cubicBezTo>
                  <a:pt x="125" y="117"/>
                  <a:pt x="125" y="116"/>
                  <a:pt x="126" y="116"/>
                </a:cubicBezTo>
                <a:cubicBezTo>
                  <a:pt x="126" y="116"/>
                  <a:pt x="126" y="117"/>
                  <a:pt x="127" y="117"/>
                </a:cubicBezTo>
                <a:cubicBezTo>
                  <a:pt x="127" y="117"/>
                  <a:pt x="127" y="117"/>
                  <a:pt x="127" y="117"/>
                </a:cubicBezTo>
                <a:cubicBezTo>
                  <a:pt x="128" y="117"/>
                  <a:pt x="129" y="117"/>
                  <a:pt x="130" y="117"/>
                </a:cubicBezTo>
                <a:cubicBezTo>
                  <a:pt x="130" y="117"/>
                  <a:pt x="131" y="117"/>
                  <a:pt x="131" y="116"/>
                </a:cubicBezTo>
                <a:cubicBezTo>
                  <a:pt x="132" y="116"/>
                  <a:pt x="132" y="115"/>
                  <a:pt x="133" y="115"/>
                </a:cubicBezTo>
                <a:cubicBezTo>
                  <a:pt x="134" y="114"/>
                  <a:pt x="134" y="115"/>
                  <a:pt x="134" y="116"/>
                </a:cubicBezTo>
                <a:cubicBezTo>
                  <a:pt x="134" y="117"/>
                  <a:pt x="133" y="117"/>
                  <a:pt x="133" y="118"/>
                </a:cubicBezTo>
                <a:cubicBezTo>
                  <a:pt x="132" y="119"/>
                  <a:pt x="132" y="120"/>
                  <a:pt x="131" y="121"/>
                </a:cubicBezTo>
                <a:cubicBezTo>
                  <a:pt x="130" y="122"/>
                  <a:pt x="129" y="123"/>
                  <a:pt x="129" y="123"/>
                </a:cubicBezTo>
                <a:cubicBezTo>
                  <a:pt x="128" y="124"/>
                  <a:pt x="128" y="125"/>
                  <a:pt x="128" y="126"/>
                </a:cubicBezTo>
                <a:cubicBezTo>
                  <a:pt x="128" y="126"/>
                  <a:pt x="129" y="126"/>
                  <a:pt x="129" y="127"/>
                </a:cubicBezTo>
                <a:cubicBezTo>
                  <a:pt x="129" y="127"/>
                  <a:pt x="130" y="127"/>
                  <a:pt x="130" y="128"/>
                </a:cubicBezTo>
                <a:cubicBezTo>
                  <a:pt x="130" y="128"/>
                  <a:pt x="131" y="129"/>
                  <a:pt x="131" y="128"/>
                </a:cubicBezTo>
                <a:cubicBezTo>
                  <a:pt x="131" y="128"/>
                  <a:pt x="131" y="127"/>
                  <a:pt x="131" y="127"/>
                </a:cubicBezTo>
                <a:cubicBezTo>
                  <a:pt x="131" y="127"/>
                  <a:pt x="131" y="127"/>
                  <a:pt x="131" y="126"/>
                </a:cubicBezTo>
                <a:cubicBezTo>
                  <a:pt x="131" y="126"/>
                  <a:pt x="131" y="126"/>
                  <a:pt x="132" y="125"/>
                </a:cubicBezTo>
                <a:cubicBezTo>
                  <a:pt x="132" y="125"/>
                  <a:pt x="132" y="124"/>
                  <a:pt x="133" y="123"/>
                </a:cubicBezTo>
                <a:cubicBezTo>
                  <a:pt x="133" y="123"/>
                  <a:pt x="134" y="122"/>
                  <a:pt x="135" y="122"/>
                </a:cubicBezTo>
                <a:cubicBezTo>
                  <a:pt x="136" y="121"/>
                  <a:pt x="137" y="121"/>
                  <a:pt x="138" y="120"/>
                </a:cubicBezTo>
                <a:cubicBezTo>
                  <a:pt x="139" y="120"/>
                  <a:pt x="140" y="120"/>
                  <a:pt x="140" y="119"/>
                </a:cubicBezTo>
                <a:cubicBezTo>
                  <a:pt x="140" y="119"/>
                  <a:pt x="140" y="118"/>
                  <a:pt x="140" y="118"/>
                </a:cubicBezTo>
                <a:cubicBezTo>
                  <a:pt x="140" y="116"/>
                  <a:pt x="141" y="115"/>
                  <a:pt x="142" y="114"/>
                </a:cubicBezTo>
                <a:cubicBezTo>
                  <a:pt x="142" y="113"/>
                  <a:pt x="144" y="112"/>
                  <a:pt x="145" y="112"/>
                </a:cubicBezTo>
                <a:cubicBezTo>
                  <a:pt x="146" y="111"/>
                  <a:pt x="146" y="111"/>
                  <a:pt x="147" y="111"/>
                </a:cubicBezTo>
                <a:cubicBezTo>
                  <a:pt x="147" y="111"/>
                  <a:pt x="148" y="111"/>
                  <a:pt x="149" y="111"/>
                </a:cubicBezTo>
                <a:cubicBezTo>
                  <a:pt x="149" y="111"/>
                  <a:pt x="150" y="111"/>
                  <a:pt x="150" y="111"/>
                </a:cubicBezTo>
                <a:cubicBezTo>
                  <a:pt x="151" y="111"/>
                  <a:pt x="151" y="111"/>
                  <a:pt x="152" y="112"/>
                </a:cubicBezTo>
                <a:cubicBezTo>
                  <a:pt x="152" y="112"/>
                  <a:pt x="153" y="113"/>
                  <a:pt x="154" y="113"/>
                </a:cubicBezTo>
                <a:cubicBezTo>
                  <a:pt x="155" y="112"/>
                  <a:pt x="155" y="112"/>
                  <a:pt x="155" y="111"/>
                </a:cubicBezTo>
                <a:cubicBezTo>
                  <a:pt x="156" y="111"/>
                  <a:pt x="157" y="110"/>
                  <a:pt x="157" y="110"/>
                </a:cubicBezTo>
                <a:cubicBezTo>
                  <a:pt x="164" y="110"/>
                  <a:pt x="164" y="110"/>
                  <a:pt x="164" y="110"/>
                </a:cubicBezTo>
                <a:cubicBezTo>
                  <a:pt x="165" y="110"/>
                  <a:pt x="165" y="110"/>
                  <a:pt x="165" y="110"/>
                </a:cubicBezTo>
                <a:cubicBezTo>
                  <a:pt x="166" y="110"/>
                  <a:pt x="166" y="109"/>
                  <a:pt x="166" y="108"/>
                </a:cubicBezTo>
                <a:cubicBezTo>
                  <a:pt x="167" y="107"/>
                  <a:pt x="167" y="107"/>
                  <a:pt x="168" y="106"/>
                </a:cubicBezTo>
                <a:cubicBezTo>
                  <a:pt x="168" y="106"/>
                  <a:pt x="169" y="105"/>
                  <a:pt x="169" y="105"/>
                </a:cubicBezTo>
                <a:cubicBezTo>
                  <a:pt x="169" y="105"/>
                  <a:pt x="169" y="105"/>
                  <a:pt x="169" y="105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1" y="104"/>
                  <a:pt x="171" y="104"/>
                  <a:pt x="171" y="104"/>
                </a:cubicBezTo>
                <a:cubicBezTo>
                  <a:pt x="173" y="104"/>
                  <a:pt x="174" y="105"/>
                  <a:pt x="175" y="105"/>
                </a:cubicBezTo>
                <a:cubicBezTo>
                  <a:pt x="176" y="105"/>
                  <a:pt x="177" y="106"/>
                  <a:pt x="178" y="106"/>
                </a:cubicBezTo>
                <a:cubicBezTo>
                  <a:pt x="178" y="106"/>
                  <a:pt x="179" y="106"/>
                  <a:pt x="180" y="106"/>
                </a:cubicBezTo>
                <a:cubicBezTo>
                  <a:pt x="180" y="107"/>
                  <a:pt x="181" y="107"/>
                  <a:pt x="181" y="107"/>
                </a:cubicBezTo>
                <a:cubicBezTo>
                  <a:pt x="182" y="107"/>
                  <a:pt x="183" y="108"/>
                  <a:pt x="183" y="108"/>
                </a:cubicBezTo>
                <a:cubicBezTo>
                  <a:pt x="184" y="108"/>
                  <a:pt x="184" y="108"/>
                  <a:pt x="185" y="108"/>
                </a:cubicBezTo>
                <a:cubicBezTo>
                  <a:pt x="186" y="108"/>
                  <a:pt x="186" y="108"/>
                  <a:pt x="187" y="109"/>
                </a:cubicBezTo>
                <a:cubicBezTo>
                  <a:pt x="187" y="109"/>
                  <a:pt x="187" y="110"/>
                  <a:pt x="187" y="110"/>
                </a:cubicBezTo>
                <a:cubicBezTo>
                  <a:pt x="187" y="110"/>
                  <a:pt x="188" y="111"/>
                  <a:pt x="188" y="111"/>
                </a:cubicBezTo>
                <a:cubicBezTo>
                  <a:pt x="189" y="111"/>
                  <a:pt x="189" y="112"/>
                  <a:pt x="190" y="113"/>
                </a:cubicBezTo>
                <a:cubicBezTo>
                  <a:pt x="191" y="113"/>
                  <a:pt x="191" y="114"/>
                  <a:pt x="192" y="114"/>
                </a:cubicBezTo>
                <a:cubicBezTo>
                  <a:pt x="192" y="115"/>
                  <a:pt x="193" y="116"/>
                  <a:pt x="194" y="116"/>
                </a:cubicBezTo>
                <a:cubicBezTo>
                  <a:pt x="194" y="116"/>
                  <a:pt x="194" y="116"/>
                  <a:pt x="194" y="116"/>
                </a:cubicBezTo>
                <a:cubicBezTo>
                  <a:pt x="195" y="117"/>
                  <a:pt x="195" y="117"/>
                  <a:pt x="196" y="117"/>
                </a:cubicBezTo>
                <a:cubicBezTo>
                  <a:pt x="197" y="116"/>
                  <a:pt x="195" y="115"/>
                  <a:pt x="196" y="114"/>
                </a:cubicBezTo>
                <a:cubicBezTo>
                  <a:pt x="196" y="114"/>
                  <a:pt x="196" y="113"/>
                  <a:pt x="197" y="113"/>
                </a:cubicBezTo>
                <a:cubicBezTo>
                  <a:pt x="197" y="113"/>
                  <a:pt x="197" y="112"/>
                  <a:pt x="197" y="112"/>
                </a:cubicBezTo>
                <a:cubicBezTo>
                  <a:pt x="198" y="111"/>
                  <a:pt x="198" y="110"/>
                  <a:pt x="198" y="109"/>
                </a:cubicBezTo>
                <a:cubicBezTo>
                  <a:pt x="199" y="109"/>
                  <a:pt x="198" y="108"/>
                  <a:pt x="199" y="107"/>
                </a:cubicBezTo>
                <a:cubicBezTo>
                  <a:pt x="199" y="107"/>
                  <a:pt x="199" y="107"/>
                  <a:pt x="199" y="107"/>
                </a:cubicBezTo>
                <a:cubicBezTo>
                  <a:pt x="199" y="107"/>
                  <a:pt x="200" y="107"/>
                  <a:pt x="200" y="107"/>
                </a:cubicBezTo>
                <a:cubicBezTo>
                  <a:pt x="200" y="107"/>
                  <a:pt x="201" y="107"/>
                  <a:pt x="201" y="108"/>
                </a:cubicBezTo>
                <a:cubicBezTo>
                  <a:pt x="201" y="108"/>
                  <a:pt x="201" y="108"/>
                  <a:pt x="202" y="108"/>
                </a:cubicBezTo>
                <a:cubicBezTo>
                  <a:pt x="202" y="108"/>
                  <a:pt x="203" y="109"/>
                  <a:pt x="204" y="109"/>
                </a:cubicBezTo>
                <a:cubicBezTo>
                  <a:pt x="204" y="110"/>
                  <a:pt x="204" y="110"/>
                  <a:pt x="204" y="111"/>
                </a:cubicBezTo>
                <a:cubicBezTo>
                  <a:pt x="205" y="111"/>
                  <a:pt x="206" y="110"/>
                  <a:pt x="207" y="110"/>
                </a:cubicBezTo>
                <a:cubicBezTo>
                  <a:pt x="207" y="110"/>
                  <a:pt x="208" y="111"/>
                  <a:pt x="208" y="110"/>
                </a:cubicBezTo>
                <a:cubicBezTo>
                  <a:pt x="208" y="110"/>
                  <a:pt x="208" y="110"/>
                  <a:pt x="208" y="110"/>
                </a:cubicBezTo>
                <a:cubicBezTo>
                  <a:pt x="209" y="109"/>
                  <a:pt x="210" y="110"/>
                  <a:pt x="210" y="110"/>
                </a:cubicBezTo>
                <a:cubicBezTo>
                  <a:pt x="212" y="109"/>
                  <a:pt x="214" y="109"/>
                  <a:pt x="215" y="110"/>
                </a:cubicBezTo>
                <a:cubicBezTo>
                  <a:pt x="216" y="110"/>
                  <a:pt x="217" y="110"/>
                  <a:pt x="217" y="110"/>
                </a:cubicBezTo>
                <a:cubicBezTo>
                  <a:pt x="218" y="110"/>
                  <a:pt x="218" y="110"/>
                  <a:pt x="219" y="111"/>
                </a:cubicBezTo>
                <a:cubicBezTo>
                  <a:pt x="219" y="111"/>
                  <a:pt x="220" y="111"/>
                  <a:pt x="221" y="112"/>
                </a:cubicBezTo>
                <a:cubicBezTo>
                  <a:pt x="222" y="112"/>
                  <a:pt x="222" y="112"/>
                  <a:pt x="222" y="112"/>
                </a:cubicBezTo>
                <a:cubicBezTo>
                  <a:pt x="223" y="112"/>
                  <a:pt x="223" y="111"/>
                  <a:pt x="223" y="111"/>
                </a:cubicBezTo>
                <a:cubicBezTo>
                  <a:pt x="224" y="111"/>
                  <a:pt x="224" y="110"/>
                  <a:pt x="224" y="110"/>
                </a:cubicBezTo>
                <a:cubicBezTo>
                  <a:pt x="223" y="109"/>
                  <a:pt x="223" y="108"/>
                  <a:pt x="222" y="108"/>
                </a:cubicBezTo>
                <a:cubicBezTo>
                  <a:pt x="221" y="107"/>
                  <a:pt x="221" y="107"/>
                  <a:pt x="221" y="107"/>
                </a:cubicBezTo>
                <a:cubicBezTo>
                  <a:pt x="220" y="106"/>
                  <a:pt x="220" y="106"/>
                  <a:pt x="220" y="106"/>
                </a:cubicBezTo>
                <a:cubicBezTo>
                  <a:pt x="220" y="106"/>
                  <a:pt x="220" y="105"/>
                  <a:pt x="220" y="105"/>
                </a:cubicBezTo>
                <a:cubicBezTo>
                  <a:pt x="220" y="105"/>
                  <a:pt x="220" y="105"/>
                  <a:pt x="220" y="104"/>
                </a:cubicBezTo>
                <a:cubicBezTo>
                  <a:pt x="220" y="104"/>
                  <a:pt x="220" y="104"/>
                  <a:pt x="220" y="104"/>
                </a:cubicBezTo>
                <a:cubicBezTo>
                  <a:pt x="221" y="103"/>
                  <a:pt x="220" y="103"/>
                  <a:pt x="220" y="102"/>
                </a:cubicBezTo>
                <a:cubicBezTo>
                  <a:pt x="220" y="102"/>
                  <a:pt x="219" y="101"/>
                  <a:pt x="219" y="101"/>
                </a:cubicBezTo>
                <a:cubicBezTo>
                  <a:pt x="219" y="101"/>
                  <a:pt x="218" y="101"/>
                  <a:pt x="217" y="101"/>
                </a:cubicBezTo>
                <a:cubicBezTo>
                  <a:pt x="217" y="101"/>
                  <a:pt x="216" y="101"/>
                  <a:pt x="216" y="101"/>
                </a:cubicBezTo>
                <a:cubicBezTo>
                  <a:pt x="215" y="101"/>
                  <a:pt x="213" y="101"/>
                  <a:pt x="213" y="100"/>
                </a:cubicBezTo>
                <a:cubicBezTo>
                  <a:pt x="213" y="100"/>
                  <a:pt x="213" y="99"/>
                  <a:pt x="213" y="99"/>
                </a:cubicBezTo>
                <a:cubicBezTo>
                  <a:pt x="213" y="98"/>
                  <a:pt x="213" y="98"/>
                  <a:pt x="214" y="98"/>
                </a:cubicBezTo>
                <a:cubicBezTo>
                  <a:pt x="214" y="98"/>
                  <a:pt x="214" y="97"/>
                  <a:pt x="214" y="97"/>
                </a:cubicBezTo>
                <a:cubicBezTo>
                  <a:pt x="214" y="97"/>
                  <a:pt x="214" y="96"/>
                  <a:pt x="215" y="96"/>
                </a:cubicBezTo>
                <a:cubicBezTo>
                  <a:pt x="215" y="96"/>
                  <a:pt x="215" y="97"/>
                  <a:pt x="215" y="97"/>
                </a:cubicBezTo>
                <a:cubicBezTo>
                  <a:pt x="215" y="97"/>
                  <a:pt x="216" y="97"/>
                  <a:pt x="216" y="97"/>
                </a:cubicBezTo>
                <a:cubicBezTo>
                  <a:pt x="216" y="98"/>
                  <a:pt x="217" y="98"/>
                  <a:pt x="217" y="98"/>
                </a:cubicBezTo>
                <a:cubicBezTo>
                  <a:pt x="217" y="97"/>
                  <a:pt x="217" y="97"/>
                  <a:pt x="217" y="97"/>
                </a:cubicBezTo>
                <a:cubicBezTo>
                  <a:pt x="217" y="95"/>
                  <a:pt x="217" y="94"/>
                  <a:pt x="216" y="94"/>
                </a:cubicBezTo>
                <a:cubicBezTo>
                  <a:pt x="215" y="93"/>
                  <a:pt x="215" y="93"/>
                  <a:pt x="215" y="94"/>
                </a:cubicBezTo>
                <a:cubicBezTo>
                  <a:pt x="215" y="95"/>
                  <a:pt x="214" y="94"/>
                  <a:pt x="214" y="94"/>
                </a:cubicBezTo>
                <a:cubicBezTo>
                  <a:pt x="214" y="93"/>
                  <a:pt x="214" y="93"/>
                  <a:pt x="214" y="92"/>
                </a:cubicBezTo>
                <a:cubicBezTo>
                  <a:pt x="214" y="92"/>
                  <a:pt x="214" y="92"/>
                  <a:pt x="214" y="91"/>
                </a:cubicBezTo>
                <a:cubicBezTo>
                  <a:pt x="214" y="91"/>
                  <a:pt x="213" y="91"/>
                  <a:pt x="213" y="91"/>
                </a:cubicBezTo>
                <a:cubicBezTo>
                  <a:pt x="212" y="90"/>
                  <a:pt x="213" y="89"/>
                  <a:pt x="213" y="89"/>
                </a:cubicBezTo>
                <a:cubicBezTo>
                  <a:pt x="213" y="88"/>
                  <a:pt x="212" y="88"/>
                  <a:pt x="212" y="88"/>
                </a:cubicBezTo>
                <a:cubicBezTo>
                  <a:pt x="211" y="87"/>
                  <a:pt x="212" y="87"/>
                  <a:pt x="213" y="87"/>
                </a:cubicBezTo>
                <a:cubicBezTo>
                  <a:pt x="213" y="88"/>
                  <a:pt x="214" y="89"/>
                  <a:pt x="214" y="89"/>
                </a:cubicBezTo>
                <a:cubicBezTo>
                  <a:pt x="215" y="89"/>
                  <a:pt x="215" y="89"/>
                  <a:pt x="215" y="88"/>
                </a:cubicBezTo>
                <a:cubicBezTo>
                  <a:pt x="216" y="88"/>
                  <a:pt x="216" y="87"/>
                  <a:pt x="216" y="86"/>
                </a:cubicBezTo>
                <a:cubicBezTo>
                  <a:pt x="216" y="85"/>
                  <a:pt x="217" y="84"/>
                  <a:pt x="216" y="83"/>
                </a:cubicBezTo>
                <a:cubicBezTo>
                  <a:pt x="216" y="83"/>
                  <a:pt x="216" y="83"/>
                  <a:pt x="215" y="83"/>
                </a:cubicBezTo>
                <a:cubicBezTo>
                  <a:pt x="215" y="83"/>
                  <a:pt x="215" y="83"/>
                  <a:pt x="214" y="84"/>
                </a:cubicBezTo>
                <a:cubicBezTo>
                  <a:pt x="214" y="84"/>
                  <a:pt x="214" y="84"/>
                  <a:pt x="214" y="84"/>
                </a:cubicBezTo>
                <a:cubicBezTo>
                  <a:pt x="214" y="84"/>
                  <a:pt x="213" y="84"/>
                  <a:pt x="213" y="84"/>
                </a:cubicBezTo>
                <a:cubicBezTo>
                  <a:pt x="213" y="84"/>
                  <a:pt x="213" y="84"/>
                  <a:pt x="213" y="84"/>
                </a:cubicBezTo>
                <a:cubicBezTo>
                  <a:pt x="213" y="85"/>
                  <a:pt x="213" y="85"/>
                  <a:pt x="212" y="86"/>
                </a:cubicBezTo>
                <a:cubicBezTo>
                  <a:pt x="212" y="86"/>
                  <a:pt x="212" y="86"/>
                  <a:pt x="211" y="85"/>
                </a:cubicBezTo>
                <a:cubicBezTo>
                  <a:pt x="211" y="85"/>
                  <a:pt x="211" y="85"/>
                  <a:pt x="211" y="85"/>
                </a:cubicBezTo>
                <a:cubicBezTo>
                  <a:pt x="211" y="85"/>
                  <a:pt x="211" y="85"/>
                  <a:pt x="210" y="85"/>
                </a:cubicBezTo>
                <a:cubicBezTo>
                  <a:pt x="210" y="85"/>
                  <a:pt x="210" y="84"/>
                  <a:pt x="209" y="84"/>
                </a:cubicBezTo>
                <a:cubicBezTo>
                  <a:pt x="209" y="84"/>
                  <a:pt x="208" y="84"/>
                  <a:pt x="208" y="85"/>
                </a:cubicBezTo>
                <a:cubicBezTo>
                  <a:pt x="208" y="85"/>
                  <a:pt x="207" y="86"/>
                  <a:pt x="207" y="86"/>
                </a:cubicBezTo>
                <a:cubicBezTo>
                  <a:pt x="206" y="86"/>
                  <a:pt x="206" y="86"/>
                  <a:pt x="205" y="87"/>
                </a:cubicBezTo>
                <a:cubicBezTo>
                  <a:pt x="204" y="87"/>
                  <a:pt x="204" y="87"/>
                  <a:pt x="203" y="88"/>
                </a:cubicBezTo>
                <a:cubicBezTo>
                  <a:pt x="202" y="88"/>
                  <a:pt x="202" y="88"/>
                  <a:pt x="201" y="88"/>
                </a:cubicBezTo>
                <a:cubicBezTo>
                  <a:pt x="200" y="87"/>
                  <a:pt x="200" y="87"/>
                  <a:pt x="199" y="86"/>
                </a:cubicBezTo>
                <a:cubicBezTo>
                  <a:pt x="199" y="86"/>
                  <a:pt x="198" y="85"/>
                  <a:pt x="198" y="85"/>
                </a:cubicBezTo>
                <a:cubicBezTo>
                  <a:pt x="198" y="85"/>
                  <a:pt x="197" y="85"/>
                  <a:pt x="197" y="85"/>
                </a:cubicBezTo>
                <a:cubicBezTo>
                  <a:pt x="197" y="85"/>
                  <a:pt x="196" y="86"/>
                  <a:pt x="196" y="86"/>
                </a:cubicBezTo>
                <a:cubicBezTo>
                  <a:pt x="195" y="86"/>
                  <a:pt x="195" y="86"/>
                  <a:pt x="195" y="86"/>
                </a:cubicBezTo>
                <a:cubicBezTo>
                  <a:pt x="195" y="86"/>
                  <a:pt x="194" y="86"/>
                  <a:pt x="194" y="86"/>
                </a:cubicBezTo>
                <a:cubicBezTo>
                  <a:pt x="194" y="87"/>
                  <a:pt x="193" y="87"/>
                  <a:pt x="193" y="87"/>
                </a:cubicBezTo>
                <a:cubicBezTo>
                  <a:pt x="193" y="87"/>
                  <a:pt x="193" y="87"/>
                  <a:pt x="192" y="87"/>
                </a:cubicBezTo>
                <a:cubicBezTo>
                  <a:pt x="192" y="87"/>
                  <a:pt x="191" y="86"/>
                  <a:pt x="191" y="86"/>
                </a:cubicBezTo>
                <a:cubicBezTo>
                  <a:pt x="190" y="86"/>
                  <a:pt x="190" y="85"/>
                  <a:pt x="189" y="85"/>
                </a:cubicBezTo>
                <a:cubicBezTo>
                  <a:pt x="189" y="85"/>
                  <a:pt x="189" y="84"/>
                  <a:pt x="188" y="85"/>
                </a:cubicBezTo>
                <a:cubicBezTo>
                  <a:pt x="188" y="85"/>
                  <a:pt x="187" y="85"/>
                  <a:pt x="187" y="85"/>
                </a:cubicBezTo>
                <a:cubicBezTo>
                  <a:pt x="186" y="85"/>
                  <a:pt x="186" y="85"/>
                  <a:pt x="186" y="85"/>
                </a:cubicBezTo>
                <a:cubicBezTo>
                  <a:pt x="186" y="84"/>
                  <a:pt x="186" y="84"/>
                  <a:pt x="186" y="83"/>
                </a:cubicBezTo>
                <a:cubicBezTo>
                  <a:pt x="186" y="82"/>
                  <a:pt x="186" y="82"/>
                  <a:pt x="186" y="81"/>
                </a:cubicBezTo>
                <a:cubicBezTo>
                  <a:pt x="186" y="80"/>
                  <a:pt x="186" y="79"/>
                  <a:pt x="186" y="78"/>
                </a:cubicBezTo>
                <a:cubicBezTo>
                  <a:pt x="186" y="76"/>
                  <a:pt x="186" y="74"/>
                  <a:pt x="187" y="73"/>
                </a:cubicBezTo>
                <a:cubicBezTo>
                  <a:pt x="187" y="72"/>
                  <a:pt x="188" y="72"/>
                  <a:pt x="188" y="71"/>
                </a:cubicBezTo>
                <a:cubicBezTo>
                  <a:pt x="187" y="71"/>
                  <a:pt x="186" y="71"/>
                  <a:pt x="186" y="7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1" y="71"/>
                  <a:pt x="181" y="72"/>
                  <a:pt x="180" y="72"/>
                </a:cubicBezTo>
                <a:cubicBezTo>
                  <a:pt x="178" y="72"/>
                  <a:pt x="177" y="72"/>
                  <a:pt x="176" y="73"/>
                </a:cubicBezTo>
                <a:cubicBezTo>
                  <a:pt x="175" y="73"/>
                  <a:pt x="174" y="74"/>
                  <a:pt x="173" y="74"/>
                </a:cubicBezTo>
                <a:cubicBezTo>
                  <a:pt x="173" y="74"/>
                  <a:pt x="172" y="75"/>
                  <a:pt x="172" y="75"/>
                </a:cubicBezTo>
                <a:cubicBezTo>
                  <a:pt x="171" y="75"/>
                  <a:pt x="170" y="75"/>
                  <a:pt x="170" y="75"/>
                </a:cubicBezTo>
                <a:cubicBezTo>
                  <a:pt x="170" y="75"/>
                  <a:pt x="170" y="75"/>
                  <a:pt x="170" y="75"/>
                </a:cubicBezTo>
                <a:cubicBezTo>
                  <a:pt x="148" y="75"/>
                  <a:pt x="148" y="75"/>
                  <a:pt x="148" y="75"/>
                </a:cubicBezTo>
                <a:cubicBezTo>
                  <a:pt x="147" y="76"/>
                  <a:pt x="147" y="76"/>
                  <a:pt x="146" y="76"/>
                </a:cubicBezTo>
                <a:cubicBezTo>
                  <a:pt x="146" y="76"/>
                  <a:pt x="145" y="77"/>
                  <a:pt x="144" y="78"/>
                </a:cubicBezTo>
                <a:cubicBezTo>
                  <a:pt x="144" y="78"/>
                  <a:pt x="144" y="78"/>
                  <a:pt x="143" y="79"/>
                </a:cubicBezTo>
                <a:cubicBezTo>
                  <a:pt x="143" y="79"/>
                  <a:pt x="142" y="79"/>
                  <a:pt x="142" y="80"/>
                </a:cubicBezTo>
                <a:cubicBezTo>
                  <a:pt x="141" y="80"/>
                  <a:pt x="141" y="80"/>
                  <a:pt x="140" y="80"/>
                </a:cubicBezTo>
                <a:cubicBezTo>
                  <a:pt x="139" y="81"/>
                  <a:pt x="139" y="81"/>
                  <a:pt x="138" y="81"/>
                </a:cubicBezTo>
                <a:cubicBezTo>
                  <a:pt x="137" y="82"/>
                  <a:pt x="136" y="83"/>
                  <a:pt x="135" y="84"/>
                </a:cubicBezTo>
                <a:cubicBezTo>
                  <a:pt x="134" y="84"/>
                  <a:pt x="133" y="85"/>
                  <a:pt x="133" y="86"/>
                </a:cubicBezTo>
                <a:cubicBezTo>
                  <a:pt x="132" y="86"/>
                  <a:pt x="133" y="87"/>
                  <a:pt x="132" y="87"/>
                </a:cubicBezTo>
                <a:cubicBezTo>
                  <a:pt x="132" y="87"/>
                  <a:pt x="132" y="87"/>
                  <a:pt x="131" y="88"/>
                </a:cubicBezTo>
                <a:cubicBezTo>
                  <a:pt x="131" y="88"/>
                  <a:pt x="131" y="88"/>
                  <a:pt x="130" y="88"/>
                </a:cubicBezTo>
                <a:cubicBezTo>
                  <a:pt x="130" y="88"/>
                  <a:pt x="130" y="88"/>
                  <a:pt x="130" y="87"/>
                </a:cubicBezTo>
                <a:cubicBezTo>
                  <a:pt x="129" y="87"/>
                  <a:pt x="129" y="86"/>
                  <a:pt x="128" y="86"/>
                </a:cubicBezTo>
                <a:cubicBezTo>
                  <a:pt x="127" y="86"/>
                  <a:pt x="127" y="85"/>
                  <a:pt x="126" y="86"/>
                </a:cubicBezTo>
                <a:cubicBezTo>
                  <a:pt x="126" y="86"/>
                  <a:pt x="125" y="86"/>
                  <a:pt x="124" y="87"/>
                </a:cubicBezTo>
                <a:cubicBezTo>
                  <a:pt x="123" y="87"/>
                  <a:pt x="122" y="88"/>
                  <a:pt x="122" y="87"/>
                </a:cubicBezTo>
                <a:cubicBezTo>
                  <a:pt x="121" y="87"/>
                  <a:pt x="121" y="86"/>
                  <a:pt x="121" y="86"/>
                </a:cubicBezTo>
                <a:cubicBezTo>
                  <a:pt x="121" y="85"/>
                  <a:pt x="120" y="85"/>
                  <a:pt x="119" y="84"/>
                </a:cubicBezTo>
                <a:cubicBezTo>
                  <a:pt x="119" y="83"/>
                  <a:pt x="119" y="83"/>
                  <a:pt x="118" y="83"/>
                </a:cubicBezTo>
                <a:cubicBezTo>
                  <a:pt x="117" y="83"/>
                  <a:pt x="116" y="84"/>
                  <a:pt x="115" y="84"/>
                </a:cubicBezTo>
                <a:cubicBezTo>
                  <a:pt x="113" y="85"/>
                  <a:pt x="111" y="85"/>
                  <a:pt x="108" y="85"/>
                </a:cubicBezTo>
                <a:cubicBezTo>
                  <a:pt x="107" y="84"/>
                  <a:pt x="106" y="84"/>
                  <a:pt x="105" y="83"/>
                </a:cubicBezTo>
                <a:cubicBezTo>
                  <a:pt x="105" y="83"/>
                  <a:pt x="105" y="83"/>
                  <a:pt x="104" y="82"/>
                </a:cubicBezTo>
                <a:cubicBezTo>
                  <a:pt x="104" y="82"/>
                  <a:pt x="105" y="81"/>
                  <a:pt x="104" y="80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80"/>
                  <a:pt x="104" y="80"/>
                  <a:pt x="104" y="79"/>
                </a:cubicBezTo>
                <a:cubicBezTo>
                  <a:pt x="103" y="79"/>
                  <a:pt x="103" y="79"/>
                  <a:pt x="102" y="78"/>
                </a:cubicBezTo>
                <a:cubicBezTo>
                  <a:pt x="102" y="78"/>
                  <a:pt x="101" y="77"/>
                  <a:pt x="101" y="76"/>
                </a:cubicBezTo>
                <a:cubicBezTo>
                  <a:pt x="100" y="76"/>
                  <a:pt x="99" y="75"/>
                  <a:pt x="99" y="75"/>
                </a:cubicBezTo>
                <a:cubicBezTo>
                  <a:pt x="99" y="74"/>
                  <a:pt x="98" y="74"/>
                  <a:pt x="98" y="73"/>
                </a:cubicBezTo>
                <a:cubicBezTo>
                  <a:pt x="98" y="72"/>
                  <a:pt x="98" y="72"/>
                  <a:pt x="98" y="72"/>
                </a:cubicBezTo>
                <a:cubicBezTo>
                  <a:pt x="98" y="72"/>
                  <a:pt x="97" y="71"/>
                  <a:pt x="97" y="71"/>
                </a:cubicBezTo>
                <a:cubicBezTo>
                  <a:pt x="97" y="70"/>
                  <a:pt x="98" y="70"/>
                  <a:pt x="97" y="70"/>
                </a:cubicBezTo>
                <a:cubicBezTo>
                  <a:pt x="97" y="70"/>
                  <a:pt x="97" y="70"/>
                  <a:pt x="96" y="70"/>
                </a:cubicBezTo>
                <a:cubicBezTo>
                  <a:pt x="96" y="69"/>
                  <a:pt x="96" y="69"/>
                  <a:pt x="96" y="69"/>
                </a:cubicBezTo>
                <a:cubicBezTo>
                  <a:pt x="96" y="69"/>
                  <a:pt x="95" y="69"/>
                  <a:pt x="95" y="69"/>
                </a:cubicBezTo>
                <a:cubicBezTo>
                  <a:pt x="94" y="68"/>
                  <a:pt x="94" y="68"/>
                  <a:pt x="94" y="68"/>
                </a:cubicBezTo>
                <a:cubicBezTo>
                  <a:pt x="93" y="68"/>
                  <a:pt x="93" y="68"/>
                  <a:pt x="93" y="67"/>
                </a:cubicBezTo>
                <a:cubicBezTo>
                  <a:pt x="92" y="67"/>
                  <a:pt x="91" y="66"/>
                  <a:pt x="91" y="65"/>
                </a:cubicBezTo>
                <a:cubicBezTo>
                  <a:pt x="90" y="65"/>
                  <a:pt x="90" y="65"/>
                  <a:pt x="90" y="65"/>
                </a:cubicBezTo>
                <a:cubicBezTo>
                  <a:pt x="89" y="65"/>
                  <a:pt x="89" y="64"/>
                  <a:pt x="88" y="64"/>
                </a:cubicBezTo>
                <a:cubicBezTo>
                  <a:pt x="88" y="64"/>
                  <a:pt x="87" y="64"/>
                  <a:pt x="87" y="64"/>
                </a:cubicBezTo>
                <a:cubicBezTo>
                  <a:pt x="86" y="64"/>
                  <a:pt x="86" y="64"/>
                  <a:pt x="85" y="64"/>
                </a:cubicBezTo>
                <a:cubicBezTo>
                  <a:pt x="84" y="64"/>
                  <a:pt x="83" y="64"/>
                  <a:pt x="82" y="64"/>
                </a:cubicBezTo>
                <a:cubicBezTo>
                  <a:pt x="81" y="64"/>
                  <a:pt x="81" y="64"/>
                  <a:pt x="80" y="64"/>
                </a:cubicBezTo>
                <a:cubicBezTo>
                  <a:pt x="80" y="63"/>
                  <a:pt x="79" y="63"/>
                  <a:pt x="79" y="64"/>
                </a:cubicBezTo>
                <a:cubicBezTo>
                  <a:pt x="78" y="64"/>
                  <a:pt x="78" y="64"/>
                  <a:pt x="78" y="64"/>
                </a:cubicBezTo>
                <a:cubicBezTo>
                  <a:pt x="78" y="64"/>
                  <a:pt x="77" y="64"/>
                  <a:pt x="77" y="64"/>
                </a:cubicBezTo>
                <a:cubicBezTo>
                  <a:pt x="77" y="64"/>
                  <a:pt x="77" y="63"/>
                  <a:pt x="77" y="62"/>
                </a:cubicBezTo>
                <a:cubicBezTo>
                  <a:pt x="77" y="62"/>
                  <a:pt x="76" y="62"/>
                  <a:pt x="75" y="62"/>
                </a:cubicBezTo>
                <a:cubicBezTo>
                  <a:pt x="75" y="62"/>
                  <a:pt x="74" y="63"/>
                  <a:pt x="74" y="63"/>
                </a:cubicBezTo>
                <a:cubicBezTo>
                  <a:pt x="74" y="64"/>
                  <a:pt x="74" y="64"/>
                  <a:pt x="73" y="64"/>
                </a:cubicBezTo>
                <a:cubicBezTo>
                  <a:pt x="73" y="65"/>
                  <a:pt x="73" y="65"/>
                  <a:pt x="72" y="65"/>
                </a:cubicBezTo>
                <a:cubicBezTo>
                  <a:pt x="72" y="66"/>
                  <a:pt x="71" y="66"/>
                  <a:pt x="70" y="67"/>
                </a:cubicBezTo>
                <a:cubicBezTo>
                  <a:pt x="70" y="68"/>
                  <a:pt x="69" y="69"/>
                  <a:pt x="68" y="70"/>
                </a:cubicBezTo>
                <a:cubicBezTo>
                  <a:pt x="68" y="70"/>
                  <a:pt x="68" y="71"/>
                  <a:pt x="67" y="71"/>
                </a:cubicBezTo>
                <a:cubicBezTo>
                  <a:pt x="67" y="70"/>
                  <a:pt x="67" y="69"/>
                  <a:pt x="67" y="69"/>
                </a:cubicBezTo>
                <a:cubicBezTo>
                  <a:pt x="67" y="67"/>
                  <a:pt x="67" y="66"/>
                  <a:pt x="67" y="64"/>
                </a:cubicBezTo>
                <a:cubicBezTo>
                  <a:pt x="68" y="63"/>
                  <a:pt x="68" y="62"/>
                  <a:pt x="68" y="60"/>
                </a:cubicBezTo>
                <a:cubicBezTo>
                  <a:pt x="69" y="60"/>
                  <a:pt x="69" y="59"/>
                  <a:pt x="70" y="59"/>
                </a:cubicBezTo>
                <a:cubicBezTo>
                  <a:pt x="70" y="58"/>
                  <a:pt x="70" y="57"/>
                  <a:pt x="71" y="56"/>
                </a:cubicBezTo>
                <a:cubicBezTo>
                  <a:pt x="71" y="56"/>
                  <a:pt x="72" y="55"/>
                  <a:pt x="72" y="54"/>
                </a:cubicBezTo>
                <a:cubicBezTo>
                  <a:pt x="73" y="53"/>
                  <a:pt x="73" y="53"/>
                  <a:pt x="74" y="52"/>
                </a:cubicBezTo>
                <a:cubicBezTo>
                  <a:pt x="75" y="50"/>
                  <a:pt x="76" y="49"/>
                  <a:pt x="77" y="48"/>
                </a:cubicBezTo>
                <a:cubicBezTo>
                  <a:pt x="78" y="47"/>
                  <a:pt x="79" y="47"/>
                  <a:pt x="79" y="47"/>
                </a:cubicBezTo>
                <a:cubicBezTo>
                  <a:pt x="80" y="46"/>
                  <a:pt x="80" y="46"/>
                  <a:pt x="81" y="45"/>
                </a:cubicBezTo>
                <a:cubicBezTo>
                  <a:pt x="81" y="45"/>
                  <a:pt x="82" y="45"/>
                  <a:pt x="83" y="44"/>
                </a:cubicBezTo>
                <a:cubicBezTo>
                  <a:pt x="83" y="43"/>
                  <a:pt x="84" y="43"/>
                  <a:pt x="84" y="42"/>
                </a:cubicBezTo>
                <a:cubicBezTo>
                  <a:pt x="85" y="41"/>
                  <a:pt x="85" y="40"/>
                  <a:pt x="86" y="40"/>
                </a:cubicBezTo>
                <a:cubicBezTo>
                  <a:pt x="88" y="39"/>
                  <a:pt x="90" y="40"/>
                  <a:pt x="91" y="39"/>
                </a:cubicBezTo>
                <a:cubicBezTo>
                  <a:pt x="92" y="38"/>
                  <a:pt x="92" y="38"/>
                  <a:pt x="92" y="37"/>
                </a:cubicBezTo>
                <a:cubicBezTo>
                  <a:pt x="93" y="37"/>
                  <a:pt x="93" y="37"/>
                  <a:pt x="93" y="36"/>
                </a:cubicBezTo>
                <a:cubicBezTo>
                  <a:pt x="92" y="36"/>
                  <a:pt x="91" y="35"/>
                  <a:pt x="91" y="35"/>
                </a:cubicBezTo>
                <a:cubicBezTo>
                  <a:pt x="89" y="34"/>
                  <a:pt x="88" y="34"/>
                  <a:pt x="87" y="34"/>
                </a:cubicBezTo>
                <a:cubicBezTo>
                  <a:pt x="86" y="35"/>
                  <a:pt x="84" y="34"/>
                  <a:pt x="83" y="35"/>
                </a:cubicBezTo>
                <a:cubicBezTo>
                  <a:pt x="82" y="35"/>
                  <a:pt x="82" y="35"/>
                  <a:pt x="81" y="35"/>
                </a:cubicBezTo>
                <a:cubicBezTo>
                  <a:pt x="80" y="35"/>
                  <a:pt x="79" y="35"/>
                  <a:pt x="78" y="35"/>
                </a:cubicBezTo>
                <a:cubicBezTo>
                  <a:pt x="77" y="36"/>
                  <a:pt x="76" y="36"/>
                  <a:pt x="75" y="37"/>
                </a:cubicBezTo>
                <a:cubicBezTo>
                  <a:pt x="74" y="37"/>
                  <a:pt x="73" y="38"/>
                  <a:pt x="73" y="38"/>
                </a:cubicBezTo>
                <a:cubicBezTo>
                  <a:pt x="72" y="38"/>
                  <a:pt x="71" y="39"/>
                  <a:pt x="70" y="39"/>
                </a:cubicBezTo>
                <a:cubicBezTo>
                  <a:pt x="69" y="40"/>
                  <a:pt x="68" y="41"/>
                  <a:pt x="68" y="42"/>
                </a:cubicBezTo>
                <a:cubicBezTo>
                  <a:pt x="67" y="43"/>
                  <a:pt x="67" y="44"/>
                  <a:pt x="66" y="44"/>
                </a:cubicBezTo>
                <a:cubicBezTo>
                  <a:pt x="65" y="45"/>
                  <a:pt x="64" y="46"/>
                  <a:pt x="63" y="46"/>
                </a:cubicBezTo>
                <a:cubicBezTo>
                  <a:pt x="63" y="47"/>
                  <a:pt x="63" y="47"/>
                  <a:pt x="62" y="47"/>
                </a:cubicBezTo>
                <a:cubicBezTo>
                  <a:pt x="62" y="48"/>
                  <a:pt x="61" y="48"/>
                  <a:pt x="61" y="48"/>
                </a:cubicBezTo>
                <a:cubicBezTo>
                  <a:pt x="60" y="48"/>
                  <a:pt x="60" y="49"/>
                  <a:pt x="60" y="49"/>
                </a:cubicBezTo>
                <a:cubicBezTo>
                  <a:pt x="59" y="49"/>
                  <a:pt x="59" y="49"/>
                  <a:pt x="58" y="49"/>
                </a:cubicBezTo>
                <a:cubicBezTo>
                  <a:pt x="58" y="50"/>
                  <a:pt x="58" y="50"/>
                  <a:pt x="58" y="50"/>
                </a:cubicBezTo>
                <a:cubicBezTo>
                  <a:pt x="57" y="50"/>
                  <a:pt x="57" y="51"/>
                  <a:pt x="57" y="51"/>
                </a:cubicBezTo>
                <a:cubicBezTo>
                  <a:pt x="56" y="51"/>
                  <a:pt x="56" y="52"/>
                  <a:pt x="55" y="52"/>
                </a:cubicBezTo>
                <a:cubicBezTo>
                  <a:pt x="54" y="53"/>
                  <a:pt x="53" y="53"/>
                  <a:pt x="53" y="54"/>
                </a:cubicBezTo>
                <a:cubicBezTo>
                  <a:pt x="52" y="54"/>
                  <a:pt x="52" y="55"/>
                  <a:pt x="52" y="55"/>
                </a:cubicBezTo>
                <a:cubicBezTo>
                  <a:pt x="52" y="56"/>
                  <a:pt x="51" y="57"/>
                  <a:pt x="51" y="57"/>
                </a:cubicBezTo>
                <a:cubicBezTo>
                  <a:pt x="50" y="58"/>
                  <a:pt x="50" y="58"/>
                  <a:pt x="49" y="59"/>
                </a:cubicBezTo>
                <a:cubicBezTo>
                  <a:pt x="49" y="59"/>
                  <a:pt x="48" y="59"/>
                  <a:pt x="47" y="59"/>
                </a:cubicBezTo>
                <a:cubicBezTo>
                  <a:pt x="47" y="60"/>
                  <a:pt x="46" y="60"/>
                  <a:pt x="45" y="60"/>
                </a:cubicBezTo>
                <a:cubicBezTo>
                  <a:pt x="45" y="60"/>
                  <a:pt x="44" y="60"/>
                  <a:pt x="43" y="61"/>
                </a:cubicBezTo>
                <a:cubicBezTo>
                  <a:pt x="42" y="61"/>
                  <a:pt x="41" y="62"/>
                  <a:pt x="40" y="63"/>
                </a:cubicBezTo>
                <a:cubicBezTo>
                  <a:pt x="38" y="65"/>
                  <a:pt x="36" y="66"/>
                  <a:pt x="33" y="67"/>
                </a:cubicBezTo>
                <a:cubicBezTo>
                  <a:pt x="32" y="67"/>
                  <a:pt x="31" y="67"/>
                  <a:pt x="29" y="68"/>
                </a:cubicBezTo>
                <a:cubicBezTo>
                  <a:pt x="28" y="68"/>
                  <a:pt x="27" y="68"/>
                  <a:pt x="26" y="68"/>
                </a:cubicBezTo>
                <a:cubicBezTo>
                  <a:pt x="24" y="68"/>
                  <a:pt x="22" y="68"/>
                  <a:pt x="22" y="69"/>
                </a:cubicBezTo>
                <a:cubicBezTo>
                  <a:pt x="21" y="69"/>
                  <a:pt x="20" y="69"/>
                  <a:pt x="20" y="70"/>
                </a:cubicBezTo>
                <a:cubicBezTo>
                  <a:pt x="20" y="70"/>
                  <a:pt x="19" y="70"/>
                  <a:pt x="19" y="71"/>
                </a:cubicBezTo>
                <a:cubicBezTo>
                  <a:pt x="18" y="72"/>
                  <a:pt x="16" y="74"/>
                  <a:pt x="15" y="74"/>
                </a:cubicBezTo>
                <a:cubicBezTo>
                  <a:pt x="14" y="75"/>
                  <a:pt x="12" y="76"/>
                  <a:pt x="11" y="77"/>
                </a:cubicBezTo>
                <a:cubicBezTo>
                  <a:pt x="11" y="77"/>
                  <a:pt x="7" y="78"/>
                  <a:pt x="5" y="78"/>
                </a:cubicBezTo>
                <a:cubicBezTo>
                  <a:pt x="4" y="78"/>
                  <a:pt x="2" y="79"/>
                  <a:pt x="1" y="80"/>
                </a:cubicBezTo>
                <a:cubicBezTo>
                  <a:pt x="1" y="80"/>
                  <a:pt x="0" y="80"/>
                  <a:pt x="0" y="80"/>
                </a:cubicBezTo>
                <a:cubicBezTo>
                  <a:pt x="0" y="82"/>
                  <a:pt x="0" y="82"/>
                  <a:pt x="0" y="82"/>
                </a:cubicBezTo>
                <a:lnTo>
                  <a:pt x="3" y="82"/>
                </a:lnTo>
                <a:close/>
                <a:moveTo>
                  <a:pt x="240" y="313"/>
                </a:moveTo>
                <a:cubicBezTo>
                  <a:pt x="240" y="312"/>
                  <a:pt x="241" y="311"/>
                  <a:pt x="241" y="311"/>
                </a:cubicBezTo>
                <a:cubicBezTo>
                  <a:pt x="241" y="310"/>
                  <a:pt x="242" y="308"/>
                  <a:pt x="242" y="308"/>
                </a:cubicBezTo>
                <a:cubicBezTo>
                  <a:pt x="242" y="307"/>
                  <a:pt x="243" y="306"/>
                  <a:pt x="243" y="306"/>
                </a:cubicBezTo>
                <a:cubicBezTo>
                  <a:pt x="243" y="306"/>
                  <a:pt x="249" y="301"/>
                  <a:pt x="249" y="301"/>
                </a:cubicBezTo>
                <a:cubicBezTo>
                  <a:pt x="249" y="300"/>
                  <a:pt x="249" y="298"/>
                  <a:pt x="249" y="297"/>
                </a:cubicBezTo>
                <a:cubicBezTo>
                  <a:pt x="249" y="297"/>
                  <a:pt x="250" y="295"/>
                  <a:pt x="250" y="295"/>
                </a:cubicBezTo>
                <a:cubicBezTo>
                  <a:pt x="250" y="295"/>
                  <a:pt x="251" y="294"/>
                  <a:pt x="251" y="293"/>
                </a:cubicBezTo>
                <a:cubicBezTo>
                  <a:pt x="251" y="293"/>
                  <a:pt x="251" y="291"/>
                  <a:pt x="251" y="291"/>
                </a:cubicBezTo>
                <a:cubicBezTo>
                  <a:pt x="251" y="290"/>
                  <a:pt x="251" y="289"/>
                  <a:pt x="251" y="289"/>
                </a:cubicBezTo>
                <a:cubicBezTo>
                  <a:pt x="254" y="286"/>
                  <a:pt x="254" y="286"/>
                  <a:pt x="254" y="286"/>
                </a:cubicBezTo>
                <a:cubicBezTo>
                  <a:pt x="257" y="285"/>
                  <a:pt x="257" y="285"/>
                  <a:pt x="257" y="285"/>
                </a:cubicBezTo>
                <a:cubicBezTo>
                  <a:pt x="257" y="285"/>
                  <a:pt x="258" y="285"/>
                  <a:pt x="258" y="284"/>
                </a:cubicBezTo>
                <a:cubicBezTo>
                  <a:pt x="258" y="284"/>
                  <a:pt x="259" y="283"/>
                  <a:pt x="259" y="283"/>
                </a:cubicBezTo>
                <a:cubicBezTo>
                  <a:pt x="259" y="283"/>
                  <a:pt x="259" y="282"/>
                  <a:pt x="260" y="281"/>
                </a:cubicBezTo>
                <a:cubicBezTo>
                  <a:pt x="260" y="281"/>
                  <a:pt x="260" y="280"/>
                  <a:pt x="260" y="280"/>
                </a:cubicBezTo>
                <a:cubicBezTo>
                  <a:pt x="261" y="280"/>
                  <a:pt x="260" y="278"/>
                  <a:pt x="260" y="276"/>
                </a:cubicBezTo>
                <a:cubicBezTo>
                  <a:pt x="261" y="275"/>
                  <a:pt x="261" y="276"/>
                  <a:pt x="262" y="275"/>
                </a:cubicBezTo>
                <a:cubicBezTo>
                  <a:pt x="263" y="275"/>
                  <a:pt x="263" y="275"/>
                  <a:pt x="263" y="275"/>
                </a:cubicBezTo>
                <a:cubicBezTo>
                  <a:pt x="263" y="275"/>
                  <a:pt x="263" y="274"/>
                  <a:pt x="263" y="274"/>
                </a:cubicBezTo>
                <a:cubicBezTo>
                  <a:pt x="263" y="273"/>
                  <a:pt x="263" y="272"/>
                  <a:pt x="263" y="271"/>
                </a:cubicBezTo>
                <a:cubicBezTo>
                  <a:pt x="263" y="271"/>
                  <a:pt x="264" y="271"/>
                  <a:pt x="264" y="271"/>
                </a:cubicBezTo>
                <a:cubicBezTo>
                  <a:pt x="265" y="271"/>
                  <a:pt x="265" y="270"/>
                  <a:pt x="265" y="270"/>
                </a:cubicBezTo>
                <a:cubicBezTo>
                  <a:pt x="266" y="270"/>
                  <a:pt x="266" y="270"/>
                  <a:pt x="267" y="270"/>
                </a:cubicBezTo>
                <a:cubicBezTo>
                  <a:pt x="267" y="270"/>
                  <a:pt x="269" y="270"/>
                  <a:pt x="269" y="270"/>
                </a:cubicBezTo>
                <a:cubicBezTo>
                  <a:pt x="269" y="271"/>
                  <a:pt x="269" y="271"/>
                  <a:pt x="268" y="271"/>
                </a:cubicBezTo>
                <a:cubicBezTo>
                  <a:pt x="268" y="271"/>
                  <a:pt x="268" y="272"/>
                  <a:pt x="268" y="273"/>
                </a:cubicBezTo>
                <a:cubicBezTo>
                  <a:pt x="269" y="273"/>
                  <a:pt x="269" y="274"/>
                  <a:pt x="269" y="274"/>
                </a:cubicBezTo>
                <a:cubicBezTo>
                  <a:pt x="269" y="274"/>
                  <a:pt x="269" y="275"/>
                  <a:pt x="270" y="275"/>
                </a:cubicBezTo>
                <a:cubicBezTo>
                  <a:pt x="270" y="275"/>
                  <a:pt x="272" y="273"/>
                  <a:pt x="272" y="273"/>
                </a:cubicBezTo>
                <a:cubicBezTo>
                  <a:pt x="276" y="253"/>
                  <a:pt x="276" y="253"/>
                  <a:pt x="276" y="253"/>
                </a:cubicBezTo>
                <a:cubicBezTo>
                  <a:pt x="276" y="253"/>
                  <a:pt x="275" y="253"/>
                  <a:pt x="275" y="252"/>
                </a:cubicBezTo>
                <a:cubicBezTo>
                  <a:pt x="275" y="252"/>
                  <a:pt x="274" y="251"/>
                  <a:pt x="274" y="250"/>
                </a:cubicBezTo>
                <a:cubicBezTo>
                  <a:pt x="274" y="249"/>
                  <a:pt x="274" y="249"/>
                  <a:pt x="274" y="248"/>
                </a:cubicBezTo>
                <a:cubicBezTo>
                  <a:pt x="273" y="246"/>
                  <a:pt x="273" y="245"/>
                  <a:pt x="273" y="244"/>
                </a:cubicBezTo>
                <a:cubicBezTo>
                  <a:pt x="273" y="243"/>
                  <a:pt x="272" y="242"/>
                  <a:pt x="272" y="241"/>
                </a:cubicBezTo>
                <a:cubicBezTo>
                  <a:pt x="272" y="240"/>
                  <a:pt x="272" y="239"/>
                  <a:pt x="272" y="238"/>
                </a:cubicBezTo>
                <a:cubicBezTo>
                  <a:pt x="272" y="237"/>
                  <a:pt x="271" y="236"/>
                  <a:pt x="271" y="236"/>
                </a:cubicBezTo>
                <a:cubicBezTo>
                  <a:pt x="271" y="234"/>
                  <a:pt x="271" y="233"/>
                  <a:pt x="271" y="232"/>
                </a:cubicBezTo>
                <a:cubicBezTo>
                  <a:pt x="271" y="231"/>
                  <a:pt x="271" y="231"/>
                  <a:pt x="271" y="230"/>
                </a:cubicBezTo>
                <a:cubicBezTo>
                  <a:pt x="271" y="230"/>
                  <a:pt x="271" y="229"/>
                  <a:pt x="271" y="229"/>
                </a:cubicBezTo>
                <a:cubicBezTo>
                  <a:pt x="271" y="228"/>
                  <a:pt x="270" y="228"/>
                  <a:pt x="270" y="227"/>
                </a:cubicBezTo>
                <a:cubicBezTo>
                  <a:pt x="270" y="227"/>
                  <a:pt x="270" y="226"/>
                  <a:pt x="270" y="225"/>
                </a:cubicBezTo>
                <a:cubicBezTo>
                  <a:pt x="270" y="224"/>
                  <a:pt x="270" y="222"/>
                  <a:pt x="270" y="221"/>
                </a:cubicBezTo>
                <a:cubicBezTo>
                  <a:pt x="269" y="220"/>
                  <a:pt x="269" y="218"/>
                  <a:pt x="269" y="217"/>
                </a:cubicBezTo>
                <a:cubicBezTo>
                  <a:pt x="269" y="216"/>
                  <a:pt x="269" y="215"/>
                  <a:pt x="268" y="214"/>
                </a:cubicBezTo>
                <a:cubicBezTo>
                  <a:pt x="268" y="214"/>
                  <a:pt x="268" y="214"/>
                  <a:pt x="268" y="213"/>
                </a:cubicBezTo>
                <a:cubicBezTo>
                  <a:pt x="267" y="212"/>
                  <a:pt x="267" y="211"/>
                  <a:pt x="267" y="210"/>
                </a:cubicBezTo>
                <a:cubicBezTo>
                  <a:pt x="266" y="209"/>
                  <a:pt x="266" y="209"/>
                  <a:pt x="265" y="208"/>
                </a:cubicBezTo>
                <a:cubicBezTo>
                  <a:pt x="265" y="208"/>
                  <a:pt x="265" y="207"/>
                  <a:pt x="265" y="207"/>
                </a:cubicBezTo>
                <a:cubicBezTo>
                  <a:pt x="264" y="207"/>
                  <a:pt x="264" y="207"/>
                  <a:pt x="264" y="206"/>
                </a:cubicBezTo>
                <a:cubicBezTo>
                  <a:pt x="263" y="206"/>
                  <a:pt x="262" y="206"/>
                  <a:pt x="262" y="205"/>
                </a:cubicBezTo>
                <a:cubicBezTo>
                  <a:pt x="260" y="205"/>
                  <a:pt x="258" y="203"/>
                  <a:pt x="257" y="205"/>
                </a:cubicBezTo>
                <a:cubicBezTo>
                  <a:pt x="256" y="205"/>
                  <a:pt x="256" y="206"/>
                  <a:pt x="255" y="206"/>
                </a:cubicBezTo>
                <a:cubicBezTo>
                  <a:pt x="255" y="207"/>
                  <a:pt x="254" y="207"/>
                  <a:pt x="253" y="207"/>
                </a:cubicBezTo>
                <a:cubicBezTo>
                  <a:pt x="253" y="207"/>
                  <a:pt x="252" y="207"/>
                  <a:pt x="252" y="207"/>
                </a:cubicBezTo>
                <a:cubicBezTo>
                  <a:pt x="251" y="207"/>
                  <a:pt x="251" y="207"/>
                  <a:pt x="251" y="208"/>
                </a:cubicBezTo>
                <a:cubicBezTo>
                  <a:pt x="250" y="208"/>
                  <a:pt x="250" y="207"/>
                  <a:pt x="249" y="207"/>
                </a:cubicBezTo>
                <a:cubicBezTo>
                  <a:pt x="249" y="208"/>
                  <a:pt x="248" y="207"/>
                  <a:pt x="247" y="208"/>
                </a:cubicBezTo>
                <a:cubicBezTo>
                  <a:pt x="247" y="208"/>
                  <a:pt x="247" y="208"/>
                  <a:pt x="247" y="209"/>
                </a:cubicBezTo>
                <a:cubicBezTo>
                  <a:pt x="247" y="209"/>
                  <a:pt x="247" y="209"/>
                  <a:pt x="246" y="209"/>
                </a:cubicBezTo>
                <a:cubicBezTo>
                  <a:pt x="246" y="209"/>
                  <a:pt x="246" y="209"/>
                  <a:pt x="246" y="210"/>
                </a:cubicBezTo>
                <a:cubicBezTo>
                  <a:pt x="246" y="210"/>
                  <a:pt x="246" y="211"/>
                  <a:pt x="245" y="211"/>
                </a:cubicBezTo>
                <a:cubicBezTo>
                  <a:pt x="244" y="211"/>
                  <a:pt x="242" y="210"/>
                  <a:pt x="242" y="211"/>
                </a:cubicBezTo>
                <a:cubicBezTo>
                  <a:pt x="242" y="211"/>
                  <a:pt x="242" y="212"/>
                  <a:pt x="243" y="212"/>
                </a:cubicBezTo>
                <a:cubicBezTo>
                  <a:pt x="243" y="212"/>
                  <a:pt x="243" y="212"/>
                  <a:pt x="244" y="212"/>
                </a:cubicBezTo>
                <a:cubicBezTo>
                  <a:pt x="244" y="212"/>
                  <a:pt x="244" y="212"/>
                  <a:pt x="244" y="213"/>
                </a:cubicBezTo>
                <a:cubicBezTo>
                  <a:pt x="244" y="213"/>
                  <a:pt x="244" y="213"/>
                  <a:pt x="244" y="213"/>
                </a:cubicBezTo>
                <a:cubicBezTo>
                  <a:pt x="243" y="214"/>
                  <a:pt x="243" y="214"/>
                  <a:pt x="242" y="214"/>
                </a:cubicBezTo>
                <a:cubicBezTo>
                  <a:pt x="242" y="215"/>
                  <a:pt x="242" y="215"/>
                  <a:pt x="242" y="215"/>
                </a:cubicBezTo>
                <a:cubicBezTo>
                  <a:pt x="242" y="215"/>
                  <a:pt x="242" y="216"/>
                  <a:pt x="242" y="216"/>
                </a:cubicBezTo>
                <a:cubicBezTo>
                  <a:pt x="241" y="216"/>
                  <a:pt x="241" y="217"/>
                  <a:pt x="241" y="217"/>
                </a:cubicBezTo>
                <a:cubicBezTo>
                  <a:pt x="241" y="218"/>
                  <a:pt x="241" y="219"/>
                  <a:pt x="240" y="220"/>
                </a:cubicBezTo>
                <a:cubicBezTo>
                  <a:pt x="239" y="220"/>
                  <a:pt x="238" y="220"/>
                  <a:pt x="237" y="221"/>
                </a:cubicBezTo>
                <a:cubicBezTo>
                  <a:pt x="237" y="221"/>
                  <a:pt x="237" y="221"/>
                  <a:pt x="237" y="222"/>
                </a:cubicBezTo>
                <a:cubicBezTo>
                  <a:pt x="237" y="222"/>
                  <a:pt x="237" y="222"/>
                  <a:pt x="236" y="223"/>
                </a:cubicBezTo>
                <a:cubicBezTo>
                  <a:pt x="235" y="224"/>
                  <a:pt x="234" y="225"/>
                  <a:pt x="233" y="226"/>
                </a:cubicBezTo>
                <a:cubicBezTo>
                  <a:pt x="233" y="226"/>
                  <a:pt x="232" y="226"/>
                  <a:pt x="232" y="226"/>
                </a:cubicBezTo>
                <a:cubicBezTo>
                  <a:pt x="232" y="226"/>
                  <a:pt x="232" y="226"/>
                  <a:pt x="231" y="226"/>
                </a:cubicBezTo>
                <a:cubicBezTo>
                  <a:pt x="231" y="226"/>
                  <a:pt x="230" y="226"/>
                  <a:pt x="229" y="226"/>
                </a:cubicBezTo>
                <a:cubicBezTo>
                  <a:pt x="229" y="225"/>
                  <a:pt x="229" y="225"/>
                  <a:pt x="229" y="225"/>
                </a:cubicBezTo>
                <a:cubicBezTo>
                  <a:pt x="228" y="225"/>
                  <a:pt x="228" y="225"/>
                  <a:pt x="228" y="225"/>
                </a:cubicBezTo>
                <a:cubicBezTo>
                  <a:pt x="227" y="225"/>
                  <a:pt x="227" y="224"/>
                  <a:pt x="226" y="224"/>
                </a:cubicBezTo>
                <a:cubicBezTo>
                  <a:pt x="226" y="223"/>
                  <a:pt x="225" y="223"/>
                  <a:pt x="225" y="222"/>
                </a:cubicBezTo>
                <a:cubicBezTo>
                  <a:pt x="225" y="222"/>
                  <a:pt x="224" y="222"/>
                  <a:pt x="224" y="221"/>
                </a:cubicBezTo>
                <a:cubicBezTo>
                  <a:pt x="224" y="220"/>
                  <a:pt x="224" y="219"/>
                  <a:pt x="224" y="218"/>
                </a:cubicBezTo>
                <a:cubicBezTo>
                  <a:pt x="224" y="217"/>
                  <a:pt x="224" y="216"/>
                  <a:pt x="224" y="215"/>
                </a:cubicBezTo>
                <a:cubicBezTo>
                  <a:pt x="224" y="214"/>
                  <a:pt x="225" y="213"/>
                  <a:pt x="224" y="213"/>
                </a:cubicBezTo>
                <a:cubicBezTo>
                  <a:pt x="224" y="212"/>
                  <a:pt x="224" y="212"/>
                  <a:pt x="225" y="212"/>
                </a:cubicBezTo>
                <a:cubicBezTo>
                  <a:pt x="225" y="212"/>
                  <a:pt x="225" y="211"/>
                  <a:pt x="225" y="211"/>
                </a:cubicBezTo>
                <a:cubicBezTo>
                  <a:pt x="225" y="210"/>
                  <a:pt x="225" y="210"/>
                  <a:pt x="225" y="210"/>
                </a:cubicBezTo>
                <a:cubicBezTo>
                  <a:pt x="226" y="209"/>
                  <a:pt x="226" y="209"/>
                  <a:pt x="226" y="209"/>
                </a:cubicBezTo>
                <a:cubicBezTo>
                  <a:pt x="227" y="209"/>
                  <a:pt x="227" y="208"/>
                  <a:pt x="227" y="208"/>
                </a:cubicBezTo>
                <a:cubicBezTo>
                  <a:pt x="228" y="208"/>
                  <a:pt x="229" y="208"/>
                  <a:pt x="229" y="208"/>
                </a:cubicBezTo>
                <a:cubicBezTo>
                  <a:pt x="230" y="208"/>
                  <a:pt x="232" y="208"/>
                  <a:pt x="232" y="207"/>
                </a:cubicBezTo>
                <a:cubicBezTo>
                  <a:pt x="233" y="207"/>
                  <a:pt x="232" y="206"/>
                  <a:pt x="233" y="205"/>
                </a:cubicBezTo>
                <a:cubicBezTo>
                  <a:pt x="233" y="205"/>
                  <a:pt x="233" y="205"/>
                  <a:pt x="234" y="205"/>
                </a:cubicBezTo>
                <a:cubicBezTo>
                  <a:pt x="235" y="205"/>
                  <a:pt x="235" y="204"/>
                  <a:pt x="236" y="204"/>
                </a:cubicBezTo>
                <a:cubicBezTo>
                  <a:pt x="236" y="204"/>
                  <a:pt x="236" y="199"/>
                  <a:pt x="237" y="199"/>
                </a:cubicBezTo>
                <a:cubicBezTo>
                  <a:pt x="237" y="199"/>
                  <a:pt x="237" y="199"/>
                  <a:pt x="237" y="199"/>
                </a:cubicBezTo>
                <a:cubicBezTo>
                  <a:pt x="237" y="197"/>
                  <a:pt x="237" y="196"/>
                  <a:pt x="238" y="195"/>
                </a:cubicBezTo>
                <a:cubicBezTo>
                  <a:pt x="238" y="195"/>
                  <a:pt x="239" y="194"/>
                  <a:pt x="239" y="194"/>
                </a:cubicBezTo>
                <a:cubicBezTo>
                  <a:pt x="240" y="194"/>
                  <a:pt x="240" y="194"/>
                  <a:pt x="240" y="195"/>
                </a:cubicBezTo>
                <a:cubicBezTo>
                  <a:pt x="241" y="195"/>
                  <a:pt x="242" y="194"/>
                  <a:pt x="242" y="194"/>
                </a:cubicBezTo>
                <a:cubicBezTo>
                  <a:pt x="243" y="193"/>
                  <a:pt x="244" y="192"/>
                  <a:pt x="244" y="191"/>
                </a:cubicBezTo>
                <a:cubicBezTo>
                  <a:pt x="245" y="190"/>
                  <a:pt x="245" y="189"/>
                  <a:pt x="245" y="188"/>
                </a:cubicBezTo>
                <a:cubicBezTo>
                  <a:pt x="245" y="188"/>
                  <a:pt x="245" y="187"/>
                  <a:pt x="245" y="187"/>
                </a:cubicBezTo>
                <a:cubicBezTo>
                  <a:pt x="245" y="186"/>
                  <a:pt x="245" y="186"/>
                  <a:pt x="245" y="186"/>
                </a:cubicBezTo>
                <a:cubicBezTo>
                  <a:pt x="245" y="185"/>
                  <a:pt x="245" y="184"/>
                  <a:pt x="245" y="183"/>
                </a:cubicBezTo>
                <a:cubicBezTo>
                  <a:pt x="245" y="182"/>
                  <a:pt x="245" y="181"/>
                  <a:pt x="246" y="180"/>
                </a:cubicBezTo>
                <a:cubicBezTo>
                  <a:pt x="246" y="180"/>
                  <a:pt x="246" y="180"/>
                  <a:pt x="246" y="180"/>
                </a:cubicBezTo>
                <a:cubicBezTo>
                  <a:pt x="246" y="179"/>
                  <a:pt x="246" y="179"/>
                  <a:pt x="246" y="179"/>
                </a:cubicBezTo>
                <a:cubicBezTo>
                  <a:pt x="246" y="177"/>
                  <a:pt x="246" y="176"/>
                  <a:pt x="246" y="175"/>
                </a:cubicBezTo>
                <a:cubicBezTo>
                  <a:pt x="246" y="174"/>
                  <a:pt x="247" y="174"/>
                  <a:pt x="247" y="173"/>
                </a:cubicBezTo>
                <a:cubicBezTo>
                  <a:pt x="247" y="173"/>
                  <a:pt x="247" y="172"/>
                  <a:pt x="247" y="171"/>
                </a:cubicBezTo>
                <a:cubicBezTo>
                  <a:pt x="247" y="171"/>
                  <a:pt x="247" y="170"/>
                  <a:pt x="247" y="169"/>
                </a:cubicBezTo>
                <a:cubicBezTo>
                  <a:pt x="247" y="169"/>
                  <a:pt x="246" y="168"/>
                  <a:pt x="246" y="167"/>
                </a:cubicBezTo>
                <a:cubicBezTo>
                  <a:pt x="246" y="167"/>
                  <a:pt x="246" y="166"/>
                  <a:pt x="246" y="166"/>
                </a:cubicBezTo>
                <a:cubicBezTo>
                  <a:pt x="245" y="165"/>
                  <a:pt x="245" y="165"/>
                  <a:pt x="245" y="165"/>
                </a:cubicBezTo>
                <a:cubicBezTo>
                  <a:pt x="245" y="164"/>
                  <a:pt x="244" y="163"/>
                  <a:pt x="244" y="163"/>
                </a:cubicBezTo>
                <a:cubicBezTo>
                  <a:pt x="244" y="163"/>
                  <a:pt x="243" y="163"/>
                  <a:pt x="243" y="163"/>
                </a:cubicBezTo>
                <a:cubicBezTo>
                  <a:pt x="243" y="163"/>
                  <a:pt x="243" y="162"/>
                  <a:pt x="242" y="162"/>
                </a:cubicBezTo>
                <a:cubicBezTo>
                  <a:pt x="242" y="161"/>
                  <a:pt x="241" y="161"/>
                  <a:pt x="241" y="160"/>
                </a:cubicBezTo>
                <a:cubicBezTo>
                  <a:pt x="241" y="159"/>
                  <a:pt x="241" y="158"/>
                  <a:pt x="241" y="157"/>
                </a:cubicBezTo>
                <a:cubicBezTo>
                  <a:pt x="240" y="157"/>
                  <a:pt x="240" y="157"/>
                  <a:pt x="240" y="157"/>
                </a:cubicBezTo>
                <a:cubicBezTo>
                  <a:pt x="241" y="156"/>
                  <a:pt x="241" y="156"/>
                  <a:pt x="241" y="156"/>
                </a:cubicBezTo>
                <a:cubicBezTo>
                  <a:pt x="242" y="156"/>
                  <a:pt x="243" y="155"/>
                  <a:pt x="243" y="155"/>
                </a:cubicBezTo>
                <a:cubicBezTo>
                  <a:pt x="244" y="155"/>
                  <a:pt x="244" y="155"/>
                  <a:pt x="244" y="155"/>
                </a:cubicBezTo>
                <a:cubicBezTo>
                  <a:pt x="244" y="155"/>
                  <a:pt x="245" y="155"/>
                  <a:pt x="245" y="155"/>
                </a:cubicBezTo>
                <a:cubicBezTo>
                  <a:pt x="245" y="155"/>
                  <a:pt x="246" y="155"/>
                  <a:pt x="246" y="155"/>
                </a:cubicBezTo>
                <a:cubicBezTo>
                  <a:pt x="246" y="155"/>
                  <a:pt x="246" y="154"/>
                  <a:pt x="246" y="154"/>
                </a:cubicBezTo>
                <a:cubicBezTo>
                  <a:pt x="246" y="153"/>
                  <a:pt x="246" y="153"/>
                  <a:pt x="245" y="152"/>
                </a:cubicBezTo>
                <a:cubicBezTo>
                  <a:pt x="245" y="151"/>
                  <a:pt x="245" y="151"/>
                  <a:pt x="244" y="151"/>
                </a:cubicBezTo>
                <a:cubicBezTo>
                  <a:pt x="244" y="150"/>
                  <a:pt x="244" y="150"/>
                  <a:pt x="244" y="149"/>
                </a:cubicBezTo>
                <a:cubicBezTo>
                  <a:pt x="243" y="149"/>
                  <a:pt x="243" y="149"/>
                  <a:pt x="243" y="148"/>
                </a:cubicBezTo>
                <a:cubicBezTo>
                  <a:pt x="243" y="148"/>
                  <a:pt x="243" y="147"/>
                  <a:pt x="242" y="147"/>
                </a:cubicBezTo>
                <a:cubicBezTo>
                  <a:pt x="242" y="147"/>
                  <a:pt x="242" y="147"/>
                  <a:pt x="242" y="147"/>
                </a:cubicBezTo>
                <a:cubicBezTo>
                  <a:pt x="242" y="146"/>
                  <a:pt x="242" y="146"/>
                  <a:pt x="242" y="146"/>
                </a:cubicBezTo>
                <a:cubicBezTo>
                  <a:pt x="242" y="146"/>
                  <a:pt x="242" y="146"/>
                  <a:pt x="242" y="146"/>
                </a:cubicBezTo>
                <a:cubicBezTo>
                  <a:pt x="242" y="145"/>
                  <a:pt x="242" y="145"/>
                  <a:pt x="242" y="144"/>
                </a:cubicBezTo>
                <a:cubicBezTo>
                  <a:pt x="242" y="144"/>
                  <a:pt x="242" y="144"/>
                  <a:pt x="242" y="143"/>
                </a:cubicBezTo>
                <a:cubicBezTo>
                  <a:pt x="241" y="143"/>
                  <a:pt x="241" y="143"/>
                  <a:pt x="241" y="143"/>
                </a:cubicBezTo>
                <a:cubicBezTo>
                  <a:pt x="240" y="143"/>
                  <a:pt x="240" y="142"/>
                  <a:pt x="240" y="142"/>
                </a:cubicBezTo>
                <a:cubicBezTo>
                  <a:pt x="239" y="142"/>
                  <a:pt x="239" y="142"/>
                  <a:pt x="238" y="142"/>
                </a:cubicBezTo>
                <a:cubicBezTo>
                  <a:pt x="237" y="142"/>
                  <a:pt x="236" y="141"/>
                  <a:pt x="235" y="140"/>
                </a:cubicBezTo>
                <a:cubicBezTo>
                  <a:pt x="234" y="139"/>
                  <a:pt x="233" y="138"/>
                  <a:pt x="232" y="138"/>
                </a:cubicBezTo>
                <a:cubicBezTo>
                  <a:pt x="231" y="138"/>
                  <a:pt x="229" y="139"/>
                  <a:pt x="229" y="138"/>
                </a:cubicBezTo>
                <a:cubicBezTo>
                  <a:pt x="228" y="138"/>
                  <a:pt x="228" y="137"/>
                  <a:pt x="228" y="137"/>
                </a:cubicBezTo>
                <a:cubicBezTo>
                  <a:pt x="227" y="137"/>
                  <a:pt x="227" y="137"/>
                  <a:pt x="226" y="137"/>
                </a:cubicBezTo>
                <a:cubicBezTo>
                  <a:pt x="226" y="136"/>
                  <a:pt x="225" y="135"/>
                  <a:pt x="225" y="135"/>
                </a:cubicBezTo>
                <a:cubicBezTo>
                  <a:pt x="224" y="134"/>
                  <a:pt x="223" y="134"/>
                  <a:pt x="222" y="134"/>
                </a:cubicBezTo>
                <a:cubicBezTo>
                  <a:pt x="221" y="134"/>
                  <a:pt x="218" y="134"/>
                  <a:pt x="218" y="133"/>
                </a:cubicBezTo>
                <a:cubicBezTo>
                  <a:pt x="217" y="131"/>
                  <a:pt x="216" y="130"/>
                  <a:pt x="215" y="129"/>
                </a:cubicBezTo>
                <a:cubicBezTo>
                  <a:pt x="215" y="128"/>
                  <a:pt x="214" y="127"/>
                  <a:pt x="212" y="127"/>
                </a:cubicBezTo>
                <a:cubicBezTo>
                  <a:pt x="212" y="127"/>
                  <a:pt x="212" y="127"/>
                  <a:pt x="211" y="127"/>
                </a:cubicBezTo>
                <a:cubicBezTo>
                  <a:pt x="211" y="127"/>
                  <a:pt x="211" y="127"/>
                  <a:pt x="211" y="126"/>
                </a:cubicBezTo>
                <a:cubicBezTo>
                  <a:pt x="210" y="126"/>
                  <a:pt x="209" y="126"/>
                  <a:pt x="209" y="126"/>
                </a:cubicBezTo>
                <a:cubicBezTo>
                  <a:pt x="209" y="126"/>
                  <a:pt x="208" y="126"/>
                  <a:pt x="208" y="126"/>
                </a:cubicBezTo>
                <a:cubicBezTo>
                  <a:pt x="208" y="127"/>
                  <a:pt x="208" y="127"/>
                  <a:pt x="208" y="127"/>
                </a:cubicBezTo>
                <a:cubicBezTo>
                  <a:pt x="208" y="127"/>
                  <a:pt x="207" y="127"/>
                  <a:pt x="207" y="127"/>
                </a:cubicBezTo>
                <a:cubicBezTo>
                  <a:pt x="206" y="127"/>
                  <a:pt x="206" y="126"/>
                  <a:pt x="205" y="126"/>
                </a:cubicBezTo>
                <a:cubicBezTo>
                  <a:pt x="205" y="126"/>
                  <a:pt x="204" y="126"/>
                  <a:pt x="204" y="125"/>
                </a:cubicBezTo>
                <a:cubicBezTo>
                  <a:pt x="203" y="125"/>
                  <a:pt x="203" y="124"/>
                  <a:pt x="202" y="124"/>
                </a:cubicBezTo>
                <a:cubicBezTo>
                  <a:pt x="202" y="124"/>
                  <a:pt x="202" y="123"/>
                  <a:pt x="201" y="123"/>
                </a:cubicBezTo>
                <a:cubicBezTo>
                  <a:pt x="201" y="123"/>
                  <a:pt x="200" y="123"/>
                  <a:pt x="199" y="122"/>
                </a:cubicBezTo>
                <a:cubicBezTo>
                  <a:pt x="199" y="122"/>
                  <a:pt x="198" y="122"/>
                  <a:pt x="198" y="121"/>
                </a:cubicBezTo>
                <a:cubicBezTo>
                  <a:pt x="198" y="121"/>
                  <a:pt x="197" y="121"/>
                  <a:pt x="197" y="121"/>
                </a:cubicBezTo>
                <a:cubicBezTo>
                  <a:pt x="197" y="121"/>
                  <a:pt x="197" y="121"/>
                  <a:pt x="196" y="120"/>
                </a:cubicBezTo>
                <a:cubicBezTo>
                  <a:pt x="196" y="120"/>
                  <a:pt x="196" y="120"/>
                  <a:pt x="195" y="120"/>
                </a:cubicBezTo>
                <a:cubicBezTo>
                  <a:pt x="195" y="120"/>
                  <a:pt x="195" y="120"/>
                  <a:pt x="195" y="120"/>
                </a:cubicBezTo>
                <a:cubicBezTo>
                  <a:pt x="195" y="121"/>
                  <a:pt x="194" y="121"/>
                  <a:pt x="194" y="121"/>
                </a:cubicBezTo>
                <a:cubicBezTo>
                  <a:pt x="193" y="121"/>
                  <a:pt x="192" y="121"/>
                  <a:pt x="191" y="121"/>
                </a:cubicBezTo>
                <a:cubicBezTo>
                  <a:pt x="190" y="121"/>
                  <a:pt x="189" y="121"/>
                  <a:pt x="188" y="121"/>
                </a:cubicBezTo>
                <a:cubicBezTo>
                  <a:pt x="187" y="121"/>
                  <a:pt x="187" y="121"/>
                  <a:pt x="187" y="122"/>
                </a:cubicBezTo>
                <a:cubicBezTo>
                  <a:pt x="187" y="122"/>
                  <a:pt x="188" y="122"/>
                  <a:pt x="188" y="122"/>
                </a:cubicBezTo>
                <a:cubicBezTo>
                  <a:pt x="188" y="123"/>
                  <a:pt x="189" y="123"/>
                  <a:pt x="189" y="124"/>
                </a:cubicBezTo>
                <a:cubicBezTo>
                  <a:pt x="189" y="124"/>
                  <a:pt x="189" y="125"/>
                  <a:pt x="188" y="125"/>
                </a:cubicBezTo>
                <a:cubicBezTo>
                  <a:pt x="188" y="126"/>
                  <a:pt x="187" y="126"/>
                  <a:pt x="187" y="127"/>
                </a:cubicBezTo>
                <a:cubicBezTo>
                  <a:pt x="186" y="127"/>
                  <a:pt x="186" y="127"/>
                  <a:pt x="186" y="127"/>
                </a:cubicBezTo>
                <a:cubicBezTo>
                  <a:pt x="186" y="128"/>
                  <a:pt x="185" y="128"/>
                  <a:pt x="185" y="128"/>
                </a:cubicBezTo>
                <a:cubicBezTo>
                  <a:pt x="185" y="129"/>
                  <a:pt x="184" y="129"/>
                  <a:pt x="183" y="130"/>
                </a:cubicBezTo>
                <a:cubicBezTo>
                  <a:pt x="183" y="131"/>
                  <a:pt x="183" y="132"/>
                  <a:pt x="183" y="133"/>
                </a:cubicBezTo>
                <a:cubicBezTo>
                  <a:pt x="183" y="133"/>
                  <a:pt x="183" y="133"/>
                  <a:pt x="183" y="134"/>
                </a:cubicBezTo>
                <a:cubicBezTo>
                  <a:pt x="183" y="134"/>
                  <a:pt x="184" y="134"/>
                  <a:pt x="184" y="134"/>
                </a:cubicBezTo>
                <a:cubicBezTo>
                  <a:pt x="184" y="135"/>
                  <a:pt x="184" y="135"/>
                  <a:pt x="184" y="135"/>
                </a:cubicBezTo>
                <a:cubicBezTo>
                  <a:pt x="184" y="136"/>
                  <a:pt x="185" y="136"/>
                  <a:pt x="185" y="137"/>
                </a:cubicBezTo>
                <a:cubicBezTo>
                  <a:pt x="186" y="137"/>
                  <a:pt x="186" y="137"/>
                  <a:pt x="187" y="138"/>
                </a:cubicBezTo>
                <a:cubicBezTo>
                  <a:pt x="187" y="138"/>
                  <a:pt x="188" y="138"/>
                  <a:pt x="188" y="139"/>
                </a:cubicBezTo>
                <a:cubicBezTo>
                  <a:pt x="189" y="139"/>
                  <a:pt x="189" y="139"/>
                  <a:pt x="189" y="140"/>
                </a:cubicBezTo>
                <a:cubicBezTo>
                  <a:pt x="189" y="140"/>
                  <a:pt x="189" y="140"/>
                  <a:pt x="189" y="140"/>
                </a:cubicBezTo>
                <a:cubicBezTo>
                  <a:pt x="188" y="140"/>
                  <a:pt x="186" y="140"/>
                  <a:pt x="185" y="140"/>
                </a:cubicBezTo>
                <a:cubicBezTo>
                  <a:pt x="185" y="140"/>
                  <a:pt x="184" y="140"/>
                  <a:pt x="184" y="140"/>
                </a:cubicBezTo>
                <a:cubicBezTo>
                  <a:pt x="183" y="140"/>
                  <a:pt x="183" y="140"/>
                  <a:pt x="183" y="141"/>
                </a:cubicBezTo>
                <a:cubicBezTo>
                  <a:pt x="182" y="141"/>
                  <a:pt x="182" y="141"/>
                  <a:pt x="181" y="141"/>
                </a:cubicBezTo>
                <a:cubicBezTo>
                  <a:pt x="180" y="141"/>
                  <a:pt x="180" y="141"/>
                  <a:pt x="179" y="141"/>
                </a:cubicBezTo>
                <a:cubicBezTo>
                  <a:pt x="179" y="141"/>
                  <a:pt x="179" y="142"/>
                  <a:pt x="179" y="142"/>
                </a:cubicBezTo>
                <a:cubicBezTo>
                  <a:pt x="178" y="143"/>
                  <a:pt x="177" y="143"/>
                  <a:pt x="177" y="144"/>
                </a:cubicBezTo>
                <a:cubicBezTo>
                  <a:pt x="177" y="144"/>
                  <a:pt x="176" y="145"/>
                  <a:pt x="176" y="145"/>
                </a:cubicBezTo>
                <a:cubicBezTo>
                  <a:pt x="175" y="146"/>
                  <a:pt x="174" y="147"/>
                  <a:pt x="173" y="148"/>
                </a:cubicBezTo>
                <a:cubicBezTo>
                  <a:pt x="173" y="148"/>
                  <a:pt x="173" y="149"/>
                  <a:pt x="173" y="149"/>
                </a:cubicBezTo>
                <a:cubicBezTo>
                  <a:pt x="173" y="150"/>
                  <a:pt x="173" y="150"/>
                  <a:pt x="173" y="151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4" y="152"/>
                  <a:pt x="174" y="152"/>
                  <a:pt x="174" y="152"/>
                </a:cubicBezTo>
                <a:cubicBezTo>
                  <a:pt x="174" y="153"/>
                  <a:pt x="174" y="153"/>
                  <a:pt x="174" y="154"/>
                </a:cubicBezTo>
                <a:cubicBezTo>
                  <a:pt x="173" y="154"/>
                  <a:pt x="173" y="154"/>
                  <a:pt x="173" y="155"/>
                </a:cubicBezTo>
                <a:cubicBezTo>
                  <a:pt x="173" y="156"/>
                  <a:pt x="173" y="157"/>
                  <a:pt x="173" y="158"/>
                </a:cubicBezTo>
                <a:cubicBezTo>
                  <a:pt x="173" y="160"/>
                  <a:pt x="174" y="161"/>
                  <a:pt x="173" y="163"/>
                </a:cubicBezTo>
                <a:cubicBezTo>
                  <a:pt x="173" y="163"/>
                  <a:pt x="173" y="163"/>
                  <a:pt x="173" y="164"/>
                </a:cubicBezTo>
                <a:cubicBezTo>
                  <a:pt x="172" y="164"/>
                  <a:pt x="172" y="164"/>
                  <a:pt x="172" y="164"/>
                </a:cubicBezTo>
                <a:cubicBezTo>
                  <a:pt x="172" y="165"/>
                  <a:pt x="172" y="165"/>
                  <a:pt x="172" y="165"/>
                </a:cubicBezTo>
                <a:cubicBezTo>
                  <a:pt x="172" y="166"/>
                  <a:pt x="171" y="166"/>
                  <a:pt x="171" y="166"/>
                </a:cubicBezTo>
                <a:cubicBezTo>
                  <a:pt x="171" y="167"/>
                  <a:pt x="171" y="167"/>
                  <a:pt x="171" y="167"/>
                </a:cubicBezTo>
                <a:cubicBezTo>
                  <a:pt x="170" y="167"/>
                  <a:pt x="170" y="168"/>
                  <a:pt x="170" y="168"/>
                </a:cubicBezTo>
                <a:cubicBezTo>
                  <a:pt x="170" y="169"/>
                  <a:pt x="170" y="169"/>
                  <a:pt x="170" y="169"/>
                </a:cubicBezTo>
                <a:cubicBezTo>
                  <a:pt x="169" y="170"/>
                  <a:pt x="169" y="170"/>
                  <a:pt x="169" y="171"/>
                </a:cubicBezTo>
                <a:cubicBezTo>
                  <a:pt x="168" y="171"/>
                  <a:pt x="167" y="170"/>
                  <a:pt x="167" y="170"/>
                </a:cubicBezTo>
                <a:cubicBezTo>
                  <a:pt x="167" y="169"/>
                  <a:pt x="168" y="169"/>
                  <a:pt x="168" y="169"/>
                </a:cubicBezTo>
                <a:cubicBezTo>
                  <a:pt x="168" y="168"/>
                  <a:pt x="168" y="168"/>
                  <a:pt x="168" y="167"/>
                </a:cubicBezTo>
                <a:cubicBezTo>
                  <a:pt x="169" y="167"/>
                  <a:pt x="169" y="166"/>
                  <a:pt x="169" y="166"/>
                </a:cubicBezTo>
                <a:cubicBezTo>
                  <a:pt x="169" y="165"/>
                  <a:pt x="169" y="165"/>
                  <a:pt x="169" y="164"/>
                </a:cubicBezTo>
                <a:cubicBezTo>
                  <a:pt x="169" y="164"/>
                  <a:pt x="169" y="163"/>
                  <a:pt x="169" y="162"/>
                </a:cubicBezTo>
                <a:cubicBezTo>
                  <a:pt x="169" y="162"/>
                  <a:pt x="170" y="162"/>
                  <a:pt x="170" y="161"/>
                </a:cubicBezTo>
                <a:cubicBezTo>
                  <a:pt x="170" y="161"/>
                  <a:pt x="170" y="160"/>
                  <a:pt x="170" y="160"/>
                </a:cubicBezTo>
                <a:cubicBezTo>
                  <a:pt x="170" y="159"/>
                  <a:pt x="170" y="159"/>
                  <a:pt x="170" y="159"/>
                </a:cubicBezTo>
                <a:cubicBezTo>
                  <a:pt x="169" y="160"/>
                  <a:pt x="169" y="162"/>
                  <a:pt x="169" y="163"/>
                </a:cubicBezTo>
                <a:cubicBezTo>
                  <a:pt x="169" y="164"/>
                  <a:pt x="168" y="164"/>
                  <a:pt x="168" y="165"/>
                </a:cubicBezTo>
                <a:cubicBezTo>
                  <a:pt x="168" y="166"/>
                  <a:pt x="168" y="166"/>
                  <a:pt x="168" y="166"/>
                </a:cubicBezTo>
                <a:cubicBezTo>
                  <a:pt x="167" y="167"/>
                  <a:pt x="167" y="167"/>
                  <a:pt x="167" y="168"/>
                </a:cubicBezTo>
                <a:cubicBezTo>
                  <a:pt x="167" y="168"/>
                  <a:pt x="167" y="168"/>
                  <a:pt x="167" y="168"/>
                </a:cubicBezTo>
                <a:cubicBezTo>
                  <a:pt x="166" y="169"/>
                  <a:pt x="166" y="169"/>
                  <a:pt x="166" y="169"/>
                </a:cubicBezTo>
                <a:cubicBezTo>
                  <a:pt x="166" y="170"/>
                  <a:pt x="165" y="169"/>
                  <a:pt x="165" y="169"/>
                </a:cubicBezTo>
                <a:cubicBezTo>
                  <a:pt x="165" y="168"/>
                  <a:pt x="165" y="168"/>
                  <a:pt x="165" y="167"/>
                </a:cubicBezTo>
                <a:cubicBezTo>
                  <a:pt x="165" y="166"/>
                  <a:pt x="165" y="166"/>
                  <a:pt x="165" y="165"/>
                </a:cubicBezTo>
                <a:cubicBezTo>
                  <a:pt x="165" y="165"/>
                  <a:pt x="165" y="164"/>
                  <a:pt x="165" y="164"/>
                </a:cubicBezTo>
                <a:cubicBezTo>
                  <a:pt x="165" y="164"/>
                  <a:pt x="165" y="164"/>
                  <a:pt x="166" y="164"/>
                </a:cubicBezTo>
                <a:cubicBezTo>
                  <a:pt x="166" y="163"/>
                  <a:pt x="166" y="163"/>
                  <a:pt x="166" y="162"/>
                </a:cubicBezTo>
                <a:cubicBezTo>
                  <a:pt x="166" y="162"/>
                  <a:pt x="166" y="161"/>
                  <a:pt x="166" y="161"/>
                </a:cubicBezTo>
                <a:cubicBezTo>
                  <a:pt x="166" y="160"/>
                  <a:pt x="165" y="160"/>
                  <a:pt x="165" y="160"/>
                </a:cubicBezTo>
                <a:cubicBezTo>
                  <a:pt x="165" y="160"/>
                  <a:pt x="165" y="160"/>
                  <a:pt x="165" y="160"/>
                </a:cubicBezTo>
                <a:cubicBezTo>
                  <a:pt x="165" y="159"/>
                  <a:pt x="165" y="159"/>
                  <a:pt x="165" y="158"/>
                </a:cubicBezTo>
                <a:cubicBezTo>
                  <a:pt x="166" y="158"/>
                  <a:pt x="166" y="158"/>
                  <a:pt x="167" y="157"/>
                </a:cubicBezTo>
                <a:cubicBezTo>
                  <a:pt x="167" y="156"/>
                  <a:pt x="167" y="156"/>
                  <a:pt x="167" y="155"/>
                </a:cubicBezTo>
                <a:cubicBezTo>
                  <a:pt x="167" y="155"/>
                  <a:pt x="168" y="154"/>
                  <a:pt x="167" y="154"/>
                </a:cubicBezTo>
                <a:cubicBezTo>
                  <a:pt x="167" y="154"/>
                  <a:pt x="167" y="154"/>
                  <a:pt x="167" y="154"/>
                </a:cubicBezTo>
                <a:cubicBezTo>
                  <a:pt x="166" y="153"/>
                  <a:pt x="166" y="153"/>
                  <a:pt x="166" y="153"/>
                </a:cubicBezTo>
                <a:cubicBezTo>
                  <a:pt x="166" y="153"/>
                  <a:pt x="166" y="152"/>
                  <a:pt x="166" y="152"/>
                </a:cubicBezTo>
                <a:cubicBezTo>
                  <a:pt x="166" y="152"/>
                  <a:pt x="165" y="152"/>
                  <a:pt x="165" y="151"/>
                </a:cubicBezTo>
                <a:cubicBezTo>
                  <a:pt x="165" y="151"/>
                  <a:pt x="165" y="151"/>
                  <a:pt x="165" y="151"/>
                </a:cubicBezTo>
                <a:cubicBezTo>
                  <a:pt x="165" y="150"/>
                  <a:pt x="164" y="151"/>
                  <a:pt x="164" y="151"/>
                </a:cubicBezTo>
                <a:cubicBezTo>
                  <a:pt x="164" y="152"/>
                  <a:pt x="164" y="152"/>
                  <a:pt x="164" y="152"/>
                </a:cubicBezTo>
                <a:cubicBezTo>
                  <a:pt x="163" y="153"/>
                  <a:pt x="163" y="153"/>
                  <a:pt x="163" y="154"/>
                </a:cubicBezTo>
                <a:cubicBezTo>
                  <a:pt x="163" y="154"/>
                  <a:pt x="163" y="154"/>
                  <a:pt x="162" y="155"/>
                </a:cubicBezTo>
                <a:cubicBezTo>
                  <a:pt x="162" y="155"/>
                  <a:pt x="162" y="156"/>
                  <a:pt x="162" y="156"/>
                </a:cubicBezTo>
                <a:cubicBezTo>
                  <a:pt x="162" y="157"/>
                  <a:pt x="161" y="157"/>
                  <a:pt x="161" y="157"/>
                </a:cubicBezTo>
                <a:cubicBezTo>
                  <a:pt x="160" y="158"/>
                  <a:pt x="160" y="159"/>
                  <a:pt x="160" y="159"/>
                </a:cubicBezTo>
                <a:cubicBezTo>
                  <a:pt x="160" y="160"/>
                  <a:pt x="160" y="160"/>
                  <a:pt x="159" y="160"/>
                </a:cubicBezTo>
                <a:cubicBezTo>
                  <a:pt x="159" y="160"/>
                  <a:pt x="158" y="160"/>
                  <a:pt x="157" y="160"/>
                </a:cubicBezTo>
                <a:cubicBezTo>
                  <a:pt x="157" y="160"/>
                  <a:pt x="157" y="160"/>
                  <a:pt x="157" y="160"/>
                </a:cubicBezTo>
                <a:cubicBezTo>
                  <a:pt x="156" y="160"/>
                  <a:pt x="156" y="160"/>
                  <a:pt x="156" y="160"/>
                </a:cubicBezTo>
                <a:cubicBezTo>
                  <a:pt x="156" y="160"/>
                  <a:pt x="155" y="160"/>
                  <a:pt x="155" y="160"/>
                </a:cubicBezTo>
                <a:cubicBezTo>
                  <a:pt x="155" y="160"/>
                  <a:pt x="155" y="161"/>
                  <a:pt x="154" y="161"/>
                </a:cubicBezTo>
                <a:cubicBezTo>
                  <a:pt x="154" y="161"/>
                  <a:pt x="154" y="161"/>
                  <a:pt x="153" y="162"/>
                </a:cubicBezTo>
                <a:cubicBezTo>
                  <a:pt x="153" y="163"/>
                  <a:pt x="153" y="163"/>
                  <a:pt x="153" y="163"/>
                </a:cubicBezTo>
                <a:cubicBezTo>
                  <a:pt x="152" y="163"/>
                  <a:pt x="151" y="163"/>
                  <a:pt x="151" y="163"/>
                </a:cubicBezTo>
                <a:cubicBezTo>
                  <a:pt x="150" y="163"/>
                  <a:pt x="150" y="165"/>
                  <a:pt x="150" y="166"/>
                </a:cubicBezTo>
                <a:cubicBezTo>
                  <a:pt x="150" y="167"/>
                  <a:pt x="150" y="168"/>
                  <a:pt x="150" y="169"/>
                </a:cubicBezTo>
                <a:cubicBezTo>
                  <a:pt x="150" y="169"/>
                  <a:pt x="150" y="170"/>
                  <a:pt x="150" y="170"/>
                </a:cubicBezTo>
                <a:cubicBezTo>
                  <a:pt x="149" y="170"/>
                  <a:pt x="150" y="171"/>
                  <a:pt x="149" y="171"/>
                </a:cubicBezTo>
                <a:cubicBezTo>
                  <a:pt x="149" y="172"/>
                  <a:pt x="148" y="172"/>
                  <a:pt x="148" y="172"/>
                </a:cubicBezTo>
                <a:cubicBezTo>
                  <a:pt x="147" y="172"/>
                  <a:pt x="147" y="172"/>
                  <a:pt x="146" y="172"/>
                </a:cubicBezTo>
                <a:cubicBezTo>
                  <a:pt x="146" y="172"/>
                  <a:pt x="145" y="172"/>
                  <a:pt x="145" y="173"/>
                </a:cubicBezTo>
                <a:cubicBezTo>
                  <a:pt x="145" y="173"/>
                  <a:pt x="144" y="173"/>
                  <a:pt x="144" y="173"/>
                </a:cubicBezTo>
                <a:cubicBezTo>
                  <a:pt x="144" y="174"/>
                  <a:pt x="144" y="174"/>
                  <a:pt x="144" y="175"/>
                </a:cubicBezTo>
                <a:cubicBezTo>
                  <a:pt x="144" y="175"/>
                  <a:pt x="144" y="175"/>
                  <a:pt x="144" y="176"/>
                </a:cubicBezTo>
                <a:cubicBezTo>
                  <a:pt x="144" y="176"/>
                  <a:pt x="144" y="176"/>
                  <a:pt x="144" y="176"/>
                </a:cubicBezTo>
                <a:cubicBezTo>
                  <a:pt x="145" y="176"/>
                  <a:pt x="145" y="177"/>
                  <a:pt x="145" y="178"/>
                </a:cubicBezTo>
                <a:cubicBezTo>
                  <a:pt x="145" y="179"/>
                  <a:pt x="145" y="180"/>
                  <a:pt x="145" y="181"/>
                </a:cubicBezTo>
                <a:cubicBezTo>
                  <a:pt x="145" y="182"/>
                  <a:pt x="145" y="182"/>
                  <a:pt x="144" y="183"/>
                </a:cubicBezTo>
                <a:cubicBezTo>
                  <a:pt x="144" y="184"/>
                  <a:pt x="144" y="185"/>
                  <a:pt x="144" y="185"/>
                </a:cubicBezTo>
                <a:cubicBezTo>
                  <a:pt x="144" y="188"/>
                  <a:pt x="144" y="188"/>
                  <a:pt x="144" y="188"/>
                </a:cubicBezTo>
                <a:cubicBezTo>
                  <a:pt x="144" y="188"/>
                  <a:pt x="144" y="189"/>
                  <a:pt x="143" y="190"/>
                </a:cubicBezTo>
                <a:cubicBezTo>
                  <a:pt x="143" y="190"/>
                  <a:pt x="143" y="191"/>
                  <a:pt x="142" y="191"/>
                </a:cubicBezTo>
                <a:cubicBezTo>
                  <a:pt x="142" y="191"/>
                  <a:pt x="142" y="192"/>
                  <a:pt x="142" y="192"/>
                </a:cubicBezTo>
                <a:cubicBezTo>
                  <a:pt x="142" y="192"/>
                  <a:pt x="142" y="193"/>
                  <a:pt x="142" y="193"/>
                </a:cubicBezTo>
                <a:cubicBezTo>
                  <a:pt x="142" y="193"/>
                  <a:pt x="142" y="193"/>
                  <a:pt x="141" y="194"/>
                </a:cubicBezTo>
                <a:cubicBezTo>
                  <a:pt x="141" y="194"/>
                  <a:pt x="141" y="195"/>
                  <a:pt x="141" y="196"/>
                </a:cubicBezTo>
                <a:cubicBezTo>
                  <a:pt x="140" y="196"/>
                  <a:pt x="140" y="197"/>
                  <a:pt x="139" y="197"/>
                </a:cubicBezTo>
                <a:cubicBezTo>
                  <a:pt x="139" y="197"/>
                  <a:pt x="139" y="198"/>
                  <a:pt x="139" y="198"/>
                </a:cubicBezTo>
                <a:cubicBezTo>
                  <a:pt x="138" y="199"/>
                  <a:pt x="138" y="199"/>
                  <a:pt x="138" y="199"/>
                </a:cubicBezTo>
                <a:cubicBezTo>
                  <a:pt x="137" y="200"/>
                  <a:pt x="137" y="200"/>
                  <a:pt x="137" y="201"/>
                </a:cubicBezTo>
                <a:cubicBezTo>
                  <a:pt x="137" y="201"/>
                  <a:pt x="136" y="202"/>
                  <a:pt x="136" y="202"/>
                </a:cubicBezTo>
                <a:cubicBezTo>
                  <a:pt x="135" y="202"/>
                  <a:pt x="136" y="203"/>
                  <a:pt x="135" y="203"/>
                </a:cubicBezTo>
                <a:cubicBezTo>
                  <a:pt x="135" y="203"/>
                  <a:pt x="135" y="204"/>
                  <a:pt x="135" y="204"/>
                </a:cubicBezTo>
                <a:cubicBezTo>
                  <a:pt x="135" y="205"/>
                  <a:pt x="136" y="205"/>
                  <a:pt x="136" y="205"/>
                </a:cubicBezTo>
                <a:cubicBezTo>
                  <a:pt x="136" y="206"/>
                  <a:pt x="136" y="206"/>
                  <a:pt x="136" y="207"/>
                </a:cubicBezTo>
                <a:cubicBezTo>
                  <a:pt x="137" y="207"/>
                  <a:pt x="137" y="208"/>
                  <a:pt x="137" y="209"/>
                </a:cubicBezTo>
                <a:cubicBezTo>
                  <a:pt x="137" y="209"/>
                  <a:pt x="137" y="210"/>
                  <a:pt x="137" y="211"/>
                </a:cubicBezTo>
                <a:cubicBezTo>
                  <a:pt x="137" y="211"/>
                  <a:pt x="137" y="212"/>
                  <a:pt x="137" y="213"/>
                </a:cubicBezTo>
                <a:cubicBezTo>
                  <a:pt x="137" y="214"/>
                  <a:pt x="137" y="214"/>
                  <a:pt x="137" y="214"/>
                </a:cubicBezTo>
                <a:cubicBezTo>
                  <a:pt x="137" y="215"/>
                  <a:pt x="138" y="216"/>
                  <a:pt x="137" y="217"/>
                </a:cubicBezTo>
                <a:cubicBezTo>
                  <a:pt x="137" y="217"/>
                  <a:pt x="137" y="218"/>
                  <a:pt x="136" y="218"/>
                </a:cubicBezTo>
                <a:cubicBezTo>
                  <a:pt x="136" y="219"/>
                  <a:pt x="136" y="219"/>
                  <a:pt x="135" y="220"/>
                </a:cubicBezTo>
                <a:cubicBezTo>
                  <a:pt x="135" y="221"/>
                  <a:pt x="134" y="222"/>
                  <a:pt x="134" y="223"/>
                </a:cubicBezTo>
                <a:cubicBezTo>
                  <a:pt x="134" y="225"/>
                  <a:pt x="134" y="226"/>
                  <a:pt x="134" y="227"/>
                </a:cubicBezTo>
                <a:cubicBezTo>
                  <a:pt x="135" y="228"/>
                  <a:pt x="135" y="229"/>
                  <a:pt x="136" y="230"/>
                </a:cubicBezTo>
                <a:cubicBezTo>
                  <a:pt x="136" y="231"/>
                  <a:pt x="136" y="232"/>
                  <a:pt x="137" y="233"/>
                </a:cubicBezTo>
                <a:cubicBezTo>
                  <a:pt x="138" y="235"/>
                  <a:pt x="138" y="237"/>
                  <a:pt x="139" y="239"/>
                </a:cubicBezTo>
                <a:cubicBezTo>
                  <a:pt x="140" y="240"/>
                  <a:pt x="140" y="241"/>
                  <a:pt x="140" y="242"/>
                </a:cubicBezTo>
                <a:cubicBezTo>
                  <a:pt x="141" y="243"/>
                  <a:pt x="141" y="244"/>
                  <a:pt x="141" y="244"/>
                </a:cubicBezTo>
                <a:cubicBezTo>
                  <a:pt x="141" y="245"/>
                  <a:pt x="141" y="245"/>
                  <a:pt x="142" y="245"/>
                </a:cubicBezTo>
                <a:cubicBezTo>
                  <a:pt x="142" y="246"/>
                  <a:pt x="142" y="246"/>
                  <a:pt x="142" y="247"/>
                </a:cubicBezTo>
                <a:cubicBezTo>
                  <a:pt x="142" y="247"/>
                  <a:pt x="143" y="248"/>
                  <a:pt x="143" y="249"/>
                </a:cubicBezTo>
                <a:cubicBezTo>
                  <a:pt x="143" y="250"/>
                  <a:pt x="144" y="251"/>
                  <a:pt x="144" y="251"/>
                </a:cubicBezTo>
                <a:cubicBezTo>
                  <a:pt x="144" y="253"/>
                  <a:pt x="145" y="254"/>
                  <a:pt x="145" y="256"/>
                </a:cubicBezTo>
                <a:cubicBezTo>
                  <a:pt x="145" y="256"/>
                  <a:pt x="145" y="256"/>
                  <a:pt x="145" y="256"/>
                </a:cubicBezTo>
                <a:cubicBezTo>
                  <a:pt x="145" y="268"/>
                  <a:pt x="145" y="268"/>
                  <a:pt x="145" y="268"/>
                </a:cubicBezTo>
                <a:cubicBezTo>
                  <a:pt x="145" y="268"/>
                  <a:pt x="145" y="269"/>
                  <a:pt x="145" y="269"/>
                </a:cubicBezTo>
                <a:cubicBezTo>
                  <a:pt x="145" y="270"/>
                  <a:pt x="145" y="270"/>
                  <a:pt x="145" y="271"/>
                </a:cubicBezTo>
                <a:cubicBezTo>
                  <a:pt x="144" y="272"/>
                  <a:pt x="144" y="273"/>
                  <a:pt x="144" y="275"/>
                </a:cubicBezTo>
                <a:cubicBezTo>
                  <a:pt x="144" y="276"/>
                  <a:pt x="144" y="277"/>
                  <a:pt x="144" y="278"/>
                </a:cubicBezTo>
                <a:cubicBezTo>
                  <a:pt x="143" y="279"/>
                  <a:pt x="143" y="280"/>
                  <a:pt x="143" y="281"/>
                </a:cubicBezTo>
                <a:cubicBezTo>
                  <a:pt x="143" y="282"/>
                  <a:pt x="143" y="282"/>
                  <a:pt x="142" y="283"/>
                </a:cubicBezTo>
                <a:cubicBezTo>
                  <a:pt x="142" y="284"/>
                  <a:pt x="142" y="285"/>
                  <a:pt x="141" y="286"/>
                </a:cubicBezTo>
                <a:cubicBezTo>
                  <a:pt x="141" y="287"/>
                  <a:pt x="140" y="288"/>
                  <a:pt x="139" y="290"/>
                </a:cubicBezTo>
                <a:cubicBezTo>
                  <a:pt x="139" y="290"/>
                  <a:pt x="139" y="291"/>
                  <a:pt x="138" y="291"/>
                </a:cubicBezTo>
                <a:cubicBezTo>
                  <a:pt x="138" y="292"/>
                  <a:pt x="138" y="292"/>
                  <a:pt x="138" y="293"/>
                </a:cubicBezTo>
                <a:cubicBezTo>
                  <a:pt x="137" y="293"/>
                  <a:pt x="137" y="293"/>
                  <a:pt x="137" y="294"/>
                </a:cubicBezTo>
                <a:cubicBezTo>
                  <a:pt x="137" y="294"/>
                  <a:pt x="136" y="294"/>
                  <a:pt x="136" y="295"/>
                </a:cubicBezTo>
                <a:cubicBezTo>
                  <a:pt x="135" y="296"/>
                  <a:pt x="136" y="297"/>
                  <a:pt x="135" y="298"/>
                </a:cubicBezTo>
                <a:cubicBezTo>
                  <a:pt x="134" y="299"/>
                  <a:pt x="134" y="299"/>
                  <a:pt x="133" y="300"/>
                </a:cubicBezTo>
                <a:cubicBezTo>
                  <a:pt x="133" y="300"/>
                  <a:pt x="133" y="301"/>
                  <a:pt x="132" y="302"/>
                </a:cubicBezTo>
                <a:cubicBezTo>
                  <a:pt x="132" y="303"/>
                  <a:pt x="132" y="303"/>
                  <a:pt x="132" y="304"/>
                </a:cubicBezTo>
                <a:cubicBezTo>
                  <a:pt x="131" y="305"/>
                  <a:pt x="131" y="306"/>
                  <a:pt x="130" y="307"/>
                </a:cubicBezTo>
                <a:cubicBezTo>
                  <a:pt x="130" y="308"/>
                  <a:pt x="128" y="308"/>
                  <a:pt x="127" y="310"/>
                </a:cubicBezTo>
                <a:cubicBezTo>
                  <a:pt x="127" y="310"/>
                  <a:pt x="126" y="311"/>
                  <a:pt x="126" y="311"/>
                </a:cubicBezTo>
                <a:cubicBezTo>
                  <a:pt x="126" y="311"/>
                  <a:pt x="125" y="311"/>
                  <a:pt x="125" y="312"/>
                </a:cubicBezTo>
                <a:cubicBezTo>
                  <a:pt x="194" y="312"/>
                  <a:pt x="194" y="312"/>
                  <a:pt x="194" y="312"/>
                </a:cubicBezTo>
                <a:cubicBezTo>
                  <a:pt x="194" y="315"/>
                  <a:pt x="194" y="315"/>
                  <a:pt x="194" y="315"/>
                </a:cubicBezTo>
                <a:cubicBezTo>
                  <a:pt x="240" y="313"/>
                  <a:pt x="240" y="313"/>
                  <a:pt x="240" y="313"/>
                </a:cubicBezTo>
                <a:cubicBezTo>
                  <a:pt x="240" y="313"/>
                  <a:pt x="240" y="313"/>
                  <a:pt x="240" y="313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" name="Freeform 37">
            <a:extLst>
              <a:ext uri="{FF2B5EF4-FFF2-40B4-BE49-F238E27FC236}">
                <a16:creationId xmlns:a16="http://schemas.microsoft.com/office/drawing/2014/main" id="{5F38EB44-CE55-47C1-8DB3-88192E59A363}"/>
              </a:ext>
            </a:extLst>
          </p:cNvPr>
          <p:cNvSpPr>
            <a:spLocks noEditPoints="1"/>
          </p:cNvSpPr>
          <p:nvPr/>
        </p:nvSpPr>
        <p:spPr bwMode="auto">
          <a:xfrm>
            <a:off x="11000567" y="2467417"/>
            <a:ext cx="490705" cy="305657"/>
          </a:xfrm>
          <a:custGeom>
            <a:avLst/>
            <a:gdLst>
              <a:gd name="T0" fmla="*/ 94 w 124"/>
              <a:gd name="T1" fmla="*/ 71 h 77"/>
              <a:gd name="T2" fmla="*/ 100 w 124"/>
              <a:gd name="T3" fmla="*/ 66 h 77"/>
              <a:gd name="T4" fmla="*/ 103 w 124"/>
              <a:gd name="T5" fmla="*/ 68 h 77"/>
              <a:gd name="T6" fmla="*/ 106 w 124"/>
              <a:gd name="T7" fmla="*/ 70 h 77"/>
              <a:gd name="T8" fmla="*/ 100 w 124"/>
              <a:gd name="T9" fmla="*/ 71 h 77"/>
              <a:gd name="T10" fmla="*/ 95 w 124"/>
              <a:gd name="T11" fmla="*/ 74 h 77"/>
              <a:gd name="T12" fmla="*/ 120 w 124"/>
              <a:gd name="T13" fmla="*/ 76 h 77"/>
              <a:gd name="T14" fmla="*/ 121 w 124"/>
              <a:gd name="T15" fmla="*/ 75 h 77"/>
              <a:gd name="T16" fmla="*/ 118 w 124"/>
              <a:gd name="T17" fmla="*/ 74 h 77"/>
              <a:gd name="T18" fmla="*/ 124 w 124"/>
              <a:gd name="T19" fmla="*/ 47 h 77"/>
              <a:gd name="T20" fmla="*/ 122 w 124"/>
              <a:gd name="T21" fmla="*/ 43 h 77"/>
              <a:gd name="T22" fmla="*/ 120 w 124"/>
              <a:gd name="T23" fmla="*/ 40 h 77"/>
              <a:gd name="T24" fmla="*/ 118 w 124"/>
              <a:gd name="T25" fmla="*/ 38 h 77"/>
              <a:gd name="T26" fmla="*/ 117 w 124"/>
              <a:gd name="T27" fmla="*/ 39 h 77"/>
              <a:gd name="T28" fmla="*/ 119 w 124"/>
              <a:gd name="T29" fmla="*/ 45 h 77"/>
              <a:gd name="T30" fmla="*/ 121 w 124"/>
              <a:gd name="T31" fmla="*/ 46 h 77"/>
              <a:gd name="T32" fmla="*/ 121 w 124"/>
              <a:gd name="T33" fmla="*/ 51 h 77"/>
              <a:gd name="T34" fmla="*/ 117 w 124"/>
              <a:gd name="T35" fmla="*/ 53 h 77"/>
              <a:gd name="T36" fmla="*/ 113 w 124"/>
              <a:gd name="T37" fmla="*/ 54 h 77"/>
              <a:gd name="T38" fmla="*/ 108 w 124"/>
              <a:gd name="T39" fmla="*/ 53 h 77"/>
              <a:gd name="T40" fmla="*/ 103 w 124"/>
              <a:gd name="T41" fmla="*/ 50 h 77"/>
              <a:gd name="T42" fmla="*/ 102 w 124"/>
              <a:gd name="T43" fmla="*/ 44 h 77"/>
              <a:gd name="T44" fmla="*/ 99 w 124"/>
              <a:gd name="T45" fmla="*/ 43 h 77"/>
              <a:gd name="T46" fmla="*/ 100 w 124"/>
              <a:gd name="T47" fmla="*/ 40 h 77"/>
              <a:gd name="T48" fmla="*/ 96 w 124"/>
              <a:gd name="T49" fmla="*/ 31 h 77"/>
              <a:gd name="T50" fmla="*/ 92 w 124"/>
              <a:gd name="T51" fmla="*/ 29 h 77"/>
              <a:gd name="T52" fmla="*/ 86 w 124"/>
              <a:gd name="T53" fmla="*/ 26 h 77"/>
              <a:gd name="T54" fmla="*/ 89 w 124"/>
              <a:gd name="T55" fmla="*/ 22 h 77"/>
              <a:gd name="T56" fmla="*/ 96 w 124"/>
              <a:gd name="T57" fmla="*/ 15 h 77"/>
              <a:gd name="T58" fmla="*/ 99 w 124"/>
              <a:gd name="T59" fmla="*/ 13 h 77"/>
              <a:gd name="T60" fmla="*/ 98 w 124"/>
              <a:gd name="T61" fmla="*/ 10 h 77"/>
              <a:gd name="T62" fmla="*/ 94 w 124"/>
              <a:gd name="T63" fmla="*/ 7 h 77"/>
              <a:gd name="T64" fmla="*/ 86 w 124"/>
              <a:gd name="T65" fmla="*/ 1 h 77"/>
              <a:gd name="T66" fmla="*/ 80 w 124"/>
              <a:gd name="T67" fmla="*/ 6 h 77"/>
              <a:gd name="T68" fmla="*/ 9 w 124"/>
              <a:gd name="T69" fmla="*/ 6 h 77"/>
              <a:gd name="T70" fmla="*/ 24 w 124"/>
              <a:gd name="T71" fmla="*/ 41 h 77"/>
              <a:gd name="T72" fmla="*/ 74 w 124"/>
              <a:gd name="T73" fmla="*/ 40 h 77"/>
              <a:gd name="T74" fmla="*/ 79 w 124"/>
              <a:gd name="T75" fmla="*/ 54 h 77"/>
              <a:gd name="T76" fmla="*/ 81 w 124"/>
              <a:gd name="T77" fmla="*/ 56 h 77"/>
              <a:gd name="T78" fmla="*/ 85 w 124"/>
              <a:gd name="T79" fmla="*/ 64 h 77"/>
              <a:gd name="T80" fmla="*/ 89 w 124"/>
              <a:gd name="T81" fmla="*/ 63 h 77"/>
              <a:gd name="T82" fmla="*/ 90 w 124"/>
              <a:gd name="T83" fmla="*/ 59 h 77"/>
              <a:gd name="T84" fmla="*/ 95 w 124"/>
              <a:gd name="T85" fmla="*/ 58 h 77"/>
              <a:gd name="T86" fmla="*/ 97 w 124"/>
              <a:gd name="T87" fmla="*/ 54 h 77"/>
              <a:gd name="T88" fmla="*/ 101 w 124"/>
              <a:gd name="T89" fmla="*/ 54 h 77"/>
              <a:gd name="T90" fmla="*/ 100 w 124"/>
              <a:gd name="T91" fmla="*/ 60 h 77"/>
              <a:gd name="T92" fmla="*/ 100 w 124"/>
              <a:gd name="T93" fmla="*/ 63 h 77"/>
              <a:gd name="T94" fmla="*/ 104 w 124"/>
              <a:gd name="T95" fmla="*/ 62 h 77"/>
              <a:gd name="T96" fmla="*/ 107 w 124"/>
              <a:gd name="T97" fmla="*/ 60 h 77"/>
              <a:gd name="T98" fmla="*/ 110 w 124"/>
              <a:gd name="T99" fmla="*/ 59 h 77"/>
              <a:gd name="T100" fmla="*/ 113 w 124"/>
              <a:gd name="T101" fmla="*/ 58 h 77"/>
              <a:gd name="T102" fmla="*/ 117 w 124"/>
              <a:gd name="T103" fmla="*/ 58 h 77"/>
              <a:gd name="T104" fmla="*/ 123 w 124"/>
              <a:gd name="T105" fmla="*/ 57 h 77"/>
              <a:gd name="T106" fmla="*/ 124 w 124"/>
              <a:gd name="T107" fmla="*/ 5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4" h="77">
                <a:moveTo>
                  <a:pt x="95" y="74"/>
                </a:moveTo>
                <a:cubicBezTo>
                  <a:pt x="95" y="73"/>
                  <a:pt x="94" y="73"/>
                  <a:pt x="94" y="72"/>
                </a:cubicBezTo>
                <a:cubicBezTo>
                  <a:pt x="93" y="72"/>
                  <a:pt x="93" y="72"/>
                  <a:pt x="93" y="71"/>
                </a:cubicBezTo>
                <a:cubicBezTo>
                  <a:pt x="94" y="71"/>
                  <a:pt x="94" y="71"/>
                  <a:pt x="94" y="71"/>
                </a:cubicBezTo>
                <a:cubicBezTo>
                  <a:pt x="95" y="71"/>
                  <a:pt x="96" y="71"/>
                  <a:pt x="96" y="70"/>
                </a:cubicBezTo>
                <a:cubicBezTo>
                  <a:pt x="97" y="70"/>
                  <a:pt x="97" y="70"/>
                  <a:pt x="97" y="69"/>
                </a:cubicBezTo>
                <a:cubicBezTo>
                  <a:pt x="97" y="69"/>
                  <a:pt x="97" y="68"/>
                  <a:pt x="98" y="68"/>
                </a:cubicBezTo>
                <a:cubicBezTo>
                  <a:pt x="98" y="67"/>
                  <a:pt x="99" y="67"/>
                  <a:pt x="100" y="66"/>
                </a:cubicBezTo>
                <a:cubicBezTo>
                  <a:pt x="100" y="66"/>
                  <a:pt x="101" y="66"/>
                  <a:pt x="101" y="66"/>
                </a:cubicBezTo>
                <a:cubicBezTo>
                  <a:pt x="101" y="66"/>
                  <a:pt x="101" y="67"/>
                  <a:pt x="102" y="67"/>
                </a:cubicBezTo>
                <a:cubicBezTo>
                  <a:pt x="102" y="67"/>
                  <a:pt x="102" y="67"/>
                  <a:pt x="103" y="67"/>
                </a:cubicBezTo>
                <a:cubicBezTo>
                  <a:pt x="103" y="67"/>
                  <a:pt x="103" y="68"/>
                  <a:pt x="103" y="68"/>
                </a:cubicBezTo>
                <a:cubicBezTo>
                  <a:pt x="104" y="68"/>
                  <a:pt x="104" y="68"/>
                  <a:pt x="104" y="68"/>
                </a:cubicBezTo>
                <a:cubicBezTo>
                  <a:pt x="105" y="68"/>
                  <a:pt x="105" y="69"/>
                  <a:pt x="105" y="6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05" y="70"/>
                  <a:pt x="106" y="70"/>
                  <a:pt x="106" y="70"/>
                </a:cubicBezTo>
                <a:cubicBezTo>
                  <a:pt x="106" y="70"/>
                  <a:pt x="106" y="71"/>
                  <a:pt x="106" y="71"/>
                </a:cubicBezTo>
                <a:cubicBezTo>
                  <a:pt x="106" y="72"/>
                  <a:pt x="105" y="72"/>
                  <a:pt x="105" y="71"/>
                </a:cubicBezTo>
                <a:cubicBezTo>
                  <a:pt x="104" y="71"/>
                  <a:pt x="103" y="71"/>
                  <a:pt x="103" y="71"/>
                </a:cubicBezTo>
                <a:cubicBezTo>
                  <a:pt x="102" y="71"/>
                  <a:pt x="101" y="71"/>
                  <a:pt x="100" y="71"/>
                </a:cubicBezTo>
                <a:cubicBezTo>
                  <a:pt x="99" y="72"/>
                  <a:pt x="99" y="72"/>
                  <a:pt x="98" y="72"/>
                </a:cubicBezTo>
                <a:cubicBezTo>
                  <a:pt x="98" y="72"/>
                  <a:pt x="97" y="73"/>
                  <a:pt x="97" y="73"/>
                </a:cubicBezTo>
                <a:cubicBezTo>
                  <a:pt x="97" y="73"/>
                  <a:pt x="97" y="73"/>
                  <a:pt x="96" y="73"/>
                </a:cubicBezTo>
                <a:cubicBezTo>
                  <a:pt x="96" y="73"/>
                  <a:pt x="96" y="74"/>
                  <a:pt x="95" y="74"/>
                </a:cubicBezTo>
                <a:close/>
                <a:moveTo>
                  <a:pt x="118" y="76"/>
                </a:moveTo>
                <a:cubicBezTo>
                  <a:pt x="118" y="76"/>
                  <a:pt x="118" y="76"/>
                  <a:pt x="119" y="76"/>
                </a:cubicBezTo>
                <a:cubicBezTo>
                  <a:pt x="119" y="76"/>
                  <a:pt x="119" y="76"/>
                  <a:pt x="120" y="76"/>
                </a:cubicBezTo>
                <a:cubicBezTo>
                  <a:pt x="120" y="76"/>
                  <a:pt x="120" y="76"/>
                  <a:pt x="120" y="76"/>
                </a:cubicBezTo>
                <a:cubicBezTo>
                  <a:pt x="120" y="77"/>
                  <a:pt x="121" y="77"/>
                  <a:pt x="121" y="77"/>
                </a:cubicBezTo>
                <a:cubicBezTo>
                  <a:pt x="122" y="77"/>
                  <a:pt x="122" y="77"/>
                  <a:pt x="122" y="77"/>
                </a:cubicBezTo>
                <a:cubicBezTo>
                  <a:pt x="122" y="76"/>
                  <a:pt x="122" y="76"/>
                  <a:pt x="122" y="76"/>
                </a:cubicBezTo>
                <a:cubicBezTo>
                  <a:pt x="122" y="76"/>
                  <a:pt x="121" y="75"/>
                  <a:pt x="121" y="75"/>
                </a:cubicBezTo>
                <a:cubicBezTo>
                  <a:pt x="121" y="75"/>
                  <a:pt x="121" y="74"/>
                  <a:pt x="121" y="74"/>
                </a:cubicBezTo>
                <a:cubicBezTo>
                  <a:pt x="120" y="74"/>
                  <a:pt x="120" y="74"/>
                  <a:pt x="120" y="74"/>
                </a:cubicBezTo>
                <a:cubicBezTo>
                  <a:pt x="120" y="74"/>
                  <a:pt x="119" y="74"/>
                  <a:pt x="119" y="74"/>
                </a:cubicBezTo>
                <a:cubicBezTo>
                  <a:pt x="119" y="74"/>
                  <a:pt x="118" y="74"/>
                  <a:pt x="118" y="74"/>
                </a:cubicBezTo>
                <a:cubicBezTo>
                  <a:pt x="117" y="74"/>
                  <a:pt x="117" y="74"/>
                  <a:pt x="116" y="75"/>
                </a:cubicBezTo>
                <a:cubicBezTo>
                  <a:pt x="116" y="75"/>
                  <a:pt x="116" y="75"/>
                  <a:pt x="116" y="76"/>
                </a:cubicBezTo>
                <a:cubicBezTo>
                  <a:pt x="117" y="76"/>
                  <a:pt x="117" y="76"/>
                  <a:pt x="118" y="76"/>
                </a:cubicBezTo>
                <a:close/>
                <a:moveTo>
                  <a:pt x="124" y="47"/>
                </a:moveTo>
                <a:cubicBezTo>
                  <a:pt x="123" y="47"/>
                  <a:pt x="123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4"/>
                  <a:pt x="123" y="44"/>
                </a:cubicBezTo>
                <a:cubicBezTo>
                  <a:pt x="123" y="44"/>
                  <a:pt x="122" y="44"/>
                  <a:pt x="122" y="43"/>
                </a:cubicBezTo>
                <a:cubicBezTo>
                  <a:pt x="122" y="43"/>
                  <a:pt x="122" y="42"/>
                  <a:pt x="122" y="42"/>
                </a:cubicBezTo>
                <a:cubicBezTo>
                  <a:pt x="121" y="42"/>
                  <a:pt x="121" y="41"/>
                  <a:pt x="121" y="41"/>
                </a:cubicBezTo>
                <a:cubicBezTo>
                  <a:pt x="121" y="41"/>
                  <a:pt x="121" y="41"/>
                  <a:pt x="120" y="4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20" y="40"/>
                  <a:pt x="120" y="40"/>
                  <a:pt x="119" y="39"/>
                </a:cubicBezTo>
                <a:cubicBezTo>
                  <a:pt x="119" y="39"/>
                  <a:pt x="119" y="39"/>
                  <a:pt x="119" y="39"/>
                </a:cubicBezTo>
                <a:cubicBezTo>
                  <a:pt x="119" y="39"/>
                  <a:pt x="118" y="39"/>
                  <a:pt x="118" y="38"/>
                </a:cubicBezTo>
                <a:cubicBezTo>
                  <a:pt x="118" y="38"/>
                  <a:pt x="118" y="38"/>
                  <a:pt x="118" y="38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6" y="38"/>
                  <a:pt x="116" y="38"/>
                  <a:pt x="116" y="38"/>
                </a:cubicBezTo>
                <a:cubicBezTo>
                  <a:pt x="116" y="38"/>
                  <a:pt x="116" y="38"/>
                  <a:pt x="116" y="39"/>
                </a:cubicBezTo>
                <a:cubicBezTo>
                  <a:pt x="117" y="39"/>
                  <a:pt x="117" y="39"/>
                  <a:pt x="117" y="39"/>
                </a:cubicBezTo>
                <a:cubicBezTo>
                  <a:pt x="117" y="40"/>
                  <a:pt x="118" y="39"/>
                  <a:pt x="118" y="40"/>
                </a:cubicBezTo>
                <a:cubicBezTo>
                  <a:pt x="119" y="40"/>
                  <a:pt x="119" y="42"/>
                  <a:pt x="119" y="43"/>
                </a:cubicBezTo>
                <a:cubicBezTo>
                  <a:pt x="119" y="43"/>
                  <a:pt x="119" y="44"/>
                  <a:pt x="119" y="44"/>
                </a:cubicBezTo>
                <a:cubicBezTo>
                  <a:pt x="119" y="44"/>
                  <a:pt x="119" y="44"/>
                  <a:pt x="119" y="45"/>
                </a:cubicBezTo>
                <a:cubicBezTo>
                  <a:pt x="119" y="45"/>
                  <a:pt x="120" y="45"/>
                  <a:pt x="120" y="45"/>
                </a:cubicBezTo>
                <a:cubicBezTo>
                  <a:pt x="120" y="45"/>
                  <a:pt x="120" y="45"/>
                  <a:pt x="120" y="45"/>
                </a:cubicBezTo>
                <a:cubicBezTo>
                  <a:pt x="120" y="45"/>
                  <a:pt x="120" y="46"/>
                  <a:pt x="121" y="46"/>
                </a:cubicBezTo>
                <a:cubicBezTo>
                  <a:pt x="121" y="46"/>
                  <a:pt x="121" y="46"/>
                  <a:pt x="121" y="46"/>
                </a:cubicBezTo>
                <a:cubicBezTo>
                  <a:pt x="121" y="47"/>
                  <a:pt x="121" y="47"/>
                  <a:pt x="121" y="47"/>
                </a:cubicBezTo>
                <a:cubicBezTo>
                  <a:pt x="121" y="47"/>
                  <a:pt x="121" y="48"/>
                  <a:pt x="121" y="49"/>
                </a:cubicBezTo>
                <a:cubicBezTo>
                  <a:pt x="121" y="49"/>
                  <a:pt x="121" y="50"/>
                  <a:pt x="121" y="50"/>
                </a:cubicBezTo>
                <a:cubicBezTo>
                  <a:pt x="121" y="51"/>
                  <a:pt x="121" y="51"/>
                  <a:pt x="121" y="51"/>
                </a:cubicBezTo>
                <a:cubicBezTo>
                  <a:pt x="120" y="52"/>
                  <a:pt x="120" y="52"/>
                  <a:pt x="120" y="52"/>
                </a:cubicBezTo>
                <a:cubicBezTo>
                  <a:pt x="119" y="52"/>
                  <a:pt x="119" y="52"/>
                  <a:pt x="119" y="52"/>
                </a:cubicBezTo>
                <a:cubicBezTo>
                  <a:pt x="119" y="52"/>
                  <a:pt x="118" y="52"/>
                  <a:pt x="117" y="52"/>
                </a:cubicBezTo>
                <a:cubicBezTo>
                  <a:pt x="117" y="53"/>
                  <a:pt x="117" y="53"/>
                  <a:pt x="117" y="53"/>
                </a:cubicBezTo>
                <a:cubicBezTo>
                  <a:pt x="116" y="53"/>
                  <a:pt x="116" y="53"/>
                  <a:pt x="116" y="53"/>
                </a:cubicBezTo>
                <a:cubicBezTo>
                  <a:pt x="115" y="54"/>
                  <a:pt x="115" y="54"/>
                  <a:pt x="114" y="54"/>
                </a:cubicBezTo>
                <a:cubicBezTo>
                  <a:pt x="114" y="54"/>
                  <a:pt x="114" y="54"/>
                  <a:pt x="114" y="54"/>
                </a:cubicBezTo>
                <a:cubicBezTo>
                  <a:pt x="113" y="54"/>
                  <a:pt x="113" y="54"/>
                  <a:pt x="113" y="54"/>
                </a:cubicBezTo>
                <a:cubicBezTo>
                  <a:pt x="113" y="54"/>
                  <a:pt x="112" y="54"/>
                  <a:pt x="112" y="54"/>
                </a:cubicBezTo>
                <a:cubicBezTo>
                  <a:pt x="111" y="54"/>
                  <a:pt x="110" y="54"/>
                  <a:pt x="109" y="53"/>
                </a:cubicBezTo>
                <a:cubicBezTo>
                  <a:pt x="109" y="53"/>
                  <a:pt x="109" y="53"/>
                  <a:pt x="108" y="53"/>
                </a:cubicBezTo>
                <a:cubicBezTo>
                  <a:pt x="108" y="53"/>
                  <a:pt x="108" y="53"/>
                  <a:pt x="108" y="53"/>
                </a:cubicBezTo>
                <a:cubicBezTo>
                  <a:pt x="107" y="53"/>
                  <a:pt x="107" y="53"/>
                  <a:pt x="106" y="53"/>
                </a:cubicBezTo>
                <a:cubicBezTo>
                  <a:pt x="106" y="52"/>
                  <a:pt x="106" y="52"/>
                  <a:pt x="105" y="52"/>
                </a:cubicBezTo>
                <a:cubicBezTo>
                  <a:pt x="105" y="52"/>
                  <a:pt x="105" y="52"/>
                  <a:pt x="105" y="51"/>
                </a:cubicBezTo>
                <a:cubicBezTo>
                  <a:pt x="104" y="51"/>
                  <a:pt x="104" y="51"/>
                  <a:pt x="103" y="50"/>
                </a:cubicBezTo>
                <a:cubicBezTo>
                  <a:pt x="103" y="50"/>
                  <a:pt x="103" y="49"/>
                  <a:pt x="103" y="49"/>
                </a:cubicBezTo>
                <a:cubicBezTo>
                  <a:pt x="103" y="48"/>
                  <a:pt x="103" y="47"/>
                  <a:pt x="103" y="46"/>
                </a:cubicBezTo>
                <a:cubicBezTo>
                  <a:pt x="103" y="45"/>
                  <a:pt x="103" y="45"/>
                  <a:pt x="103" y="45"/>
                </a:cubicBezTo>
                <a:cubicBezTo>
                  <a:pt x="103" y="45"/>
                  <a:pt x="103" y="44"/>
                  <a:pt x="102" y="44"/>
                </a:cubicBezTo>
                <a:cubicBezTo>
                  <a:pt x="102" y="44"/>
                  <a:pt x="102" y="44"/>
                  <a:pt x="102" y="44"/>
                </a:cubicBezTo>
                <a:cubicBezTo>
                  <a:pt x="101" y="44"/>
                  <a:pt x="101" y="44"/>
                  <a:pt x="101" y="44"/>
                </a:cubicBezTo>
                <a:cubicBezTo>
                  <a:pt x="100" y="44"/>
                  <a:pt x="100" y="43"/>
                  <a:pt x="99" y="43"/>
                </a:cubicBezTo>
                <a:cubicBezTo>
                  <a:pt x="99" y="43"/>
                  <a:pt x="99" y="43"/>
                  <a:pt x="99" y="43"/>
                </a:cubicBezTo>
                <a:cubicBezTo>
                  <a:pt x="99" y="43"/>
                  <a:pt x="99" y="43"/>
                  <a:pt x="98" y="43"/>
                </a:cubicBezTo>
                <a:cubicBezTo>
                  <a:pt x="98" y="42"/>
                  <a:pt x="99" y="42"/>
                  <a:pt x="99" y="42"/>
                </a:cubicBezTo>
                <a:cubicBezTo>
                  <a:pt x="99" y="42"/>
                  <a:pt x="99" y="42"/>
                  <a:pt x="99" y="41"/>
                </a:cubicBezTo>
                <a:cubicBezTo>
                  <a:pt x="100" y="41"/>
                  <a:pt x="100" y="40"/>
                  <a:pt x="100" y="40"/>
                </a:cubicBezTo>
                <a:cubicBezTo>
                  <a:pt x="100" y="39"/>
                  <a:pt x="100" y="38"/>
                  <a:pt x="99" y="37"/>
                </a:cubicBezTo>
                <a:cubicBezTo>
                  <a:pt x="99" y="36"/>
                  <a:pt x="98" y="35"/>
                  <a:pt x="98" y="35"/>
                </a:cubicBezTo>
                <a:cubicBezTo>
                  <a:pt x="98" y="34"/>
                  <a:pt x="97" y="33"/>
                  <a:pt x="97" y="32"/>
                </a:cubicBezTo>
                <a:cubicBezTo>
                  <a:pt x="96" y="32"/>
                  <a:pt x="96" y="31"/>
                  <a:pt x="96" y="31"/>
                </a:cubicBezTo>
                <a:cubicBezTo>
                  <a:pt x="95" y="31"/>
                  <a:pt x="95" y="31"/>
                  <a:pt x="95" y="31"/>
                </a:cubicBezTo>
                <a:cubicBezTo>
                  <a:pt x="94" y="30"/>
                  <a:pt x="94" y="30"/>
                  <a:pt x="94" y="30"/>
                </a:cubicBezTo>
                <a:cubicBezTo>
                  <a:pt x="94" y="29"/>
                  <a:pt x="93" y="30"/>
                  <a:pt x="93" y="29"/>
                </a:cubicBezTo>
                <a:cubicBezTo>
                  <a:pt x="93" y="29"/>
                  <a:pt x="92" y="29"/>
                  <a:pt x="92" y="29"/>
                </a:cubicBezTo>
                <a:cubicBezTo>
                  <a:pt x="92" y="29"/>
                  <a:pt x="91" y="29"/>
                  <a:pt x="91" y="29"/>
                </a:cubicBezTo>
                <a:cubicBezTo>
                  <a:pt x="90" y="29"/>
                  <a:pt x="90" y="29"/>
                  <a:pt x="89" y="28"/>
                </a:cubicBezTo>
                <a:cubicBezTo>
                  <a:pt x="88" y="28"/>
                  <a:pt x="88" y="28"/>
                  <a:pt x="88" y="27"/>
                </a:cubicBezTo>
                <a:cubicBezTo>
                  <a:pt x="87" y="26"/>
                  <a:pt x="86" y="26"/>
                  <a:pt x="86" y="26"/>
                </a:cubicBezTo>
                <a:cubicBezTo>
                  <a:pt x="86" y="26"/>
                  <a:pt x="87" y="25"/>
                  <a:pt x="87" y="25"/>
                </a:cubicBezTo>
                <a:cubicBezTo>
                  <a:pt x="87" y="25"/>
                  <a:pt x="88" y="24"/>
                  <a:pt x="88" y="24"/>
                </a:cubicBezTo>
                <a:cubicBezTo>
                  <a:pt x="88" y="24"/>
                  <a:pt x="89" y="23"/>
                  <a:pt x="89" y="23"/>
                </a:cubicBezTo>
                <a:cubicBezTo>
                  <a:pt x="89" y="23"/>
                  <a:pt x="89" y="22"/>
                  <a:pt x="89" y="22"/>
                </a:cubicBezTo>
                <a:cubicBezTo>
                  <a:pt x="90" y="21"/>
                  <a:pt x="90" y="21"/>
                  <a:pt x="91" y="20"/>
                </a:cubicBezTo>
                <a:cubicBezTo>
                  <a:pt x="92" y="19"/>
                  <a:pt x="92" y="17"/>
                  <a:pt x="94" y="16"/>
                </a:cubicBezTo>
                <a:cubicBezTo>
                  <a:pt x="94" y="15"/>
                  <a:pt x="95" y="15"/>
                  <a:pt x="95" y="15"/>
                </a:cubicBezTo>
                <a:cubicBezTo>
                  <a:pt x="95" y="15"/>
                  <a:pt x="95" y="15"/>
                  <a:pt x="96" y="15"/>
                </a:cubicBezTo>
                <a:cubicBezTo>
                  <a:pt x="96" y="15"/>
                  <a:pt x="96" y="15"/>
                  <a:pt x="96" y="15"/>
                </a:cubicBezTo>
                <a:cubicBezTo>
                  <a:pt x="96" y="14"/>
                  <a:pt x="97" y="15"/>
                  <a:pt x="97" y="14"/>
                </a:cubicBezTo>
                <a:cubicBezTo>
                  <a:pt x="97" y="14"/>
                  <a:pt x="98" y="14"/>
                  <a:pt x="98" y="14"/>
                </a:cubicBezTo>
                <a:cubicBezTo>
                  <a:pt x="98" y="14"/>
                  <a:pt x="98" y="13"/>
                  <a:pt x="99" y="13"/>
                </a:cubicBezTo>
                <a:cubicBezTo>
                  <a:pt x="99" y="13"/>
                  <a:pt x="100" y="13"/>
                  <a:pt x="100" y="12"/>
                </a:cubicBezTo>
                <a:cubicBezTo>
                  <a:pt x="100" y="12"/>
                  <a:pt x="100" y="11"/>
                  <a:pt x="100" y="11"/>
                </a:cubicBezTo>
                <a:cubicBezTo>
                  <a:pt x="100" y="10"/>
                  <a:pt x="100" y="9"/>
                  <a:pt x="100" y="9"/>
                </a:cubicBezTo>
                <a:cubicBezTo>
                  <a:pt x="100" y="9"/>
                  <a:pt x="99" y="10"/>
                  <a:pt x="98" y="10"/>
                </a:cubicBezTo>
                <a:cubicBezTo>
                  <a:pt x="98" y="10"/>
                  <a:pt x="98" y="11"/>
                  <a:pt x="97" y="11"/>
                </a:cubicBezTo>
                <a:cubicBezTo>
                  <a:pt x="97" y="11"/>
                  <a:pt x="96" y="11"/>
                  <a:pt x="96" y="10"/>
                </a:cubicBezTo>
                <a:cubicBezTo>
                  <a:pt x="96" y="10"/>
                  <a:pt x="95" y="10"/>
                  <a:pt x="95" y="9"/>
                </a:cubicBezTo>
                <a:cubicBezTo>
                  <a:pt x="94" y="9"/>
                  <a:pt x="94" y="8"/>
                  <a:pt x="94" y="7"/>
                </a:cubicBezTo>
                <a:cubicBezTo>
                  <a:pt x="94" y="5"/>
                  <a:pt x="94" y="3"/>
                  <a:pt x="94" y="1"/>
                </a:cubicBezTo>
                <a:cubicBezTo>
                  <a:pt x="94" y="1"/>
                  <a:pt x="94" y="0"/>
                  <a:pt x="94" y="0"/>
                </a:cubicBezTo>
                <a:cubicBezTo>
                  <a:pt x="92" y="0"/>
                  <a:pt x="90" y="0"/>
                  <a:pt x="90" y="0"/>
                </a:cubicBezTo>
                <a:cubicBezTo>
                  <a:pt x="89" y="0"/>
                  <a:pt x="86" y="1"/>
                  <a:pt x="86" y="1"/>
                </a:cubicBezTo>
                <a:cubicBezTo>
                  <a:pt x="86" y="1"/>
                  <a:pt x="85" y="2"/>
                  <a:pt x="85" y="2"/>
                </a:cubicBezTo>
                <a:cubicBezTo>
                  <a:pt x="85" y="2"/>
                  <a:pt x="82" y="3"/>
                  <a:pt x="82" y="3"/>
                </a:cubicBezTo>
                <a:cubicBezTo>
                  <a:pt x="82" y="3"/>
                  <a:pt x="80" y="4"/>
                  <a:pt x="80" y="5"/>
                </a:cubicBezTo>
                <a:cubicBezTo>
                  <a:pt x="80" y="5"/>
                  <a:pt x="80" y="6"/>
                  <a:pt x="80" y="6"/>
                </a:cubicBezTo>
                <a:cubicBezTo>
                  <a:pt x="80" y="6"/>
                  <a:pt x="78" y="6"/>
                  <a:pt x="78" y="6"/>
                </a:cubicBezTo>
                <a:cubicBezTo>
                  <a:pt x="78" y="7"/>
                  <a:pt x="76" y="9"/>
                  <a:pt x="76" y="9"/>
                </a:cubicBezTo>
                <a:cubicBezTo>
                  <a:pt x="36" y="7"/>
                  <a:pt x="36" y="7"/>
                  <a:pt x="36" y="7"/>
                </a:cubicBezTo>
                <a:cubicBezTo>
                  <a:pt x="9" y="6"/>
                  <a:pt x="9" y="6"/>
                  <a:pt x="9" y="6"/>
                </a:cubicBezTo>
                <a:cubicBezTo>
                  <a:pt x="0" y="37"/>
                  <a:pt x="0" y="37"/>
                  <a:pt x="0" y="37"/>
                </a:cubicBezTo>
                <a:cubicBezTo>
                  <a:pt x="1" y="39"/>
                  <a:pt x="1" y="39"/>
                  <a:pt x="1" y="39"/>
                </a:cubicBezTo>
                <a:cubicBezTo>
                  <a:pt x="24" y="39"/>
                  <a:pt x="24" y="39"/>
                  <a:pt x="24" y="39"/>
                </a:cubicBezTo>
                <a:cubicBezTo>
                  <a:pt x="24" y="41"/>
                  <a:pt x="24" y="41"/>
                  <a:pt x="24" y="41"/>
                </a:cubicBezTo>
                <a:cubicBezTo>
                  <a:pt x="26" y="41"/>
                  <a:pt x="26" y="41"/>
                  <a:pt x="26" y="41"/>
                </a:cubicBezTo>
                <a:cubicBezTo>
                  <a:pt x="26" y="39"/>
                  <a:pt x="26" y="39"/>
                  <a:pt x="26" y="39"/>
                </a:cubicBezTo>
                <a:cubicBezTo>
                  <a:pt x="59" y="40"/>
                  <a:pt x="59" y="40"/>
                  <a:pt x="59" y="40"/>
                </a:cubicBezTo>
                <a:cubicBezTo>
                  <a:pt x="74" y="40"/>
                  <a:pt x="74" y="40"/>
                  <a:pt x="74" y="40"/>
                </a:cubicBezTo>
                <a:cubicBezTo>
                  <a:pt x="74" y="40"/>
                  <a:pt x="74" y="44"/>
                  <a:pt x="74" y="44"/>
                </a:cubicBezTo>
                <a:cubicBezTo>
                  <a:pt x="74" y="45"/>
                  <a:pt x="75" y="46"/>
                  <a:pt x="75" y="46"/>
                </a:cubicBezTo>
                <a:cubicBezTo>
                  <a:pt x="75" y="46"/>
                  <a:pt x="75" y="49"/>
                  <a:pt x="75" y="49"/>
                </a:cubicBezTo>
                <a:cubicBezTo>
                  <a:pt x="79" y="54"/>
                  <a:pt x="79" y="54"/>
                  <a:pt x="79" y="54"/>
                </a:cubicBezTo>
                <a:cubicBezTo>
                  <a:pt x="79" y="54"/>
                  <a:pt x="80" y="54"/>
                  <a:pt x="80" y="54"/>
                </a:cubicBezTo>
                <a:cubicBezTo>
                  <a:pt x="80" y="54"/>
                  <a:pt x="81" y="55"/>
                  <a:pt x="81" y="55"/>
                </a:cubicBezTo>
                <a:cubicBezTo>
                  <a:pt x="81" y="55"/>
                  <a:pt x="81" y="55"/>
                  <a:pt x="81" y="56"/>
                </a:cubicBezTo>
                <a:cubicBezTo>
                  <a:pt x="81" y="56"/>
                  <a:pt x="81" y="56"/>
                  <a:pt x="81" y="56"/>
                </a:cubicBezTo>
                <a:cubicBezTo>
                  <a:pt x="82" y="57"/>
                  <a:pt x="82" y="57"/>
                  <a:pt x="82" y="57"/>
                </a:cubicBezTo>
                <a:cubicBezTo>
                  <a:pt x="82" y="57"/>
                  <a:pt x="83" y="59"/>
                  <a:pt x="83" y="59"/>
                </a:cubicBezTo>
                <a:cubicBezTo>
                  <a:pt x="83" y="59"/>
                  <a:pt x="84" y="63"/>
                  <a:pt x="84" y="65"/>
                </a:cubicBezTo>
                <a:cubicBezTo>
                  <a:pt x="84" y="65"/>
                  <a:pt x="84" y="65"/>
                  <a:pt x="85" y="64"/>
                </a:cubicBezTo>
                <a:cubicBezTo>
                  <a:pt x="85" y="64"/>
                  <a:pt x="86" y="64"/>
                  <a:pt x="86" y="64"/>
                </a:cubicBezTo>
                <a:cubicBezTo>
                  <a:pt x="86" y="64"/>
                  <a:pt x="87" y="64"/>
                  <a:pt x="87" y="64"/>
                </a:cubicBezTo>
                <a:cubicBezTo>
                  <a:pt x="87" y="64"/>
                  <a:pt x="87" y="63"/>
                  <a:pt x="87" y="63"/>
                </a:cubicBezTo>
                <a:cubicBezTo>
                  <a:pt x="88" y="63"/>
                  <a:pt x="88" y="63"/>
                  <a:pt x="89" y="63"/>
                </a:cubicBezTo>
                <a:cubicBezTo>
                  <a:pt x="89" y="63"/>
                  <a:pt x="89" y="63"/>
                  <a:pt x="90" y="62"/>
                </a:cubicBezTo>
                <a:cubicBezTo>
                  <a:pt x="90" y="62"/>
                  <a:pt x="90" y="62"/>
                  <a:pt x="90" y="61"/>
                </a:cubicBezTo>
                <a:cubicBezTo>
                  <a:pt x="90" y="61"/>
                  <a:pt x="90" y="60"/>
                  <a:pt x="90" y="60"/>
                </a:cubicBezTo>
                <a:cubicBezTo>
                  <a:pt x="90" y="59"/>
                  <a:pt x="90" y="59"/>
                  <a:pt x="90" y="59"/>
                </a:cubicBezTo>
                <a:cubicBezTo>
                  <a:pt x="91" y="59"/>
                  <a:pt x="91" y="59"/>
                  <a:pt x="92" y="59"/>
                </a:cubicBezTo>
                <a:cubicBezTo>
                  <a:pt x="92" y="59"/>
                  <a:pt x="93" y="59"/>
                  <a:pt x="93" y="58"/>
                </a:cubicBezTo>
                <a:cubicBezTo>
                  <a:pt x="93" y="58"/>
                  <a:pt x="93" y="58"/>
                  <a:pt x="93" y="58"/>
                </a:cubicBezTo>
                <a:cubicBezTo>
                  <a:pt x="94" y="58"/>
                  <a:pt x="94" y="58"/>
                  <a:pt x="95" y="58"/>
                </a:cubicBezTo>
                <a:cubicBezTo>
                  <a:pt x="95" y="57"/>
                  <a:pt x="95" y="57"/>
                  <a:pt x="95" y="57"/>
                </a:cubicBezTo>
                <a:cubicBezTo>
                  <a:pt x="96" y="56"/>
                  <a:pt x="96" y="56"/>
                  <a:pt x="96" y="56"/>
                </a:cubicBezTo>
                <a:cubicBezTo>
                  <a:pt x="96" y="56"/>
                  <a:pt x="96" y="55"/>
                  <a:pt x="96" y="55"/>
                </a:cubicBezTo>
                <a:cubicBezTo>
                  <a:pt x="96" y="55"/>
                  <a:pt x="97" y="55"/>
                  <a:pt x="97" y="54"/>
                </a:cubicBezTo>
                <a:cubicBezTo>
                  <a:pt x="97" y="54"/>
                  <a:pt x="97" y="54"/>
                  <a:pt x="97" y="54"/>
                </a:cubicBezTo>
                <a:cubicBezTo>
                  <a:pt x="98" y="54"/>
                  <a:pt x="98" y="54"/>
                  <a:pt x="98" y="54"/>
                </a:cubicBezTo>
                <a:cubicBezTo>
                  <a:pt x="99" y="54"/>
                  <a:pt x="100" y="54"/>
                  <a:pt x="100" y="53"/>
                </a:cubicBezTo>
                <a:cubicBezTo>
                  <a:pt x="101" y="53"/>
                  <a:pt x="101" y="53"/>
                  <a:pt x="101" y="54"/>
                </a:cubicBezTo>
                <a:cubicBezTo>
                  <a:pt x="101" y="55"/>
                  <a:pt x="101" y="56"/>
                  <a:pt x="101" y="56"/>
                </a:cubicBezTo>
                <a:cubicBezTo>
                  <a:pt x="101" y="57"/>
                  <a:pt x="101" y="58"/>
                  <a:pt x="101" y="58"/>
                </a:cubicBezTo>
                <a:cubicBezTo>
                  <a:pt x="100" y="58"/>
                  <a:pt x="100" y="59"/>
                  <a:pt x="100" y="59"/>
                </a:cubicBezTo>
                <a:cubicBezTo>
                  <a:pt x="100" y="59"/>
                  <a:pt x="100" y="60"/>
                  <a:pt x="100" y="60"/>
                </a:cubicBezTo>
                <a:cubicBezTo>
                  <a:pt x="100" y="61"/>
                  <a:pt x="100" y="61"/>
                  <a:pt x="100" y="61"/>
                </a:cubicBezTo>
                <a:cubicBezTo>
                  <a:pt x="99" y="62"/>
                  <a:pt x="99" y="62"/>
                  <a:pt x="99" y="62"/>
                </a:cubicBezTo>
                <a:cubicBezTo>
                  <a:pt x="99" y="63"/>
                  <a:pt x="99" y="63"/>
                  <a:pt x="99" y="63"/>
                </a:cubicBezTo>
                <a:cubicBezTo>
                  <a:pt x="100" y="64"/>
                  <a:pt x="100" y="63"/>
                  <a:pt x="100" y="63"/>
                </a:cubicBezTo>
                <a:cubicBezTo>
                  <a:pt x="101" y="63"/>
                  <a:pt x="101" y="63"/>
                  <a:pt x="101" y="63"/>
                </a:cubicBezTo>
                <a:cubicBezTo>
                  <a:pt x="102" y="63"/>
                  <a:pt x="102" y="63"/>
                  <a:pt x="102" y="63"/>
                </a:cubicBezTo>
                <a:cubicBezTo>
                  <a:pt x="102" y="62"/>
                  <a:pt x="103" y="62"/>
                  <a:pt x="103" y="62"/>
                </a:cubicBezTo>
                <a:cubicBezTo>
                  <a:pt x="103" y="62"/>
                  <a:pt x="103" y="62"/>
                  <a:pt x="104" y="62"/>
                </a:cubicBezTo>
                <a:cubicBezTo>
                  <a:pt x="104" y="62"/>
                  <a:pt x="104" y="62"/>
                  <a:pt x="105" y="61"/>
                </a:cubicBezTo>
                <a:cubicBezTo>
                  <a:pt x="105" y="61"/>
                  <a:pt x="105" y="61"/>
                  <a:pt x="105" y="61"/>
                </a:cubicBezTo>
                <a:cubicBezTo>
                  <a:pt x="106" y="61"/>
                  <a:pt x="106" y="61"/>
                  <a:pt x="106" y="61"/>
                </a:cubicBezTo>
                <a:cubicBezTo>
                  <a:pt x="106" y="61"/>
                  <a:pt x="107" y="61"/>
                  <a:pt x="107" y="60"/>
                </a:cubicBezTo>
                <a:cubicBezTo>
                  <a:pt x="107" y="60"/>
                  <a:pt x="107" y="60"/>
                  <a:pt x="108" y="60"/>
                </a:cubicBezTo>
                <a:cubicBezTo>
                  <a:pt x="108" y="60"/>
                  <a:pt x="108" y="59"/>
                  <a:pt x="108" y="59"/>
                </a:cubicBezTo>
                <a:cubicBezTo>
                  <a:pt x="108" y="59"/>
                  <a:pt x="109" y="59"/>
                  <a:pt x="109" y="59"/>
                </a:cubicBezTo>
                <a:cubicBezTo>
                  <a:pt x="109" y="59"/>
                  <a:pt x="110" y="59"/>
                  <a:pt x="110" y="59"/>
                </a:cubicBezTo>
                <a:cubicBezTo>
                  <a:pt x="110" y="59"/>
                  <a:pt x="110" y="59"/>
                  <a:pt x="111" y="59"/>
                </a:cubicBezTo>
                <a:cubicBezTo>
                  <a:pt x="111" y="59"/>
                  <a:pt x="111" y="59"/>
                  <a:pt x="111" y="59"/>
                </a:cubicBezTo>
                <a:cubicBezTo>
                  <a:pt x="111" y="58"/>
                  <a:pt x="112" y="59"/>
                  <a:pt x="112" y="58"/>
                </a:cubicBezTo>
                <a:cubicBezTo>
                  <a:pt x="112" y="58"/>
                  <a:pt x="112" y="58"/>
                  <a:pt x="113" y="58"/>
                </a:cubicBezTo>
                <a:cubicBezTo>
                  <a:pt x="113" y="58"/>
                  <a:pt x="113" y="58"/>
                  <a:pt x="114" y="58"/>
                </a:cubicBezTo>
                <a:cubicBezTo>
                  <a:pt x="114" y="58"/>
                  <a:pt x="114" y="58"/>
                  <a:pt x="114" y="58"/>
                </a:cubicBezTo>
                <a:cubicBezTo>
                  <a:pt x="114" y="58"/>
                  <a:pt x="115" y="58"/>
                  <a:pt x="115" y="58"/>
                </a:cubicBezTo>
                <a:cubicBezTo>
                  <a:pt x="116" y="58"/>
                  <a:pt x="116" y="58"/>
                  <a:pt x="117" y="58"/>
                </a:cubicBezTo>
                <a:cubicBezTo>
                  <a:pt x="117" y="58"/>
                  <a:pt x="117" y="58"/>
                  <a:pt x="117" y="58"/>
                </a:cubicBezTo>
                <a:cubicBezTo>
                  <a:pt x="117" y="57"/>
                  <a:pt x="117" y="57"/>
                  <a:pt x="118" y="57"/>
                </a:cubicBezTo>
                <a:cubicBezTo>
                  <a:pt x="118" y="57"/>
                  <a:pt x="118" y="57"/>
                  <a:pt x="118" y="57"/>
                </a:cubicBezTo>
                <a:cubicBezTo>
                  <a:pt x="120" y="57"/>
                  <a:pt x="121" y="57"/>
                  <a:pt x="123" y="57"/>
                </a:cubicBezTo>
                <a:cubicBezTo>
                  <a:pt x="123" y="57"/>
                  <a:pt x="123" y="57"/>
                  <a:pt x="123" y="56"/>
                </a:cubicBezTo>
                <a:cubicBezTo>
                  <a:pt x="124" y="56"/>
                  <a:pt x="124" y="56"/>
                  <a:pt x="124" y="55"/>
                </a:cubicBezTo>
                <a:cubicBezTo>
                  <a:pt x="124" y="55"/>
                  <a:pt x="124" y="55"/>
                  <a:pt x="124" y="55"/>
                </a:cubicBezTo>
                <a:cubicBezTo>
                  <a:pt x="124" y="50"/>
                  <a:pt x="124" y="50"/>
                  <a:pt x="124" y="50"/>
                </a:cubicBezTo>
                <a:cubicBezTo>
                  <a:pt x="124" y="49"/>
                  <a:pt x="124" y="48"/>
                  <a:pt x="124" y="47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0" name="Freeform 38">
            <a:extLst>
              <a:ext uri="{FF2B5EF4-FFF2-40B4-BE49-F238E27FC236}">
                <a16:creationId xmlns:a16="http://schemas.microsoft.com/office/drawing/2014/main" id="{9C10A4A7-7773-47D5-A3D8-7629FDC1ED95}"/>
              </a:ext>
            </a:extLst>
          </p:cNvPr>
          <p:cNvSpPr>
            <a:spLocks noEditPoints="1"/>
          </p:cNvSpPr>
          <p:nvPr/>
        </p:nvSpPr>
        <p:spPr bwMode="auto">
          <a:xfrm>
            <a:off x="10184378" y="3042385"/>
            <a:ext cx="609664" cy="313919"/>
          </a:xfrm>
          <a:custGeom>
            <a:avLst/>
            <a:gdLst>
              <a:gd name="T0" fmla="*/ 151 w 154"/>
              <a:gd name="T1" fmla="*/ 62 h 79"/>
              <a:gd name="T2" fmla="*/ 148 w 154"/>
              <a:gd name="T3" fmla="*/ 67 h 79"/>
              <a:gd name="T4" fmla="*/ 145 w 154"/>
              <a:gd name="T5" fmla="*/ 71 h 79"/>
              <a:gd name="T6" fmla="*/ 141 w 154"/>
              <a:gd name="T7" fmla="*/ 76 h 79"/>
              <a:gd name="T8" fmla="*/ 127 w 154"/>
              <a:gd name="T9" fmla="*/ 75 h 79"/>
              <a:gd name="T10" fmla="*/ 123 w 154"/>
              <a:gd name="T11" fmla="*/ 69 h 79"/>
              <a:gd name="T12" fmla="*/ 127 w 154"/>
              <a:gd name="T13" fmla="*/ 57 h 79"/>
              <a:gd name="T14" fmla="*/ 123 w 154"/>
              <a:gd name="T15" fmla="*/ 66 h 79"/>
              <a:gd name="T16" fmla="*/ 118 w 154"/>
              <a:gd name="T17" fmla="*/ 66 h 79"/>
              <a:gd name="T18" fmla="*/ 111 w 154"/>
              <a:gd name="T19" fmla="*/ 59 h 79"/>
              <a:gd name="T20" fmla="*/ 113 w 154"/>
              <a:gd name="T21" fmla="*/ 52 h 79"/>
              <a:gd name="T22" fmla="*/ 116 w 154"/>
              <a:gd name="T23" fmla="*/ 50 h 79"/>
              <a:gd name="T24" fmla="*/ 121 w 154"/>
              <a:gd name="T25" fmla="*/ 49 h 79"/>
              <a:gd name="T26" fmla="*/ 114 w 154"/>
              <a:gd name="T27" fmla="*/ 46 h 79"/>
              <a:gd name="T28" fmla="*/ 111 w 154"/>
              <a:gd name="T29" fmla="*/ 41 h 79"/>
              <a:gd name="T30" fmla="*/ 116 w 154"/>
              <a:gd name="T31" fmla="*/ 38 h 79"/>
              <a:gd name="T32" fmla="*/ 115 w 154"/>
              <a:gd name="T33" fmla="*/ 32 h 79"/>
              <a:gd name="T34" fmla="*/ 113 w 154"/>
              <a:gd name="T35" fmla="*/ 30 h 79"/>
              <a:gd name="T36" fmla="*/ 113 w 154"/>
              <a:gd name="T37" fmla="*/ 22 h 79"/>
              <a:gd name="T38" fmla="*/ 117 w 154"/>
              <a:gd name="T39" fmla="*/ 17 h 79"/>
              <a:gd name="T40" fmla="*/ 123 w 154"/>
              <a:gd name="T41" fmla="*/ 16 h 79"/>
              <a:gd name="T42" fmla="*/ 123 w 154"/>
              <a:gd name="T43" fmla="*/ 10 h 79"/>
              <a:gd name="T44" fmla="*/ 122 w 154"/>
              <a:gd name="T45" fmla="*/ 7 h 79"/>
              <a:gd name="T46" fmla="*/ 117 w 154"/>
              <a:gd name="T47" fmla="*/ 11 h 79"/>
              <a:gd name="T48" fmla="*/ 112 w 154"/>
              <a:gd name="T49" fmla="*/ 18 h 79"/>
              <a:gd name="T50" fmla="*/ 108 w 154"/>
              <a:gd name="T51" fmla="*/ 16 h 79"/>
              <a:gd name="T52" fmla="*/ 106 w 154"/>
              <a:gd name="T53" fmla="*/ 23 h 79"/>
              <a:gd name="T54" fmla="*/ 102 w 154"/>
              <a:gd name="T55" fmla="*/ 23 h 79"/>
              <a:gd name="T56" fmla="*/ 106 w 154"/>
              <a:gd name="T57" fmla="*/ 31 h 79"/>
              <a:gd name="T58" fmla="*/ 102 w 154"/>
              <a:gd name="T59" fmla="*/ 35 h 79"/>
              <a:gd name="T60" fmla="*/ 102 w 154"/>
              <a:gd name="T61" fmla="*/ 43 h 79"/>
              <a:gd name="T62" fmla="*/ 103 w 154"/>
              <a:gd name="T63" fmla="*/ 52 h 79"/>
              <a:gd name="T64" fmla="*/ 107 w 154"/>
              <a:gd name="T65" fmla="*/ 62 h 79"/>
              <a:gd name="T66" fmla="*/ 99 w 154"/>
              <a:gd name="T67" fmla="*/ 55 h 79"/>
              <a:gd name="T68" fmla="*/ 109 w 154"/>
              <a:gd name="T69" fmla="*/ 69 h 79"/>
              <a:gd name="T70" fmla="*/ 105 w 154"/>
              <a:gd name="T71" fmla="*/ 70 h 79"/>
              <a:gd name="T72" fmla="*/ 98 w 154"/>
              <a:gd name="T73" fmla="*/ 65 h 79"/>
              <a:gd name="T74" fmla="*/ 92 w 154"/>
              <a:gd name="T75" fmla="*/ 63 h 79"/>
              <a:gd name="T76" fmla="*/ 86 w 154"/>
              <a:gd name="T77" fmla="*/ 60 h 79"/>
              <a:gd name="T78" fmla="*/ 82 w 154"/>
              <a:gd name="T79" fmla="*/ 50 h 79"/>
              <a:gd name="T80" fmla="*/ 86 w 154"/>
              <a:gd name="T81" fmla="*/ 39 h 79"/>
              <a:gd name="T82" fmla="*/ 78 w 154"/>
              <a:gd name="T83" fmla="*/ 33 h 79"/>
              <a:gd name="T84" fmla="*/ 70 w 154"/>
              <a:gd name="T85" fmla="*/ 22 h 79"/>
              <a:gd name="T86" fmla="*/ 59 w 154"/>
              <a:gd name="T87" fmla="*/ 11 h 79"/>
              <a:gd name="T88" fmla="*/ 57 w 154"/>
              <a:gd name="T89" fmla="*/ 5 h 79"/>
              <a:gd name="T90" fmla="*/ 44 w 154"/>
              <a:gd name="T91" fmla="*/ 1 h 79"/>
              <a:gd name="T92" fmla="*/ 36 w 154"/>
              <a:gd name="T93" fmla="*/ 6 h 79"/>
              <a:gd name="T94" fmla="*/ 28 w 154"/>
              <a:gd name="T95" fmla="*/ 7 h 79"/>
              <a:gd name="T96" fmla="*/ 23 w 154"/>
              <a:gd name="T97" fmla="*/ 7 h 79"/>
              <a:gd name="T98" fmla="*/ 14 w 154"/>
              <a:gd name="T99" fmla="*/ 11 h 79"/>
              <a:gd name="T100" fmla="*/ 5 w 154"/>
              <a:gd name="T101" fmla="*/ 19 h 79"/>
              <a:gd name="T102" fmla="*/ 109 w 154"/>
              <a:gd name="T103" fmla="*/ 39 h 79"/>
              <a:gd name="T104" fmla="*/ 110 w 154"/>
              <a:gd name="T105" fmla="*/ 3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4" h="79">
                <a:moveTo>
                  <a:pt x="154" y="56"/>
                </a:moveTo>
                <a:cubicBezTo>
                  <a:pt x="154" y="57"/>
                  <a:pt x="153" y="57"/>
                  <a:pt x="152" y="57"/>
                </a:cubicBezTo>
                <a:cubicBezTo>
                  <a:pt x="152" y="58"/>
                  <a:pt x="152" y="58"/>
                  <a:pt x="151" y="58"/>
                </a:cubicBezTo>
                <a:cubicBezTo>
                  <a:pt x="151" y="58"/>
                  <a:pt x="150" y="58"/>
                  <a:pt x="150" y="59"/>
                </a:cubicBezTo>
                <a:cubicBezTo>
                  <a:pt x="150" y="60"/>
                  <a:pt x="150" y="60"/>
                  <a:pt x="151" y="61"/>
                </a:cubicBezTo>
                <a:cubicBezTo>
                  <a:pt x="151" y="61"/>
                  <a:pt x="151" y="61"/>
                  <a:pt x="151" y="62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51" y="63"/>
                  <a:pt x="151" y="63"/>
                  <a:pt x="151" y="63"/>
                </a:cubicBezTo>
                <a:cubicBezTo>
                  <a:pt x="151" y="64"/>
                  <a:pt x="151" y="65"/>
                  <a:pt x="150" y="66"/>
                </a:cubicBezTo>
                <a:cubicBezTo>
                  <a:pt x="150" y="66"/>
                  <a:pt x="149" y="66"/>
                  <a:pt x="149" y="67"/>
                </a:cubicBezTo>
                <a:cubicBezTo>
                  <a:pt x="149" y="67"/>
                  <a:pt x="149" y="68"/>
                  <a:pt x="148" y="68"/>
                </a:cubicBezTo>
                <a:cubicBezTo>
                  <a:pt x="148" y="68"/>
                  <a:pt x="148" y="67"/>
                  <a:pt x="148" y="67"/>
                </a:cubicBezTo>
                <a:cubicBezTo>
                  <a:pt x="147" y="67"/>
                  <a:pt x="147" y="67"/>
                  <a:pt x="147" y="67"/>
                </a:cubicBezTo>
                <a:cubicBezTo>
                  <a:pt x="147" y="67"/>
                  <a:pt x="147" y="67"/>
                  <a:pt x="147" y="67"/>
                </a:cubicBezTo>
                <a:cubicBezTo>
                  <a:pt x="147" y="67"/>
                  <a:pt x="146" y="67"/>
                  <a:pt x="146" y="67"/>
                </a:cubicBezTo>
                <a:cubicBezTo>
                  <a:pt x="146" y="68"/>
                  <a:pt x="146" y="68"/>
                  <a:pt x="146" y="69"/>
                </a:cubicBezTo>
                <a:cubicBezTo>
                  <a:pt x="146" y="69"/>
                  <a:pt x="146" y="70"/>
                  <a:pt x="146" y="70"/>
                </a:cubicBezTo>
                <a:cubicBezTo>
                  <a:pt x="146" y="70"/>
                  <a:pt x="145" y="71"/>
                  <a:pt x="145" y="71"/>
                </a:cubicBezTo>
                <a:cubicBezTo>
                  <a:pt x="145" y="71"/>
                  <a:pt x="145" y="71"/>
                  <a:pt x="145" y="72"/>
                </a:cubicBezTo>
                <a:cubicBezTo>
                  <a:pt x="145" y="72"/>
                  <a:pt x="145" y="72"/>
                  <a:pt x="144" y="72"/>
                </a:cubicBezTo>
                <a:cubicBezTo>
                  <a:pt x="144" y="72"/>
                  <a:pt x="144" y="72"/>
                  <a:pt x="144" y="73"/>
                </a:cubicBezTo>
                <a:cubicBezTo>
                  <a:pt x="143" y="73"/>
                  <a:pt x="143" y="73"/>
                  <a:pt x="143" y="74"/>
                </a:cubicBezTo>
                <a:cubicBezTo>
                  <a:pt x="143" y="74"/>
                  <a:pt x="143" y="74"/>
                  <a:pt x="142" y="74"/>
                </a:cubicBezTo>
                <a:cubicBezTo>
                  <a:pt x="142" y="75"/>
                  <a:pt x="142" y="75"/>
                  <a:pt x="141" y="76"/>
                </a:cubicBezTo>
                <a:cubicBezTo>
                  <a:pt x="134" y="76"/>
                  <a:pt x="134" y="76"/>
                  <a:pt x="134" y="76"/>
                </a:cubicBezTo>
                <a:cubicBezTo>
                  <a:pt x="132" y="79"/>
                  <a:pt x="132" y="79"/>
                  <a:pt x="132" y="79"/>
                </a:cubicBezTo>
                <a:cubicBezTo>
                  <a:pt x="131" y="78"/>
                  <a:pt x="130" y="78"/>
                  <a:pt x="129" y="78"/>
                </a:cubicBezTo>
                <a:cubicBezTo>
                  <a:pt x="129" y="78"/>
                  <a:pt x="128" y="78"/>
                  <a:pt x="128" y="79"/>
                </a:cubicBezTo>
                <a:cubicBezTo>
                  <a:pt x="127" y="79"/>
                  <a:pt x="126" y="79"/>
                  <a:pt x="126" y="79"/>
                </a:cubicBezTo>
                <a:cubicBezTo>
                  <a:pt x="125" y="77"/>
                  <a:pt x="127" y="76"/>
                  <a:pt x="127" y="75"/>
                </a:cubicBezTo>
                <a:cubicBezTo>
                  <a:pt x="128" y="75"/>
                  <a:pt x="128" y="74"/>
                  <a:pt x="128" y="74"/>
                </a:cubicBezTo>
                <a:cubicBezTo>
                  <a:pt x="127" y="74"/>
                  <a:pt x="126" y="74"/>
                  <a:pt x="126" y="73"/>
                </a:cubicBezTo>
                <a:cubicBezTo>
                  <a:pt x="126" y="72"/>
                  <a:pt x="128" y="72"/>
                  <a:pt x="127" y="71"/>
                </a:cubicBezTo>
                <a:cubicBezTo>
                  <a:pt x="126" y="70"/>
                  <a:pt x="126" y="71"/>
                  <a:pt x="125" y="71"/>
                </a:cubicBezTo>
                <a:cubicBezTo>
                  <a:pt x="125" y="72"/>
                  <a:pt x="124" y="72"/>
                  <a:pt x="123" y="71"/>
                </a:cubicBezTo>
                <a:cubicBezTo>
                  <a:pt x="122" y="71"/>
                  <a:pt x="123" y="70"/>
                  <a:pt x="123" y="69"/>
                </a:cubicBezTo>
                <a:cubicBezTo>
                  <a:pt x="123" y="69"/>
                  <a:pt x="123" y="69"/>
                  <a:pt x="124" y="68"/>
                </a:cubicBezTo>
                <a:cubicBezTo>
                  <a:pt x="124" y="68"/>
                  <a:pt x="124" y="68"/>
                  <a:pt x="124" y="67"/>
                </a:cubicBezTo>
                <a:cubicBezTo>
                  <a:pt x="124" y="66"/>
                  <a:pt x="124" y="65"/>
                  <a:pt x="124" y="64"/>
                </a:cubicBezTo>
                <a:cubicBezTo>
                  <a:pt x="124" y="63"/>
                  <a:pt x="125" y="63"/>
                  <a:pt x="125" y="62"/>
                </a:cubicBezTo>
                <a:cubicBezTo>
                  <a:pt x="126" y="61"/>
                  <a:pt x="126" y="60"/>
                  <a:pt x="126" y="59"/>
                </a:cubicBezTo>
                <a:cubicBezTo>
                  <a:pt x="126" y="59"/>
                  <a:pt x="126" y="58"/>
                  <a:pt x="127" y="57"/>
                </a:cubicBezTo>
                <a:cubicBezTo>
                  <a:pt x="127" y="57"/>
                  <a:pt x="127" y="57"/>
                  <a:pt x="127" y="57"/>
                </a:cubicBezTo>
                <a:cubicBezTo>
                  <a:pt x="127" y="56"/>
                  <a:pt x="126" y="58"/>
                  <a:pt x="126" y="58"/>
                </a:cubicBezTo>
                <a:cubicBezTo>
                  <a:pt x="126" y="59"/>
                  <a:pt x="125" y="59"/>
                  <a:pt x="125" y="60"/>
                </a:cubicBezTo>
                <a:cubicBezTo>
                  <a:pt x="125" y="61"/>
                  <a:pt x="125" y="62"/>
                  <a:pt x="124" y="62"/>
                </a:cubicBezTo>
                <a:cubicBezTo>
                  <a:pt x="124" y="63"/>
                  <a:pt x="123" y="64"/>
                  <a:pt x="123" y="65"/>
                </a:cubicBezTo>
                <a:cubicBezTo>
                  <a:pt x="123" y="65"/>
                  <a:pt x="123" y="66"/>
                  <a:pt x="123" y="66"/>
                </a:cubicBezTo>
                <a:cubicBezTo>
                  <a:pt x="122" y="66"/>
                  <a:pt x="122" y="66"/>
                  <a:pt x="122" y="65"/>
                </a:cubicBezTo>
                <a:cubicBezTo>
                  <a:pt x="122" y="65"/>
                  <a:pt x="122" y="65"/>
                  <a:pt x="121" y="65"/>
                </a:cubicBezTo>
                <a:cubicBezTo>
                  <a:pt x="121" y="64"/>
                  <a:pt x="120" y="64"/>
                  <a:pt x="120" y="65"/>
                </a:cubicBezTo>
                <a:cubicBezTo>
                  <a:pt x="120" y="65"/>
                  <a:pt x="120" y="66"/>
                  <a:pt x="119" y="67"/>
                </a:cubicBezTo>
                <a:cubicBezTo>
                  <a:pt x="119" y="67"/>
                  <a:pt x="118" y="67"/>
                  <a:pt x="118" y="66"/>
                </a:cubicBezTo>
                <a:cubicBezTo>
                  <a:pt x="118" y="66"/>
                  <a:pt x="118" y="66"/>
                  <a:pt x="118" y="66"/>
                </a:cubicBezTo>
                <a:cubicBezTo>
                  <a:pt x="118" y="66"/>
                  <a:pt x="117" y="65"/>
                  <a:pt x="117" y="65"/>
                </a:cubicBezTo>
                <a:cubicBezTo>
                  <a:pt x="116" y="64"/>
                  <a:pt x="115" y="63"/>
                  <a:pt x="115" y="62"/>
                </a:cubicBezTo>
                <a:cubicBezTo>
                  <a:pt x="115" y="62"/>
                  <a:pt x="115" y="61"/>
                  <a:pt x="114" y="61"/>
                </a:cubicBezTo>
                <a:cubicBezTo>
                  <a:pt x="114" y="60"/>
                  <a:pt x="114" y="60"/>
                  <a:pt x="114" y="61"/>
                </a:cubicBezTo>
                <a:cubicBezTo>
                  <a:pt x="113" y="61"/>
                  <a:pt x="112" y="61"/>
                  <a:pt x="112" y="60"/>
                </a:cubicBezTo>
                <a:cubicBezTo>
                  <a:pt x="111" y="60"/>
                  <a:pt x="111" y="60"/>
                  <a:pt x="111" y="59"/>
                </a:cubicBezTo>
                <a:cubicBezTo>
                  <a:pt x="111" y="58"/>
                  <a:pt x="110" y="58"/>
                  <a:pt x="110" y="57"/>
                </a:cubicBezTo>
                <a:cubicBezTo>
                  <a:pt x="110" y="57"/>
                  <a:pt x="110" y="56"/>
                  <a:pt x="110" y="55"/>
                </a:cubicBezTo>
                <a:cubicBezTo>
                  <a:pt x="110" y="55"/>
                  <a:pt x="111" y="55"/>
                  <a:pt x="111" y="55"/>
                </a:cubicBezTo>
                <a:cubicBezTo>
                  <a:pt x="111" y="55"/>
                  <a:pt x="112" y="55"/>
                  <a:pt x="112" y="55"/>
                </a:cubicBezTo>
                <a:cubicBezTo>
                  <a:pt x="112" y="54"/>
                  <a:pt x="113" y="54"/>
                  <a:pt x="114" y="54"/>
                </a:cubicBezTo>
                <a:cubicBezTo>
                  <a:pt x="114" y="53"/>
                  <a:pt x="113" y="53"/>
                  <a:pt x="113" y="52"/>
                </a:cubicBezTo>
                <a:cubicBezTo>
                  <a:pt x="113" y="52"/>
                  <a:pt x="113" y="52"/>
                  <a:pt x="113" y="52"/>
                </a:cubicBezTo>
                <a:cubicBezTo>
                  <a:pt x="113" y="51"/>
                  <a:pt x="113" y="51"/>
                  <a:pt x="113" y="51"/>
                </a:cubicBezTo>
                <a:cubicBezTo>
                  <a:pt x="112" y="51"/>
                  <a:pt x="112" y="50"/>
                  <a:pt x="112" y="50"/>
                </a:cubicBezTo>
                <a:cubicBezTo>
                  <a:pt x="113" y="50"/>
                  <a:pt x="113" y="49"/>
                  <a:pt x="114" y="49"/>
                </a:cubicBezTo>
                <a:cubicBezTo>
                  <a:pt x="115" y="49"/>
                  <a:pt x="115" y="49"/>
                  <a:pt x="116" y="49"/>
                </a:cubicBezTo>
                <a:cubicBezTo>
                  <a:pt x="116" y="50"/>
                  <a:pt x="116" y="50"/>
                  <a:pt x="116" y="50"/>
                </a:cubicBezTo>
                <a:cubicBezTo>
                  <a:pt x="116" y="50"/>
                  <a:pt x="116" y="50"/>
                  <a:pt x="117" y="51"/>
                </a:cubicBezTo>
                <a:cubicBezTo>
                  <a:pt x="118" y="51"/>
                  <a:pt x="119" y="52"/>
                  <a:pt x="120" y="51"/>
                </a:cubicBezTo>
                <a:cubicBezTo>
                  <a:pt x="121" y="51"/>
                  <a:pt x="122" y="51"/>
                  <a:pt x="122" y="50"/>
                </a:cubicBezTo>
                <a:cubicBezTo>
                  <a:pt x="122" y="50"/>
                  <a:pt x="123" y="49"/>
                  <a:pt x="123" y="49"/>
                </a:cubicBezTo>
                <a:cubicBezTo>
                  <a:pt x="123" y="49"/>
                  <a:pt x="123" y="48"/>
                  <a:pt x="122" y="48"/>
                </a:cubicBezTo>
                <a:cubicBezTo>
                  <a:pt x="122" y="48"/>
                  <a:pt x="121" y="49"/>
                  <a:pt x="121" y="49"/>
                </a:cubicBezTo>
                <a:cubicBezTo>
                  <a:pt x="121" y="50"/>
                  <a:pt x="121" y="50"/>
                  <a:pt x="120" y="51"/>
                </a:cubicBezTo>
                <a:cubicBezTo>
                  <a:pt x="120" y="51"/>
                  <a:pt x="119" y="51"/>
                  <a:pt x="118" y="50"/>
                </a:cubicBezTo>
                <a:cubicBezTo>
                  <a:pt x="118" y="50"/>
                  <a:pt x="117" y="49"/>
                  <a:pt x="116" y="49"/>
                </a:cubicBezTo>
                <a:cubicBezTo>
                  <a:pt x="116" y="49"/>
                  <a:pt x="116" y="48"/>
                  <a:pt x="116" y="48"/>
                </a:cubicBezTo>
                <a:cubicBezTo>
                  <a:pt x="115" y="48"/>
                  <a:pt x="115" y="48"/>
                  <a:pt x="114" y="47"/>
                </a:cubicBezTo>
                <a:cubicBezTo>
                  <a:pt x="114" y="47"/>
                  <a:pt x="114" y="47"/>
                  <a:pt x="114" y="46"/>
                </a:cubicBezTo>
                <a:cubicBezTo>
                  <a:pt x="114" y="46"/>
                  <a:pt x="114" y="46"/>
                  <a:pt x="113" y="45"/>
                </a:cubicBezTo>
                <a:cubicBezTo>
                  <a:pt x="113" y="45"/>
                  <a:pt x="113" y="44"/>
                  <a:pt x="113" y="44"/>
                </a:cubicBezTo>
                <a:cubicBezTo>
                  <a:pt x="112" y="43"/>
                  <a:pt x="112" y="45"/>
                  <a:pt x="111" y="45"/>
                </a:cubicBezTo>
                <a:cubicBezTo>
                  <a:pt x="110" y="45"/>
                  <a:pt x="110" y="45"/>
                  <a:pt x="110" y="44"/>
                </a:cubicBezTo>
                <a:cubicBezTo>
                  <a:pt x="110" y="44"/>
                  <a:pt x="110" y="43"/>
                  <a:pt x="110" y="43"/>
                </a:cubicBezTo>
                <a:cubicBezTo>
                  <a:pt x="110" y="42"/>
                  <a:pt x="110" y="42"/>
                  <a:pt x="111" y="41"/>
                </a:cubicBezTo>
                <a:cubicBezTo>
                  <a:pt x="111" y="41"/>
                  <a:pt x="112" y="41"/>
                  <a:pt x="113" y="41"/>
                </a:cubicBezTo>
                <a:cubicBezTo>
                  <a:pt x="113" y="41"/>
                  <a:pt x="114" y="42"/>
                  <a:pt x="114" y="42"/>
                </a:cubicBezTo>
                <a:cubicBezTo>
                  <a:pt x="114" y="41"/>
                  <a:pt x="115" y="41"/>
                  <a:pt x="115" y="41"/>
                </a:cubicBezTo>
                <a:cubicBezTo>
                  <a:pt x="115" y="40"/>
                  <a:pt x="115" y="40"/>
                  <a:pt x="115" y="39"/>
                </a:cubicBezTo>
                <a:cubicBezTo>
                  <a:pt x="115" y="39"/>
                  <a:pt x="115" y="39"/>
                  <a:pt x="115" y="38"/>
                </a:cubicBezTo>
                <a:cubicBezTo>
                  <a:pt x="115" y="38"/>
                  <a:pt x="116" y="38"/>
                  <a:pt x="116" y="38"/>
                </a:cubicBezTo>
                <a:cubicBezTo>
                  <a:pt x="116" y="37"/>
                  <a:pt x="115" y="37"/>
                  <a:pt x="115" y="37"/>
                </a:cubicBezTo>
                <a:cubicBezTo>
                  <a:pt x="114" y="36"/>
                  <a:pt x="114" y="36"/>
                  <a:pt x="114" y="36"/>
                </a:cubicBezTo>
                <a:cubicBezTo>
                  <a:pt x="114" y="36"/>
                  <a:pt x="113" y="35"/>
                  <a:pt x="113" y="35"/>
                </a:cubicBezTo>
                <a:cubicBezTo>
                  <a:pt x="113" y="35"/>
                  <a:pt x="113" y="34"/>
                  <a:pt x="113" y="34"/>
                </a:cubicBezTo>
                <a:cubicBezTo>
                  <a:pt x="114" y="33"/>
                  <a:pt x="114" y="34"/>
                  <a:pt x="114" y="34"/>
                </a:cubicBezTo>
                <a:cubicBezTo>
                  <a:pt x="115" y="33"/>
                  <a:pt x="114" y="33"/>
                  <a:pt x="115" y="32"/>
                </a:cubicBezTo>
                <a:cubicBezTo>
                  <a:pt x="115" y="32"/>
                  <a:pt x="115" y="32"/>
                  <a:pt x="115" y="31"/>
                </a:cubicBezTo>
                <a:cubicBezTo>
                  <a:pt x="115" y="31"/>
                  <a:pt x="115" y="31"/>
                  <a:pt x="115" y="30"/>
                </a:cubicBezTo>
                <a:cubicBezTo>
                  <a:pt x="115" y="30"/>
                  <a:pt x="115" y="30"/>
                  <a:pt x="116" y="30"/>
                </a:cubicBezTo>
                <a:cubicBezTo>
                  <a:pt x="116" y="30"/>
                  <a:pt x="116" y="29"/>
                  <a:pt x="116" y="29"/>
                </a:cubicBezTo>
                <a:cubicBezTo>
                  <a:pt x="115" y="29"/>
                  <a:pt x="115" y="29"/>
                  <a:pt x="115" y="29"/>
                </a:cubicBezTo>
                <a:cubicBezTo>
                  <a:pt x="115" y="30"/>
                  <a:pt x="114" y="30"/>
                  <a:pt x="113" y="30"/>
                </a:cubicBezTo>
                <a:cubicBezTo>
                  <a:pt x="113" y="29"/>
                  <a:pt x="113" y="29"/>
                  <a:pt x="113" y="29"/>
                </a:cubicBezTo>
                <a:cubicBezTo>
                  <a:pt x="113" y="28"/>
                  <a:pt x="113" y="28"/>
                  <a:pt x="113" y="28"/>
                </a:cubicBezTo>
                <a:cubicBezTo>
                  <a:pt x="112" y="28"/>
                  <a:pt x="112" y="28"/>
                  <a:pt x="112" y="27"/>
                </a:cubicBezTo>
                <a:cubicBezTo>
                  <a:pt x="112" y="27"/>
                  <a:pt x="112" y="25"/>
                  <a:pt x="112" y="25"/>
                </a:cubicBezTo>
                <a:cubicBezTo>
                  <a:pt x="112" y="24"/>
                  <a:pt x="113" y="24"/>
                  <a:pt x="113" y="24"/>
                </a:cubicBezTo>
                <a:cubicBezTo>
                  <a:pt x="113" y="23"/>
                  <a:pt x="113" y="22"/>
                  <a:pt x="113" y="22"/>
                </a:cubicBezTo>
                <a:cubicBezTo>
                  <a:pt x="113" y="21"/>
                  <a:pt x="114" y="21"/>
                  <a:pt x="114" y="20"/>
                </a:cubicBezTo>
                <a:cubicBezTo>
                  <a:pt x="115" y="20"/>
                  <a:pt x="115" y="19"/>
                  <a:pt x="115" y="19"/>
                </a:cubicBezTo>
                <a:cubicBezTo>
                  <a:pt x="115" y="18"/>
                  <a:pt x="116" y="18"/>
                  <a:pt x="116" y="18"/>
                </a:cubicBezTo>
                <a:cubicBezTo>
                  <a:pt x="116" y="18"/>
                  <a:pt x="116" y="17"/>
                  <a:pt x="117" y="17"/>
                </a:cubicBezTo>
                <a:cubicBezTo>
                  <a:pt x="117" y="17"/>
                  <a:pt x="117" y="16"/>
                  <a:pt x="117" y="16"/>
                </a:cubicBezTo>
                <a:cubicBezTo>
                  <a:pt x="117" y="16"/>
                  <a:pt x="117" y="16"/>
                  <a:pt x="117" y="17"/>
                </a:cubicBezTo>
                <a:cubicBezTo>
                  <a:pt x="118" y="17"/>
                  <a:pt x="119" y="17"/>
                  <a:pt x="120" y="17"/>
                </a:cubicBezTo>
                <a:cubicBezTo>
                  <a:pt x="120" y="17"/>
                  <a:pt x="120" y="17"/>
                  <a:pt x="121" y="17"/>
                </a:cubicBezTo>
                <a:cubicBezTo>
                  <a:pt x="121" y="18"/>
                  <a:pt x="122" y="18"/>
                  <a:pt x="123" y="17"/>
                </a:cubicBezTo>
                <a:cubicBezTo>
                  <a:pt x="123" y="17"/>
                  <a:pt x="124" y="17"/>
                  <a:pt x="124" y="17"/>
                </a:cubicBezTo>
                <a:cubicBezTo>
                  <a:pt x="125" y="17"/>
                  <a:pt x="126" y="17"/>
                  <a:pt x="126" y="16"/>
                </a:cubicBezTo>
                <a:cubicBezTo>
                  <a:pt x="125" y="16"/>
                  <a:pt x="123" y="16"/>
                  <a:pt x="123" y="16"/>
                </a:cubicBezTo>
                <a:cubicBezTo>
                  <a:pt x="123" y="16"/>
                  <a:pt x="121" y="16"/>
                  <a:pt x="121" y="16"/>
                </a:cubicBezTo>
                <a:cubicBezTo>
                  <a:pt x="120" y="16"/>
                  <a:pt x="121" y="15"/>
                  <a:pt x="121" y="14"/>
                </a:cubicBezTo>
                <a:cubicBezTo>
                  <a:pt x="122" y="13"/>
                  <a:pt x="123" y="12"/>
                  <a:pt x="124" y="11"/>
                </a:cubicBezTo>
                <a:cubicBezTo>
                  <a:pt x="125" y="10"/>
                  <a:pt x="125" y="9"/>
                  <a:pt x="125" y="8"/>
                </a:cubicBezTo>
                <a:cubicBezTo>
                  <a:pt x="126" y="7"/>
                  <a:pt x="124" y="9"/>
                  <a:pt x="124" y="9"/>
                </a:cubicBezTo>
                <a:cubicBezTo>
                  <a:pt x="124" y="9"/>
                  <a:pt x="123" y="10"/>
                  <a:pt x="123" y="10"/>
                </a:cubicBezTo>
                <a:cubicBezTo>
                  <a:pt x="123" y="10"/>
                  <a:pt x="122" y="11"/>
                  <a:pt x="122" y="11"/>
                </a:cubicBezTo>
                <a:cubicBezTo>
                  <a:pt x="122" y="11"/>
                  <a:pt x="121" y="11"/>
                  <a:pt x="121" y="11"/>
                </a:cubicBezTo>
                <a:cubicBezTo>
                  <a:pt x="121" y="10"/>
                  <a:pt x="122" y="10"/>
                  <a:pt x="122" y="10"/>
                </a:cubicBezTo>
                <a:cubicBezTo>
                  <a:pt x="122" y="9"/>
                  <a:pt x="122" y="9"/>
                  <a:pt x="122" y="8"/>
                </a:cubicBezTo>
                <a:cubicBezTo>
                  <a:pt x="122" y="8"/>
                  <a:pt x="122" y="8"/>
                  <a:pt x="122" y="8"/>
                </a:cubicBezTo>
                <a:cubicBezTo>
                  <a:pt x="123" y="7"/>
                  <a:pt x="123" y="7"/>
                  <a:pt x="122" y="7"/>
                </a:cubicBezTo>
                <a:cubicBezTo>
                  <a:pt x="122" y="7"/>
                  <a:pt x="122" y="7"/>
                  <a:pt x="121" y="7"/>
                </a:cubicBezTo>
                <a:cubicBezTo>
                  <a:pt x="121" y="7"/>
                  <a:pt x="121" y="7"/>
                  <a:pt x="121" y="8"/>
                </a:cubicBezTo>
                <a:cubicBezTo>
                  <a:pt x="121" y="8"/>
                  <a:pt x="120" y="8"/>
                  <a:pt x="120" y="8"/>
                </a:cubicBezTo>
                <a:cubicBezTo>
                  <a:pt x="119" y="8"/>
                  <a:pt x="119" y="8"/>
                  <a:pt x="119" y="8"/>
                </a:cubicBezTo>
                <a:cubicBezTo>
                  <a:pt x="119" y="9"/>
                  <a:pt x="118" y="9"/>
                  <a:pt x="118" y="9"/>
                </a:cubicBezTo>
                <a:cubicBezTo>
                  <a:pt x="117" y="10"/>
                  <a:pt x="117" y="10"/>
                  <a:pt x="117" y="11"/>
                </a:cubicBezTo>
                <a:cubicBezTo>
                  <a:pt x="117" y="12"/>
                  <a:pt x="118" y="13"/>
                  <a:pt x="117" y="14"/>
                </a:cubicBezTo>
                <a:cubicBezTo>
                  <a:pt x="117" y="14"/>
                  <a:pt x="116" y="14"/>
                  <a:pt x="116" y="15"/>
                </a:cubicBezTo>
                <a:cubicBezTo>
                  <a:pt x="116" y="15"/>
                  <a:pt x="116" y="15"/>
                  <a:pt x="115" y="15"/>
                </a:cubicBezTo>
                <a:cubicBezTo>
                  <a:pt x="115" y="15"/>
                  <a:pt x="115" y="15"/>
                  <a:pt x="115" y="15"/>
                </a:cubicBezTo>
                <a:cubicBezTo>
                  <a:pt x="114" y="16"/>
                  <a:pt x="114" y="16"/>
                  <a:pt x="113" y="16"/>
                </a:cubicBezTo>
                <a:cubicBezTo>
                  <a:pt x="113" y="17"/>
                  <a:pt x="112" y="17"/>
                  <a:pt x="112" y="18"/>
                </a:cubicBezTo>
                <a:cubicBezTo>
                  <a:pt x="112" y="18"/>
                  <a:pt x="112" y="18"/>
                  <a:pt x="112" y="18"/>
                </a:cubicBezTo>
                <a:cubicBezTo>
                  <a:pt x="111" y="18"/>
                  <a:pt x="112" y="18"/>
                  <a:pt x="111" y="18"/>
                </a:cubicBezTo>
                <a:cubicBezTo>
                  <a:pt x="111" y="18"/>
                  <a:pt x="111" y="18"/>
                  <a:pt x="111" y="18"/>
                </a:cubicBezTo>
                <a:cubicBezTo>
                  <a:pt x="110" y="17"/>
                  <a:pt x="110" y="17"/>
                  <a:pt x="110" y="17"/>
                </a:cubicBezTo>
                <a:cubicBezTo>
                  <a:pt x="110" y="16"/>
                  <a:pt x="110" y="16"/>
                  <a:pt x="109" y="15"/>
                </a:cubicBezTo>
                <a:cubicBezTo>
                  <a:pt x="109" y="15"/>
                  <a:pt x="108" y="15"/>
                  <a:pt x="108" y="16"/>
                </a:cubicBezTo>
                <a:cubicBezTo>
                  <a:pt x="108" y="16"/>
                  <a:pt x="109" y="16"/>
                  <a:pt x="109" y="17"/>
                </a:cubicBezTo>
                <a:cubicBezTo>
                  <a:pt x="109" y="17"/>
                  <a:pt x="109" y="18"/>
                  <a:pt x="109" y="18"/>
                </a:cubicBezTo>
                <a:cubicBezTo>
                  <a:pt x="109" y="19"/>
                  <a:pt x="109" y="20"/>
                  <a:pt x="108" y="20"/>
                </a:cubicBezTo>
                <a:cubicBezTo>
                  <a:pt x="108" y="21"/>
                  <a:pt x="107" y="21"/>
                  <a:pt x="107" y="22"/>
                </a:cubicBezTo>
                <a:cubicBezTo>
                  <a:pt x="107" y="22"/>
                  <a:pt x="107" y="22"/>
                  <a:pt x="107" y="22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06" y="23"/>
                  <a:pt x="106" y="24"/>
                  <a:pt x="105" y="24"/>
                </a:cubicBezTo>
                <a:cubicBezTo>
                  <a:pt x="105" y="24"/>
                  <a:pt x="105" y="23"/>
                  <a:pt x="104" y="23"/>
                </a:cubicBezTo>
                <a:cubicBezTo>
                  <a:pt x="104" y="23"/>
                  <a:pt x="104" y="23"/>
                  <a:pt x="103" y="23"/>
                </a:cubicBezTo>
                <a:cubicBezTo>
                  <a:pt x="103" y="23"/>
                  <a:pt x="103" y="22"/>
                  <a:pt x="102" y="22"/>
                </a:cubicBezTo>
                <a:cubicBezTo>
                  <a:pt x="102" y="22"/>
                  <a:pt x="101" y="22"/>
                  <a:pt x="101" y="23"/>
                </a:cubicBezTo>
                <a:cubicBezTo>
                  <a:pt x="101" y="23"/>
                  <a:pt x="101" y="23"/>
                  <a:pt x="102" y="23"/>
                </a:cubicBezTo>
                <a:cubicBezTo>
                  <a:pt x="102" y="23"/>
                  <a:pt x="102" y="24"/>
                  <a:pt x="102" y="24"/>
                </a:cubicBezTo>
                <a:cubicBezTo>
                  <a:pt x="103" y="24"/>
                  <a:pt x="103" y="25"/>
                  <a:pt x="103" y="25"/>
                </a:cubicBezTo>
                <a:cubicBezTo>
                  <a:pt x="104" y="26"/>
                  <a:pt x="104" y="26"/>
                  <a:pt x="104" y="26"/>
                </a:cubicBezTo>
                <a:cubicBezTo>
                  <a:pt x="105" y="27"/>
                  <a:pt x="105" y="27"/>
                  <a:pt x="105" y="27"/>
                </a:cubicBezTo>
                <a:cubicBezTo>
                  <a:pt x="106" y="28"/>
                  <a:pt x="106" y="29"/>
                  <a:pt x="106" y="30"/>
                </a:cubicBezTo>
                <a:cubicBezTo>
                  <a:pt x="106" y="30"/>
                  <a:pt x="106" y="31"/>
                  <a:pt x="106" y="31"/>
                </a:cubicBezTo>
                <a:cubicBezTo>
                  <a:pt x="107" y="31"/>
                  <a:pt x="107" y="32"/>
                  <a:pt x="107" y="32"/>
                </a:cubicBezTo>
                <a:cubicBezTo>
                  <a:pt x="107" y="33"/>
                  <a:pt x="107" y="33"/>
                  <a:pt x="106" y="34"/>
                </a:cubicBezTo>
                <a:cubicBezTo>
                  <a:pt x="106" y="34"/>
                  <a:pt x="105" y="35"/>
                  <a:pt x="104" y="36"/>
                </a:cubicBezTo>
                <a:cubicBezTo>
                  <a:pt x="104" y="36"/>
                  <a:pt x="103" y="35"/>
                  <a:pt x="103" y="35"/>
                </a:cubicBezTo>
                <a:cubicBezTo>
                  <a:pt x="103" y="35"/>
                  <a:pt x="102" y="35"/>
                  <a:pt x="102" y="35"/>
                </a:cubicBezTo>
                <a:cubicBezTo>
                  <a:pt x="101" y="35"/>
                  <a:pt x="102" y="35"/>
                  <a:pt x="102" y="35"/>
                </a:cubicBezTo>
                <a:cubicBezTo>
                  <a:pt x="102" y="36"/>
                  <a:pt x="103" y="36"/>
                  <a:pt x="103" y="36"/>
                </a:cubicBezTo>
                <a:cubicBezTo>
                  <a:pt x="103" y="37"/>
                  <a:pt x="103" y="37"/>
                  <a:pt x="104" y="37"/>
                </a:cubicBezTo>
                <a:cubicBezTo>
                  <a:pt x="104" y="38"/>
                  <a:pt x="104" y="38"/>
                  <a:pt x="104" y="39"/>
                </a:cubicBezTo>
                <a:cubicBezTo>
                  <a:pt x="104" y="40"/>
                  <a:pt x="103" y="40"/>
                  <a:pt x="103" y="41"/>
                </a:cubicBezTo>
                <a:cubicBezTo>
                  <a:pt x="103" y="42"/>
                  <a:pt x="103" y="42"/>
                  <a:pt x="102" y="42"/>
                </a:cubicBezTo>
                <a:cubicBezTo>
                  <a:pt x="102" y="43"/>
                  <a:pt x="102" y="43"/>
                  <a:pt x="102" y="43"/>
                </a:cubicBezTo>
                <a:cubicBezTo>
                  <a:pt x="102" y="44"/>
                  <a:pt x="102" y="44"/>
                  <a:pt x="102" y="45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102" y="45"/>
                  <a:pt x="102" y="45"/>
                  <a:pt x="102" y="46"/>
                </a:cubicBezTo>
                <a:cubicBezTo>
                  <a:pt x="103" y="46"/>
                  <a:pt x="103" y="48"/>
                  <a:pt x="103" y="49"/>
                </a:cubicBezTo>
                <a:cubicBezTo>
                  <a:pt x="103" y="49"/>
                  <a:pt x="103" y="49"/>
                  <a:pt x="103" y="50"/>
                </a:cubicBezTo>
                <a:cubicBezTo>
                  <a:pt x="103" y="50"/>
                  <a:pt x="103" y="51"/>
                  <a:pt x="103" y="52"/>
                </a:cubicBezTo>
                <a:cubicBezTo>
                  <a:pt x="103" y="52"/>
                  <a:pt x="104" y="52"/>
                  <a:pt x="104" y="52"/>
                </a:cubicBezTo>
                <a:cubicBezTo>
                  <a:pt x="104" y="53"/>
                  <a:pt x="104" y="53"/>
                  <a:pt x="104" y="53"/>
                </a:cubicBezTo>
                <a:cubicBezTo>
                  <a:pt x="104" y="54"/>
                  <a:pt x="104" y="55"/>
                  <a:pt x="104" y="56"/>
                </a:cubicBezTo>
                <a:cubicBezTo>
                  <a:pt x="104" y="57"/>
                  <a:pt x="105" y="57"/>
                  <a:pt x="105" y="58"/>
                </a:cubicBezTo>
                <a:cubicBezTo>
                  <a:pt x="106" y="59"/>
                  <a:pt x="106" y="60"/>
                  <a:pt x="107" y="60"/>
                </a:cubicBezTo>
                <a:cubicBezTo>
                  <a:pt x="107" y="61"/>
                  <a:pt x="108" y="61"/>
                  <a:pt x="107" y="62"/>
                </a:cubicBezTo>
                <a:cubicBezTo>
                  <a:pt x="106" y="62"/>
                  <a:pt x="106" y="62"/>
                  <a:pt x="105" y="61"/>
                </a:cubicBezTo>
                <a:cubicBezTo>
                  <a:pt x="104" y="61"/>
                  <a:pt x="104" y="61"/>
                  <a:pt x="103" y="60"/>
                </a:cubicBezTo>
                <a:cubicBezTo>
                  <a:pt x="103" y="60"/>
                  <a:pt x="102" y="59"/>
                  <a:pt x="102" y="59"/>
                </a:cubicBezTo>
                <a:cubicBezTo>
                  <a:pt x="102" y="58"/>
                  <a:pt x="101" y="58"/>
                  <a:pt x="101" y="57"/>
                </a:cubicBezTo>
                <a:cubicBezTo>
                  <a:pt x="100" y="57"/>
                  <a:pt x="100" y="57"/>
                  <a:pt x="100" y="56"/>
                </a:cubicBezTo>
                <a:cubicBezTo>
                  <a:pt x="99" y="56"/>
                  <a:pt x="99" y="56"/>
                  <a:pt x="99" y="55"/>
                </a:cubicBezTo>
                <a:cubicBezTo>
                  <a:pt x="99" y="55"/>
                  <a:pt x="98" y="54"/>
                  <a:pt x="98" y="54"/>
                </a:cubicBezTo>
                <a:cubicBezTo>
                  <a:pt x="97" y="54"/>
                  <a:pt x="98" y="55"/>
                  <a:pt x="98" y="56"/>
                </a:cubicBezTo>
                <a:cubicBezTo>
                  <a:pt x="98" y="56"/>
                  <a:pt x="99" y="57"/>
                  <a:pt x="99" y="57"/>
                </a:cubicBezTo>
                <a:cubicBezTo>
                  <a:pt x="100" y="58"/>
                  <a:pt x="100" y="59"/>
                  <a:pt x="101" y="59"/>
                </a:cubicBezTo>
                <a:cubicBezTo>
                  <a:pt x="102" y="60"/>
                  <a:pt x="103" y="61"/>
                  <a:pt x="103" y="62"/>
                </a:cubicBezTo>
                <a:cubicBezTo>
                  <a:pt x="105" y="65"/>
                  <a:pt x="108" y="66"/>
                  <a:pt x="109" y="69"/>
                </a:cubicBezTo>
                <a:cubicBezTo>
                  <a:pt x="109" y="70"/>
                  <a:pt x="110" y="70"/>
                  <a:pt x="110" y="70"/>
                </a:cubicBezTo>
                <a:cubicBezTo>
                  <a:pt x="110" y="71"/>
                  <a:pt x="110" y="73"/>
                  <a:pt x="109" y="74"/>
                </a:cubicBezTo>
                <a:cubicBezTo>
                  <a:pt x="108" y="74"/>
                  <a:pt x="108" y="73"/>
                  <a:pt x="108" y="72"/>
                </a:cubicBezTo>
                <a:cubicBezTo>
                  <a:pt x="107" y="72"/>
                  <a:pt x="107" y="71"/>
                  <a:pt x="107" y="70"/>
                </a:cubicBezTo>
                <a:cubicBezTo>
                  <a:pt x="106" y="70"/>
                  <a:pt x="106" y="69"/>
                  <a:pt x="105" y="69"/>
                </a:cubicBezTo>
                <a:cubicBezTo>
                  <a:pt x="105" y="69"/>
                  <a:pt x="105" y="70"/>
                  <a:pt x="105" y="70"/>
                </a:cubicBezTo>
                <a:cubicBezTo>
                  <a:pt x="105" y="71"/>
                  <a:pt x="104" y="71"/>
                  <a:pt x="104" y="71"/>
                </a:cubicBezTo>
                <a:cubicBezTo>
                  <a:pt x="103" y="71"/>
                  <a:pt x="103" y="71"/>
                  <a:pt x="102" y="70"/>
                </a:cubicBezTo>
                <a:cubicBezTo>
                  <a:pt x="102" y="69"/>
                  <a:pt x="102" y="69"/>
                  <a:pt x="101" y="68"/>
                </a:cubicBezTo>
                <a:cubicBezTo>
                  <a:pt x="100" y="68"/>
                  <a:pt x="100" y="67"/>
                  <a:pt x="99" y="67"/>
                </a:cubicBezTo>
                <a:cubicBezTo>
                  <a:pt x="98" y="67"/>
                  <a:pt x="97" y="66"/>
                  <a:pt x="98" y="66"/>
                </a:cubicBezTo>
                <a:cubicBezTo>
                  <a:pt x="98" y="66"/>
                  <a:pt x="98" y="66"/>
                  <a:pt x="98" y="65"/>
                </a:cubicBezTo>
                <a:cubicBezTo>
                  <a:pt x="98" y="65"/>
                  <a:pt x="98" y="65"/>
                  <a:pt x="98" y="65"/>
                </a:cubicBezTo>
                <a:cubicBezTo>
                  <a:pt x="98" y="65"/>
                  <a:pt x="98" y="65"/>
                  <a:pt x="97" y="65"/>
                </a:cubicBezTo>
                <a:cubicBezTo>
                  <a:pt x="97" y="65"/>
                  <a:pt x="96" y="65"/>
                  <a:pt x="96" y="65"/>
                </a:cubicBezTo>
                <a:cubicBezTo>
                  <a:pt x="95" y="66"/>
                  <a:pt x="95" y="66"/>
                  <a:pt x="95" y="66"/>
                </a:cubicBezTo>
                <a:cubicBezTo>
                  <a:pt x="94" y="66"/>
                  <a:pt x="94" y="66"/>
                  <a:pt x="93" y="65"/>
                </a:cubicBezTo>
                <a:cubicBezTo>
                  <a:pt x="93" y="64"/>
                  <a:pt x="93" y="63"/>
                  <a:pt x="92" y="63"/>
                </a:cubicBezTo>
                <a:cubicBezTo>
                  <a:pt x="91" y="63"/>
                  <a:pt x="92" y="64"/>
                  <a:pt x="91" y="64"/>
                </a:cubicBezTo>
                <a:cubicBezTo>
                  <a:pt x="91" y="64"/>
                  <a:pt x="90" y="64"/>
                  <a:pt x="90" y="64"/>
                </a:cubicBezTo>
                <a:cubicBezTo>
                  <a:pt x="90" y="64"/>
                  <a:pt x="89" y="63"/>
                  <a:pt x="89" y="63"/>
                </a:cubicBezTo>
                <a:cubicBezTo>
                  <a:pt x="89" y="63"/>
                  <a:pt x="88" y="63"/>
                  <a:pt x="88" y="62"/>
                </a:cubicBezTo>
                <a:cubicBezTo>
                  <a:pt x="88" y="62"/>
                  <a:pt x="88" y="62"/>
                  <a:pt x="87" y="61"/>
                </a:cubicBezTo>
                <a:cubicBezTo>
                  <a:pt x="87" y="61"/>
                  <a:pt x="87" y="60"/>
                  <a:pt x="86" y="60"/>
                </a:cubicBezTo>
                <a:cubicBezTo>
                  <a:pt x="86" y="59"/>
                  <a:pt x="85" y="55"/>
                  <a:pt x="83" y="57"/>
                </a:cubicBezTo>
                <a:cubicBezTo>
                  <a:pt x="81" y="57"/>
                  <a:pt x="82" y="59"/>
                  <a:pt x="81" y="60"/>
                </a:cubicBezTo>
                <a:cubicBezTo>
                  <a:pt x="80" y="62"/>
                  <a:pt x="78" y="61"/>
                  <a:pt x="78" y="59"/>
                </a:cubicBezTo>
                <a:cubicBezTo>
                  <a:pt x="77" y="58"/>
                  <a:pt x="77" y="56"/>
                  <a:pt x="78" y="54"/>
                </a:cubicBezTo>
                <a:cubicBezTo>
                  <a:pt x="78" y="53"/>
                  <a:pt x="79" y="53"/>
                  <a:pt x="79" y="52"/>
                </a:cubicBezTo>
                <a:cubicBezTo>
                  <a:pt x="80" y="51"/>
                  <a:pt x="81" y="51"/>
                  <a:pt x="82" y="50"/>
                </a:cubicBezTo>
                <a:cubicBezTo>
                  <a:pt x="83" y="49"/>
                  <a:pt x="85" y="48"/>
                  <a:pt x="86" y="46"/>
                </a:cubicBezTo>
                <a:cubicBezTo>
                  <a:pt x="86" y="45"/>
                  <a:pt x="86" y="45"/>
                  <a:pt x="86" y="44"/>
                </a:cubicBezTo>
                <a:cubicBezTo>
                  <a:pt x="86" y="44"/>
                  <a:pt x="85" y="43"/>
                  <a:pt x="85" y="44"/>
                </a:cubicBezTo>
                <a:cubicBezTo>
                  <a:pt x="85" y="44"/>
                  <a:pt x="85" y="44"/>
                  <a:pt x="85" y="44"/>
                </a:cubicBezTo>
                <a:cubicBezTo>
                  <a:pt x="85" y="39"/>
                  <a:pt x="85" y="39"/>
                  <a:pt x="85" y="39"/>
                </a:cubicBezTo>
                <a:cubicBezTo>
                  <a:pt x="86" y="39"/>
                  <a:pt x="86" y="39"/>
                  <a:pt x="86" y="39"/>
                </a:cubicBezTo>
                <a:cubicBezTo>
                  <a:pt x="88" y="38"/>
                  <a:pt x="88" y="38"/>
                  <a:pt x="88" y="38"/>
                </a:cubicBezTo>
                <a:cubicBezTo>
                  <a:pt x="88" y="36"/>
                  <a:pt x="88" y="36"/>
                  <a:pt x="88" y="36"/>
                </a:cubicBezTo>
                <a:cubicBezTo>
                  <a:pt x="85" y="32"/>
                  <a:pt x="85" y="32"/>
                  <a:pt x="85" y="32"/>
                </a:cubicBezTo>
                <a:cubicBezTo>
                  <a:pt x="85" y="32"/>
                  <a:pt x="82" y="36"/>
                  <a:pt x="82" y="35"/>
                </a:cubicBezTo>
                <a:cubicBezTo>
                  <a:pt x="82" y="35"/>
                  <a:pt x="80" y="33"/>
                  <a:pt x="80" y="33"/>
                </a:cubicBezTo>
                <a:cubicBezTo>
                  <a:pt x="80" y="33"/>
                  <a:pt x="78" y="33"/>
                  <a:pt x="78" y="33"/>
                </a:cubicBezTo>
                <a:cubicBezTo>
                  <a:pt x="78" y="33"/>
                  <a:pt x="77" y="31"/>
                  <a:pt x="77" y="31"/>
                </a:cubicBezTo>
                <a:cubicBezTo>
                  <a:pt x="77" y="31"/>
                  <a:pt x="76" y="30"/>
                  <a:pt x="75" y="30"/>
                </a:cubicBezTo>
                <a:cubicBezTo>
                  <a:pt x="75" y="30"/>
                  <a:pt x="72" y="29"/>
                  <a:pt x="71" y="29"/>
                </a:cubicBezTo>
                <a:cubicBezTo>
                  <a:pt x="71" y="29"/>
                  <a:pt x="68" y="28"/>
                  <a:pt x="68" y="27"/>
                </a:cubicBezTo>
                <a:cubicBezTo>
                  <a:pt x="68" y="27"/>
                  <a:pt x="68" y="25"/>
                  <a:pt x="68" y="25"/>
                </a:cubicBezTo>
                <a:cubicBezTo>
                  <a:pt x="68" y="25"/>
                  <a:pt x="70" y="22"/>
                  <a:pt x="70" y="22"/>
                </a:cubicBezTo>
                <a:cubicBezTo>
                  <a:pt x="70" y="22"/>
                  <a:pt x="67" y="19"/>
                  <a:pt x="67" y="19"/>
                </a:cubicBezTo>
                <a:cubicBezTo>
                  <a:pt x="66" y="18"/>
                  <a:pt x="61" y="18"/>
                  <a:pt x="61" y="18"/>
                </a:cubicBezTo>
                <a:cubicBezTo>
                  <a:pt x="60" y="17"/>
                  <a:pt x="60" y="17"/>
                  <a:pt x="60" y="17"/>
                </a:cubicBezTo>
                <a:cubicBezTo>
                  <a:pt x="60" y="13"/>
                  <a:pt x="60" y="13"/>
                  <a:pt x="60" y="13"/>
                </a:cubicBezTo>
                <a:cubicBezTo>
                  <a:pt x="58" y="13"/>
                  <a:pt x="58" y="13"/>
                  <a:pt x="58" y="13"/>
                </a:cubicBezTo>
                <a:cubicBezTo>
                  <a:pt x="58" y="13"/>
                  <a:pt x="59" y="11"/>
                  <a:pt x="59" y="11"/>
                </a:cubicBezTo>
                <a:cubicBezTo>
                  <a:pt x="59" y="11"/>
                  <a:pt x="59" y="10"/>
                  <a:pt x="59" y="10"/>
                </a:cubicBezTo>
                <a:cubicBezTo>
                  <a:pt x="57" y="10"/>
                  <a:pt x="57" y="10"/>
                  <a:pt x="57" y="10"/>
                </a:cubicBezTo>
                <a:cubicBezTo>
                  <a:pt x="57" y="9"/>
                  <a:pt x="57" y="9"/>
                  <a:pt x="57" y="9"/>
                </a:cubicBezTo>
                <a:cubicBezTo>
                  <a:pt x="56" y="9"/>
                  <a:pt x="56" y="9"/>
                  <a:pt x="56" y="9"/>
                </a:cubicBezTo>
                <a:cubicBezTo>
                  <a:pt x="56" y="9"/>
                  <a:pt x="56" y="7"/>
                  <a:pt x="56" y="6"/>
                </a:cubicBezTo>
                <a:cubicBezTo>
                  <a:pt x="56" y="6"/>
                  <a:pt x="57" y="5"/>
                  <a:pt x="57" y="5"/>
                </a:cubicBezTo>
                <a:cubicBezTo>
                  <a:pt x="57" y="5"/>
                  <a:pt x="55" y="5"/>
                  <a:pt x="55" y="5"/>
                </a:cubicBezTo>
                <a:cubicBezTo>
                  <a:pt x="55" y="5"/>
                  <a:pt x="53" y="6"/>
                  <a:pt x="53" y="6"/>
                </a:cubicBezTo>
                <a:cubicBezTo>
                  <a:pt x="53" y="6"/>
                  <a:pt x="54" y="5"/>
                  <a:pt x="53" y="5"/>
                </a:cubicBezTo>
                <a:cubicBezTo>
                  <a:pt x="53" y="4"/>
                  <a:pt x="52" y="5"/>
                  <a:pt x="52" y="5"/>
                </a:cubicBezTo>
                <a:cubicBezTo>
                  <a:pt x="52" y="5"/>
                  <a:pt x="46" y="1"/>
                  <a:pt x="46" y="1"/>
                </a:cubicBezTo>
                <a:cubicBezTo>
                  <a:pt x="44" y="1"/>
                  <a:pt x="44" y="1"/>
                  <a:pt x="44" y="1"/>
                </a:cubicBezTo>
                <a:cubicBezTo>
                  <a:pt x="42" y="4"/>
                  <a:pt x="42" y="4"/>
                  <a:pt x="42" y="4"/>
                </a:cubicBezTo>
                <a:cubicBezTo>
                  <a:pt x="42" y="4"/>
                  <a:pt x="39" y="4"/>
                  <a:pt x="39" y="4"/>
                </a:cubicBezTo>
                <a:cubicBezTo>
                  <a:pt x="39" y="3"/>
                  <a:pt x="38" y="5"/>
                  <a:pt x="38" y="5"/>
                </a:cubicBezTo>
                <a:cubicBezTo>
                  <a:pt x="36" y="4"/>
                  <a:pt x="36" y="4"/>
                  <a:pt x="36" y="4"/>
                </a:cubicBezTo>
                <a:cubicBezTo>
                  <a:pt x="36" y="4"/>
                  <a:pt x="37" y="6"/>
                  <a:pt x="37" y="6"/>
                </a:cubicBezTo>
                <a:cubicBezTo>
                  <a:pt x="37" y="6"/>
                  <a:pt x="36" y="6"/>
                  <a:pt x="36" y="6"/>
                </a:cubicBezTo>
                <a:cubicBezTo>
                  <a:pt x="35" y="7"/>
                  <a:pt x="35" y="8"/>
                  <a:pt x="35" y="8"/>
                </a:cubicBezTo>
                <a:cubicBezTo>
                  <a:pt x="37" y="8"/>
                  <a:pt x="37" y="8"/>
                  <a:pt x="37" y="8"/>
                </a:cubicBezTo>
                <a:cubicBezTo>
                  <a:pt x="35" y="9"/>
                  <a:pt x="35" y="9"/>
                  <a:pt x="35" y="9"/>
                </a:cubicBezTo>
                <a:cubicBezTo>
                  <a:pt x="35" y="9"/>
                  <a:pt x="33" y="9"/>
                  <a:pt x="33" y="9"/>
                </a:cubicBezTo>
                <a:cubicBezTo>
                  <a:pt x="33" y="9"/>
                  <a:pt x="31" y="9"/>
                  <a:pt x="30" y="8"/>
                </a:cubicBezTo>
                <a:cubicBezTo>
                  <a:pt x="30" y="8"/>
                  <a:pt x="28" y="7"/>
                  <a:pt x="28" y="7"/>
                </a:cubicBezTo>
                <a:cubicBezTo>
                  <a:pt x="28" y="7"/>
                  <a:pt x="26" y="7"/>
                  <a:pt x="26" y="7"/>
                </a:cubicBezTo>
                <a:cubicBezTo>
                  <a:pt x="26" y="6"/>
                  <a:pt x="25" y="5"/>
                  <a:pt x="25" y="5"/>
                </a:cubicBezTo>
                <a:cubicBezTo>
                  <a:pt x="25" y="4"/>
                  <a:pt x="24" y="5"/>
                  <a:pt x="24" y="5"/>
                </a:cubicBezTo>
                <a:cubicBezTo>
                  <a:pt x="24" y="5"/>
                  <a:pt x="24" y="5"/>
                  <a:pt x="24" y="5"/>
                </a:cubicBezTo>
                <a:cubicBezTo>
                  <a:pt x="23" y="5"/>
                  <a:pt x="23" y="6"/>
                  <a:pt x="23" y="7"/>
                </a:cubicBezTo>
                <a:cubicBezTo>
                  <a:pt x="23" y="7"/>
                  <a:pt x="23" y="7"/>
                  <a:pt x="23" y="7"/>
                </a:cubicBezTo>
                <a:cubicBezTo>
                  <a:pt x="22" y="7"/>
                  <a:pt x="22" y="7"/>
                  <a:pt x="22" y="7"/>
                </a:cubicBezTo>
                <a:cubicBezTo>
                  <a:pt x="22" y="7"/>
                  <a:pt x="19" y="10"/>
                  <a:pt x="19" y="10"/>
                </a:cubicBezTo>
                <a:cubicBezTo>
                  <a:pt x="19" y="11"/>
                  <a:pt x="18" y="12"/>
                  <a:pt x="18" y="12"/>
                </a:cubicBezTo>
                <a:cubicBezTo>
                  <a:pt x="18" y="12"/>
                  <a:pt x="17" y="12"/>
                  <a:pt x="17" y="12"/>
                </a:cubicBezTo>
                <a:cubicBezTo>
                  <a:pt x="17" y="11"/>
                  <a:pt x="16" y="11"/>
                  <a:pt x="15" y="11"/>
                </a:cubicBezTo>
                <a:cubicBezTo>
                  <a:pt x="15" y="10"/>
                  <a:pt x="14" y="11"/>
                  <a:pt x="14" y="11"/>
                </a:cubicBezTo>
                <a:cubicBezTo>
                  <a:pt x="13" y="12"/>
                  <a:pt x="13" y="12"/>
                  <a:pt x="13" y="12"/>
                </a:cubicBezTo>
                <a:cubicBezTo>
                  <a:pt x="12" y="13"/>
                  <a:pt x="12" y="13"/>
                  <a:pt x="12" y="13"/>
                </a:cubicBezTo>
                <a:cubicBezTo>
                  <a:pt x="11" y="15"/>
                  <a:pt x="11" y="15"/>
                  <a:pt x="11" y="15"/>
                </a:cubicBezTo>
                <a:cubicBezTo>
                  <a:pt x="10" y="15"/>
                  <a:pt x="10" y="15"/>
                  <a:pt x="10" y="15"/>
                </a:cubicBezTo>
                <a:cubicBezTo>
                  <a:pt x="7" y="18"/>
                  <a:pt x="7" y="18"/>
                  <a:pt x="7" y="18"/>
                </a:cubicBezTo>
                <a:cubicBezTo>
                  <a:pt x="7" y="18"/>
                  <a:pt x="5" y="19"/>
                  <a:pt x="5" y="19"/>
                </a:cubicBezTo>
                <a:cubicBezTo>
                  <a:pt x="5" y="19"/>
                  <a:pt x="0" y="22"/>
                  <a:pt x="0" y="22"/>
                </a:cubicBezTo>
                <a:cubicBezTo>
                  <a:pt x="0" y="0"/>
                  <a:pt x="0" y="0"/>
                  <a:pt x="0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31" y="56"/>
                  <a:pt x="131" y="56"/>
                  <a:pt x="131" y="56"/>
                </a:cubicBezTo>
                <a:lnTo>
                  <a:pt x="154" y="56"/>
                </a:lnTo>
                <a:close/>
                <a:moveTo>
                  <a:pt x="109" y="39"/>
                </a:moveTo>
                <a:cubicBezTo>
                  <a:pt x="110" y="38"/>
                  <a:pt x="110" y="37"/>
                  <a:pt x="110" y="37"/>
                </a:cubicBezTo>
                <a:cubicBezTo>
                  <a:pt x="110" y="36"/>
                  <a:pt x="111" y="36"/>
                  <a:pt x="111" y="36"/>
                </a:cubicBezTo>
                <a:cubicBezTo>
                  <a:pt x="112" y="35"/>
                  <a:pt x="112" y="35"/>
                  <a:pt x="112" y="34"/>
                </a:cubicBezTo>
                <a:cubicBezTo>
                  <a:pt x="112" y="34"/>
                  <a:pt x="112" y="34"/>
                  <a:pt x="111" y="33"/>
                </a:cubicBezTo>
                <a:cubicBezTo>
                  <a:pt x="111" y="33"/>
                  <a:pt x="111" y="33"/>
                  <a:pt x="111" y="33"/>
                </a:cubicBezTo>
                <a:cubicBezTo>
                  <a:pt x="110" y="33"/>
                  <a:pt x="110" y="33"/>
                  <a:pt x="110" y="34"/>
                </a:cubicBezTo>
                <a:cubicBezTo>
                  <a:pt x="110" y="34"/>
                  <a:pt x="110" y="35"/>
                  <a:pt x="109" y="35"/>
                </a:cubicBezTo>
                <a:cubicBezTo>
                  <a:pt x="109" y="35"/>
                  <a:pt x="109" y="36"/>
                  <a:pt x="109" y="36"/>
                </a:cubicBezTo>
                <a:cubicBezTo>
                  <a:pt x="108" y="37"/>
                  <a:pt x="109" y="37"/>
                  <a:pt x="108" y="37"/>
                </a:cubicBezTo>
                <a:cubicBezTo>
                  <a:pt x="109" y="38"/>
                  <a:pt x="109" y="39"/>
                  <a:pt x="109" y="39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1" name="Freeform 39">
            <a:extLst>
              <a:ext uri="{FF2B5EF4-FFF2-40B4-BE49-F238E27FC236}">
                <a16:creationId xmlns:a16="http://schemas.microsoft.com/office/drawing/2014/main" id="{21D44D7F-5A7E-4F78-B7C7-F54362D6D7D8}"/>
              </a:ext>
            </a:extLst>
          </p:cNvPr>
          <p:cNvSpPr>
            <a:spLocks noEditPoints="1"/>
          </p:cNvSpPr>
          <p:nvPr/>
        </p:nvSpPr>
        <p:spPr bwMode="auto">
          <a:xfrm>
            <a:off x="11332659" y="1575226"/>
            <a:ext cx="558445" cy="860798"/>
          </a:xfrm>
          <a:custGeom>
            <a:avLst/>
            <a:gdLst>
              <a:gd name="T0" fmla="*/ 76 w 141"/>
              <a:gd name="T1" fmla="*/ 158 h 217"/>
              <a:gd name="T2" fmla="*/ 78 w 141"/>
              <a:gd name="T3" fmla="*/ 165 h 217"/>
              <a:gd name="T4" fmla="*/ 76 w 141"/>
              <a:gd name="T5" fmla="*/ 164 h 217"/>
              <a:gd name="T6" fmla="*/ 78 w 141"/>
              <a:gd name="T7" fmla="*/ 170 h 217"/>
              <a:gd name="T8" fmla="*/ 76 w 141"/>
              <a:gd name="T9" fmla="*/ 168 h 217"/>
              <a:gd name="T10" fmla="*/ 85 w 141"/>
              <a:gd name="T11" fmla="*/ 162 h 217"/>
              <a:gd name="T12" fmla="*/ 83 w 141"/>
              <a:gd name="T13" fmla="*/ 161 h 217"/>
              <a:gd name="T14" fmla="*/ 77 w 141"/>
              <a:gd name="T15" fmla="*/ 154 h 217"/>
              <a:gd name="T16" fmla="*/ 138 w 141"/>
              <a:gd name="T17" fmla="*/ 130 h 217"/>
              <a:gd name="T18" fmla="*/ 137 w 141"/>
              <a:gd name="T19" fmla="*/ 127 h 217"/>
              <a:gd name="T20" fmla="*/ 138 w 141"/>
              <a:gd name="T21" fmla="*/ 121 h 217"/>
              <a:gd name="T22" fmla="*/ 132 w 141"/>
              <a:gd name="T23" fmla="*/ 114 h 217"/>
              <a:gd name="T24" fmla="*/ 124 w 141"/>
              <a:gd name="T25" fmla="*/ 100 h 217"/>
              <a:gd name="T26" fmla="*/ 121 w 141"/>
              <a:gd name="T27" fmla="*/ 93 h 217"/>
              <a:gd name="T28" fmla="*/ 113 w 141"/>
              <a:gd name="T29" fmla="*/ 84 h 217"/>
              <a:gd name="T30" fmla="*/ 114 w 141"/>
              <a:gd name="T31" fmla="*/ 77 h 217"/>
              <a:gd name="T32" fmla="*/ 86 w 141"/>
              <a:gd name="T33" fmla="*/ 11 h 217"/>
              <a:gd name="T34" fmla="*/ 36 w 141"/>
              <a:gd name="T35" fmla="*/ 53 h 217"/>
              <a:gd name="T36" fmla="*/ 28 w 141"/>
              <a:gd name="T37" fmla="*/ 74 h 217"/>
              <a:gd name="T38" fmla="*/ 16 w 141"/>
              <a:gd name="T39" fmla="*/ 93 h 217"/>
              <a:gd name="T40" fmla="*/ 9 w 141"/>
              <a:gd name="T41" fmla="*/ 109 h 217"/>
              <a:gd name="T42" fmla="*/ 4 w 141"/>
              <a:gd name="T43" fmla="*/ 186 h 217"/>
              <a:gd name="T44" fmla="*/ 13 w 141"/>
              <a:gd name="T45" fmla="*/ 216 h 217"/>
              <a:gd name="T46" fmla="*/ 20 w 141"/>
              <a:gd name="T47" fmla="*/ 204 h 217"/>
              <a:gd name="T48" fmla="*/ 29 w 141"/>
              <a:gd name="T49" fmla="*/ 193 h 217"/>
              <a:gd name="T50" fmla="*/ 36 w 141"/>
              <a:gd name="T51" fmla="*/ 180 h 217"/>
              <a:gd name="T52" fmla="*/ 40 w 141"/>
              <a:gd name="T53" fmla="*/ 179 h 217"/>
              <a:gd name="T54" fmla="*/ 45 w 141"/>
              <a:gd name="T55" fmla="*/ 184 h 217"/>
              <a:gd name="T56" fmla="*/ 45 w 141"/>
              <a:gd name="T57" fmla="*/ 175 h 217"/>
              <a:gd name="T58" fmla="*/ 47 w 141"/>
              <a:gd name="T59" fmla="*/ 181 h 217"/>
              <a:gd name="T60" fmla="*/ 47 w 141"/>
              <a:gd name="T61" fmla="*/ 177 h 217"/>
              <a:gd name="T62" fmla="*/ 51 w 141"/>
              <a:gd name="T63" fmla="*/ 178 h 217"/>
              <a:gd name="T64" fmla="*/ 53 w 141"/>
              <a:gd name="T65" fmla="*/ 172 h 217"/>
              <a:gd name="T66" fmla="*/ 55 w 141"/>
              <a:gd name="T67" fmla="*/ 178 h 217"/>
              <a:gd name="T68" fmla="*/ 59 w 141"/>
              <a:gd name="T69" fmla="*/ 169 h 217"/>
              <a:gd name="T70" fmla="*/ 61 w 141"/>
              <a:gd name="T71" fmla="*/ 173 h 217"/>
              <a:gd name="T72" fmla="*/ 66 w 141"/>
              <a:gd name="T73" fmla="*/ 173 h 217"/>
              <a:gd name="T74" fmla="*/ 70 w 141"/>
              <a:gd name="T75" fmla="*/ 168 h 217"/>
              <a:gd name="T76" fmla="*/ 70 w 141"/>
              <a:gd name="T77" fmla="*/ 163 h 217"/>
              <a:gd name="T78" fmla="*/ 74 w 141"/>
              <a:gd name="T79" fmla="*/ 157 h 217"/>
              <a:gd name="T80" fmla="*/ 74 w 141"/>
              <a:gd name="T81" fmla="*/ 151 h 217"/>
              <a:gd name="T82" fmla="*/ 79 w 141"/>
              <a:gd name="T83" fmla="*/ 147 h 217"/>
              <a:gd name="T84" fmla="*/ 79 w 141"/>
              <a:gd name="T85" fmla="*/ 151 h 217"/>
              <a:gd name="T86" fmla="*/ 81 w 141"/>
              <a:gd name="T87" fmla="*/ 156 h 217"/>
              <a:gd name="T88" fmla="*/ 88 w 141"/>
              <a:gd name="T89" fmla="*/ 160 h 217"/>
              <a:gd name="T90" fmla="*/ 88 w 141"/>
              <a:gd name="T91" fmla="*/ 156 h 217"/>
              <a:gd name="T92" fmla="*/ 90 w 141"/>
              <a:gd name="T93" fmla="*/ 149 h 217"/>
              <a:gd name="T94" fmla="*/ 93 w 141"/>
              <a:gd name="T95" fmla="*/ 152 h 217"/>
              <a:gd name="T96" fmla="*/ 94 w 141"/>
              <a:gd name="T97" fmla="*/ 156 h 217"/>
              <a:gd name="T98" fmla="*/ 98 w 141"/>
              <a:gd name="T99" fmla="*/ 159 h 217"/>
              <a:gd name="T100" fmla="*/ 98 w 141"/>
              <a:gd name="T101" fmla="*/ 153 h 217"/>
              <a:gd name="T102" fmla="*/ 99 w 141"/>
              <a:gd name="T103" fmla="*/ 149 h 217"/>
              <a:gd name="T104" fmla="*/ 103 w 141"/>
              <a:gd name="T105" fmla="*/ 153 h 217"/>
              <a:gd name="T106" fmla="*/ 107 w 141"/>
              <a:gd name="T107" fmla="*/ 149 h 217"/>
              <a:gd name="T108" fmla="*/ 111 w 141"/>
              <a:gd name="T109" fmla="*/ 152 h 217"/>
              <a:gd name="T110" fmla="*/ 113 w 141"/>
              <a:gd name="T111" fmla="*/ 145 h 217"/>
              <a:gd name="T112" fmla="*/ 123 w 141"/>
              <a:gd name="T113" fmla="*/ 142 h 217"/>
              <a:gd name="T114" fmla="*/ 126 w 141"/>
              <a:gd name="T115" fmla="*/ 143 h 217"/>
              <a:gd name="T116" fmla="*/ 129 w 141"/>
              <a:gd name="T117" fmla="*/ 138 h 217"/>
              <a:gd name="T118" fmla="*/ 135 w 141"/>
              <a:gd name="T119" fmla="*/ 14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1" h="217">
                <a:moveTo>
                  <a:pt x="74" y="159"/>
                </a:moveTo>
                <a:cubicBezTo>
                  <a:pt x="74" y="158"/>
                  <a:pt x="74" y="158"/>
                  <a:pt x="74" y="158"/>
                </a:cubicBezTo>
                <a:cubicBezTo>
                  <a:pt x="75" y="158"/>
                  <a:pt x="75" y="158"/>
                  <a:pt x="75" y="157"/>
                </a:cubicBezTo>
                <a:cubicBezTo>
                  <a:pt x="75" y="157"/>
                  <a:pt x="75" y="157"/>
                  <a:pt x="75" y="157"/>
                </a:cubicBezTo>
                <a:cubicBezTo>
                  <a:pt x="75" y="157"/>
                  <a:pt x="75" y="156"/>
                  <a:pt x="75" y="156"/>
                </a:cubicBezTo>
                <a:cubicBezTo>
                  <a:pt x="76" y="156"/>
                  <a:pt x="76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ubicBezTo>
                  <a:pt x="76" y="157"/>
                  <a:pt x="76" y="157"/>
                  <a:pt x="76" y="158"/>
                </a:cubicBezTo>
                <a:cubicBezTo>
                  <a:pt x="76" y="158"/>
                  <a:pt x="76" y="158"/>
                  <a:pt x="76" y="158"/>
                </a:cubicBezTo>
                <a:cubicBezTo>
                  <a:pt x="76" y="158"/>
                  <a:pt x="76" y="158"/>
                  <a:pt x="75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75" y="159"/>
                  <a:pt x="75" y="159"/>
                  <a:pt x="74" y="159"/>
                </a:cubicBezTo>
                <a:close/>
                <a:moveTo>
                  <a:pt x="76" y="165"/>
                </a:moveTo>
                <a:cubicBezTo>
                  <a:pt x="76" y="165"/>
                  <a:pt x="76" y="165"/>
                  <a:pt x="77" y="165"/>
                </a:cubicBezTo>
                <a:cubicBezTo>
                  <a:pt x="77" y="165"/>
                  <a:pt x="77" y="165"/>
                  <a:pt x="77" y="165"/>
                </a:cubicBezTo>
                <a:cubicBezTo>
                  <a:pt x="78" y="165"/>
                  <a:pt x="78" y="165"/>
                  <a:pt x="78" y="165"/>
                </a:cubicBezTo>
                <a:cubicBezTo>
                  <a:pt x="79" y="165"/>
                  <a:pt x="79" y="165"/>
                  <a:pt x="79" y="165"/>
                </a:cubicBezTo>
                <a:cubicBezTo>
                  <a:pt x="79" y="164"/>
                  <a:pt x="79" y="164"/>
                  <a:pt x="79" y="164"/>
                </a:cubicBezTo>
                <a:cubicBezTo>
                  <a:pt x="79" y="164"/>
                  <a:pt x="79" y="164"/>
                  <a:pt x="79" y="164"/>
                </a:cubicBezTo>
                <a:cubicBezTo>
                  <a:pt x="79" y="164"/>
                  <a:pt x="78" y="164"/>
                  <a:pt x="78" y="164"/>
                </a:cubicBezTo>
                <a:cubicBezTo>
                  <a:pt x="78" y="164"/>
                  <a:pt x="78" y="164"/>
                  <a:pt x="78" y="163"/>
                </a:cubicBezTo>
                <a:cubicBezTo>
                  <a:pt x="78" y="163"/>
                  <a:pt x="77" y="163"/>
                  <a:pt x="77" y="164"/>
                </a:cubicBezTo>
                <a:cubicBezTo>
                  <a:pt x="77" y="164"/>
                  <a:pt x="77" y="164"/>
                  <a:pt x="77" y="164"/>
                </a:cubicBezTo>
                <a:cubicBezTo>
                  <a:pt x="77" y="164"/>
                  <a:pt x="76" y="164"/>
                  <a:pt x="76" y="164"/>
                </a:cubicBezTo>
                <a:cubicBezTo>
                  <a:pt x="76" y="164"/>
                  <a:pt x="75" y="164"/>
                  <a:pt x="75" y="164"/>
                </a:cubicBezTo>
                <a:cubicBezTo>
                  <a:pt x="75" y="165"/>
                  <a:pt x="76" y="165"/>
                  <a:pt x="76" y="165"/>
                </a:cubicBezTo>
                <a:close/>
                <a:moveTo>
                  <a:pt x="76" y="168"/>
                </a:moveTo>
                <a:cubicBezTo>
                  <a:pt x="76" y="168"/>
                  <a:pt x="76" y="168"/>
                  <a:pt x="77" y="168"/>
                </a:cubicBezTo>
                <a:cubicBezTo>
                  <a:pt x="77" y="168"/>
                  <a:pt x="77" y="168"/>
                  <a:pt x="77" y="169"/>
                </a:cubicBezTo>
                <a:cubicBezTo>
                  <a:pt x="77" y="169"/>
                  <a:pt x="77" y="169"/>
                  <a:pt x="77" y="169"/>
                </a:cubicBezTo>
                <a:cubicBezTo>
                  <a:pt x="77" y="169"/>
                  <a:pt x="77" y="170"/>
                  <a:pt x="77" y="170"/>
                </a:cubicBezTo>
                <a:cubicBezTo>
                  <a:pt x="77" y="170"/>
                  <a:pt x="78" y="170"/>
                  <a:pt x="78" y="170"/>
                </a:cubicBezTo>
                <a:cubicBezTo>
                  <a:pt x="78" y="170"/>
                  <a:pt x="79" y="170"/>
                  <a:pt x="79" y="170"/>
                </a:cubicBezTo>
                <a:cubicBezTo>
                  <a:pt x="79" y="170"/>
                  <a:pt x="79" y="169"/>
                  <a:pt x="79" y="169"/>
                </a:cubicBezTo>
                <a:cubicBezTo>
                  <a:pt x="79" y="168"/>
                  <a:pt x="79" y="168"/>
                  <a:pt x="79" y="168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79" y="166"/>
                  <a:pt x="78" y="167"/>
                  <a:pt x="78" y="167"/>
                </a:cubicBezTo>
                <a:cubicBezTo>
                  <a:pt x="78" y="167"/>
                  <a:pt x="77" y="167"/>
                  <a:pt x="77" y="167"/>
                </a:cubicBezTo>
                <a:cubicBezTo>
                  <a:pt x="77" y="167"/>
                  <a:pt x="76" y="166"/>
                  <a:pt x="76" y="167"/>
                </a:cubicBezTo>
                <a:cubicBezTo>
                  <a:pt x="76" y="167"/>
                  <a:pt x="76" y="167"/>
                  <a:pt x="76" y="168"/>
                </a:cubicBezTo>
                <a:cubicBezTo>
                  <a:pt x="76" y="168"/>
                  <a:pt x="76" y="168"/>
                  <a:pt x="76" y="168"/>
                </a:cubicBezTo>
                <a:close/>
                <a:moveTo>
                  <a:pt x="82" y="163"/>
                </a:moveTo>
                <a:cubicBezTo>
                  <a:pt x="83" y="163"/>
                  <a:pt x="83" y="163"/>
                  <a:pt x="83" y="163"/>
                </a:cubicBezTo>
                <a:cubicBezTo>
                  <a:pt x="83" y="163"/>
                  <a:pt x="83" y="163"/>
                  <a:pt x="83" y="163"/>
                </a:cubicBezTo>
                <a:cubicBezTo>
                  <a:pt x="83" y="163"/>
                  <a:pt x="84" y="163"/>
                  <a:pt x="84" y="163"/>
                </a:cubicBezTo>
                <a:cubicBezTo>
                  <a:pt x="84" y="163"/>
                  <a:pt x="84" y="163"/>
                  <a:pt x="84" y="163"/>
                </a:cubicBezTo>
                <a:cubicBezTo>
                  <a:pt x="84" y="163"/>
                  <a:pt x="84" y="162"/>
                  <a:pt x="84" y="162"/>
                </a:cubicBezTo>
                <a:cubicBezTo>
                  <a:pt x="84" y="162"/>
                  <a:pt x="85" y="162"/>
                  <a:pt x="85" y="162"/>
                </a:cubicBezTo>
                <a:cubicBezTo>
                  <a:pt x="85" y="162"/>
                  <a:pt x="85" y="161"/>
                  <a:pt x="85" y="161"/>
                </a:cubicBezTo>
                <a:cubicBezTo>
                  <a:pt x="85" y="161"/>
                  <a:pt x="86" y="161"/>
                  <a:pt x="86" y="161"/>
                </a:cubicBezTo>
                <a:cubicBezTo>
                  <a:pt x="86" y="160"/>
                  <a:pt x="86" y="160"/>
                  <a:pt x="86" y="160"/>
                </a:cubicBezTo>
                <a:cubicBezTo>
                  <a:pt x="86" y="160"/>
                  <a:pt x="85" y="160"/>
                  <a:pt x="85" y="160"/>
                </a:cubicBezTo>
                <a:cubicBezTo>
                  <a:pt x="85" y="160"/>
                  <a:pt x="85" y="160"/>
                  <a:pt x="84" y="159"/>
                </a:cubicBezTo>
                <a:cubicBezTo>
                  <a:pt x="84" y="159"/>
                  <a:pt x="84" y="159"/>
                  <a:pt x="84" y="159"/>
                </a:cubicBezTo>
                <a:cubicBezTo>
                  <a:pt x="84" y="159"/>
                  <a:pt x="83" y="159"/>
                  <a:pt x="83" y="160"/>
                </a:cubicBezTo>
                <a:cubicBezTo>
                  <a:pt x="83" y="160"/>
                  <a:pt x="83" y="160"/>
                  <a:pt x="83" y="161"/>
                </a:cubicBezTo>
                <a:cubicBezTo>
                  <a:pt x="83" y="161"/>
                  <a:pt x="83" y="161"/>
                  <a:pt x="83" y="162"/>
                </a:cubicBezTo>
                <a:cubicBezTo>
                  <a:pt x="83" y="162"/>
                  <a:pt x="82" y="162"/>
                  <a:pt x="82" y="162"/>
                </a:cubicBezTo>
                <a:cubicBezTo>
                  <a:pt x="82" y="163"/>
                  <a:pt x="82" y="163"/>
                  <a:pt x="82" y="163"/>
                </a:cubicBezTo>
                <a:cubicBezTo>
                  <a:pt x="82" y="163"/>
                  <a:pt x="82" y="163"/>
                  <a:pt x="82" y="163"/>
                </a:cubicBezTo>
                <a:close/>
                <a:moveTo>
                  <a:pt x="77" y="154"/>
                </a:moveTo>
                <a:cubicBezTo>
                  <a:pt x="77" y="154"/>
                  <a:pt x="77" y="154"/>
                  <a:pt x="77" y="154"/>
                </a:cubicBezTo>
                <a:cubicBezTo>
                  <a:pt x="76" y="153"/>
                  <a:pt x="76" y="154"/>
                  <a:pt x="76" y="154"/>
                </a:cubicBezTo>
                <a:cubicBezTo>
                  <a:pt x="76" y="154"/>
                  <a:pt x="76" y="154"/>
                  <a:pt x="77" y="154"/>
                </a:cubicBezTo>
                <a:close/>
                <a:moveTo>
                  <a:pt x="141" y="131"/>
                </a:moveTo>
                <a:cubicBezTo>
                  <a:pt x="141" y="131"/>
                  <a:pt x="140" y="131"/>
                  <a:pt x="140" y="131"/>
                </a:cubicBezTo>
                <a:cubicBezTo>
                  <a:pt x="140" y="131"/>
                  <a:pt x="140" y="130"/>
                  <a:pt x="140" y="130"/>
                </a:cubicBezTo>
                <a:cubicBezTo>
                  <a:pt x="140" y="130"/>
                  <a:pt x="140" y="130"/>
                  <a:pt x="140" y="130"/>
                </a:cubicBezTo>
                <a:cubicBezTo>
                  <a:pt x="140" y="129"/>
                  <a:pt x="140" y="129"/>
                  <a:pt x="140" y="129"/>
                </a:cubicBezTo>
                <a:cubicBezTo>
                  <a:pt x="139" y="129"/>
                  <a:pt x="139" y="129"/>
                  <a:pt x="139" y="129"/>
                </a:cubicBezTo>
                <a:cubicBezTo>
                  <a:pt x="139" y="129"/>
                  <a:pt x="139" y="129"/>
                  <a:pt x="139" y="129"/>
                </a:cubicBezTo>
                <a:cubicBezTo>
                  <a:pt x="139" y="130"/>
                  <a:pt x="139" y="130"/>
                  <a:pt x="138" y="130"/>
                </a:cubicBezTo>
                <a:cubicBezTo>
                  <a:pt x="138" y="130"/>
                  <a:pt x="138" y="130"/>
                  <a:pt x="138" y="131"/>
                </a:cubicBezTo>
                <a:cubicBezTo>
                  <a:pt x="138" y="131"/>
                  <a:pt x="138" y="131"/>
                  <a:pt x="137" y="131"/>
                </a:cubicBezTo>
                <a:cubicBezTo>
                  <a:pt x="137" y="132"/>
                  <a:pt x="137" y="132"/>
                  <a:pt x="137" y="132"/>
                </a:cubicBezTo>
                <a:cubicBezTo>
                  <a:pt x="136" y="132"/>
                  <a:pt x="136" y="132"/>
                  <a:pt x="136" y="131"/>
                </a:cubicBezTo>
                <a:cubicBezTo>
                  <a:pt x="136" y="131"/>
                  <a:pt x="136" y="131"/>
                  <a:pt x="137" y="131"/>
                </a:cubicBezTo>
                <a:cubicBezTo>
                  <a:pt x="137" y="130"/>
                  <a:pt x="137" y="130"/>
                  <a:pt x="137" y="130"/>
                </a:cubicBezTo>
                <a:cubicBezTo>
                  <a:pt x="137" y="129"/>
                  <a:pt x="137" y="129"/>
                  <a:pt x="137" y="128"/>
                </a:cubicBezTo>
                <a:cubicBezTo>
                  <a:pt x="137" y="128"/>
                  <a:pt x="137" y="127"/>
                  <a:pt x="137" y="127"/>
                </a:cubicBezTo>
                <a:cubicBezTo>
                  <a:pt x="137" y="126"/>
                  <a:pt x="137" y="126"/>
                  <a:pt x="138" y="126"/>
                </a:cubicBezTo>
                <a:cubicBezTo>
                  <a:pt x="138" y="126"/>
                  <a:pt x="138" y="126"/>
                  <a:pt x="139" y="126"/>
                </a:cubicBezTo>
                <a:cubicBezTo>
                  <a:pt x="139" y="126"/>
                  <a:pt x="139" y="126"/>
                  <a:pt x="139" y="126"/>
                </a:cubicBezTo>
                <a:cubicBezTo>
                  <a:pt x="139" y="126"/>
                  <a:pt x="140" y="126"/>
                  <a:pt x="140" y="126"/>
                </a:cubicBezTo>
                <a:cubicBezTo>
                  <a:pt x="139" y="126"/>
                  <a:pt x="139" y="125"/>
                  <a:pt x="139" y="125"/>
                </a:cubicBezTo>
                <a:cubicBezTo>
                  <a:pt x="139" y="124"/>
                  <a:pt x="139" y="124"/>
                  <a:pt x="139" y="123"/>
                </a:cubicBezTo>
                <a:cubicBezTo>
                  <a:pt x="138" y="123"/>
                  <a:pt x="138" y="123"/>
                  <a:pt x="138" y="122"/>
                </a:cubicBezTo>
                <a:cubicBezTo>
                  <a:pt x="138" y="122"/>
                  <a:pt x="138" y="121"/>
                  <a:pt x="138" y="121"/>
                </a:cubicBezTo>
                <a:cubicBezTo>
                  <a:pt x="138" y="120"/>
                  <a:pt x="137" y="120"/>
                  <a:pt x="137" y="119"/>
                </a:cubicBezTo>
                <a:cubicBezTo>
                  <a:pt x="137" y="119"/>
                  <a:pt x="137" y="119"/>
                  <a:pt x="137" y="118"/>
                </a:cubicBezTo>
                <a:cubicBezTo>
                  <a:pt x="137" y="118"/>
                  <a:pt x="136" y="118"/>
                  <a:pt x="136" y="118"/>
                </a:cubicBezTo>
                <a:cubicBezTo>
                  <a:pt x="136" y="118"/>
                  <a:pt x="136" y="118"/>
                  <a:pt x="136" y="118"/>
                </a:cubicBezTo>
                <a:cubicBezTo>
                  <a:pt x="136" y="118"/>
                  <a:pt x="135" y="116"/>
                  <a:pt x="135" y="116"/>
                </a:cubicBezTo>
                <a:cubicBezTo>
                  <a:pt x="135" y="116"/>
                  <a:pt x="134" y="116"/>
                  <a:pt x="134" y="116"/>
                </a:cubicBezTo>
                <a:cubicBezTo>
                  <a:pt x="134" y="115"/>
                  <a:pt x="133" y="115"/>
                  <a:pt x="133" y="114"/>
                </a:cubicBezTo>
                <a:cubicBezTo>
                  <a:pt x="133" y="114"/>
                  <a:pt x="132" y="114"/>
                  <a:pt x="132" y="114"/>
                </a:cubicBezTo>
                <a:cubicBezTo>
                  <a:pt x="129" y="117"/>
                  <a:pt x="129" y="117"/>
                  <a:pt x="129" y="117"/>
                </a:cubicBezTo>
                <a:cubicBezTo>
                  <a:pt x="127" y="115"/>
                  <a:pt x="127" y="115"/>
                  <a:pt x="127" y="115"/>
                </a:cubicBezTo>
                <a:cubicBezTo>
                  <a:pt x="127" y="115"/>
                  <a:pt x="126" y="113"/>
                  <a:pt x="126" y="113"/>
                </a:cubicBezTo>
                <a:cubicBezTo>
                  <a:pt x="126" y="113"/>
                  <a:pt x="125" y="111"/>
                  <a:pt x="125" y="111"/>
                </a:cubicBezTo>
                <a:cubicBezTo>
                  <a:pt x="124" y="110"/>
                  <a:pt x="124" y="109"/>
                  <a:pt x="124" y="109"/>
                </a:cubicBezTo>
                <a:cubicBezTo>
                  <a:pt x="124" y="109"/>
                  <a:pt x="127" y="105"/>
                  <a:pt x="127" y="105"/>
                </a:cubicBezTo>
                <a:cubicBezTo>
                  <a:pt x="126" y="105"/>
                  <a:pt x="126" y="104"/>
                  <a:pt x="126" y="104"/>
                </a:cubicBezTo>
                <a:cubicBezTo>
                  <a:pt x="126" y="104"/>
                  <a:pt x="124" y="100"/>
                  <a:pt x="124" y="100"/>
                </a:cubicBezTo>
                <a:cubicBezTo>
                  <a:pt x="124" y="100"/>
                  <a:pt x="124" y="99"/>
                  <a:pt x="124" y="99"/>
                </a:cubicBezTo>
                <a:cubicBezTo>
                  <a:pt x="124" y="99"/>
                  <a:pt x="124" y="99"/>
                  <a:pt x="124" y="99"/>
                </a:cubicBezTo>
                <a:cubicBezTo>
                  <a:pt x="127" y="99"/>
                  <a:pt x="127" y="99"/>
                  <a:pt x="127" y="99"/>
                </a:cubicBezTo>
                <a:cubicBezTo>
                  <a:pt x="127" y="99"/>
                  <a:pt x="127" y="94"/>
                  <a:pt x="127" y="94"/>
                </a:cubicBezTo>
                <a:cubicBezTo>
                  <a:pt x="126" y="94"/>
                  <a:pt x="125" y="93"/>
                  <a:pt x="125" y="93"/>
                </a:cubicBezTo>
                <a:cubicBezTo>
                  <a:pt x="124" y="94"/>
                  <a:pt x="124" y="94"/>
                  <a:pt x="124" y="94"/>
                </a:cubicBezTo>
                <a:cubicBezTo>
                  <a:pt x="124" y="94"/>
                  <a:pt x="123" y="94"/>
                  <a:pt x="123" y="94"/>
                </a:cubicBezTo>
                <a:cubicBezTo>
                  <a:pt x="123" y="94"/>
                  <a:pt x="121" y="93"/>
                  <a:pt x="121" y="93"/>
                </a:cubicBezTo>
                <a:cubicBezTo>
                  <a:pt x="121" y="93"/>
                  <a:pt x="119" y="93"/>
                  <a:pt x="119" y="93"/>
                </a:cubicBezTo>
                <a:cubicBezTo>
                  <a:pt x="119" y="93"/>
                  <a:pt x="118" y="91"/>
                  <a:pt x="118" y="91"/>
                </a:cubicBezTo>
                <a:cubicBezTo>
                  <a:pt x="118" y="91"/>
                  <a:pt x="116" y="90"/>
                  <a:pt x="116" y="90"/>
                </a:cubicBezTo>
                <a:cubicBezTo>
                  <a:pt x="116" y="89"/>
                  <a:pt x="115" y="90"/>
                  <a:pt x="114" y="90"/>
                </a:cubicBezTo>
                <a:cubicBezTo>
                  <a:pt x="114" y="90"/>
                  <a:pt x="113" y="89"/>
                  <a:pt x="113" y="89"/>
                </a:cubicBezTo>
                <a:cubicBezTo>
                  <a:pt x="113" y="89"/>
                  <a:pt x="114" y="87"/>
                  <a:pt x="114" y="87"/>
                </a:cubicBezTo>
                <a:cubicBezTo>
                  <a:pt x="114" y="87"/>
                  <a:pt x="114" y="86"/>
                  <a:pt x="114" y="86"/>
                </a:cubicBezTo>
                <a:cubicBezTo>
                  <a:pt x="114" y="86"/>
                  <a:pt x="113" y="85"/>
                  <a:pt x="113" y="84"/>
                </a:cubicBezTo>
                <a:cubicBezTo>
                  <a:pt x="113" y="84"/>
                  <a:pt x="113" y="84"/>
                  <a:pt x="114" y="84"/>
                </a:cubicBezTo>
                <a:cubicBezTo>
                  <a:pt x="114" y="84"/>
                  <a:pt x="115" y="82"/>
                  <a:pt x="115" y="82"/>
                </a:cubicBezTo>
                <a:cubicBezTo>
                  <a:pt x="115" y="82"/>
                  <a:pt x="114" y="81"/>
                  <a:pt x="114" y="81"/>
                </a:cubicBezTo>
                <a:cubicBezTo>
                  <a:pt x="114" y="81"/>
                  <a:pt x="113" y="80"/>
                  <a:pt x="113" y="80"/>
                </a:cubicBezTo>
                <a:cubicBezTo>
                  <a:pt x="113" y="80"/>
                  <a:pt x="114" y="80"/>
                  <a:pt x="114" y="80"/>
                </a:cubicBezTo>
                <a:cubicBezTo>
                  <a:pt x="114" y="80"/>
                  <a:pt x="115" y="78"/>
                  <a:pt x="115" y="78"/>
                </a:cubicBezTo>
                <a:cubicBezTo>
                  <a:pt x="115" y="78"/>
                  <a:pt x="115" y="77"/>
                  <a:pt x="115" y="77"/>
                </a:cubicBezTo>
                <a:cubicBezTo>
                  <a:pt x="115" y="77"/>
                  <a:pt x="114" y="77"/>
                  <a:pt x="114" y="77"/>
                </a:cubicBezTo>
                <a:cubicBezTo>
                  <a:pt x="114" y="20"/>
                  <a:pt x="114" y="20"/>
                  <a:pt x="114" y="20"/>
                </a:cubicBezTo>
                <a:cubicBezTo>
                  <a:pt x="110" y="18"/>
                  <a:pt x="110" y="18"/>
                  <a:pt x="110" y="18"/>
                </a:cubicBezTo>
                <a:cubicBezTo>
                  <a:pt x="108" y="14"/>
                  <a:pt x="108" y="14"/>
                  <a:pt x="108" y="14"/>
                </a:cubicBezTo>
                <a:cubicBezTo>
                  <a:pt x="99" y="6"/>
                  <a:pt x="99" y="6"/>
                  <a:pt x="99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4" y="9"/>
                  <a:pt x="94" y="9"/>
                  <a:pt x="94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6" y="11"/>
                  <a:pt x="86" y="11"/>
                  <a:pt x="86" y="11"/>
                </a:cubicBezTo>
                <a:cubicBezTo>
                  <a:pt x="82" y="11"/>
                  <a:pt x="82" y="11"/>
                  <a:pt x="82" y="11"/>
                </a:cubicBezTo>
                <a:cubicBezTo>
                  <a:pt x="75" y="15"/>
                  <a:pt x="75" y="15"/>
                  <a:pt x="75" y="15"/>
                </a:cubicBezTo>
                <a:cubicBezTo>
                  <a:pt x="71" y="11"/>
                  <a:pt x="71" y="11"/>
                  <a:pt x="71" y="11"/>
                </a:cubicBezTo>
                <a:cubicBezTo>
                  <a:pt x="70" y="1"/>
                  <a:pt x="70" y="1"/>
                  <a:pt x="70" y="1"/>
                </a:cubicBezTo>
                <a:cubicBezTo>
                  <a:pt x="70" y="1"/>
                  <a:pt x="69" y="2"/>
                  <a:pt x="68" y="2"/>
                </a:cubicBezTo>
                <a:cubicBezTo>
                  <a:pt x="68" y="2"/>
                  <a:pt x="64" y="0"/>
                  <a:pt x="64" y="0"/>
                </a:cubicBezTo>
                <a:cubicBezTo>
                  <a:pt x="38" y="39"/>
                  <a:pt x="38" y="39"/>
                  <a:pt x="38" y="39"/>
                </a:cubicBezTo>
                <a:cubicBezTo>
                  <a:pt x="36" y="53"/>
                  <a:pt x="36" y="53"/>
                  <a:pt x="36" y="53"/>
                </a:cubicBezTo>
                <a:cubicBezTo>
                  <a:pt x="31" y="56"/>
                  <a:pt x="31" y="56"/>
                  <a:pt x="31" y="56"/>
                </a:cubicBezTo>
                <a:cubicBezTo>
                  <a:pt x="27" y="64"/>
                  <a:pt x="27" y="64"/>
                  <a:pt x="27" y="64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9"/>
                  <a:pt x="29" y="69"/>
                  <a:pt x="29" y="69"/>
                </a:cubicBezTo>
                <a:cubicBezTo>
                  <a:pt x="29" y="69"/>
                  <a:pt x="27" y="70"/>
                  <a:pt x="27" y="70"/>
                </a:cubicBezTo>
                <a:cubicBezTo>
                  <a:pt x="27" y="71"/>
                  <a:pt x="28" y="71"/>
                  <a:pt x="28" y="71"/>
                </a:cubicBezTo>
                <a:cubicBezTo>
                  <a:pt x="28" y="71"/>
                  <a:pt x="27" y="73"/>
                  <a:pt x="26" y="73"/>
                </a:cubicBezTo>
                <a:cubicBezTo>
                  <a:pt x="26" y="73"/>
                  <a:pt x="28" y="74"/>
                  <a:pt x="28" y="74"/>
                </a:cubicBezTo>
                <a:cubicBezTo>
                  <a:pt x="28" y="74"/>
                  <a:pt x="27" y="75"/>
                  <a:pt x="26" y="75"/>
                </a:cubicBezTo>
                <a:cubicBezTo>
                  <a:pt x="26" y="76"/>
                  <a:pt x="27" y="76"/>
                  <a:pt x="27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9"/>
                  <a:pt x="29" y="79"/>
                  <a:pt x="29" y="79"/>
                </a:cubicBezTo>
                <a:cubicBezTo>
                  <a:pt x="23" y="84"/>
                  <a:pt x="23" y="84"/>
                  <a:pt x="23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86"/>
                  <a:pt x="24" y="87"/>
                  <a:pt x="24" y="87"/>
                </a:cubicBezTo>
                <a:cubicBezTo>
                  <a:pt x="16" y="93"/>
                  <a:pt x="16" y="93"/>
                  <a:pt x="16" y="93"/>
                </a:cubicBezTo>
                <a:cubicBezTo>
                  <a:pt x="16" y="93"/>
                  <a:pt x="12" y="98"/>
                  <a:pt x="12" y="98"/>
                </a:cubicBezTo>
                <a:cubicBezTo>
                  <a:pt x="12" y="98"/>
                  <a:pt x="16" y="102"/>
                  <a:pt x="16" y="102"/>
                </a:cubicBezTo>
                <a:cubicBezTo>
                  <a:pt x="16" y="104"/>
                  <a:pt x="16" y="104"/>
                  <a:pt x="16" y="104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10" y="103"/>
                  <a:pt x="9" y="105"/>
                  <a:pt x="9" y="105"/>
                </a:cubicBezTo>
                <a:cubicBezTo>
                  <a:pt x="9" y="106"/>
                  <a:pt x="10" y="107"/>
                  <a:pt x="10" y="107"/>
                </a:cubicBezTo>
                <a:cubicBezTo>
                  <a:pt x="10" y="107"/>
                  <a:pt x="9" y="109"/>
                  <a:pt x="9" y="109"/>
                </a:cubicBezTo>
                <a:cubicBezTo>
                  <a:pt x="9" y="109"/>
                  <a:pt x="8" y="112"/>
                  <a:pt x="8" y="112"/>
                </a:cubicBezTo>
                <a:cubicBezTo>
                  <a:pt x="8" y="112"/>
                  <a:pt x="6" y="109"/>
                  <a:pt x="6" y="109"/>
                </a:cubicBezTo>
                <a:cubicBezTo>
                  <a:pt x="6" y="109"/>
                  <a:pt x="5" y="106"/>
                  <a:pt x="5" y="106"/>
                </a:cubicBezTo>
                <a:cubicBezTo>
                  <a:pt x="3" y="106"/>
                  <a:pt x="3" y="106"/>
                  <a:pt x="3" y="106"/>
                </a:cubicBezTo>
                <a:cubicBezTo>
                  <a:pt x="3" y="108"/>
                  <a:pt x="3" y="108"/>
                  <a:pt x="3" y="108"/>
                </a:cubicBezTo>
                <a:cubicBezTo>
                  <a:pt x="0" y="108"/>
                  <a:pt x="0" y="108"/>
                  <a:pt x="0" y="108"/>
                </a:cubicBezTo>
                <a:cubicBezTo>
                  <a:pt x="3" y="166"/>
                  <a:pt x="3" y="166"/>
                  <a:pt x="3" y="166"/>
                </a:cubicBezTo>
                <a:cubicBezTo>
                  <a:pt x="4" y="186"/>
                  <a:pt x="4" y="186"/>
                  <a:pt x="4" y="186"/>
                </a:cubicBezTo>
                <a:cubicBezTo>
                  <a:pt x="4" y="186"/>
                  <a:pt x="4" y="195"/>
                  <a:pt x="4" y="195"/>
                </a:cubicBezTo>
                <a:cubicBezTo>
                  <a:pt x="4" y="195"/>
                  <a:pt x="4" y="202"/>
                  <a:pt x="4" y="202"/>
                </a:cubicBezTo>
                <a:cubicBezTo>
                  <a:pt x="9" y="208"/>
                  <a:pt x="9" y="208"/>
                  <a:pt x="9" y="208"/>
                </a:cubicBezTo>
                <a:cubicBezTo>
                  <a:pt x="9" y="208"/>
                  <a:pt x="9" y="211"/>
                  <a:pt x="9" y="211"/>
                </a:cubicBezTo>
                <a:cubicBezTo>
                  <a:pt x="9" y="211"/>
                  <a:pt x="9" y="213"/>
                  <a:pt x="9" y="214"/>
                </a:cubicBezTo>
                <a:cubicBezTo>
                  <a:pt x="9" y="214"/>
                  <a:pt x="10" y="214"/>
                  <a:pt x="10" y="214"/>
                </a:cubicBezTo>
                <a:cubicBezTo>
                  <a:pt x="10" y="214"/>
                  <a:pt x="11" y="214"/>
                  <a:pt x="12" y="215"/>
                </a:cubicBezTo>
                <a:cubicBezTo>
                  <a:pt x="12" y="215"/>
                  <a:pt x="13" y="215"/>
                  <a:pt x="13" y="216"/>
                </a:cubicBezTo>
                <a:cubicBezTo>
                  <a:pt x="13" y="216"/>
                  <a:pt x="13" y="216"/>
                  <a:pt x="14" y="217"/>
                </a:cubicBezTo>
                <a:cubicBezTo>
                  <a:pt x="14" y="217"/>
                  <a:pt x="14" y="216"/>
                  <a:pt x="15" y="216"/>
                </a:cubicBezTo>
                <a:cubicBezTo>
                  <a:pt x="15" y="215"/>
                  <a:pt x="15" y="215"/>
                  <a:pt x="15" y="214"/>
                </a:cubicBezTo>
                <a:cubicBezTo>
                  <a:pt x="16" y="213"/>
                  <a:pt x="17" y="213"/>
                  <a:pt x="17" y="212"/>
                </a:cubicBezTo>
                <a:cubicBezTo>
                  <a:pt x="17" y="211"/>
                  <a:pt x="17" y="210"/>
                  <a:pt x="18" y="209"/>
                </a:cubicBezTo>
                <a:cubicBezTo>
                  <a:pt x="18" y="209"/>
                  <a:pt x="18" y="209"/>
                  <a:pt x="18" y="208"/>
                </a:cubicBezTo>
                <a:cubicBezTo>
                  <a:pt x="18" y="207"/>
                  <a:pt x="18" y="207"/>
                  <a:pt x="19" y="206"/>
                </a:cubicBezTo>
                <a:cubicBezTo>
                  <a:pt x="19" y="205"/>
                  <a:pt x="19" y="204"/>
                  <a:pt x="20" y="204"/>
                </a:cubicBezTo>
                <a:cubicBezTo>
                  <a:pt x="21" y="204"/>
                  <a:pt x="22" y="203"/>
                  <a:pt x="22" y="203"/>
                </a:cubicBezTo>
                <a:cubicBezTo>
                  <a:pt x="23" y="202"/>
                  <a:pt x="24" y="201"/>
                  <a:pt x="24" y="200"/>
                </a:cubicBezTo>
                <a:cubicBezTo>
                  <a:pt x="24" y="199"/>
                  <a:pt x="24" y="198"/>
                  <a:pt x="25" y="198"/>
                </a:cubicBezTo>
                <a:cubicBezTo>
                  <a:pt x="25" y="197"/>
                  <a:pt x="25" y="197"/>
                  <a:pt x="25" y="196"/>
                </a:cubicBezTo>
                <a:cubicBezTo>
                  <a:pt x="25" y="195"/>
                  <a:pt x="25" y="194"/>
                  <a:pt x="26" y="194"/>
                </a:cubicBezTo>
                <a:cubicBezTo>
                  <a:pt x="27" y="194"/>
                  <a:pt x="27" y="194"/>
                  <a:pt x="28" y="194"/>
                </a:cubicBezTo>
                <a:cubicBezTo>
                  <a:pt x="28" y="194"/>
                  <a:pt x="29" y="194"/>
                  <a:pt x="29" y="194"/>
                </a:cubicBezTo>
                <a:cubicBezTo>
                  <a:pt x="29" y="194"/>
                  <a:pt x="29" y="194"/>
                  <a:pt x="29" y="193"/>
                </a:cubicBezTo>
                <a:cubicBezTo>
                  <a:pt x="30" y="193"/>
                  <a:pt x="31" y="193"/>
                  <a:pt x="31" y="192"/>
                </a:cubicBezTo>
                <a:cubicBezTo>
                  <a:pt x="31" y="191"/>
                  <a:pt x="31" y="190"/>
                  <a:pt x="30" y="189"/>
                </a:cubicBezTo>
                <a:cubicBezTo>
                  <a:pt x="30" y="188"/>
                  <a:pt x="29" y="188"/>
                  <a:pt x="29" y="187"/>
                </a:cubicBezTo>
                <a:cubicBezTo>
                  <a:pt x="29" y="187"/>
                  <a:pt x="30" y="186"/>
                  <a:pt x="30" y="186"/>
                </a:cubicBezTo>
                <a:cubicBezTo>
                  <a:pt x="30" y="185"/>
                  <a:pt x="31" y="185"/>
                  <a:pt x="31" y="185"/>
                </a:cubicBezTo>
                <a:cubicBezTo>
                  <a:pt x="32" y="184"/>
                  <a:pt x="32" y="183"/>
                  <a:pt x="33" y="183"/>
                </a:cubicBezTo>
                <a:cubicBezTo>
                  <a:pt x="34" y="182"/>
                  <a:pt x="34" y="182"/>
                  <a:pt x="35" y="181"/>
                </a:cubicBezTo>
                <a:cubicBezTo>
                  <a:pt x="35" y="181"/>
                  <a:pt x="36" y="180"/>
                  <a:pt x="36" y="180"/>
                </a:cubicBezTo>
                <a:cubicBezTo>
                  <a:pt x="36" y="180"/>
                  <a:pt x="36" y="179"/>
                  <a:pt x="37" y="179"/>
                </a:cubicBezTo>
                <a:cubicBezTo>
                  <a:pt x="37" y="179"/>
                  <a:pt x="37" y="179"/>
                  <a:pt x="37" y="179"/>
                </a:cubicBezTo>
                <a:cubicBezTo>
                  <a:pt x="37" y="179"/>
                  <a:pt x="37" y="179"/>
                  <a:pt x="37" y="179"/>
                </a:cubicBezTo>
                <a:cubicBezTo>
                  <a:pt x="37" y="179"/>
                  <a:pt x="38" y="179"/>
                  <a:pt x="38" y="179"/>
                </a:cubicBezTo>
                <a:cubicBezTo>
                  <a:pt x="38" y="179"/>
                  <a:pt x="38" y="179"/>
                  <a:pt x="38" y="180"/>
                </a:cubicBezTo>
                <a:cubicBezTo>
                  <a:pt x="39" y="180"/>
                  <a:pt x="39" y="180"/>
                  <a:pt x="40" y="180"/>
                </a:cubicBezTo>
                <a:cubicBezTo>
                  <a:pt x="40" y="180"/>
                  <a:pt x="40" y="180"/>
                  <a:pt x="40" y="179"/>
                </a:cubicBezTo>
                <a:cubicBezTo>
                  <a:pt x="40" y="179"/>
                  <a:pt x="40" y="179"/>
                  <a:pt x="40" y="179"/>
                </a:cubicBezTo>
                <a:cubicBezTo>
                  <a:pt x="40" y="179"/>
                  <a:pt x="40" y="178"/>
                  <a:pt x="41" y="178"/>
                </a:cubicBezTo>
                <a:cubicBezTo>
                  <a:pt x="41" y="178"/>
                  <a:pt x="42" y="179"/>
                  <a:pt x="42" y="179"/>
                </a:cubicBezTo>
                <a:cubicBezTo>
                  <a:pt x="43" y="179"/>
                  <a:pt x="43" y="180"/>
                  <a:pt x="43" y="181"/>
                </a:cubicBezTo>
                <a:cubicBezTo>
                  <a:pt x="44" y="181"/>
                  <a:pt x="44" y="182"/>
                  <a:pt x="44" y="182"/>
                </a:cubicBezTo>
                <a:cubicBezTo>
                  <a:pt x="43" y="183"/>
                  <a:pt x="43" y="184"/>
                  <a:pt x="43" y="184"/>
                </a:cubicBezTo>
                <a:cubicBezTo>
                  <a:pt x="43" y="185"/>
                  <a:pt x="44" y="185"/>
                  <a:pt x="44" y="185"/>
                </a:cubicBezTo>
                <a:cubicBezTo>
                  <a:pt x="44" y="185"/>
                  <a:pt x="45" y="185"/>
                  <a:pt x="45" y="184"/>
                </a:cubicBezTo>
                <a:cubicBezTo>
                  <a:pt x="45" y="184"/>
                  <a:pt x="45" y="184"/>
                  <a:pt x="45" y="184"/>
                </a:cubicBezTo>
                <a:cubicBezTo>
                  <a:pt x="45" y="184"/>
                  <a:pt x="45" y="184"/>
                  <a:pt x="45" y="183"/>
                </a:cubicBezTo>
                <a:cubicBezTo>
                  <a:pt x="45" y="183"/>
                  <a:pt x="45" y="183"/>
                  <a:pt x="45" y="183"/>
                </a:cubicBezTo>
                <a:cubicBezTo>
                  <a:pt x="45" y="183"/>
                  <a:pt x="45" y="182"/>
                  <a:pt x="45" y="182"/>
                </a:cubicBezTo>
                <a:cubicBezTo>
                  <a:pt x="45" y="181"/>
                  <a:pt x="45" y="181"/>
                  <a:pt x="45" y="180"/>
                </a:cubicBezTo>
                <a:cubicBezTo>
                  <a:pt x="45" y="180"/>
                  <a:pt x="45" y="179"/>
                  <a:pt x="45" y="179"/>
                </a:cubicBezTo>
                <a:cubicBezTo>
                  <a:pt x="45" y="179"/>
                  <a:pt x="44" y="178"/>
                  <a:pt x="44" y="178"/>
                </a:cubicBezTo>
                <a:cubicBezTo>
                  <a:pt x="44" y="177"/>
                  <a:pt x="44" y="177"/>
                  <a:pt x="44" y="176"/>
                </a:cubicBezTo>
                <a:cubicBezTo>
                  <a:pt x="44" y="176"/>
                  <a:pt x="44" y="175"/>
                  <a:pt x="45" y="175"/>
                </a:cubicBezTo>
                <a:cubicBezTo>
                  <a:pt x="45" y="175"/>
                  <a:pt x="45" y="176"/>
                  <a:pt x="45" y="176"/>
                </a:cubicBezTo>
                <a:cubicBezTo>
                  <a:pt x="45" y="176"/>
                  <a:pt x="45" y="177"/>
                  <a:pt x="45" y="178"/>
                </a:cubicBezTo>
                <a:cubicBezTo>
                  <a:pt x="46" y="179"/>
                  <a:pt x="46" y="180"/>
                  <a:pt x="46" y="181"/>
                </a:cubicBezTo>
                <a:cubicBezTo>
                  <a:pt x="46" y="181"/>
                  <a:pt x="46" y="182"/>
                  <a:pt x="46" y="182"/>
                </a:cubicBezTo>
                <a:cubicBezTo>
                  <a:pt x="46" y="182"/>
                  <a:pt x="46" y="183"/>
                  <a:pt x="46" y="183"/>
                </a:cubicBezTo>
                <a:cubicBezTo>
                  <a:pt x="47" y="183"/>
                  <a:pt x="46" y="182"/>
                  <a:pt x="47" y="182"/>
                </a:cubicBezTo>
                <a:cubicBezTo>
                  <a:pt x="47" y="182"/>
                  <a:pt x="47" y="182"/>
                  <a:pt x="47" y="181"/>
                </a:cubicBezTo>
                <a:cubicBezTo>
                  <a:pt x="47" y="181"/>
                  <a:pt x="47" y="181"/>
                  <a:pt x="47" y="181"/>
                </a:cubicBezTo>
                <a:cubicBezTo>
                  <a:pt x="47" y="180"/>
                  <a:pt x="47" y="180"/>
                  <a:pt x="48" y="180"/>
                </a:cubicBezTo>
                <a:cubicBezTo>
                  <a:pt x="48" y="180"/>
                  <a:pt x="48" y="179"/>
                  <a:pt x="48" y="179"/>
                </a:cubicBezTo>
                <a:cubicBezTo>
                  <a:pt x="47" y="180"/>
                  <a:pt x="47" y="180"/>
                  <a:pt x="47" y="180"/>
                </a:cubicBezTo>
                <a:cubicBezTo>
                  <a:pt x="47" y="180"/>
                  <a:pt x="47" y="180"/>
                  <a:pt x="47" y="180"/>
                </a:cubicBezTo>
                <a:cubicBezTo>
                  <a:pt x="47" y="180"/>
                  <a:pt x="47" y="180"/>
                  <a:pt x="47" y="180"/>
                </a:cubicBezTo>
                <a:cubicBezTo>
                  <a:pt x="46" y="179"/>
                  <a:pt x="46" y="179"/>
                  <a:pt x="46" y="179"/>
                </a:cubicBezTo>
                <a:cubicBezTo>
                  <a:pt x="46" y="178"/>
                  <a:pt x="46" y="177"/>
                  <a:pt x="47" y="177"/>
                </a:cubicBezTo>
                <a:cubicBezTo>
                  <a:pt x="47" y="177"/>
                  <a:pt x="47" y="176"/>
                  <a:pt x="47" y="177"/>
                </a:cubicBezTo>
                <a:cubicBezTo>
                  <a:pt x="47" y="177"/>
                  <a:pt x="47" y="177"/>
                  <a:pt x="47" y="177"/>
                </a:cubicBezTo>
                <a:cubicBezTo>
                  <a:pt x="48" y="178"/>
                  <a:pt x="47" y="178"/>
                  <a:pt x="47" y="178"/>
                </a:cubicBezTo>
                <a:cubicBezTo>
                  <a:pt x="47" y="179"/>
                  <a:pt x="47" y="179"/>
                  <a:pt x="48" y="179"/>
                </a:cubicBezTo>
                <a:cubicBezTo>
                  <a:pt x="48" y="179"/>
                  <a:pt x="48" y="179"/>
                  <a:pt x="48" y="178"/>
                </a:cubicBezTo>
                <a:cubicBezTo>
                  <a:pt x="48" y="178"/>
                  <a:pt x="48" y="178"/>
                  <a:pt x="48" y="178"/>
                </a:cubicBezTo>
                <a:cubicBezTo>
                  <a:pt x="49" y="178"/>
                  <a:pt x="49" y="178"/>
                  <a:pt x="49" y="178"/>
                </a:cubicBezTo>
                <a:cubicBezTo>
                  <a:pt x="49" y="178"/>
                  <a:pt x="50" y="178"/>
                  <a:pt x="50" y="178"/>
                </a:cubicBezTo>
                <a:cubicBezTo>
                  <a:pt x="50" y="178"/>
                  <a:pt x="51" y="178"/>
                  <a:pt x="51" y="178"/>
                </a:cubicBezTo>
                <a:cubicBezTo>
                  <a:pt x="51" y="178"/>
                  <a:pt x="51" y="178"/>
                  <a:pt x="51" y="179"/>
                </a:cubicBezTo>
                <a:cubicBezTo>
                  <a:pt x="51" y="179"/>
                  <a:pt x="51" y="178"/>
                  <a:pt x="51" y="178"/>
                </a:cubicBezTo>
                <a:cubicBezTo>
                  <a:pt x="51" y="178"/>
                  <a:pt x="52" y="177"/>
                  <a:pt x="52" y="177"/>
                </a:cubicBezTo>
                <a:cubicBezTo>
                  <a:pt x="52" y="176"/>
                  <a:pt x="52" y="176"/>
                  <a:pt x="52" y="175"/>
                </a:cubicBezTo>
                <a:cubicBezTo>
                  <a:pt x="52" y="175"/>
                  <a:pt x="52" y="175"/>
                  <a:pt x="52" y="174"/>
                </a:cubicBezTo>
                <a:cubicBezTo>
                  <a:pt x="52" y="174"/>
                  <a:pt x="52" y="174"/>
                  <a:pt x="52" y="173"/>
                </a:cubicBezTo>
                <a:cubicBezTo>
                  <a:pt x="52" y="173"/>
                  <a:pt x="52" y="173"/>
                  <a:pt x="52" y="173"/>
                </a:cubicBezTo>
                <a:cubicBezTo>
                  <a:pt x="53" y="173"/>
                  <a:pt x="53" y="172"/>
                  <a:pt x="53" y="172"/>
                </a:cubicBezTo>
                <a:cubicBezTo>
                  <a:pt x="53" y="172"/>
                  <a:pt x="53" y="173"/>
                  <a:pt x="53" y="174"/>
                </a:cubicBezTo>
                <a:cubicBezTo>
                  <a:pt x="53" y="174"/>
                  <a:pt x="53" y="175"/>
                  <a:pt x="53" y="175"/>
                </a:cubicBezTo>
                <a:cubicBezTo>
                  <a:pt x="53" y="176"/>
                  <a:pt x="53" y="176"/>
                  <a:pt x="53" y="177"/>
                </a:cubicBezTo>
                <a:cubicBezTo>
                  <a:pt x="54" y="177"/>
                  <a:pt x="54" y="177"/>
                  <a:pt x="54" y="177"/>
                </a:cubicBezTo>
                <a:cubicBezTo>
                  <a:pt x="54" y="177"/>
                  <a:pt x="54" y="178"/>
                  <a:pt x="54" y="178"/>
                </a:cubicBezTo>
                <a:cubicBezTo>
                  <a:pt x="54" y="178"/>
                  <a:pt x="54" y="178"/>
                  <a:pt x="54" y="178"/>
                </a:cubicBezTo>
                <a:cubicBezTo>
                  <a:pt x="54" y="178"/>
                  <a:pt x="54" y="179"/>
                  <a:pt x="54" y="179"/>
                </a:cubicBezTo>
                <a:cubicBezTo>
                  <a:pt x="55" y="179"/>
                  <a:pt x="55" y="178"/>
                  <a:pt x="55" y="178"/>
                </a:cubicBezTo>
                <a:cubicBezTo>
                  <a:pt x="56" y="178"/>
                  <a:pt x="56" y="177"/>
                  <a:pt x="56" y="177"/>
                </a:cubicBezTo>
                <a:cubicBezTo>
                  <a:pt x="56" y="177"/>
                  <a:pt x="56" y="176"/>
                  <a:pt x="57" y="176"/>
                </a:cubicBezTo>
                <a:cubicBezTo>
                  <a:pt x="57" y="175"/>
                  <a:pt x="57" y="175"/>
                  <a:pt x="57" y="175"/>
                </a:cubicBezTo>
                <a:cubicBezTo>
                  <a:pt x="57" y="174"/>
                  <a:pt x="58" y="174"/>
                  <a:pt x="58" y="173"/>
                </a:cubicBezTo>
                <a:cubicBezTo>
                  <a:pt x="58" y="173"/>
                  <a:pt x="58" y="173"/>
                  <a:pt x="59" y="173"/>
                </a:cubicBezTo>
                <a:cubicBezTo>
                  <a:pt x="59" y="172"/>
                  <a:pt x="59" y="172"/>
                  <a:pt x="59" y="171"/>
                </a:cubicBezTo>
                <a:cubicBezTo>
                  <a:pt x="59" y="171"/>
                  <a:pt x="59" y="170"/>
                  <a:pt x="59" y="170"/>
                </a:cubicBezTo>
                <a:cubicBezTo>
                  <a:pt x="59" y="170"/>
                  <a:pt x="59" y="169"/>
                  <a:pt x="59" y="169"/>
                </a:cubicBezTo>
                <a:cubicBezTo>
                  <a:pt x="59" y="169"/>
                  <a:pt x="59" y="169"/>
                  <a:pt x="59" y="169"/>
                </a:cubicBezTo>
                <a:cubicBezTo>
                  <a:pt x="60" y="169"/>
                  <a:pt x="60" y="169"/>
                  <a:pt x="60" y="169"/>
                </a:cubicBezTo>
                <a:cubicBezTo>
                  <a:pt x="60" y="169"/>
                  <a:pt x="61" y="170"/>
                  <a:pt x="61" y="170"/>
                </a:cubicBezTo>
                <a:cubicBezTo>
                  <a:pt x="61" y="170"/>
                  <a:pt x="61" y="170"/>
                  <a:pt x="60" y="170"/>
                </a:cubicBezTo>
                <a:cubicBezTo>
                  <a:pt x="60" y="170"/>
                  <a:pt x="60" y="170"/>
                  <a:pt x="60" y="170"/>
                </a:cubicBezTo>
                <a:cubicBezTo>
                  <a:pt x="60" y="171"/>
                  <a:pt x="60" y="171"/>
                  <a:pt x="60" y="171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60" y="173"/>
                  <a:pt x="60" y="173"/>
                  <a:pt x="61" y="173"/>
                </a:cubicBezTo>
                <a:cubicBezTo>
                  <a:pt x="61" y="174"/>
                  <a:pt x="61" y="174"/>
                  <a:pt x="61" y="174"/>
                </a:cubicBezTo>
                <a:cubicBezTo>
                  <a:pt x="62" y="174"/>
                  <a:pt x="62" y="174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ubicBezTo>
                  <a:pt x="64" y="175"/>
                  <a:pt x="64" y="175"/>
                  <a:pt x="64" y="175"/>
                </a:cubicBezTo>
                <a:cubicBezTo>
                  <a:pt x="65" y="175"/>
                  <a:pt x="65" y="175"/>
                  <a:pt x="65" y="174"/>
                </a:cubicBezTo>
                <a:cubicBezTo>
                  <a:pt x="65" y="174"/>
                  <a:pt x="65" y="174"/>
                  <a:pt x="66" y="173"/>
                </a:cubicBezTo>
                <a:cubicBezTo>
                  <a:pt x="66" y="173"/>
                  <a:pt x="66" y="173"/>
                  <a:pt x="66" y="173"/>
                </a:cubicBezTo>
                <a:cubicBezTo>
                  <a:pt x="66" y="173"/>
                  <a:pt x="66" y="173"/>
                  <a:pt x="66" y="173"/>
                </a:cubicBezTo>
                <a:cubicBezTo>
                  <a:pt x="67" y="173"/>
                  <a:pt x="67" y="173"/>
                  <a:pt x="67" y="173"/>
                </a:cubicBezTo>
                <a:cubicBezTo>
                  <a:pt x="68" y="173"/>
                  <a:pt x="68" y="172"/>
                  <a:pt x="68" y="172"/>
                </a:cubicBezTo>
                <a:cubicBezTo>
                  <a:pt x="68" y="172"/>
                  <a:pt x="69" y="172"/>
                  <a:pt x="69" y="171"/>
                </a:cubicBezTo>
                <a:cubicBezTo>
                  <a:pt x="69" y="171"/>
                  <a:pt x="69" y="171"/>
                  <a:pt x="69" y="171"/>
                </a:cubicBezTo>
                <a:cubicBezTo>
                  <a:pt x="70" y="170"/>
                  <a:pt x="70" y="170"/>
                  <a:pt x="70" y="169"/>
                </a:cubicBezTo>
                <a:cubicBezTo>
                  <a:pt x="70" y="169"/>
                  <a:pt x="71" y="169"/>
                  <a:pt x="71" y="168"/>
                </a:cubicBezTo>
                <a:cubicBezTo>
                  <a:pt x="71" y="168"/>
                  <a:pt x="71" y="168"/>
                  <a:pt x="70" y="168"/>
                </a:cubicBezTo>
                <a:cubicBezTo>
                  <a:pt x="70" y="168"/>
                  <a:pt x="70" y="168"/>
                  <a:pt x="70" y="168"/>
                </a:cubicBezTo>
                <a:cubicBezTo>
                  <a:pt x="70" y="168"/>
                  <a:pt x="70" y="167"/>
                  <a:pt x="70" y="167"/>
                </a:cubicBezTo>
                <a:cubicBezTo>
                  <a:pt x="70" y="167"/>
                  <a:pt x="70" y="167"/>
                  <a:pt x="70" y="167"/>
                </a:cubicBezTo>
                <a:cubicBezTo>
                  <a:pt x="69" y="166"/>
                  <a:pt x="69" y="166"/>
                  <a:pt x="69" y="166"/>
                </a:cubicBezTo>
                <a:cubicBezTo>
                  <a:pt x="70" y="166"/>
                  <a:pt x="70" y="166"/>
                  <a:pt x="70" y="166"/>
                </a:cubicBezTo>
                <a:cubicBezTo>
                  <a:pt x="70" y="166"/>
                  <a:pt x="70" y="165"/>
                  <a:pt x="70" y="165"/>
                </a:cubicBezTo>
                <a:cubicBezTo>
                  <a:pt x="70" y="165"/>
                  <a:pt x="70" y="165"/>
                  <a:pt x="70" y="165"/>
                </a:cubicBezTo>
                <a:cubicBezTo>
                  <a:pt x="70" y="164"/>
                  <a:pt x="70" y="164"/>
                  <a:pt x="70" y="163"/>
                </a:cubicBezTo>
                <a:cubicBezTo>
                  <a:pt x="70" y="163"/>
                  <a:pt x="70" y="163"/>
                  <a:pt x="70" y="163"/>
                </a:cubicBezTo>
                <a:cubicBezTo>
                  <a:pt x="71" y="163"/>
                  <a:pt x="71" y="162"/>
                  <a:pt x="71" y="162"/>
                </a:cubicBezTo>
                <a:cubicBezTo>
                  <a:pt x="71" y="162"/>
                  <a:pt x="71" y="162"/>
                  <a:pt x="71" y="161"/>
                </a:cubicBezTo>
                <a:cubicBezTo>
                  <a:pt x="71" y="161"/>
                  <a:pt x="71" y="161"/>
                  <a:pt x="71" y="161"/>
                </a:cubicBezTo>
                <a:cubicBezTo>
                  <a:pt x="71" y="160"/>
                  <a:pt x="71" y="160"/>
                  <a:pt x="72" y="160"/>
                </a:cubicBezTo>
                <a:cubicBezTo>
                  <a:pt x="72" y="160"/>
                  <a:pt x="72" y="160"/>
                  <a:pt x="72" y="160"/>
                </a:cubicBezTo>
                <a:cubicBezTo>
                  <a:pt x="72" y="159"/>
                  <a:pt x="72" y="159"/>
                  <a:pt x="72" y="159"/>
                </a:cubicBezTo>
                <a:cubicBezTo>
                  <a:pt x="72" y="159"/>
                  <a:pt x="72" y="159"/>
                  <a:pt x="73" y="158"/>
                </a:cubicBezTo>
                <a:cubicBezTo>
                  <a:pt x="73" y="158"/>
                  <a:pt x="73" y="158"/>
                  <a:pt x="74" y="157"/>
                </a:cubicBezTo>
                <a:cubicBezTo>
                  <a:pt x="74" y="157"/>
                  <a:pt x="74" y="156"/>
                  <a:pt x="74" y="156"/>
                </a:cubicBezTo>
                <a:cubicBezTo>
                  <a:pt x="74" y="156"/>
                  <a:pt x="74" y="155"/>
                  <a:pt x="74" y="154"/>
                </a:cubicBezTo>
                <a:cubicBezTo>
                  <a:pt x="74" y="154"/>
                  <a:pt x="73" y="154"/>
                  <a:pt x="73" y="154"/>
                </a:cubicBezTo>
                <a:cubicBezTo>
                  <a:pt x="73" y="154"/>
                  <a:pt x="73" y="153"/>
                  <a:pt x="73" y="153"/>
                </a:cubicBezTo>
                <a:cubicBezTo>
                  <a:pt x="73" y="153"/>
                  <a:pt x="73" y="153"/>
                  <a:pt x="73" y="152"/>
                </a:cubicBezTo>
                <a:cubicBezTo>
                  <a:pt x="73" y="152"/>
                  <a:pt x="74" y="152"/>
                  <a:pt x="74" y="152"/>
                </a:cubicBezTo>
                <a:cubicBezTo>
                  <a:pt x="74" y="152"/>
                  <a:pt x="74" y="152"/>
                  <a:pt x="74" y="152"/>
                </a:cubicBezTo>
                <a:cubicBezTo>
                  <a:pt x="74" y="151"/>
                  <a:pt x="74" y="151"/>
                  <a:pt x="74" y="151"/>
                </a:cubicBezTo>
                <a:cubicBezTo>
                  <a:pt x="75" y="151"/>
                  <a:pt x="75" y="151"/>
                  <a:pt x="75" y="151"/>
                </a:cubicBezTo>
                <a:cubicBezTo>
                  <a:pt x="75" y="151"/>
                  <a:pt x="76" y="151"/>
                  <a:pt x="76" y="150"/>
                </a:cubicBezTo>
                <a:cubicBezTo>
                  <a:pt x="76" y="150"/>
                  <a:pt x="76" y="150"/>
                  <a:pt x="77" y="150"/>
                </a:cubicBezTo>
                <a:cubicBezTo>
                  <a:pt x="77" y="150"/>
                  <a:pt x="77" y="150"/>
                  <a:pt x="78" y="150"/>
                </a:cubicBezTo>
                <a:cubicBezTo>
                  <a:pt x="78" y="150"/>
                  <a:pt x="78" y="150"/>
                  <a:pt x="78" y="149"/>
                </a:cubicBezTo>
                <a:cubicBezTo>
                  <a:pt x="78" y="149"/>
                  <a:pt x="78" y="149"/>
                  <a:pt x="78" y="149"/>
                </a:cubicBezTo>
                <a:cubicBezTo>
                  <a:pt x="78" y="148"/>
                  <a:pt x="78" y="148"/>
                  <a:pt x="79" y="148"/>
                </a:cubicBezTo>
                <a:cubicBezTo>
                  <a:pt x="79" y="148"/>
                  <a:pt x="79" y="147"/>
                  <a:pt x="79" y="147"/>
                </a:cubicBezTo>
                <a:cubicBezTo>
                  <a:pt x="79" y="147"/>
                  <a:pt x="79" y="147"/>
                  <a:pt x="79" y="146"/>
                </a:cubicBezTo>
                <a:cubicBezTo>
                  <a:pt x="79" y="146"/>
                  <a:pt x="79" y="146"/>
                  <a:pt x="79" y="145"/>
                </a:cubicBezTo>
                <a:cubicBezTo>
                  <a:pt x="79" y="145"/>
                  <a:pt x="80" y="145"/>
                  <a:pt x="80" y="145"/>
                </a:cubicBezTo>
                <a:cubicBezTo>
                  <a:pt x="80" y="146"/>
                  <a:pt x="80" y="146"/>
                  <a:pt x="80" y="147"/>
                </a:cubicBezTo>
                <a:cubicBezTo>
                  <a:pt x="80" y="147"/>
                  <a:pt x="80" y="147"/>
                  <a:pt x="80" y="148"/>
                </a:cubicBezTo>
                <a:cubicBezTo>
                  <a:pt x="80" y="148"/>
                  <a:pt x="81" y="148"/>
                  <a:pt x="81" y="148"/>
                </a:cubicBezTo>
                <a:cubicBezTo>
                  <a:pt x="81" y="148"/>
                  <a:pt x="80" y="148"/>
                  <a:pt x="80" y="149"/>
                </a:cubicBezTo>
                <a:cubicBezTo>
                  <a:pt x="80" y="149"/>
                  <a:pt x="79" y="150"/>
                  <a:pt x="79" y="151"/>
                </a:cubicBezTo>
                <a:cubicBezTo>
                  <a:pt x="79" y="151"/>
                  <a:pt x="79" y="151"/>
                  <a:pt x="79" y="151"/>
                </a:cubicBezTo>
                <a:cubicBezTo>
                  <a:pt x="79" y="151"/>
                  <a:pt x="79" y="152"/>
                  <a:pt x="78" y="152"/>
                </a:cubicBezTo>
                <a:cubicBezTo>
                  <a:pt x="78" y="152"/>
                  <a:pt x="78" y="153"/>
                  <a:pt x="78" y="153"/>
                </a:cubicBezTo>
                <a:cubicBezTo>
                  <a:pt x="78" y="154"/>
                  <a:pt x="78" y="154"/>
                  <a:pt x="78" y="155"/>
                </a:cubicBezTo>
                <a:cubicBezTo>
                  <a:pt x="78" y="155"/>
                  <a:pt x="78" y="156"/>
                  <a:pt x="79" y="156"/>
                </a:cubicBezTo>
                <a:cubicBezTo>
                  <a:pt x="79" y="156"/>
                  <a:pt x="79" y="156"/>
                  <a:pt x="80" y="156"/>
                </a:cubicBezTo>
                <a:cubicBezTo>
                  <a:pt x="80" y="157"/>
                  <a:pt x="80" y="157"/>
                  <a:pt x="81" y="157"/>
                </a:cubicBezTo>
                <a:cubicBezTo>
                  <a:pt x="81" y="157"/>
                  <a:pt x="81" y="157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7"/>
                  <a:pt x="83" y="157"/>
                  <a:pt x="84" y="158"/>
                </a:cubicBezTo>
                <a:cubicBezTo>
                  <a:pt x="84" y="158"/>
                  <a:pt x="84" y="158"/>
                  <a:pt x="85" y="158"/>
                </a:cubicBezTo>
                <a:cubicBezTo>
                  <a:pt x="85" y="158"/>
                  <a:pt x="85" y="158"/>
                  <a:pt x="85" y="158"/>
                </a:cubicBezTo>
                <a:cubicBezTo>
                  <a:pt x="85" y="159"/>
                  <a:pt x="86" y="159"/>
                  <a:pt x="86" y="159"/>
                </a:cubicBezTo>
                <a:cubicBezTo>
                  <a:pt x="87" y="159"/>
                  <a:pt x="87" y="160"/>
                  <a:pt x="88" y="160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88" y="161"/>
                  <a:pt x="89" y="161"/>
                  <a:pt x="89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9" y="159"/>
                  <a:pt x="89" y="159"/>
                  <a:pt x="89" y="159"/>
                </a:cubicBezTo>
                <a:cubicBezTo>
                  <a:pt x="89" y="158"/>
                  <a:pt x="89" y="158"/>
                  <a:pt x="89" y="158"/>
                </a:cubicBezTo>
                <a:cubicBezTo>
                  <a:pt x="89" y="158"/>
                  <a:pt x="89" y="157"/>
                  <a:pt x="88" y="157"/>
                </a:cubicBezTo>
                <a:cubicBezTo>
                  <a:pt x="88" y="157"/>
                  <a:pt x="88" y="156"/>
                  <a:pt x="88" y="156"/>
                </a:cubicBezTo>
                <a:cubicBezTo>
                  <a:pt x="88" y="155"/>
                  <a:pt x="88" y="155"/>
                  <a:pt x="88" y="154"/>
                </a:cubicBezTo>
                <a:cubicBezTo>
                  <a:pt x="88" y="154"/>
                  <a:pt x="89" y="154"/>
                  <a:pt x="89" y="153"/>
                </a:cubicBezTo>
                <a:cubicBezTo>
                  <a:pt x="89" y="153"/>
                  <a:pt x="89" y="153"/>
                  <a:pt x="89" y="153"/>
                </a:cubicBezTo>
                <a:cubicBezTo>
                  <a:pt x="89" y="152"/>
                  <a:pt x="89" y="152"/>
                  <a:pt x="89" y="152"/>
                </a:cubicBezTo>
                <a:cubicBezTo>
                  <a:pt x="90" y="152"/>
                  <a:pt x="89" y="151"/>
                  <a:pt x="89" y="151"/>
                </a:cubicBezTo>
                <a:cubicBezTo>
                  <a:pt x="89" y="151"/>
                  <a:pt x="90" y="150"/>
                  <a:pt x="90" y="150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90" y="150"/>
                  <a:pt x="90" y="149"/>
                  <a:pt x="90" y="149"/>
                </a:cubicBezTo>
                <a:cubicBezTo>
                  <a:pt x="91" y="149"/>
                  <a:pt x="91" y="149"/>
                  <a:pt x="91" y="149"/>
                </a:cubicBezTo>
                <a:cubicBezTo>
                  <a:pt x="91" y="149"/>
                  <a:pt x="91" y="148"/>
                  <a:pt x="91" y="148"/>
                </a:cubicBezTo>
                <a:cubicBezTo>
                  <a:pt x="91" y="148"/>
                  <a:pt x="91" y="149"/>
                  <a:pt x="91" y="150"/>
                </a:cubicBezTo>
                <a:cubicBezTo>
                  <a:pt x="91" y="150"/>
                  <a:pt x="91" y="150"/>
                  <a:pt x="91" y="150"/>
                </a:cubicBezTo>
                <a:cubicBezTo>
                  <a:pt x="91" y="151"/>
                  <a:pt x="92" y="151"/>
                  <a:pt x="92" y="151"/>
                </a:cubicBezTo>
                <a:cubicBezTo>
                  <a:pt x="92" y="151"/>
                  <a:pt x="92" y="151"/>
                  <a:pt x="92" y="151"/>
                </a:cubicBezTo>
                <a:cubicBezTo>
                  <a:pt x="92" y="151"/>
                  <a:pt x="92" y="152"/>
                  <a:pt x="92" y="152"/>
                </a:cubicBezTo>
                <a:cubicBezTo>
                  <a:pt x="92" y="152"/>
                  <a:pt x="92" y="152"/>
                  <a:pt x="93" y="152"/>
                </a:cubicBezTo>
                <a:cubicBezTo>
                  <a:pt x="93" y="152"/>
                  <a:pt x="93" y="152"/>
                  <a:pt x="93" y="152"/>
                </a:cubicBezTo>
                <a:cubicBezTo>
                  <a:pt x="94" y="151"/>
                  <a:pt x="94" y="151"/>
                  <a:pt x="94" y="151"/>
                </a:cubicBezTo>
                <a:cubicBezTo>
                  <a:pt x="95" y="151"/>
                  <a:pt x="95" y="150"/>
                  <a:pt x="95" y="151"/>
                </a:cubicBezTo>
                <a:cubicBezTo>
                  <a:pt x="96" y="151"/>
                  <a:pt x="95" y="151"/>
                  <a:pt x="95" y="152"/>
                </a:cubicBezTo>
                <a:cubicBezTo>
                  <a:pt x="95" y="152"/>
                  <a:pt x="94" y="152"/>
                  <a:pt x="94" y="153"/>
                </a:cubicBezTo>
                <a:cubicBezTo>
                  <a:pt x="94" y="153"/>
                  <a:pt x="94" y="153"/>
                  <a:pt x="94" y="154"/>
                </a:cubicBezTo>
                <a:cubicBezTo>
                  <a:pt x="94" y="154"/>
                  <a:pt x="94" y="155"/>
                  <a:pt x="94" y="155"/>
                </a:cubicBezTo>
                <a:cubicBezTo>
                  <a:pt x="94" y="155"/>
                  <a:pt x="94" y="156"/>
                  <a:pt x="94" y="156"/>
                </a:cubicBezTo>
                <a:cubicBezTo>
                  <a:pt x="94" y="156"/>
                  <a:pt x="94" y="157"/>
                  <a:pt x="94" y="157"/>
                </a:cubicBezTo>
                <a:cubicBezTo>
                  <a:pt x="93" y="157"/>
                  <a:pt x="93" y="157"/>
                  <a:pt x="93" y="157"/>
                </a:cubicBezTo>
                <a:cubicBezTo>
                  <a:pt x="93" y="158"/>
                  <a:pt x="93" y="158"/>
                  <a:pt x="92" y="158"/>
                </a:cubicBezTo>
                <a:cubicBezTo>
                  <a:pt x="92" y="158"/>
                  <a:pt x="92" y="158"/>
                  <a:pt x="92" y="159"/>
                </a:cubicBezTo>
                <a:cubicBezTo>
                  <a:pt x="92" y="159"/>
                  <a:pt x="93" y="160"/>
                  <a:pt x="94" y="160"/>
                </a:cubicBezTo>
                <a:cubicBezTo>
                  <a:pt x="94" y="160"/>
                  <a:pt x="94" y="160"/>
                  <a:pt x="95" y="160"/>
                </a:cubicBezTo>
                <a:cubicBezTo>
                  <a:pt x="95" y="160"/>
                  <a:pt x="96" y="160"/>
                  <a:pt x="96" y="159"/>
                </a:cubicBezTo>
                <a:cubicBezTo>
                  <a:pt x="97" y="159"/>
                  <a:pt x="97" y="159"/>
                  <a:pt x="98" y="159"/>
                </a:cubicBezTo>
                <a:cubicBezTo>
                  <a:pt x="98" y="159"/>
                  <a:pt x="98" y="158"/>
                  <a:pt x="98" y="158"/>
                </a:cubicBezTo>
                <a:cubicBezTo>
                  <a:pt x="98" y="158"/>
                  <a:pt x="98" y="158"/>
                  <a:pt x="98" y="158"/>
                </a:cubicBezTo>
                <a:cubicBezTo>
                  <a:pt x="98" y="158"/>
                  <a:pt x="99" y="157"/>
                  <a:pt x="99" y="157"/>
                </a:cubicBezTo>
                <a:cubicBezTo>
                  <a:pt x="99" y="157"/>
                  <a:pt x="100" y="156"/>
                  <a:pt x="100" y="156"/>
                </a:cubicBezTo>
                <a:cubicBezTo>
                  <a:pt x="100" y="156"/>
                  <a:pt x="100" y="155"/>
                  <a:pt x="100" y="155"/>
                </a:cubicBezTo>
                <a:cubicBezTo>
                  <a:pt x="100" y="155"/>
                  <a:pt x="100" y="154"/>
                  <a:pt x="100" y="154"/>
                </a:cubicBezTo>
                <a:cubicBezTo>
                  <a:pt x="100" y="153"/>
                  <a:pt x="99" y="154"/>
                  <a:pt x="99" y="153"/>
                </a:cubicBezTo>
                <a:cubicBezTo>
                  <a:pt x="99" y="153"/>
                  <a:pt x="98" y="153"/>
                  <a:pt x="98" y="153"/>
                </a:cubicBezTo>
                <a:cubicBezTo>
                  <a:pt x="98" y="152"/>
                  <a:pt x="98" y="152"/>
                  <a:pt x="97" y="152"/>
                </a:cubicBezTo>
                <a:cubicBezTo>
                  <a:pt x="97" y="152"/>
                  <a:pt x="96" y="151"/>
                  <a:pt x="96" y="151"/>
                </a:cubicBezTo>
                <a:cubicBezTo>
                  <a:pt x="96" y="150"/>
                  <a:pt x="97" y="150"/>
                  <a:pt x="97" y="150"/>
                </a:cubicBezTo>
                <a:cubicBezTo>
                  <a:pt x="97" y="149"/>
                  <a:pt x="97" y="149"/>
                  <a:pt x="97" y="148"/>
                </a:cubicBezTo>
                <a:cubicBezTo>
                  <a:pt x="96" y="148"/>
                  <a:pt x="96" y="147"/>
                  <a:pt x="97" y="147"/>
                </a:cubicBezTo>
                <a:cubicBezTo>
                  <a:pt x="97" y="147"/>
                  <a:pt x="97" y="147"/>
                  <a:pt x="97" y="147"/>
                </a:cubicBezTo>
                <a:cubicBezTo>
                  <a:pt x="97" y="147"/>
                  <a:pt x="97" y="148"/>
                  <a:pt x="97" y="148"/>
                </a:cubicBezTo>
                <a:cubicBezTo>
                  <a:pt x="98" y="148"/>
                  <a:pt x="98" y="149"/>
                  <a:pt x="99" y="149"/>
                </a:cubicBezTo>
                <a:cubicBezTo>
                  <a:pt x="99" y="149"/>
                  <a:pt x="99" y="149"/>
                  <a:pt x="99" y="148"/>
                </a:cubicBezTo>
                <a:cubicBezTo>
                  <a:pt x="99" y="148"/>
                  <a:pt x="99" y="148"/>
                  <a:pt x="99" y="148"/>
                </a:cubicBezTo>
                <a:cubicBezTo>
                  <a:pt x="100" y="148"/>
                  <a:pt x="100" y="148"/>
                  <a:pt x="100" y="148"/>
                </a:cubicBezTo>
                <a:cubicBezTo>
                  <a:pt x="101" y="147"/>
                  <a:pt x="101" y="148"/>
                  <a:pt x="101" y="148"/>
                </a:cubicBezTo>
                <a:cubicBezTo>
                  <a:pt x="101" y="148"/>
                  <a:pt x="102" y="148"/>
                  <a:pt x="102" y="149"/>
                </a:cubicBezTo>
                <a:cubicBezTo>
                  <a:pt x="103" y="149"/>
                  <a:pt x="103" y="149"/>
                  <a:pt x="103" y="150"/>
                </a:cubicBezTo>
                <a:cubicBezTo>
                  <a:pt x="103" y="151"/>
                  <a:pt x="103" y="152"/>
                  <a:pt x="103" y="152"/>
                </a:cubicBezTo>
                <a:cubicBezTo>
                  <a:pt x="103" y="153"/>
                  <a:pt x="103" y="153"/>
                  <a:pt x="103" y="153"/>
                </a:cubicBezTo>
                <a:cubicBezTo>
                  <a:pt x="103" y="154"/>
                  <a:pt x="104" y="154"/>
                  <a:pt x="104" y="154"/>
                </a:cubicBezTo>
                <a:cubicBezTo>
                  <a:pt x="104" y="154"/>
                  <a:pt x="104" y="154"/>
                  <a:pt x="105" y="154"/>
                </a:cubicBezTo>
                <a:cubicBezTo>
                  <a:pt x="105" y="155"/>
                  <a:pt x="105" y="155"/>
                  <a:pt x="105" y="155"/>
                </a:cubicBezTo>
                <a:cubicBezTo>
                  <a:pt x="106" y="155"/>
                  <a:pt x="105" y="154"/>
                  <a:pt x="105" y="154"/>
                </a:cubicBezTo>
                <a:cubicBezTo>
                  <a:pt x="105" y="153"/>
                  <a:pt x="105" y="153"/>
                  <a:pt x="106" y="152"/>
                </a:cubicBezTo>
                <a:cubicBezTo>
                  <a:pt x="106" y="151"/>
                  <a:pt x="106" y="151"/>
                  <a:pt x="106" y="150"/>
                </a:cubicBezTo>
                <a:cubicBezTo>
                  <a:pt x="106" y="150"/>
                  <a:pt x="106" y="149"/>
                  <a:pt x="106" y="149"/>
                </a:cubicBezTo>
                <a:cubicBezTo>
                  <a:pt x="106" y="149"/>
                  <a:pt x="107" y="149"/>
                  <a:pt x="107" y="149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108" y="148"/>
                  <a:pt x="108" y="149"/>
                  <a:pt x="108" y="149"/>
                </a:cubicBezTo>
                <a:cubicBezTo>
                  <a:pt x="108" y="149"/>
                  <a:pt x="108" y="149"/>
                  <a:pt x="108" y="150"/>
                </a:cubicBezTo>
                <a:cubicBezTo>
                  <a:pt x="108" y="150"/>
                  <a:pt x="108" y="150"/>
                  <a:pt x="108" y="150"/>
                </a:cubicBezTo>
                <a:cubicBezTo>
                  <a:pt x="109" y="151"/>
                  <a:pt x="109" y="151"/>
                  <a:pt x="109" y="152"/>
                </a:cubicBezTo>
                <a:cubicBezTo>
                  <a:pt x="109" y="152"/>
                  <a:pt x="110" y="152"/>
                  <a:pt x="110" y="152"/>
                </a:cubicBezTo>
                <a:cubicBezTo>
                  <a:pt x="110" y="153"/>
                  <a:pt x="111" y="153"/>
                  <a:pt x="111" y="153"/>
                </a:cubicBezTo>
                <a:cubicBezTo>
                  <a:pt x="111" y="152"/>
                  <a:pt x="111" y="152"/>
                  <a:pt x="111" y="152"/>
                </a:cubicBezTo>
                <a:cubicBezTo>
                  <a:pt x="111" y="151"/>
                  <a:pt x="111" y="151"/>
                  <a:pt x="111" y="151"/>
                </a:cubicBezTo>
                <a:cubicBezTo>
                  <a:pt x="111" y="150"/>
                  <a:pt x="111" y="150"/>
                  <a:pt x="112" y="150"/>
                </a:cubicBezTo>
                <a:cubicBezTo>
                  <a:pt x="112" y="149"/>
                  <a:pt x="112" y="149"/>
                  <a:pt x="112" y="148"/>
                </a:cubicBezTo>
                <a:cubicBezTo>
                  <a:pt x="112" y="147"/>
                  <a:pt x="112" y="147"/>
                  <a:pt x="112" y="146"/>
                </a:cubicBezTo>
                <a:cubicBezTo>
                  <a:pt x="112" y="146"/>
                  <a:pt x="112" y="145"/>
                  <a:pt x="112" y="145"/>
                </a:cubicBezTo>
                <a:cubicBezTo>
                  <a:pt x="112" y="145"/>
                  <a:pt x="112" y="145"/>
                  <a:pt x="113" y="145"/>
                </a:cubicBezTo>
                <a:cubicBezTo>
                  <a:pt x="113" y="145"/>
                  <a:pt x="113" y="145"/>
                  <a:pt x="113" y="145"/>
                </a:cubicBezTo>
                <a:cubicBezTo>
                  <a:pt x="113" y="145"/>
                  <a:pt x="113" y="145"/>
                  <a:pt x="113" y="145"/>
                </a:cubicBezTo>
                <a:cubicBezTo>
                  <a:pt x="113" y="145"/>
                  <a:pt x="114" y="145"/>
                  <a:pt x="114" y="145"/>
                </a:cubicBezTo>
                <a:cubicBezTo>
                  <a:pt x="115" y="145"/>
                  <a:pt x="116" y="145"/>
                  <a:pt x="116" y="145"/>
                </a:cubicBezTo>
                <a:cubicBezTo>
                  <a:pt x="117" y="145"/>
                  <a:pt x="118" y="145"/>
                  <a:pt x="118" y="145"/>
                </a:cubicBezTo>
                <a:cubicBezTo>
                  <a:pt x="118" y="146"/>
                  <a:pt x="118" y="146"/>
                  <a:pt x="119" y="146"/>
                </a:cubicBezTo>
                <a:cubicBezTo>
                  <a:pt x="119" y="146"/>
                  <a:pt x="119" y="146"/>
                  <a:pt x="119" y="146"/>
                </a:cubicBezTo>
                <a:cubicBezTo>
                  <a:pt x="120" y="146"/>
                  <a:pt x="121" y="146"/>
                  <a:pt x="122" y="146"/>
                </a:cubicBezTo>
                <a:cubicBezTo>
                  <a:pt x="122" y="146"/>
                  <a:pt x="122" y="145"/>
                  <a:pt x="122" y="145"/>
                </a:cubicBezTo>
                <a:cubicBezTo>
                  <a:pt x="122" y="144"/>
                  <a:pt x="122" y="143"/>
                  <a:pt x="123" y="142"/>
                </a:cubicBezTo>
                <a:cubicBezTo>
                  <a:pt x="123" y="141"/>
                  <a:pt x="123" y="141"/>
                  <a:pt x="123" y="141"/>
                </a:cubicBezTo>
                <a:cubicBezTo>
                  <a:pt x="123" y="141"/>
                  <a:pt x="123" y="141"/>
                  <a:pt x="123" y="141"/>
                </a:cubicBezTo>
                <a:cubicBezTo>
                  <a:pt x="123" y="141"/>
                  <a:pt x="124" y="141"/>
                  <a:pt x="124" y="141"/>
                </a:cubicBezTo>
                <a:cubicBezTo>
                  <a:pt x="124" y="141"/>
                  <a:pt x="124" y="141"/>
                  <a:pt x="124" y="141"/>
                </a:cubicBezTo>
                <a:cubicBezTo>
                  <a:pt x="124" y="141"/>
                  <a:pt x="124" y="142"/>
                  <a:pt x="124" y="142"/>
                </a:cubicBezTo>
                <a:cubicBezTo>
                  <a:pt x="124" y="142"/>
                  <a:pt x="124" y="142"/>
                  <a:pt x="125" y="142"/>
                </a:cubicBezTo>
                <a:cubicBezTo>
                  <a:pt x="125" y="142"/>
                  <a:pt x="125" y="142"/>
                  <a:pt x="126" y="142"/>
                </a:cubicBezTo>
                <a:cubicBezTo>
                  <a:pt x="126" y="143"/>
                  <a:pt x="126" y="143"/>
                  <a:pt x="126" y="143"/>
                </a:cubicBezTo>
                <a:cubicBezTo>
                  <a:pt x="126" y="143"/>
                  <a:pt x="126" y="143"/>
                  <a:pt x="126" y="143"/>
                </a:cubicBezTo>
                <a:cubicBezTo>
                  <a:pt x="127" y="143"/>
                  <a:pt x="127" y="143"/>
                  <a:pt x="127" y="143"/>
                </a:cubicBezTo>
                <a:cubicBezTo>
                  <a:pt x="128" y="143"/>
                  <a:pt x="128" y="142"/>
                  <a:pt x="128" y="142"/>
                </a:cubicBezTo>
                <a:cubicBezTo>
                  <a:pt x="128" y="142"/>
                  <a:pt x="128" y="142"/>
                  <a:pt x="128" y="141"/>
                </a:cubicBezTo>
                <a:cubicBezTo>
                  <a:pt x="128" y="141"/>
                  <a:pt x="128" y="140"/>
                  <a:pt x="128" y="140"/>
                </a:cubicBezTo>
                <a:cubicBezTo>
                  <a:pt x="128" y="140"/>
                  <a:pt x="128" y="139"/>
                  <a:pt x="129" y="139"/>
                </a:cubicBezTo>
                <a:cubicBezTo>
                  <a:pt x="129" y="139"/>
                  <a:pt x="129" y="139"/>
                  <a:pt x="129" y="139"/>
                </a:cubicBezTo>
                <a:cubicBezTo>
                  <a:pt x="129" y="138"/>
                  <a:pt x="129" y="138"/>
                  <a:pt x="129" y="138"/>
                </a:cubicBezTo>
                <a:cubicBezTo>
                  <a:pt x="129" y="138"/>
                  <a:pt x="130" y="138"/>
                  <a:pt x="130" y="138"/>
                </a:cubicBezTo>
                <a:cubicBezTo>
                  <a:pt x="130" y="138"/>
                  <a:pt x="130" y="138"/>
                  <a:pt x="131" y="138"/>
                </a:cubicBezTo>
                <a:cubicBezTo>
                  <a:pt x="131" y="138"/>
                  <a:pt x="131" y="138"/>
                  <a:pt x="131" y="139"/>
                </a:cubicBezTo>
                <a:cubicBezTo>
                  <a:pt x="132" y="139"/>
                  <a:pt x="132" y="139"/>
                  <a:pt x="132" y="140"/>
                </a:cubicBezTo>
                <a:cubicBezTo>
                  <a:pt x="132" y="140"/>
                  <a:pt x="132" y="140"/>
                  <a:pt x="132" y="141"/>
                </a:cubicBezTo>
                <a:cubicBezTo>
                  <a:pt x="132" y="142"/>
                  <a:pt x="133" y="141"/>
                  <a:pt x="133" y="141"/>
                </a:cubicBezTo>
                <a:cubicBezTo>
                  <a:pt x="133" y="141"/>
                  <a:pt x="134" y="141"/>
                  <a:pt x="134" y="141"/>
                </a:cubicBezTo>
                <a:cubicBezTo>
                  <a:pt x="134" y="141"/>
                  <a:pt x="134" y="140"/>
                  <a:pt x="135" y="140"/>
                </a:cubicBezTo>
                <a:cubicBezTo>
                  <a:pt x="135" y="140"/>
                  <a:pt x="135" y="140"/>
                  <a:pt x="135" y="140"/>
                </a:cubicBezTo>
                <a:cubicBezTo>
                  <a:pt x="136" y="140"/>
                  <a:pt x="137" y="139"/>
                  <a:pt x="137" y="138"/>
                </a:cubicBezTo>
                <a:cubicBezTo>
                  <a:pt x="138" y="138"/>
                  <a:pt x="139" y="137"/>
                  <a:pt x="139" y="136"/>
                </a:cubicBezTo>
                <a:cubicBezTo>
                  <a:pt x="140" y="136"/>
                  <a:pt x="140" y="135"/>
                  <a:pt x="141" y="135"/>
                </a:cubicBezTo>
                <a:cubicBezTo>
                  <a:pt x="141" y="135"/>
                  <a:pt x="141" y="134"/>
                  <a:pt x="141" y="134"/>
                </a:cubicBezTo>
                <a:cubicBezTo>
                  <a:pt x="141" y="133"/>
                  <a:pt x="141" y="132"/>
                  <a:pt x="141" y="131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2" name="Freeform 40">
            <a:extLst>
              <a:ext uri="{FF2B5EF4-FFF2-40B4-BE49-F238E27FC236}">
                <a16:creationId xmlns:a16="http://schemas.microsoft.com/office/drawing/2014/main" id="{C3C0A478-0ADD-4EC0-9401-7F6D0D237F22}"/>
              </a:ext>
            </a:extLst>
          </p:cNvPr>
          <p:cNvSpPr>
            <a:spLocks noEditPoints="1"/>
          </p:cNvSpPr>
          <p:nvPr/>
        </p:nvSpPr>
        <p:spPr bwMode="auto">
          <a:xfrm>
            <a:off x="8195125" y="4184058"/>
            <a:ext cx="677403" cy="634447"/>
          </a:xfrm>
          <a:custGeom>
            <a:avLst/>
            <a:gdLst>
              <a:gd name="T0" fmla="*/ 150 w 171"/>
              <a:gd name="T1" fmla="*/ 151 h 160"/>
              <a:gd name="T2" fmla="*/ 159 w 171"/>
              <a:gd name="T3" fmla="*/ 153 h 160"/>
              <a:gd name="T4" fmla="*/ 159 w 171"/>
              <a:gd name="T5" fmla="*/ 155 h 160"/>
              <a:gd name="T6" fmla="*/ 166 w 171"/>
              <a:gd name="T7" fmla="*/ 150 h 160"/>
              <a:gd name="T8" fmla="*/ 171 w 171"/>
              <a:gd name="T9" fmla="*/ 156 h 160"/>
              <a:gd name="T10" fmla="*/ 150 w 171"/>
              <a:gd name="T11" fmla="*/ 104 h 160"/>
              <a:gd name="T12" fmla="*/ 83 w 171"/>
              <a:gd name="T13" fmla="*/ 77 h 160"/>
              <a:gd name="T14" fmla="*/ 86 w 171"/>
              <a:gd name="T15" fmla="*/ 65 h 160"/>
              <a:gd name="T16" fmla="*/ 90 w 171"/>
              <a:gd name="T17" fmla="*/ 59 h 160"/>
              <a:gd name="T18" fmla="*/ 94 w 171"/>
              <a:gd name="T19" fmla="*/ 52 h 160"/>
              <a:gd name="T20" fmla="*/ 97 w 171"/>
              <a:gd name="T21" fmla="*/ 46 h 160"/>
              <a:gd name="T22" fmla="*/ 103 w 171"/>
              <a:gd name="T23" fmla="*/ 38 h 160"/>
              <a:gd name="T24" fmla="*/ 99 w 171"/>
              <a:gd name="T25" fmla="*/ 34 h 160"/>
              <a:gd name="T26" fmla="*/ 109 w 171"/>
              <a:gd name="T27" fmla="*/ 27 h 160"/>
              <a:gd name="T28" fmla="*/ 102 w 171"/>
              <a:gd name="T29" fmla="*/ 20 h 160"/>
              <a:gd name="T30" fmla="*/ 100 w 171"/>
              <a:gd name="T31" fmla="*/ 18 h 160"/>
              <a:gd name="T32" fmla="*/ 100 w 171"/>
              <a:gd name="T33" fmla="*/ 7 h 160"/>
              <a:gd name="T34" fmla="*/ 99 w 171"/>
              <a:gd name="T35" fmla="*/ 0 h 160"/>
              <a:gd name="T36" fmla="*/ 10 w 171"/>
              <a:gd name="T37" fmla="*/ 63 h 160"/>
              <a:gd name="T38" fmla="*/ 17 w 171"/>
              <a:gd name="T39" fmla="*/ 75 h 160"/>
              <a:gd name="T40" fmla="*/ 15 w 171"/>
              <a:gd name="T41" fmla="*/ 94 h 160"/>
              <a:gd name="T42" fmla="*/ 11 w 171"/>
              <a:gd name="T43" fmla="*/ 120 h 160"/>
              <a:gd name="T44" fmla="*/ 7 w 171"/>
              <a:gd name="T45" fmla="*/ 134 h 160"/>
              <a:gd name="T46" fmla="*/ 37 w 171"/>
              <a:gd name="T47" fmla="*/ 134 h 160"/>
              <a:gd name="T48" fmla="*/ 65 w 171"/>
              <a:gd name="T49" fmla="*/ 140 h 160"/>
              <a:gd name="T50" fmla="*/ 64 w 171"/>
              <a:gd name="T51" fmla="*/ 134 h 160"/>
              <a:gd name="T52" fmla="*/ 71 w 171"/>
              <a:gd name="T53" fmla="*/ 128 h 160"/>
              <a:gd name="T54" fmla="*/ 77 w 171"/>
              <a:gd name="T55" fmla="*/ 129 h 160"/>
              <a:gd name="T56" fmla="*/ 84 w 171"/>
              <a:gd name="T57" fmla="*/ 137 h 160"/>
              <a:gd name="T58" fmla="*/ 94 w 171"/>
              <a:gd name="T59" fmla="*/ 142 h 160"/>
              <a:gd name="T60" fmla="*/ 97 w 171"/>
              <a:gd name="T61" fmla="*/ 143 h 160"/>
              <a:gd name="T62" fmla="*/ 94 w 171"/>
              <a:gd name="T63" fmla="*/ 151 h 160"/>
              <a:gd name="T64" fmla="*/ 104 w 171"/>
              <a:gd name="T65" fmla="*/ 154 h 160"/>
              <a:gd name="T66" fmla="*/ 111 w 171"/>
              <a:gd name="T67" fmla="*/ 154 h 160"/>
              <a:gd name="T68" fmla="*/ 117 w 171"/>
              <a:gd name="T69" fmla="*/ 152 h 160"/>
              <a:gd name="T70" fmla="*/ 123 w 171"/>
              <a:gd name="T71" fmla="*/ 149 h 160"/>
              <a:gd name="T72" fmla="*/ 136 w 171"/>
              <a:gd name="T73" fmla="*/ 156 h 160"/>
              <a:gd name="T74" fmla="*/ 134 w 171"/>
              <a:gd name="T75" fmla="*/ 139 h 160"/>
              <a:gd name="T76" fmla="*/ 128 w 171"/>
              <a:gd name="T77" fmla="*/ 133 h 160"/>
              <a:gd name="T78" fmla="*/ 135 w 171"/>
              <a:gd name="T79" fmla="*/ 137 h 160"/>
              <a:gd name="T80" fmla="*/ 150 w 171"/>
              <a:gd name="T81" fmla="*/ 147 h 160"/>
              <a:gd name="T82" fmla="*/ 162 w 171"/>
              <a:gd name="T83" fmla="*/ 151 h 160"/>
              <a:gd name="T84" fmla="*/ 158 w 171"/>
              <a:gd name="T85" fmla="*/ 147 h 160"/>
              <a:gd name="T86" fmla="*/ 149 w 171"/>
              <a:gd name="T87" fmla="*/ 139 h 160"/>
              <a:gd name="T88" fmla="*/ 149 w 171"/>
              <a:gd name="T89" fmla="*/ 137 h 160"/>
              <a:gd name="T90" fmla="*/ 153 w 171"/>
              <a:gd name="T91" fmla="*/ 134 h 160"/>
              <a:gd name="T92" fmla="*/ 159 w 171"/>
              <a:gd name="T93" fmla="*/ 133 h 160"/>
              <a:gd name="T94" fmla="*/ 159 w 171"/>
              <a:gd name="T95" fmla="*/ 120 h 160"/>
              <a:gd name="T96" fmla="*/ 146 w 171"/>
              <a:gd name="T97" fmla="*/ 126 h 160"/>
              <a:gd name="T98" fmla="*/ 148 w 171"/>
              <a:gd name="T99" fmla="*/ 116 h 160"/>
              <a:gd name="T100" fmla="*/ 132 w 171"/>
              <a:gd name="T101" fmla="*/ 121 h 160"/>
              <a:gd name="T102" fmla="*/ 128 w 171"/>
              <a:gd name="T103" fmla="*/ 112 h 160"/>
              <a:gd name="T104" fmla="*/ 124 w 171"/>
              <a:gd name="T105" fmla="*/ 109 h 160"/>
              <a:gd name="T106" fmla="*/ 139 w 171"/>
              <a:gd name="T107" fmla="*/ 110 h 160"/>
              <a:gd name="T108" fmla="*/ 152 w 171"/>
              <a:gd name="T109" fmla="*/ 114 h 160"/>
              <a:gd name="T110" fmla="*/ 73 w 171"/>
              <a:gd name="T111" fmla="*/ 142 h 160"/>
              <a:gd name="T112" fmla="*/ 77 w 171"/>
              <a:gd name="T113" fmla="*/ 139 h 160"/>
              <a:gd name="T114" fmla="*/ 70 w 171"/>
              <a:gd name="T115" fmla="*/ 14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1" h="160">
                <a:moveTo>
                  <a:pt x="148" y="150"/>
                </a:moveTo>
                <a:cubicBezTo>
                  <a:pt x="148" y="150"/>
                  <a:pt x="148" y="150"/>
                  <a:pt x="149" y="149"/>
                </a:cubicBezTo>
                <a:cubicBezTo>
                  <a:pt x="149" y="149"/>
                  <a:pt x="149" y="149"/>
                  <a:pt x="149" y="149"/>
                </a:cubicBezTo>
                <a:cubicBezTo>
                  <a:pt x="149" y="148"/>
                  <a:pt x="149" y="148"/>
                  <a:pt x="149" y="148"/>
                </a:cubicBezTo>
                <a:cubicBezTo>
                  <a:pt x="149" y="148"/>
                  <a:pt x="150" y="148"/>
                  <a:pt x="150" y="148"/>
                </a:cubicBezTo>
                <a:cubicBezTo>
                  <a:pt x="150" y="147"/>
                  <a:pt x="151" y="148"/>
                  <a:pt x="151" y="148"/>
                </a:cubicBezTo>
                <a:cubicBezTo>
                  <a:pt x="151" y="149"/>
                  <a:pt x="151" y="149"/>
                  <a:pt x="151" y="149"/>
                </a:cubicBezTo>
                <a:cubicBezTo>
                  <a:pt x="151" y="150"/>
                  <a:pt x="150" y="150"/>
                  <a:pt x="150" y="150"/>
                </a:cubicBezTo>
                <a:cubicBezTo>
                  <a:pt x="150" y="151"/>
                  <a:pt x="150" y="151"/>
                  <a:pt x="150" y="151"/>
                </a:cubicBezTo>
                <a:cubicBezTo>
                  <a:pt x="149" y="151"/>
                  <a:pt x="149" y="151"/>
                  <a:pt x="148" y="150"/>
                </a:cubicBezTo>
                <a:close/>
                <a:moveTo>
                  <a:pt x="160" y="155"/>
                </a:moveTo>
                <a:cubicBezTo>
                  <a:pt x="160" y="155"/>
                  <a:pt x="160" y="155"/>
                  <a:pt x="160" y="154"/>
                </a:cubicBezTo>
                <a:cubicBezTo>
                  <a:pt x="161" y="154"/>
                  <a:pt x="161" y="154"/>
                  <a:pt x="161" y="153"/>
                </a:cubicBezTo>
                <a:cubicBezTo>
                  <a:pt x="161" y="153"/>
                  <a:pt x="161" y="153"/>
                  <a:pt x="162" y="152"/>
                </a:cubicBezTo>
                <a:cubicBezTo>
                  <a:pt x="162" y="152"/>
                  <a:pt x="162" y="152"/>
                  <a:pt x="162" y="152"/>
                </a:cubicBezTo>
                <a:cubicBezTo>
                  <a:pt x="161" y="152"/>
                  <a:pt x="161" y="152"/>
                  <a:pt x="161" y="152"/>
                </a:cubicBezTo>
                <a:cubicBezTo>
                  <a:pt x="161" y="152"/>
                  <a:pt x="161" y="152"/>
                  <a:pt x="161" y="152"/>
                </a:cubicBezTo>
                <a:cubicBezTo>
                  <a:pt x="160" y="153"/>
                  <a:pt x="160" y="153"/>
                  <a:pt x="159" y="153"/>
                </a:cubicBezTo>
                <a:cubicBezTo>
                  <a:pt x="159" y="153"/>
                  <a:pt x="159" y="152"/>
                  <a:pt x="159" y="152"/>
                </a:cubicBezTo>
                <a:cubicBezTo>
                  <a:pt x="158" y="152"/>
                  <a:pt x="158" y="151"/>
                  <a:pt x="158" y="151"/>
                </a:cubicBezTo>
                <a:cubicBezTo>
                  <a:pt x="158" y="151"/>
                  <a:pt x="158" y="151"/>
                  <a:pt x="158" y="151"/>
                </a:cubicBezTo>
                <a:cubicBezTo>
                  <a:pt x="157" y="151"/>
                  <a:pt x="157" y="151"/>
                  <a:pt x="157" y="151"/>
                </a:cubicBezTo>
                <a:cubicBezTo>
                  <a:pt x="157" y="151"/>
                  <a:pt x="157" y="151"/>
                  <a:pt x="157" y="151"/>
                </a:cubicBezTo>
                <a:cubicBezTo>
                  <a:pt x="157" y="152"/>
                  <a:pt x="157" y="152"/>
                  <a:pt x="157" y="152"/>
                </a:cubicBezTo>
                <a:cubicBezTo>
                  <a:pt x="157" y="153"/>
                  <a:pt x="157" y="153"/>
                  <a:pt x="157" y="153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8" y="155"/>
                  <a:pt x="158" y="155"/>
                  <a:pt x="159" y="155"/>
                </a:cubicBezTo>
                <a:cubicBezTo>
                  <a:pt x="159" y="156"/>
                  <a:pt x="159" y="156"/>
                  <a:pt x="159" y="156"/>
                </a:cubicBezTo>
                <a:cubicBezTo>
                  <a:pt x="160" y="156"/>
                  <a:pt x="160" y="156"/>
                  <a:pt x="160" y="155"/>
                </a:cubicBezTo>
                <a:close/>
                <a:moveTo>
                  <a:pt x="168" y="152"/>
                </a:moveTo>
                <a:cubicBezTo>
                  <a:pt x="168" y="152"/>
                  <a:pt x="168" y="152"/>
                  <a:pt x="169" y="152"/>
                </a:cubicBezTo>
                <a:cubicBezTo>
                  <a:pt x="169" y="153"/>
                  <a:pt x="169" y="153"/>
                  <a:pt x="169" y="153"/>
                </a:cubicBezTo>
                <a:cubicBezTo>
                  <a:pt x="170" y="152"/>
                  <a:pt x="169" y="152"/>
                  <a:pt x="169" y="152"/>
                </a:cubicBezTo>
                <a:cubicBezTo>
                  <a:pt x="169" y="152"/>
                  <a:pt x="169" y="151"/>
                  <a:pt x="168" y="150"/>
                </a:cubicBezTo>
                <a:cubicBezTo>
                  <a:pt x="168" y="150"/>
                  <a:pt x="167" y="150"/>
                  <a:pt x="167" y="150"/>
                </a:cubicBezTo>
                <a:cubicBezTo>
                  <a:pt x="166" y="150"/>
                  <a:pt x="166" y="150"/>
                  <a:pt x="166" y="150"/>
                </a:cubicBezTo>
                <a:cubicBezTo>
                  <a:pt x="166" y="151"/>
                  <a:pt x="166" y="151"/>
                  <a:pt x="166" y="151"/>
                </a:cubicBezTo>
                <a:cubicBezTo>
                  <a:pt x="167" y="151"/>
                  <a:pt x="167" y="152"/>
                  <a:pt x="168" y="152"/>
                </a:cubicBezTo>
                <a:close/>
                <a:moveTo>
                  <a:pt x="168" y="160"/>
                </a:moveTo>
                <a:cubicBezTo>
                  <a:pt x="168" y="160"/>
                  <a:pt x="168" y="160"/>
                  <a:pt x="169" y="160"/>
                </a:cubicBezTo>
                <a:cubicBezTo>
                  <a:pt x="169" y="160"/>
                  <a:pt x="169" y="160"/>
                  <a:pt x="169" y="160"/>
                </a:cubicBezTo>
                <a:cubicBezTo>
                  <a:pt x="170" y="159"/>
                  <a:pt x="170" y="159"/>
                  <a:pt x="170" y="158"/>
                </a:cubicBezTo>
                <a:cubicBezTo>
                  <a:pt x="170" y="158"/>
                  <a:pt x="170" y="158"/>
                  <a:pt x="170" y="158"/>
                </a:cubicBezTo>
                <a:cubicBezTo>
                  <a:pt x="170" y="158"/>
                  <a:pt x="170" y="157"/>
                  <a:pt x="170" y="157"/>
                </a:cubicBezTo>
                <a:cubicBezTo>
                  <a:pt x="170" y="157"/>
                  <a:pt x="170" y="156"/>
                  <a:pt x="171" y="156"/>
                </a:cubicBezTo>
                <a:cubicBezTo>
                  <a:pt x="171" y="156"/>
                  <a:pt x="171" y="156"/>
                  <a:pt x="171" y="156"/>
                </a:cubicBezTo>
                <a:cubicBezTo>
                  <a:pt x="171" y="155"/>
                  <a:pt x="170" y="156"/>
                  <a:pt x="170" y="156"/>
                </a:cubicBezTo>
                <a:cubicBezTo>
                  <a:pt x="170" y="156"/>
                  <a:pt x="169" y="156"/>
                  <a:pt x="169" y="156"/>
                </a:cubicBezTo>
                <a:cubicBezTo>
                  <a:pt x="169" y="156"/>
                  <a:pt x="169" y="157"/>
                  <a:pt x="168" y="157"/>
                </a:cubicBezTo>
                <a:cubicBezTo>
                  <a:pt x="168" y="157"/>
                  <a:pt x="168" y="157"/>
                  <a:pt x="167" y="158"/>
                </a:cubicBezTo>
                <a:cubicBezTo>
                  <a:pt x="167" y="158"/>
                  <a:pt x="167" y="158"/>
                  <a:pt x="167" y="159"/>
                </a:cubicBezTo>
                <a:cubicBezTo>
                  <a:pt x="167" y="159"/>
                  <a:pt x="168" y="160"/>
                  <a:pt x="168" y="160"/>
                </a:cubicBezTo>
                <a:close/>
                <a:moveTo>
                  <a:pt x="152" y="113"/>
                </a:moveTo>
                <a:cubicBezTo>
                  <a:pt x="152" y="113"/>
                  <a:pt x="150" y="104"/>
                  <a:pt x="150" y="104"/>
                </a:cubicBezTo>
                <a:cubicBezTo>
                  <a:pt x="145" y="96"/>
                  <a:pt x="145" y="96"/>
                  <a:pt x="145" y="96"/>
                </a:cubicBezTo>
                <a:cubicBezTo>
                  <a:pt x="145" y="95"/>
                  <a:pt x="145" y="95"/>
                  <a:pt x="145" y="95"/>
                </a:cubicBezTo>
                <a:cubicBezTo>
                  <a:pt x="145" y="95"/>
                  <a:pt x="148" y="85"/>
                  <a:pt x="148" y="85"/>
                </a:cubicBezTo>
                <a:cubicBezTo>
                  <a:pt x="148" y="85"/>
                  <a:pt x="148" y="82"/>
                  <a:pt x="148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3" y="82"/>
                  <a:pt x="84" y="81"/>
                  <a:pt x="84" y="81"/>
                </a:cubicBezTo>
                <a:cubicBezTo>
                  <a:pt x="84" y="81"/>
                  <a:pt x="85" y="80"/>
                  <a:pt x="85" y="80"/>
                </a:cubicBezTo>
                <a:cubicBezTo>
                  <a:pt x="85" y="79"/>
                  <a:pt x="83" y="78"/>
                  <a:pt x="83" y="78"/>
                </a:cubicBezTo>
                <a:cubicBezTo>
                  <a:pt x="83" y="78"/>
                  <a:pt x="83" y="77"/>
                  <a:pt x="83" y="77"/>
                </a:cubicBezTo>
                <a:cubicBezTo>
                  <a:pt x="83" y="76"/>
                  <a:pt x="84" y="75"/>
                  <a:pt x="84" y="75"/>
                </a:cubicBezTo>
                <a:cubicBezTo>
                  <a:pt x="84" y="75"/>
                  <a:pt x="84" y="74"/>
                  <a:pt x="84" y="74"/>
                </a:cubicBezTo>
                <a:cubicBezTo>
                  <a:pt x="83" y="73"/>
                  <a:pt x="83" y="73"/>
                  <a:pt x="83" y="72"/>
                </a:cubicBezTo>
                <a:cubicBezTo>
                  <a:pt x="83" y="72"/>
                  <a:pt x="83" y="72"/>
                  <a:pt x="83" y="72"/>
                </a:cubicBezTo>
                <a:cubicBezTo>
                  <a:pt x="83" y="72"/>
                  <a:pt x="84" y="72"/>
                  <a:pt x="85" y="71"/>
                </a:cubicBezTo>
                <a:cubicBezTo>
                  <a:pt x="86" y="71"/>
                  <a:pt x="87" y="71"/>
                  <a:pt x="87" y="71"/>
                </a:cubicBezTo>
                <a:cubicBezTo>
                  <a:pt x="87" y="71"/>
                  <a:pt x="86" y="69"/>
                  <a:pt x="86" y="68"/>
                </a:cubicBezTo>
                <a:cubicBezTo>
                  <a:pt x="85" y="67"/>
                  <a:pt x="85" y="66"/>
                  <a:pt x="85" y="65"/>
                </a:cubicBezTo>
                <a:cubicBezTo>
                  <a:pt x="85" y="65"/>
                  <a:pt x="86" y="65"/>
                  <a:pt x="86" y="65"/>
                </a:cubicBezTo>
                <a:cubicBezTo>
                  <a:pt x="87" y="65"/>
                  <a:pt x="86" y="66"/>
                  <a:pt x="86" y="66"/>
                </a:cubicBezTo>
                <a:cubicBezTo>
                  <a:pt x="87" y="67"/>
                  <a:pt x="87" y="68"/>
                  <a:pt x="88" y="67"/>
                </a:cubicBezTo>
                <a:cubicBezTo>
                  <a:pt x="88" y="67"/>
                  <a:pt x="88" y="66"/>
                  <a:pt x="88" y="66"/>
                </a:cubicBezTo>
                <a:cubicBezTo>
                  <a:pt x="88" y="65"/>
                  <a:pt x="88" y="64"/>
                  <a:pt x="87" y="64"/>
                </a:cubicBezTo>
                <a:cubicBezTo>
                  <a:pt x="87" y="63"/>
                  <a:pt x="87" y="63"/>
                  <a:pt x="87" y="63"/>
                </a:cubicBezTo>
                <a:cubicBezTo>
                  <a:pt x="87" y="62"/>
                  <a:pt x="87" y="62"/>
                  <a:pt x="87" y="62"/>
                </a:cubicBezTo>
                <a:cubicBezTo>
                  <a:pt x="86" y="61"/>
                  <a:pt x="88" y="61"/>
                  <a:pt x="88" y="60"/>
                </a:cubicBezTo>
                <a:cubicBezTo>
                  <a:pt x="89" y="60"/>
                  <a:pt x="89" y="60"/>
                  <a:pt x="90" y="59"/>
                </a:cubicBezTo>
                <a:cubicBezTo>
                  <a:pt x="90" y="59"/>
                  <a:pt x="90" y="59"/>
                  <a:pt x="90" y="59"/>
                </a:cubicBezTo>
                <a:cubicBezTo>
                  <a:pt x="90" y="58"/>
                  <a:pt x="89" y="58"/>
                  <a:pt x="89" y="58"/>
                </a:cubicBezTo>
                <a:cubicBezTo>
                  <a:pt x="88" y="58"/>
                  <a:pt x="88" y="58"/>
                  <a:pt x="87" y="57"/>
                </a:cubicBezTo>
                <a:cubicBezTo>
                  <a:pt x="87" y="57"/>
                  <a:pt x="87" y="57"/>
                  <a:pt x="88" y="57"/>
                </a:cubicBezTo>
                <a:cubicBezTo>
                  <a:pt x="88" y="57"/>
                  <a:pt x="89" y="57"/>
                  <a:pt x="90" y="57"/>
                </a:cubicBezTo>
                <a:cubicBezTo>
                  <a:pt x="90" y="57"/>
                  <a:pt x="90" y="58"/>
                  <a:pt x="91" y="58"/>
                </a:cubicBezTo>
                <a:cubicBezTo>
                  <a:pt x="91" y="57"/>
                  <a:pt x="91" y="55"/>
                  <a:pt x="92" y="53"/>
                </a:cubicBezTo>
                <a:cubicBezTo>
                  <a:pt x="92" y="53"/>
                  <a:pt x="92" y="53"/>
                  <a:pt x="92" y="52"/>
                </a:cubicBezTo>
                <a:cubicBezTo>
                  <a:pt x="93" y="52"/>
                  <a:pt x="93" y="52"/>
                  <a:pt x="93" y="52"/>
                </a:cubicBezTo>
                <a:cubicBezTo>
                  <a:pt x="93" y="52"/>
                  <a:pt x="94" y="52"/>
                  <a:pt x="94" y="52"/>
                </a:cubicBezTo>
                <a:cubicBezTo>
                  <a:pt x="94" y="52"/>
                  <a:pt x="95" y="52"/>
                  <a:pt x="95" y="51"/>
                </a:cubicBezTo>
                <a:cubicBezTo>
                  <a:pt x="95" y="51"/>
                  <a:pt x="94" y="51"/>
                  <a:pt x="94" y="51"/>
                </a:cubicBezTo>
                <a:cubicBezTo>
                  <a:pt x="94" y="51"/>
                  <a:pt x="93" y="51"/>
                  <a:pt x="93" y="51"/>
                </a:cubicBezTo>
                <a:cubicBezTo>
                  <a:pt x="92" y="50"/>
                  <a:pt x="93" y="49"/>
                  <a:pt x="93" y="49"/>
                </a:cubicBezTo>
                <a:cubicBezTo>
                  <a:pt x="93" y="48"/>
                  <a:pt x="94" y="47"/>
                  <a:pt x="94" y="48"/>
                </a:cubicBezTo>
                <a:cubicBezTo>
                  <a:pt x="95" y="48"/>
                  <a:pt x="94" y="49"/>
                  <a:pt x="95" y="49"/>
                </a:cubicBezTo>
                <a:cubicBezTo>
                  <a:pt x="95" y="49"/>
                  <a:pt x="95" y="49"/>
                  <a:pt x="96" y="49"/>
                </a:cubicBezTo>
                <a:cubicBezTo>
                  <a:pt x="96" y="48"/>
                  <a:pt x="96" y="47"/>
                  <a:pt x="96" y="47"/>
                </a:cubicBezTo>
                <a:cubicBezTo>
                  <a:pt x="96" y="46"/>
                  <a:pt x="97" y="46"/>
                  <a:pt x="97" y="46"/>
                </a:cubicBezTo>
                <a:cubicBezTo>
                  <a:pt x="98" y="45"/>
                  <a:pt x="98" y="45"/>
                  <a:pt x="98" y="45"/>
                </a:cubicBezTo>
                <a:cubicBezTo>
                  <a:pt x="98" y="44"/>
                  <a:pt x="99" y="43"/>
                  <a:pt x="100" y="42"/>
                </a:cubicBezTo>
                <a:cubicBezTo>
                  <a:pt x="101" y="42"/>
                  <a:pt x="102" y="42"/>
                  <a:pt x="101" y="41"/>
                </a:cubicBezTo>
                <a:cubicBezTo>
                  <a:pt x="101" y="40"/>
                  <a:pt x="101" y="40"/>
                  <a:pt x="101" y="40"/>
                </a:cubicBezTo>
                <a:cubicBezTo>
                  <a:pt x="100" y="39"/>
                  <a:pt x="99" y="39"/>
                  <a:pt x="99" y="39"/>
                </a:cubicBezTo>
                <a:cubicBezTo>
                  <a:pt x="99" y="38"/>
                  <a:pt x="100" y="38"/>
                  <a:pt x="100" y="38"/>
                </a:cubicBezTo>
                <a:cubicBezTo>
                  <a:pt x="100" y="39"/>
                  <a:pt x="100" y="39"/>
                  <a:pt x="101" y="39"/>
                </a:cubicBezTo>
                <a:cubicBezTo>
                  <a:pt x="101" y="39"/>
                  <a:pt x="102" y="40"/>
                  <a:pt x="102" y="39"/>
                </a:cubicBezTo>
                <a:cubicBezTo>
                  <a:pt x="102" y="39"/>
                  <a:pt x="103" y="38"/>
                  <a:pt x="103" y="38"/>
                </a:cubicBezTo>
                <a:cubicBezTo>
                  <a:pt x="103" y="38"/>
                  <a:pt x="103" y="37"/>
                  <a:pt x="104" y="37"/>
                </a:cubicBezTo>
                <a:cubicBezTo>
                  <a:pt x="104" y="37"/>
                  <a:pt x="104" y="37"/>
                  <a:pt x="104" y="37"/>
                </a:cubicBezTo>
                <a:cubicBezTo>
                  <a:pt x="104" y="36"/>
                  <a:pt x="104" y="36"/>
                  <a:pt x="104" y="35"/>
                </a:cubicBezTo>
                <a:cubicBezTo>
                  <a:pt x="104" y="35"/>
                  <a:pt x="103" y="34"/>
                  <a:pt x="103" y="34"/>
                </a:cubicBezTo>
                <a:cubicBezTo>
                  <a:pt x="103" y="35"/>
                  <a:pt x="103" y="35"/>
                  <a:pt x="103" y="35"/>
                </a:cubicBezTo>
                <a:cubicBezTo>
                  <a:pt x="103" y="35"/>
                  <a:pt x="103" y="36"/>
                  <a:pt x="103" y="36"/>
                </a:cubicBezTo>
                <a:cubicBezTo>
                  <a:pt x="103" y="36"/>
                  <a:pt x="102" y="36"/>
                  <a:pt x="102" y="37"/>
                </a:cubicBezTo>
                <a:cubicBezTo>
                  <a:pt x="101" y="37"/>
                  <a:pt x="100" y="37"/>
                  <a:pt x="100" y="36"/>
                </a:cubicBezTo>
                <a:cubicBezTo>
                  <a:pt x="99" y="36"/>
                  <a:pt x="99" y="35"/>
                  <a:pt x="99" y="34"/>
                </a:cubicBezTo>
                <a:cubicBezTo>
                  <a:pt x="99" y="34"/>
                  <a:pt x="99" y="33"/>
                  <a:pt x="100" y="33"/>
                </a:cubicBezTo>
                <a:cubicBezTo>
                  <a:pt x="101" y="33"/>
                  <a:pt x="101" y="33"/>
                  <a:pt x="102" y="33"/>
                </a:cubicBezTo>
                <a:cubicBezTo>
                  <a:pt x="102" y="32"/>
                  <a:pt x="103" y="32"/>
                  <a:pt x="104" y="32"/>
                </a:cubicBezTo>
                <a:cubicBezTo>
                  <a:pt x="104" y="33"/>
                  <a:pt x="104" y="33"/>
                  <a:pt x="104" y="33"/>
                </a:cubicBezTo>
                <a:cubicBezTo>
                  <a:pt x="104" y="33"/>
                  <a:pt x="104" y="34"/>
                  <a:pt x="105" y="34"/>
                </a:cubicBezTo>
                <a:cubicBezTo>
                  <a:pt x="106" y="34"/>
                  <a:pt x="105" y="32"/>
                  <a:pt x="105" y="32"/>
                </a:cubicBezTo>
                <a:cubicBezTo>
                  <a:pt x="105" y="31"/>
                  <a:pt x="105" y="30"/>
                  <a:pt x="106" y="30"/>
                </a:cubicBezTo>
                <a:cubicBezTo>
                  <a:pt x="106" y="30"/>
                  <a:pt x="108" y="29"/>
                  <a:pt x="108" y="29"/>
                </a:cubicBezTo>
                <a:cubicBezTo>
                  <a:pt x="109" y="29"/>
                  <a:pt x="109" y="28"/>
                  <a:pt x="109" y="27"/>
                </a:cubicBezTo>
                <a:cubicBezTo>
                  <a:pt x="108" y="27"/>
                  <a:pt x="108" y="28"/>
                  <a:pt x="107" y="28"/>
                </a:cubicBezTo>
                <a:cubicBezTo>
                  <a:pt x="107" y="28"/>
                  <a:pt x="105" y="28"/>
                  <a:pt x="105" y="27"/>
                </a:cubicBezTo>
                <a:cubicBezTo>
                  <a:pt x="105" y="26"/>
                  <a:pt x="106" y="25"/>
                  <a:pt x="106" y="24"/>
                </a:cubicBezTo>
                <a:cubicBezTo>
                  <a:pt x="105" y="24"/>
                  <a:pt x="105" y="24"/>
                  <a:pt x="104" y="24"/>
                </a:cubicBezTo>
                <a:cubicBezTo>
                  <a:pt x="104" y="24"/>
                  <a:pt x="103" y="24"/>
                  <a:pt x="103" y="24"/>
                </a:cubicBezTo>
                <a:cubicBezTo>
                  <a:pt x="102" y="24"/>
                  <a:pt x="102" y="23"/>
                  <a:pt x="101" y="23"/>
                </a:cubicBezTo>
                <a:cubicBezTo>
                  <a:pt x="101" y="23"/>
                  <a:pt x="101" y="22"/>
                  <a:pt x="101" y="22"/>
                </a:cubicBezTo>
                <a:cubicBezTo>
                  <a:pt x="101" y="21"/>
                  <a:pt x="101" y="21"/>
                  <a:pt x="101" y="20"/>
                </a:cubicBezTo>
                <a:cubicBezTo>
                  <a:pt x="101" y="20"/>
                  <a:pt x="101" y="19"/>
                  <a:pt x="102" y="20"/>
                </a:cubicBezTo>
                <a:cubicBezTo>
                  <a:pt x="102" y="20"/>
                  <a:pt x="102" y="21"/>
                  <a:pt x="103" y="21"/>
                </a:cubicBezTo>
                <a:cubicBezTo>
                  <a:pt x="103" y="21"/>
                  <a:pt x="105" y="22"/>
                  <a:pt x="105" y="22"/>
                </a:cubicBezTo>
                <a:cubicBezTo>
                  <a:pt x="105" y="21"/>
                  <a:pt x="104" y="20"/>
                  <a:pt x="103" y="20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103" y="19"/>
                  <a:pt x="102" y="19"/>
                  <a:pt x="102" y="19"/>
                </a:cubicBezTo>
                <a:cubicBezTo>
                  <a:pt x="103" y="18"/>
                  <a:pt x="104" y="18"/>
                  <a:pt x="104" y="17"/>
                </a:cubicBezTo>
                <a:cubicBezTo>
                  <a:pt x="105" y="16"/>
                  <a:pt x="105" y="16"/>
                  <a:pt x="104" y="16"/>
                </a:cubicBezTo>
                <a:cubicBezTo>
                  <a:pt x="103" y="16"/>
                  <a:pt x="103" y="16"/>
                  <a:pt x="102" y="17"/>
                </a:cubicBezTo>
                <a:cubicBezTo>
                  <a:pt x="102" y="17"/>
                  <a:pt x="101" y="18"/>
                  <a:pt x="100" y="18"/>
                </a:cubicBezTo>
                <a:cubicBezTo>
                  <a:pt x="100" y="18"/>
                  <a:pt x="100" y="17"/>
                  <a:pt x="100" y="17"/>
                </a:cubicBezTo>
                <a:cubicBezTo>
                  <a:pt x="100" y="16"/>
                  <a:pt x="101" y="15"/>
                  <a:pt x="101" y="14"/>
                </a:cubicBezTo>
                <a:cubicBezTo>
                  <a:pt x="101" y="14"/>
                  <a:pt x="102" y="13"/>
                  <a:pt x="102" y="13"/>
                </a:cubicBezTo>
                <a:cubicBezTo>
                  <a:pt x="103" y="12"/>
                  <a:pt x="103" y="12"/>
                  <a:pt x="102" y="12"/>
                </a:cubicBezTo>
                <a:cubicBezTo>
                  <a:pt x="101" y="12"/>
                  <a:pt x="100" y="12"/>
                  <a:pt x="99" y="11"/>
                </a:cubicBezTo>
                <a:cubicBezTo>
                  <a:pt x="99" y="11"/>
                  <a:pt x="99" y="10"/>
                  <a:pt x="99" y="10"/>
                </a:cubicBezTo>
                <a:cubicBezTo>
                  <a:pt x="99" y="10"/>
                  <a:pt x="99" y="9"/>
                  <a:pt x="99" y="9"/>
                </a:cubicBezTo>
                <a:cubicBezTo>
                  <a:pt x="99" y="9"/>
                  <a:pt x="99" y="8"/>
                  <a:pt x="99" y="8"/>
                </a:cubicBezTo>
                <a:cubicBezTo>
                  <a:pt x="99" y="8"/>
                  <a:pt x="100" y="8"/>
                  <a:pt x="100" y="7"/>
                </a:cubicBezTo>
                <a:cubicBezTo>
                  <a:pt x="101" y="7"/>
                  <a:pt x="103" y="6"/>
                  <a:pt x="102" y="4"/>
                </a:cubicBezTo>
                <a:cubicBezTo>
                  <a:pt x="102" y="3"/>
                  <a:pt x="102" y="3"/>
                  <a:pt x="101" y="2"/>
                </a:cubicBezTo>
                <a:cubicBezTo>
                  <a:pt x="101" y="2"/>
                  <a:pt x="101" y="1"/>
                  <a:pt x="100" y="1"/>
                </a:cubicBezTo>
                <a:cubicBezTo>
                  <a:pt x="100" y="1"/>
                  <a:pt x="100" y="2"/>
                  <a:pt x="100" y="2"/>
                </a:cubicBezTo>
                <a:cubicBezTo>
                  <a:pt x="100" y="3"/>
                  <a:pt x="100" y="3"/>
                  <a:pt x="100" y="3"/>
                </a:cubicBezTo>
                <a:cubicBezTo>
                  <a:pt x="100" y="4"/>
                  <a:pt x="100" y="4"/>
                  <a:pt x="99" y="5"/>
                </a:cubicBezTo>
                <a:cubicBezTo>
                  <a:pt x="98" y="5"/>
                  <a:pt x="97" y="4"/>
                  <a:pt x="97" y="3"/>
                </a:cubicBezTo>
                <a:cubicBezTo>
                  <a:pt x="97" y="3"/>
                  <a:pt x="98" y="2"/>
                  <a:pt x="98" y="2"/>
                </a:cubicBezTo>
                <a:cubicBezTo>
                  <a:pt x="99" y="0"/>
                  <a:pt x="99" y="0"/>
                  <a:pt x="9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42"/>
                  <a:pt x="6" y="48"/>
                  <a:pt x="6" y="49"/>
                </a:cubicBezTo>
                <a:cubicBezTo>
                  <a:pt x="6" y="49"/>
                  <a:pt x="8" y="53"/>
                  <a:pt x="8" y="54"/>
                </a:cubicBezTo>
                <a:cubicBezTo>
                  <a:pt x="8" y="55"/>
                  <a:pt x="8" y="57"/>
                  <a:pt x="8" y="57"/>
                </a:cubicBezTo>
                <a:cubicBezTo>
                  <a:pt x="8" y="57"/>
                  <a:pt x="7" y="59"/>
                  <a:pt x="8" y="59"/>
                </a:cubicBezTo>
                <a:cubicBezTo>
                  <a:pt x="8" y="60"/>
                  <a:pt x="11" y="61"/>
                  <a:pt x="11" y="62"/>
                </a:cubicBezTo>
                <a:cubicBezTo>
                  <a:pt x="11" y="62"/>
                  <a:pt x="11" y="62"/>
                  <a:pt x="11" y="62"/>
                </a:cubicBezTo>
                <a:cubicBezTo>
                  <a:pt x="10" y="62"/>
                  <a:pt x="10" y="63"/>
                  <a:pt x="10" y="63"/>
                </a:cubicBezTo>
                <a:cubicBezTo>
                  <a:pt x="10" y="63"/>
                  <a:pt x="11" y="64"/>
                  <a:pt x="12" y="64"/>
                </a:cubicBezTo>
                <a:cubicBezTo>
                  <a:pt x="12" y="65"/>
                  <a:pt x="12" y="66"/>
                  <a:pt x="12" y="66"/>
                </a:cubicBezTo>
                <a:cubicBezTo>
                  <a:pt x="12" y="67"/>
                  <a:pt x="13" y="67"/>
                  <a:pt x="13" y="67"/>
                </a:cubicBezTo>
                <a:cubicBezTo>
                  <a:pt x="13" y="68"/>
                  <a:pt x="12" y="69"/>
                  <a:pt x="12" y="69"/>
                </a:cubicBezTo>
                <a:cubicBezTo>
                  <a:pt x="12" y="69"/>
                  <a:pt x="12" y="70"/>
                  <a:pt x="12" y="70"/>
                </a:cubicBezTo>
                <a:cubicBezTo>
                  <a:pt x="13" y="71"/>
                  <a:pt x="15" y="73"/>
                  <a:pt x="15" y="73"/>
                </a:cubicBezTo>
                <a:cubicBezTo>
                  <a:pt x="15" y="74"/>
                  <a:pt x="15" y="74"/>
                  <a:pt x="15" y="75"/>
                </a:cubicBezTo>
                <a:cubicBezTo>
                  <a:pt x="15" y="75"/>
                  <a:pt x="16" y="76"/>
                  <a:pt x="16" y="76"/>
                </a:cubicBezTo>
                <a:cubicBezTo>
                  <a:pt x="16" y="76"/>
                  <a:pt x="17" y="75"/>
                  <a:pt x="17" y="75"/>
                </a:cubicBezTo>
                <a:cubicBezTo>
                  <a:pt x="17" y="75"/>
                  <a:pt x="17" y="76"/>
                  <a:pt x="17" y="76"/>
                </a:cubicBezTo>
                <a:cubicBezTo>
                  <a:pt x="17" y="77"/>
                  <a:pt x="16" y="78"/>
                  <a:pt x="16" y="78"/>
                </a:cubicBezTo>
                <a:cubicBezTo>
                  <a:pt x="17" y="78"/>
                  <a:pt x="17" y="79"/>
                  <a:pt x="17" y="80"/>
                </a:cubicBezTo>
                <a:cubicBezTo>
                  <a:pt x="17" y="80"/>
                  <a:pt x="17" y="81"/>
                  <a:pt x="16" y="81"/>
                </a:cubicBezTo>
                <a:cubicBezTo>
                  <a:pt x="16" y="82"/>
                  <a:pt x="16" y="82"/>
                  <a:pt x="16" y="82"/>
                </a:cubicBezTo>
                <a:cubicBezTo>
                  <a:pt x="16" y="83"/>
                  <a:pt x="17" y="84"/>
                  <a:pt x="17" y="85"/>
                </a:cubicBezTo>
                <a:cubicBezTo>
                  <a:pt x="17" y="85"/>
                  <a:pt x="17" y="86"/>
                  <a:pt x="17" y="87"/>
                </a:cubicBezTo>
                <a:cubicBezTo>
                  <a:pt x="17" y="87"/>
                  <a:pt x="16" y="89"/>
                  <a:pt x="16" y="90"/>
                </a:cubicBezTo>
                <a:cubicBezTo>
                  <a:pt x="16" y="90"/>
                  <a:pt x="15" y="93"/>
                  <a:pt x="15" y="94"/>
                </a:cubicBezTo>
                <a:cubicBezTo>
                  <a:pt x="14" y="95"/>
                  <a:pt x="13" y="98"/>
                  <a:pt x="12" y="98"/>
                </a:cubicBezTo>
                <a:cubicBezTo>
                  <a:pt x="12" y="99"/>
                  <a:pt x="10" y="99"/>
                  <a:pt x="10" y="100"/>
                </a:cubicBezTo>
                <a:cubicBezTo>
                  <a:pt x="10" y="100"/>
                  <a:pt x="11" y="101"/>
                  <a:pt x="11" y="102"/>
                </a:cubicBezTo>
                <a:cubicBezTo>
                  <a:pt x="11" y="102"/>
                  <a:pt x="11" y="105"/>
                  <a:pt x="11" y="105"/>
                </a:cubicBezTo>
                <a:cubicBezTo>
                  <a:pt x="11" y="106"/>
                  <a:pt x="10" y="107"/>
                  <a:pt x="10" y="107"/>
                </a:cubicBezTo>
                <a:cubicBezTo>
                  <a:pt x="10" y="108"/>
                  <a:pt x="9" y="108"/>
                  <a:pt x="9" y="109"/>
                </a:cubicBezTo>
                <a:cubicBezTo>
                  <a:pt x="10" y="110"/>
                  <a:pt x="11" y="111"/>
                  <a:pt x="11" y="111"/>
                </a:cubicBezTo>
                <a:cubicBezTo>
                  <a:pt x="11" y="112"/>
                  <a:pt x="11" y="114"/>
                  <a:pt x="11" y="115"/>
                </a:cubicBezTo>
                <a:cubicBezTo>
                  <a:pt x="11" y="115"/>
                  <a:pt x="11" y="119"/>
                  <a:pt x="11" y="120"/>
                </a:cubicBezTo>
                <a:cubicBezTo>
                  <a:pt x="11" y="120"/>
                  <a:pt x="9" y="122"/>
                  <a:pt x="8" y="124"/>
                </a:cubicBezTo>
                <a:cubicBezTo>
                  <a:pt x="8" y="124"/>
                  <a:pt x="8" y="124"/>
                  <a:pt x="9" y="124"/>
                </a:cubicBezTo>
                <a:cubicBezTo>
                  <a:pt x="9" y="124"/>
                  <a:pt x="9" y="125"/>
                  <a:pt x="9" y="126"/>
                </a:cubicBezTo>
                <a:cubicBezTo>
                  <a:pt x="9" y="126"/>
                  <a:pt x="8" y="127"/>
                  <a:pt x="8" y="128"/>
                </a:cubicBezTo>
                <a:cubicBezTo>
                  <a:pt x="8" y="128"/>
                  <a:pt x="9" y="129"/>
                  <a:pt x="8" y="129"/>
                </a:cubicBezTo>
                <a:cubicBezTo>
                  <a:pt x="8" y="129"/>
                  <a:pt x="7" y="130"/>
                  <a:pt x="7" y="130"/>
                </a:cubicBezTo>
                <a:cubicBezTo>
                  <a:pt x="6" y="130"/>
                  <a:pt x="5" y="130"/>
                  <a:pt x="5" y="131"/>
                </a:cubicBezTo>
                <a:cubicBezTo>
                  <a:pt x="5" y="132"/>
                  <a:pt x="5" y="132"/>
                  <a:pt x="6" y="133"/>
                </a:cubicBezTo>
                <a:cubicBezTo>
                  <a:pt x="6" y="133"/>
                  <a:pt x="6" y="134"/>
                  <a:pt x="7" y="134"/>
                </a:cubicBezTo>
                <a:cubicBezTo>
                  <a:pt x="7" y="134"/>
                  <a:pt x="8" y="134"/>
                  <a:pt x="8" y="134"/>
                </a:cubicBezTo>
                <a:cubicBezTo>
                  <a:pt x="9" y="134"/>
                  <a:pt x="9" y="134"/>
                  <a:pt x="10" y="133"/>
                </a:cubicBezTo>
                <a:cubicBezTo>
                  <a:pt x="11" y="133"/>
                  <a:pt x="13" y="133"/>
                  <a:pt x="14" y="133"/>
                </a:cubicBezTo>
                <a:cubicBezTo>
                  <a:pt x="15" y="132"/>
                  <a:pt x="16" y="132"/>
                  <a:pt x="17" y="132"/>
                </a:cubicBezTo>
                <a:cubicBezTo>
                  <a:pt x="19" y="131"/>
                  <a:pt x="20" y="132"/>
                  <a:pt x="21" y="132"/>
                </a:cubicBezTo>
                <a:cubicBezTo>
                  <a:pt x="23" y="132"/>
                  <a:pt x="24" y="131"/>
                  <a:pt x="26" y="132"/>
                </a:cubicBezTo>
                <a:cubicBezTo>
                  <a:pt x="27" y="132"/>
                  <a:pt x="28" y="132"/>
                  <a:pt x="29" y="132"/>
                </a:cubicBezTo>
                <a:cubicBezTo>
                  <a:pt x="30" y="132"/>
                  <a:pt x="31" y="132"/>
                  <a:pt x="33" y="133"/>
                </a:cubicBezTo>
                <a:cubicBezTo>
                  <a:pt x="34" y="133"/>
                  <a:pt x="36" y="133"/>
                  <a:pt x="37" y="134"/>
                </a:cubicBezTo>
                <a:cubicBezTo>
                  <a:pt x="38" y="134"/>
                  <a:pt x="40" y="135"/>
                  <a:pt x="41" y="136"/>
                </a:cubicBezTo>
                <a:cubicBezTo>
                  <a:pt x="43" y="136"/>
                  <a:pt x="44" y="137"/>
                  <a:pt x="45" y="138"/>
                </a:cubicBezTo>
                <a:cubicBezTo>
                  <a:pt x="47" y="138"/>
                  <a:pt x="48" y="139"/>
                  <a:pt x="50" y="139"/>
                </a:cubicBezTo>
                <a:cubicBezTo>
                  <a:pt x="51" y="139"/>
                  <a:pt x="51" y="140"/>
                  <a:pt x="52" y="140"/>
                </a:cubicBezTo>
                <a:cubicBezTo>
                  <a:pt x="53" y="140"/>
                  <a:pt x="54" y="140"/>
                  <a:pt x="55" y="140"/>
                </a:cubicBezTo>
                <a:cubicBezTo>
                  <a:pt x="56" y="140"/>
                  <a:pt x="57" y="141"/>
                  <a:pt x="59" y="141"/>
                </a:cubicBezTo>
                <a:cubicBezTo>
                  <a:pt x="60" y="141"/>
                  <a:pt x="61" y="141"/>
                  <a:pt x="62" y="141"/>
                </a:cubicBezTo>
                <a:cubicBezTo>
                  <a:pt x="62" y="140"/>
                  <a:pt x="63" y="141"/>
                  <a:pt x="64" y="140"/>
                </a:cubicBezTo>
                <a:cubicBezTo>
                  <a:pt x="64" y="141"/>
                  <a:pt x="65" y="140"/>
                  <a:pt x="65" y="140"/>
                </a:cubicBezTo>
                <a:cubicBezTo>
                  <a:pt x="65" y="140"/>
                  <a:pt x="66" y="139"/>
                  <a:pt x="66" y="139"/>
                </a:cubicBezTo>
                <a:cubicBezTo>
                  <a:pt x="66" y="139"/>
                  <a:pt x="67" y="139"/>
                  <a:pt x="67" y="139"/>
                </a:cubicBezTo>
                <a:cubicBezTo>
                  <a:pt x="68" y="139"/>
                  <a:pt x="68" y="139"/>
                  <a:pt x="68" y="139"/>
                </a:cubicBezTo>
                <a:cubicBezTo>
                  <a:pt x="68" y="138"/>
                  <a:pt x="67" y="138"/>
                  <a:pt x="67" y="138"/>
                </a:cubicBezTo>
                <a:cubicBezTo>
                  <a:pt x="67" y="138"/>
                  <a:pt x="67" y="138"/>
                  <a:pt x="67" y="137"/>
                </a:cubicBezTo>
                <a:cubicBezTo>
                  <a:pt x="67" y="137"/>
                  <a:pt x="67" y="137"/>
                  <a:pt x="66" y="137"/>
                </a:cubicBezTo>
                <a:cubicBezTo>
                  <a:pt x="66" y="136"/>
                  <a:pt x="65" y="136"/>
                  <a:pt x="65" y="135"/>
                </a:cubicBezTo>
                <a:cubicBezTo>
                  <a:pt x="65" y="135"/>
                  <a:pt x="65" y="135"/>
                  <a:pt x="64" y="134"/>
                </a:cubicBezTo>
                <a:cubicBezTo>
                  <a:pt x="64" y="134"/>
                  <a:pt x="64" y="134"/>
                  <a:pt x="64" y="134"/>
                </a:cubicBezTo>
                <a:cubicBezTo>
                  <a:pt x="63" y="133"/>
                  <a:pt x="64" y="133"/>
                  <a:pt x="64" y="132"/>
                </a:cubicBezTo>
                <a:cubicBezTo>
                  <a:pt x="65" y="132"/>
                  <a:pt x="65" y="131"/>
                  <a:pt x="65" y="130"/>
                </a:cubicBezTo>
                <a:cubicBezTo>
                  <a:pt x="65" y="130"/>
                  <a:pt x="65" y="129"/>
                  <a:pt x="65" y="129"/>
                </a:cubicBezTo>
                <a:cubicBezTo>
                  <a:pt x="66" y="129"/>
                  <a:pt x="66" y="129"/>
                  <a:pt x="66" y="129"/>
                </a:cubicBezTo>
                <a:cubicBezTo>
                  <a:pt x="67" y="130"/>
                  <a:pt x="66" y="132"/>
                  <a:pt x="67" y="132"/>
                </a:cubicBezTo>
                <a:cubicBezTo>
                  <a:pt x="67" y="133"/>
                  <a:pt x="69" y="132"/>
                  <a:pt x="69" y="132"/>
                </a:cubicBezTo>
                <a:cubicBezTo>
                  <a:pt x="69" y="132"/>
                  <a:pt x="69" y="132"/>
                  <a:pt x="70" y="131"/>
                </a:cubicBezTo>
                <a:cubicBezTo>
                  <a:pt x="70" y="131"/>
                  <a:pt x="70" y="131"/>
                  <a:pt x="70" y="131"/>
                </a:cubicBezTo>
                <a:cubicBezTo>
                  <a:pt x="71" y="131"/>
                  <a:pt x="71" y="129"/>
                  <a:pt x="71" y="128"/>
                </a:cubicBezTo>
                <a:cubicBezTo>
                  <a:pt x="71" y="127"/>
                  <a:pt x="70" y="125"/>
                  <a:pt x="71" y="125"/>
                </a:cubicBezTo>
                <a:cubicBezTo>
                  <a:pt x="72" y="125"/>
                  <a:pt x="72" y="126"/>
                  <a:pt x="72" y="126"/>
                </a:cubicBezTo>
                <a:cubicBezTo>
                  <a:pt x="72" y="126"/>
                  <a:pt x="72" y="127"/>
                  <a:pt x="72" y="127"/>
                </a:cubicBezTo>
                <a:cubicBezTo>
                  <a:pt x="72" y="127"/>
                  <a:pt x="72" y="128"/>
                  <a:pt x="72" y="128"/>
                </a:cubicBezTo>
                <a:cubicBezTo>
                  <a:pt x="73" y="129"/>
                  <a:pt x="73" y="129"/>
                  <a:pt x="73" y="128"/>
                </a:cubicBezTo>
                <a:cubicBezTo>
                  <a:pt x="73" y="128"/>
                  <a:pt x="74" y="128"/>
                  <a:pt x="75" y="128"/>
                </a:cubicBezTo>
                <a:cubicBezTo>
                  <a:pt x="75" y="127"/>
                  <a:pt x="76" y="127"/>
                  <a:pt x="76" y="127"/>
                </a:cubicBezTo>
                <a:cubicBezTo>
                  <a:pt x="76" y="127"/>
                  <a:pt x="77" y="127"/>
                  <a:pt x="77" y="127"/>
                </a:cubicBezTo>
                <a:cubicBezTo>
                  <a:pt x="77" y="127"/>
                  <a:pt x="77" y="128"/>
                  <a:pt x="77" y="129"/>
                </a:cubicBezTo>
                <a:cubicBezTo>
                  <a:pt x="78" y="130"/>
                  <a:pt x="77" y="131"/>
                  <a:pt x="76" y="131"/>
                </a:cubicBezTo>
                <a:cubicBezTo>
                  <a:pt x="76" y="132"/>
                  <a:pt x="75" y="133"/>
                  <a:pt x="75" y="134"/>
                </a:cubicBezTo>
                <a:cubicBezTo>
                  <a:pt x="75" y="134"/>
                  <a:pt x="76" y="134"/>
                  <a:pt x="76" y="133"/>
                </a:cubicBezTo>
                <a:cubicBezTo>
                  <a:pt x="77" y="133"/>
                  <a:pt x="77" y="133"/>
                  <a:pt x="77" y="133"/>
                </a:cubicBezTo>
                <a:cubicBezTo>
                  <a:pt x="78" y="133"/>
                  <a:pt x="79" y="133"/>
                  <a:pt x="79" y="133"/>
                </a:cubicBezTo>
                <a:cubicBezTo>
                  <a:pt x="80" y="133"/>
                  <a:pt x="82" y="133"/>
                  <a:pt x="83" y="133"/>
                </a:cubicBezTo>
                <a:cubicBezTo>
                  <a:pt x="83" y="133"/>
                  <a:pt x="84" y="133"/>
                  <a:pt x="84" y="134"/>
                </a:cubicBezTo>
                <a:cubicBezTo>
                  <a:pt x="84" y="134"/>
                  <a:pt x="83" y="134"/>
                  <a:pt x="83" y="134"/>
                </a:cubicBezTo>
                <a:cubicBezTo>
                  <a:pt x="83" y="135"/>
                  <a:pt x="83" y="136"/>
                  <a:pt x="84" y="137"/>
                </a:cubicBezTo>
                <a:cubicBezTo>
                  <a:pt x="84" y="137"/>
                  <a:pt x="85" y="137"/>
                  <a:pt x="85" y="137"/>
                </a:cubicBezTo>
                <a:cubicBezTo>
                  <a:pt x="86" y="137"/>
                  <a:pt x="86" y="138"/>
                  <a:pt x="86" y="138"/>
                </a:cubicBezTo>
                <a:cubicBezTo>
                  <a:pt x="86" y="139"/>
                  <a:pt x="86" y="139"/>
                  <a:pt x="86" y="140"/>
                </a:cubicBezTo>
                <a:cubicBezTo>
                  <a:pt x="87" y="140"/>
                  <a:pt x="87" y="141"/>
                  <a:pt x="87" y="141"/>
                </a:cubicBezTo>
                <a:cubicBezTo>
                  <a:pt x="87" y="141"/>
                  <a:pt x="87" y="142"/>
                  <a:pt x="87" y="142"/>
                </a:cubicBezTo>
                <a:cubicBezTo>
                  <a:pt x="87" y="143"/>
                  <a:pt x="88" y="143"/>
                  <a:pt x="88" y="143"/>
                </a:cubicBezTo>
                <a:cubicBezTo>
                  <a:pt x="89" y="144"/>
                  <a:pt x="89" y="144"/>
                  <a:pt x="90" y="144"/>
                </a:cubicBezTo>
                <a:cubicBezTo>
                  <a:pt x="91" y="144"/>
                  <a:pt x="91" y="143"/>
                  <a:pt x="92" y="142"/>
                </a:cubicBezTo>
                <a:cubicBezTo>
                  <a:pt x="92" y="142"/>
                  <a:pt x="93" y="142"/>
                  <a:pt x="94" y="142"/>
                </a:cubicBezTo>
                <a:cubicBezTo>
                  <a:pt x="94" y="143"/>
                  <a:pt x="95" y="143"/>
                  <a:pt x="95" y="143"/>
                </a:cubicBezTo>
                <a:cubicBezTo>
                  <a:pt x="95" y="142"/>
                  <a:pt x="95" y="141"/>
                  <a:pt x="95" y="141"/>
                </a:cubicBezTo>
                <a:cubicBezTo>
                  <a:pt x="96" y="141"/>
                  <a:pt x="97" y="140"/>
                  <a:pt x="98" y="140"/>
                </a:cubicBezTo>
                <a:cubicBezTo>
                  <a:pt x="99" y="139"/>
                  <a:pt x="100" y="139"/>
                  <a:pt x="100" y="140"/>
                </a:cubicBezTo>
                <a:cubicBezTo>
                  <a:pt x="101" y="140"/>
                  <a:pt x="102" y="141"/>
                  <a:pt x="102" y="141"/>
                </a:cubicBezTo>
                <a:cubicBezTo>
                  <a:pt x="102" y="141"/>
                  <a:pt x="101" y="141"/>
                  <a:pt x="101" y="142"/>
                </a:cubicBezTo>
                <a:cubicBezTo>
                  <a:pt x="100" y="142"/>
                  <a:pt x="100" y="142"/>
                  <a:pt x="100" y="142"/>
                </a:cubicBezTo>
                <a:cubicBezTo>
                  <a:pt x="99" y="142"/>
                  <a:pt x="99" y="142"/>
                  <a:pt x="99" y="142"/>
                </a:cubicBezTo>
                <a:cubicBezTo>
                  <a:pt x="98" y="143"/>
                  <a:pt x="98" y="143"/>
                  <a:pt x="97" y="143"/>
                </a:cubicBezTo>
                <a:cubicBezTo>
                  <a:pt x="97" y="143"/>
                  <a:pt x="95" y="143"/>
                  <a:pt x="96" y="144"/>
                </a:cubicBezTo>
                <a:cubicBezTo>
                  <a:pt x="97" y="144"/>
                  <a:pt x="97" y="145"/>
                  <a:pt x="97" y="146"/>
                </a:cubicBezTo>
                <a:cubicBezTo>
                  <a:pt x="98" y="147"/>
                  <a:pt x="98" y="147"/>
                  <a:pt x="98" y="148"/>
                </a:cubicBezTo>
                <a:cubicBezTo>
                  <a:pt x="98" y="148"/>
                  <a:pt x="99" y="148"/>
                  <a:pt x="99" y="149"/>
                </a:cubicBezTo>
                <a:cubicBezTo>
                  <a:pt x="100" y="149"/>
                  <a:pt x="101" y="150"/>
                  <a:pt x="100" y="150"/>
                </a:cubicBezTo>
                <a:cubicBezTo>
                  <a:pt x="99" y="150"/>
                  <a:pt x="98" y="150"/>
                  <a:pt x="98" y="150"/>
                </a:cubicBezTo>
                <a:cubicBezTo>
                  <a:pt x="97" y="150"/>
                  <a:pt x="96" y="149"/>
                  <a:pt x="95" y="150"/>
                </a:cubicBezTo>
                <a:cubicBezTo>
                  <a:pt x="95" y="150"/>
                  <a:pt x="95" y="150"/>
                  <a:pt x="94" y="151"/>
                </a:cubicBezTo>
                <a:cubicBezTo>
                  <a:pt x="94" y="151"/>
                  <a:pt x="94" y="151"/>
                  <a:pt x="94" y="151"/>
                </a:cubicBezTo>
                <a:cubicBezTo>
                  <a:pt x="93" y="151"/>
                  <a:pt x="95" y="152"/>
                  <a:pt x="95" y="152"/>
                </a:cubicBezTo>
                <a:cubicBezTo>
                  <a:pt x="95" y="152"/>
                  <a:pt x="95" y="153"/>
                  <a:pt x="96" y="153"/>
                </a:cubicBezTo>
                <a:cubicBezTo>
                  <a:pt x="96" y="153"/>
                  <a:pt x="96" y="153"/>
                  <a:pt x="97" y="153"/>
                </a:cubicBezTo>
                <a:cubicBezTo>
                  <a:pt x="97" y="153"/>
                  <a:pt x="98" y="153"/>
                  <a:pt x="99" y="153"/>
                </a:cubicBezTo>
                <a:cubicBezTo>
                  <a:pt x="100" y="154"/>
                  <a:pt x="100" y="154"/>
                  <a:pt x="101" y="154"/>
                </a:cubicBezTo>
                <a:cubicBezTo>
                  <a:pt x="101" y="154"/>
                  <a:pt x="102" y="154"/>
                  <a:pt x="102" y="155"/>
                </a:cubicBezTo>
                <a:cubicBezTo>
                  <a:pt x="102" y="155"/>
                  <a:pt x="103" y="155"/>
                  <a:pt x="103" y="155"/>
                </a:cubicBezTo>
                <a:cubicBezTo>
                  <a:pt x="104" y="155"/>
                  <a:pt x="105" y="155"/>
                  <a:pt x="104" y="155"/>
                </a:cubicBezTo>
                <a:cubicBezTo>
                  <a:pt x="104" y="154"/>
                  <a:pt x="104" y="154"/>
                  <a:pt x="104" y="154"/>
                </a:cubicBezTo>
                <a:cubicBezTo>
                  <a:pt x="103" y="154"/>
                  <a:pt x="103" y="154"/>
                  <a:pt x="103" y="153"/>
                </a:cubicBezTo>
                <a:cubicBezTo>
                  <a:pt x="103" y="153"/>
                  <a:pt x="103" y="153"/>
                  <a:pt x="103" y="152"/>
                </a:cubicBezTo>
                <a:cubicBezTo>
                  <a:pt x="103" y="152"/>
                  <a:pt x="104" y="151"/>
                  <a:pt x="104" y="151"/>
                </a:cubicBezTo>
                <a:cubicBezTo>
                  <a:pt x="105" y="151"/>
                  <a:pt x="105" y="150"/>
                  <a:pt x="106" y="149"/>
                </a:cubicBezTo>
                <a:cubicBezTo>
                  <a:pt x="106" y="149"/>
                  <a:pt x="107" y="149"/>
                  <a:pt x="107" y="149"/>
                </a:cubicBezTo>
                <a:cubicBezTo>
                  <a:pt x="108" y="149"/>
                  <a:pt x="108" y="150"/>
                  <a:pt x="108" y="150"/>
                </a:cubicBezTo>
                <a:cubicBezTo>
                  <a:pt x="108" y="151"/>
                  <a:pt x="109" y="151"/>
                  <a:pt x="109" y="152"/>
                </a:cubicBezTo>
                <a:cubicBezTo>
                  <a:pt x="110" y="152"/>
                  <a:pt x="111" y="152"/>
                  <a:pt x="111" y="152"/>
                </a:cubicBezTo>
                <a:cubicBezTo>
                  <a:pt x="111" y="153"/>
                  <a:pt x="111" y="153"/>
                  <a:pt x="111" y="154"/>
                </a:cubicBezTo>
                <a:cubicBezTo>
                  <a:pt x="110" y="154"/>
                  <a:pt x="110" y="154"/>
                  <a:pt x="109" y="154"/>
                </a:cubicBezTo>
                <a:cubicBezTo>
                  <a:pt x="109" y="154"/>
                  <a:pt x="107" y="155"/>
                  <a:pt x="108" y="156"/>
                </a:cubicBezTo>
                <a:cubicBezTo>
                  <a:pt x="108" y="156"/>
                  <a:pt x="108" y="156"/>
                  <a:pt x="108" y="157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10" y="158"/>
                  <a:pt x="110" y="157"/>
                  <a:pt x="111" y="157"/>
                </a:cubicBezTo>
                <a:cubicBezTo>
                  <a:pt x="111" y="157"/>
                  <a:pt x="112" y="157"/>
                  <a:pt x="113" y="156"/>
                </a:cubicBezTo>
                <a:cubicBezTo>
                  <a:pt x="113" y="156"/>
                  <a:pt x="114" y="156"/>
                  <a:pt x="114" y="156"/>
                </a:cubicBezTo>
                <a:cubicBezTo>
                  <a:pt x="115" y="155"/>
                  <a:pt x="115" y="154"/>
                  <a:pt x="116" y="153"/>
                </a:cubicBezTo>
                <a:cubicBezTo>
                  <a:pt x="116" y="153"/>
                  <a:pt x="116" y="152"/>
                  <a:pt x="117" y="152"/>
                </a:cubicBezTo>
                <a:cubicBezTo>
                  <a:pt x="117" y="152"/>
                  <a:pt x="118" y="153"/>
                  <a:pt x="118" y="153"/>
                </a:cubicBezTo>
                <a:cubicBezTo>
                  <a:pt x="118" y="154"/>
                  <a:pt x="119" y="154"/>
                  <a:pt x="119" y="153"/>
                </a:cubicBezTo>
                <a:cubicBezTo>
                  <a:pt x="119" y="153"/>
                  <a:pt x="119" y="153"/>
                  <a:pt x="119" y="152"/>
                </a:cubicBezTo>
                <a:cubicBezTo>
                  <a:pt x="119" y="152"/>
                  <a:pt x="119" y="151"/>
                  <a:pt x="119" y="151"/>
                </a:cubicBezTo>
                <a:cubicBezTo>
                  <a:pt x="119" y="150"/>
                  <a:pt x="119" y="150"/>
                  <a:pt x="120" y="150"/>
                </a:cubicBezTo>
                <a:cubicBezTo>
                  <a:pt x="120" y="150"/>
                  <a:pt x="122" y="150"/>
                  <a:pt x="121" y="149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21" y="148"/>
                  <a:pt x="122" y="148"/>
                  <a:pt x="122" y="149"/>
                </a:cubicBezTo>
                <a:cubicBezTo>
                  <a:pt x="123" y="149"/>
                  <a:pt x="123" y="149"/>
                  <a:pt x="123" y="149"/>
                </a:cubicBezTo>
                <a:cubicBezTo>
                  <a:pt x="124" y="150"/>
                  <a:pt x="124" y="150"/>
                  <a:pt x="125" y="150"/>
                </a:cubicBezTo>
                <a:cubicBezTo>
                  <a:pt x="126" y="150"/>
                  <a:pt x="127" y="150"/>
                  <a:pt x="128" y="151"/>
                </a:cubicBezTo>
                <a:cubicBezTo>
                  <a:pt x="129" y="151"/>
                  <a:pt x="129" y="152"/>
                  <a:pt x="130" y="152"/>
                </a:cubicBezTo>
                <a:cubicBezTo>
                  <a:pt x="131" y="153"/>
                  <a:pt x="131" y="153"/>
                  <a:pt x="131" y="154"/>
                </a:cubicBezTo>
                <a:cubicBezTo>
                  <a:pt x="131" y="154"/>
                  <a:pt x="131" y="155"/>
                  <a:pt x="131" y="155"/>
                </a:cubicBezTo>
                <a:cubicBezTo>
                  <a:pt x="132" y="155"/>
                  <a:pt x="132" y="155"/>
                  <a:pt x="132" y="156"/>
                </a:cubicBezTo>
                <a:cubicBezTo>
                  <a:pt x="132" y="156"/>
                  <a:pt x="131" y="158"/>
                  <a:pt x="132" y="158"/>
                </a:cubicBezTo>
                <a:cubicBezTo>
                  <a:pt x="132" y="159"/>
                  <a:pt x="133" y="158"/>
                  <a:pt x="134" y="158"/>
                </a:cubicBezTo>
                <a:cubicBezTo>
                  <a:pt x="134" y="157"/>
                  <a:pt x="135" y="157"/>
                  <a:pt x="136" y="156"/>
                </a:cubicBezTo>
                <a:cubicBezTo>
                  <a:pt x="136" y="155"/>
                  <a:pt x="136" y="154"/>
                  <a:pt x="136" y="153"/>
                </a:cubicBezTo>
                <a:cubicBezTo>
                  <a:pt x="136" y="152"/>
                  <a:pt x="136" y="151"/>
                  <a:pt x="136" y="150"/>
                </a:cubicBezTo>
                <a:cubicBezTo>
                  <a:pt x="136" y="149"/>
                  <a:pt x="136" y="148"/>
                  <a:pt x="136" y="147"/>
                </a:cubicBezTo>
                <a:cubicBezTo>
                  <a:pt x="137" y="146"/>
                  <a:pt x="137" y="145"/>
                  <a:pt x="136" y="144"/>
                </a:cubicBezTo>
                <a:cubicBezTo>
                  <a:pt x="136" y="144"/>
                  <a:pt x="134" y="144"/>
                  <a:pt x="134" y="144"/>
                </a:cubicBezTo>
                <a:cubicBezTo>
                  <a:pt x="133" y="143"/>
                  <a:pt x="133" y="143"/>
                  <a:pt x="133" y="143"/>
                </a:cubicBezTo>
                <a:cubicBezTo>
                  <a:pt x="132" y="143"/>
                  <a:pt x="132" y="142"/>
                  <a:pt x="132" y="142"/>
                </a:cubicBezTo>
                <a:cubicBezTo>
                  <a:pt x="132" y="141"/>
                  <a:pt x="133" y="141"/>
                  <a:pt x="133" y="141"/>
                </a:cubicBezTo>
                <a:cubicBezTo>
                  <a:pt x="134" y="140"/>
                  <a:pt x="134" y="139"/>
                  <a:pt x="134" y="139"/>
                </a:cubicBezTo>
                <a:cubicBezTo>
                  <a:pt x="134" y="138"/>
                  <a:pt x="134" y="138"/>
                  <a:pt x="134" y="138"/>
                </a:cubicBezTo>
                <a:cubicBezTo>
                  <a:pt x="134" y="138"/>
                  <a:pt x="133" y="138"/>
                  <a:pt x="133" y="137"/>
                </a:cubicBezTo>
                <a:cubicBezTo>
                  <a:pt x="133" y="137"/>
                  <a:pt x="133" y="137"/>
                  <a:pt x="132" y="136"/>
                </a:cubicBezTo>
                <a:cubicBezTo>
                  <a:pt x="132" y="136"/>
                  <a:pt x="132" y="135"/>
                  <a:pt x="131" y="136"/>
                </a:cubicBezTo>
                <a:cubicBezTo>
                  <a:pt x="131" y="136"/>
                  <a:pt x="131" y="136"/>
                  <a:pt x="130" y="136"/>
                </a:cubicBezTo>
                <a:cubicBezTo>
                  <a:pt x="129" y="137"/>
                  <a:pt x="129" y="136"/>
                  <a:pt x="129" y="136"/>
                </a:cubicBezTo>
                <a:cubicBezTo>
                  <a:pt x="129" y="136"/>
                  <a:pt x="129" y="136"/>
                  <a:pt x="128" y="135"/>
                </a:cubicBezTo>
                <a:cubicBezTo>
                  <a:pt x="128" y="135"/>
                  <a:pt x="128" y="135"/>
                  <a:pt x="128" y="135"/>
                </a:cubicBezTo>
                <a:cubicBezTo>
                  <a:pt x="128" y="134"/>
                  <a:pt x="127" y="133"/>
                  <a:pt x="128" y="133"/>
                </a:cubicBezTo>
                <a:cubicBezTo>
                  <a:pt x="128" y="132"/>
                  <a:pt x="129" y="132"/>
                  <a:pt x="129" y="132"/>
                </a:cubicBezTo>
                <a:cubicBezTo>
                  <a:pt x="130" y="132"/>
                  <a:pt x="131" y="132"/>
                  <a:pt x="131" y="131"/>
                </a:cubicBezTo>
                <a:cubicBezTo>
                  <a:pt x="132" y="131"/>
                  <a:pt x="132" y="131"/>
                  <a:pt x="132" y="131"/>
                </a:cubicBezTo>
                <a:cubicBezTo>
                  <a:pt x="133" y="131"/>
                  <a:pt x="133" y="130"/>
                  <a:pt x="133" y="130"/>
                </a:cubicBezTo>
                <a:cubicBezTo>
                  <a:pt x="134" y="130"/>
                  <a:pt x="133" y="131"/>
                  <a:pt x="133" y="132"/>
                </a:cubicBezTo>
                <a:cubicBezTo>
                  <a:pt x="133" y="132"/>
                  <a:pt x="133" y="133"/>
                  <a:pt x="133" y="134"/>
                </a:cubicBezTo>
                <a:cubicBezTo>
                  <a:pt x="133" y="134"/>
                  <a:pt x="132" y="134"/>
                  <a:pt x="133" y="135"/>
                </a:cubicBezTo>
                <a:cubicBezTo>
                  <a:pt x="133" y="135"/>
                  <a:pt x="133" y="135"/>
                  <a:pt x="134" y="136"/>
                </a:cubicBezTo>
                <a:cubicBezTo>
                  <a:pt x="135" y="136"/>
                  <a:pt x="135" y="136"/>
                  <a:pt x="135" y="137"/>
                </a:cubicBezTo>
                <a:cubicBezTo>
                  <a:pt x="136" y="138"/>
                  <a:pt x="135" y="139"/>
                  <a:pt x="135" y="139"/>
                </a:cubicBezTo>
                <a:cubicBezTo>
                  <a:pt x="136" y="141"/>
                  <a:pt x="137" y="142"/>
                  <a:pt x="139" y="143"/>
                </a:cubicBezTo>
                <a:cubicBezTo>
                  <a:pt x="139" y="144"/>
                  <a:pt x="141" y="144"/>
                  <a:pt x="142" y="144"/>
                </a:cubicBezTo>
                <a:cubicBezTo>
                  <a:pt x="143" y="144"/>
                  <a:pt x="144" y="144"/>
                  <a:pt x="144" y="144"/>
                </a:cubicBezTo>
                <a:cubicBezTo>
                  <a:pt x="145" y="144"/>
                  <a:pt x="145" y="144"/>
                  <a:pt x="145" y="144"/>
                </a:cubicBezTo>
                <a:cubicBezTo>
                  <a:pt x="145" y="145"/>
                  <a:pt x="145" y="146"/>
                  <a:pt x="146" y="146"/>
                </a:cubicBezTo>
                <a:cubicBezTo>
                  <a:pt x="146" y="146"/>
                  <a:pt x="147" y="146"/>
                  <a:pt x="147" y="146"/>
                </a:cubicBezTo>
                <a:cubicBezTo>
                  <a:pt x="148" y="147"/>
                  <a:pt x="148" y="147"/>
                  <a:pt x="148" y="147"/>
                </a:cubicBezTo>
                <a:cubicBezTo>
                  <a:pt x="149" y="147"/>
                  <a:pt x="150" y="147"/>
                  <a:pt x="150" y="147"/>
                </a:cubicBezTo>
                <a:cubicBezTo>
                  <a:pt x="151" y="147"/>
                  <a:pt x="152" y="147"/>
                  <a:pt x="153" y="147"/>
                </a:cubicBezTo>
                <a:cubicBezTo>
                  <a:pt x="154" y="147"/>
                  <a:pt x="154" y="147"/>
                  <a:pt x="154" y="148"/>
                </a:cubicBezTo>
                <a:cubicBezTo>
                  <a:pt x="155" y="148"/>
                  <a:pt x="155" y="149"/>
                  <a:pt x="156" y="149"/>
                </a:cubicBezTo>
                <a:cubicBezTo>
                  <a:pt x="156" y="149"/>
                  <a:pt x="156" y="149"/>
                  <a:pt x="157" y="150"/>
                </a:cubicBezTo>
                <a:cubicBezTo>
                  <a:pt x="157" y="150"/>
                  <a:pt x="158" y="149"/>
                  <a:pt x="158" y="149"/>
                </a:cubicBezTo>
                <a:cubicBezTo>
                  <a:pt x="158" y="149"/>
                  <a:pt x="158" y="148"/>
                  <a:pt x="159" y="149"/>
                </a:cubicBezTo>
                <a:cubicBezTo>
                  <a:pt x="159" y="149"/>
                  <a:pt x="159" y="149"/>
                  <a:pt x="159" y="149"/>
                </a:cubicBezTo>
                <a:cubicBezTo>
                  <a:pt x="159" y="149"/>
                  <a:pt x="160" y="149"/>
                  <a:pt x="160" y="149"/>
                </a:cubicBezTo>
                <a:cubicBezTo>
                  <a:pt x="160" y="150"/>
                  <a:pt x="161" y="150"/>
                  <a:pt x="162" y="151"/>
                </a:cubicBezTo>
                <a:cubicBezTo>
                  <a:pt x="162" y="151"/>
                  <a:pt x="163" y="151"/>
                  <a:pt x="163" y="151"/>
                </a:cubicBezTo>
                <a:cubicBezTo>
                  <a:pt x="163" y="151"/>
                  <a:pt x="163" y="151"/>
                  <a:pt x="163" y="151"/>
                </a:cubicBezTo>
                <a:cubicBezTo>
                  <a:pt x="164" y="151"/>
                  <a:pt x="164" y="150"/>
                  <a:pt x="164" y="150"/>
                </a:cubicBezTo>
                <a:cubicBezTo>
                  <a:pt x="165" y="150"/>
                  <a:pt x="165" y="150"/>
                  <a:pt x="165" y="150"/>
                </a:cubicBezTo>
                <a:cubicBezTo>
                  <a:pt x="165" y="149"/>
                  <a:pt x="164" y="149"/>
                  <a:pt x="163" y="149"/>
                </a:cubicBezTo>
                <a:cubicBezTo>
                  <a:pt x="163" y="149"/>
                  <a:pt x="162" y="149"/>
                  <a:pt x="162" y="149"/>
                </a:cubicBezTo>
                <a:cubicBezTo>
                  <a:pt x="161" y="149"/>
                  <a:pt x="161" y="148"/>
                  <a:pt x="160" y="148"/>
                </a:cubicBezTo>
                <a:cubicBezTo>
                  <a:pt x="160" y="147"/>
                  <a:pt x="160" y="147"/>
                  <a:pt x="159" y="147"/>
                </a:cubicBezTo>
                <a:cubicBezTo>
                  <a:pt x="158" y="147"/>
                  <a:pt x="158" y="147"/>
                  <a:pt x="158" y="147"/>
                </a:cubicBezTo>
                <a:cubicBezTo>
                  <a:pt x="157" y="148"/>
                  <a:pt x="157" y="148"/>
                  <a:pt x="156" y="148"/>
                </a:cubicBezTo>
                <a:cubicBezTo>
                  <a:pt x="156" y="148"/>
                  <a:pt x="155" y="148"/>
                  <a:pt x="155" y="148"/>
                </a:cubicBezTo>
                <a:cubicBezTo>
                  <a:pt x="154" y="147"/>
                  <a:pt x="154" y="147"/>
                  <a:pt x="155" y="146"/>
                </a:cubicBezTo>
                <a:cubicBezTo>
                  <a:pt x="155" y="146"/>
                  <a:pt x="155" y="145"/>
                  <a:pt x="154" y="144"/>
                </a:cubicBezTo>
                <a:cubicBezTo>
                  <a:pt x="154" y="143"/>
                  <a:pt x="154" y="144"/>
                  <a:pt x="153" y="143"/>
                </a:cubicBezTo>
                <a:cubicBezTo>
                  <a:pt x="153" y="143"/>
                  <a:pt x="153" y="142"/>
                  <a:pt x="152" y="142"/>
                </a:cubicBezTo>
                <a:cubicBezTo>
                  <a:pt x="152" y="141"/>
                  <a:pt x="152" y="142"/>
                  <a:pt x="151" y="141"/>
                </a:cubicBezTo>
                <a:cubicBezTo>
                  <a:pt x="151" y="141"/>
                  <a:pt x="150" y="141"/>
                  <a:pt x="150" y="141"/>
                </a:cubicBezTo>
                <a:cubicBezTo>
                  <a:pt x="150" y="140"/>
                  <a:pt x="149" y="140"/>
                  <a:pt x="149" y="139"/>
                </a:cubicBezTo>
                <a:cubicBezTo>
                  <a:pt x="149" y="139"/>
                  <a:pt x="149" y="138"/>
                  <a:pt x="149" y="138"/>
                </a:cubicBezTo>
                <a:cubicBezTo>
                  <a:pt x="148" y="138"/>
                  <a:pt x="148" y="138"/>
                  <a:pt x="148" y="138"/>
                </a:cubicBezTo>
                <a:cubicBezTo>
                  <a:pt x="147" y="138"/>
                  <a:pt x="147" y="138"/>
                  <a:pt x="147" y="137"/>
                </a:cubicBezTo>
                <a:cubicBezTo>
                  <a:pt x="147" y="137"/>
                  <a:pt x="146" y="137"/>
                  <a:pt x="146" y="137"/>
                </a:cubicBezTo>
                <a:cubicBezTo>
                  <a:pt x="146" y="136"/>
                  <a:pt x="146" y="136"/>
                  <a:pt x="146" y="136"/>
                </a:cubicBezTo>
                <a:cubicBezTo>
                  <a:pt x="147" y="136"/>
                  <a:pt x="147" y="136"/>
                  <a:pt x="147" y="135"/>
                </a:cubicBezTo>
                <a:cubicBezTo>
                  <a:pt x="147" y="135"/>
                  <a:pt x="147" y="135"/>
                  <a:pt x="147" y="135"/>
                </a:cubicBezTo>
                <a:cubicBezTo>
                  <a:pt x="148" y="135"/>
                  <a:pt x="148" y="135"/>
                  <a:pt x="148" y="136"/>
                </a:cubicBezTo>
                <a:cubicBezTo>
                  <a:pt x="148" y="136"/>
                  <a:pt x="148" y="137"/>
                  <a:pt x="149" y="137"/>
                </a:cubicBezTo>
                <a:cubicBezTo>
                  <a:pt x="149" y="137"/>
                  <a:pt x="150" y="138"/>
                  <a:pt x="150" y="138"/>
                </a:cubicBezTo>
                <a:cubicBezTo>
                  <a:pt x="151" y="138"/>
                  <a:pt x="151" y="137"/>
                  <a:pt x="152" y="137"/>
                </a:cubicBezTo>
                <a:cubicBezTo>
                  <a:pt x="152" y="137"/>
                  <a:pt x="153" y="137"/>
                  <a:pt x="153" y="136"/>
                </a:cubicBezTo>
                <a:cubicBezTo>
                  <a:pt x="153" y="136"/>
                  <a:pt x="153" y="136"/>
                  <a:pt x="154" y="136"/>
                </a:cubicBezTo>
                <a:cubicBezTo>
                  <a:pt x="154" y="136"/>
                  <a:pt x="155" y="136"/>
                  <a:pt x="154" y="136"/>
                </a:cubicBezTo>
                <a:cubicBezTo>
                  <a:pt x="154" y="135"/>
                  <a:pt x="153" y="136"/>
                  <a:pt x="153" y="135"/>
                </a:cubicBezTo>
                <a:cubicBezTo>
                  <a:pt x="153" y="135"/>
                  <a:pt x="153" y="135"/>
                  <a:pt x="153" y="135"/>
                </a:cubicBezTo>
                <a:cubicBezTo>
                  <a:pt x="152" y="135"/>
                  <a:pt x="152" y="134"/>
                  <a:pt x="152" y="134"/>
                </a:cubicBezTo>
                <a:cubicBezTo>
                  <a:pt x="152" y="134"/>
                  <a:pt x="153" y="134"/>
                  <a:pt x="153" y="134"/>
                </a:cubicBezTo>
                <a:cubicBezTo>
                  <a:pt x="153" y="133"/>
                  <a:pt x="153" y="133"/>
                  <a:pt x="153" y="133"/>
                </a:cubicBezTo>
                <a:cubicBezTo>
                  <a:pt x="154" y="132"/>
                  <a:pt x="154" y="132"/>
                  <a:pt x="154" y="132"/>
                </a:cubicBezTo>
                <a:cubicBezTo>
                  <a:pt x="153" y="131"/>
                  <a:pt x="153" y="131"/>
                  <a:pt x="153" y="131"/>
                </a:cubicBezTo>
                <a:cubicBezTo>
                  <a:pt x="153" y="131"/>
                  <a:pt x="153" y="130"/>
                  <a:pt x="153" y="130"/>
                </a:cubicBezTo>
                <a:cubicBezTo>
                  <a:pt x="153" y="130"/>
                  <a:pt x="154" y="130"/>
                  <a:pt x="154" y="131"/>
                </a:cubicBezTo>
                <a:cubicBezTo>
                  <a:pt x="154" y="131"/>
                  <a:pt x="155" y="131"/>
                  <a:pt x="155" y="132"/>
                </a:cubicBezTo>
                <a:cubicBezTo>
                  <a:pt x="155" y="133"/>
                  <a:pt x="156" y="133"/>
                  <a:pt x="157" y="134"/>
                </a:cubicBezTo>
                <a:cubicBezTo>
                  <a:pt x="157" y="134"/>
                  <a:pt x="158" y="135"/>
                  <a:pt x="159" y="135"/>
                </a:cubicBezTo>
                <a:cubicBezTo>
                  <a:pt x="159" y="135"/>
                  <a:pt x="159" y="134"/>
                  <a:pt x="159" y="133"/>
                </a:cubicBezTo>
                <a:cubicBezTo>
                  <a:pt x="159" y="133"/>
                  <a:pt x="159" y="132"/>
                  <a:pt x="159" y="132"/>
                </a:cubicBezTo>
                <a:cubicBezTo>
                  <a:pt x="159" y="131"/>
                  <a:pt x="160" y="130"/>
                  <a:pt x="160" y="129"/>
                </a:cubicBezTo>
                <a:cubicBezTo>
                  <a:pt x="160" y="129"/>
                  <a:pt x="160" y="128"/>
                  <a:pt x="160" y="127"/>
                </a:cubicBezTo>
                <a:cubicBezTo>
                  <a:pt x="160" y="127"/>
                  <a:pt x="161" y="127"/>
                  <a:pt x="161" y="126"/>
                </a:cubicBezTo>
                <a:cubicBezTo>
                  <a:pt x="161" y="126"/>
                  <a:pt x="161" y="125"/>
                  <a:pt x="161" y="125"/>
                </a:cubicBezTo>
                <a:cubicBezTo>
                  <a:pt x="161" y="124"/>
                  <a:pt x="160" y="124"/>
                  <a:pt x="159" y="124"/>
                </a:cubicBezTo>
                <a:cubicBezTo>
                  <a:pt x="159" y="124"/>
                  <a:pt x="159" y="124"/>
                  <a:pt x="159" y="123"/>
                </a:cubicBezTo>
                <a:cubicBezTo>
                  <a:pt x="159" y="123"/>
                  <a:pt x="159" y="123"/>
                  <a:pt x="158" y="123"/>
                </a:cubicBezTo>
                <a:cubicBezTo>
                  <a:pt x="158" y="122"/>
                  <a:pt x="159" y="121"/>
                  <a:pt x="159" y="120"/>
                </a:cubicBezTo>
                <a:cubicBezTo>
                  <a:pt x="158" y="121"/>
                  <a:pt x="157" y="121"/>
                  <a:pt x="156" y="122"/>
                </a:cubicBezTo>
                <a:cubicBezTo>
                  <a:pt x="156" y="122"/>
                  <a:pt x="155" y="122"/>
                  <a:pt x="155" y="123"/>
                </a:cubicBezTo>
                <a:cubicBezTo>
                  <a:pt x="155" y="123"/>
                  <a:pt x="155" y="124"/>
                  <a:pt x="155" y="124"/>
                </a:cubicBezTo>
                <a:cubicBezTo>
                  <a:pt x="156" y="125"/>
                  <a:pt x="157" y="125"/>
                  <a:pt x="156" y="126"/>
                </a:cubicBezTo>
                <a:cubicBezTo>
                  <a:pt x="155" y="127"/>
                  <a:pt x="155" y="127"/>
                  <a:pt x="155" y="128"/>
                </a:cubicBezTo>
                <a:cubicBezTo>
                  <a:pt x="155" y="128"/>
                  <a:pt x="155" y="128"/>
                  <a:pt x="154" y="128"/>
                </a:cubicBezTo>
                <a:cubicBezTo>
                  <a:pt x="153" y="129"/>
                  <a:pt x="153" y="128"/>
                  <a:pt x="152" y="128"/>
                </a:cubicBezTo>
                <a:cubicBezTo>
                  <a:pt x="151" y="127"/>
                  <a:pt x="150" y="128"/>
                  <a:pt x="149" y="127"/>
                </a:cubicBezTo>
                <a:cubicBezTo>
                  <a:pt x="148" y="126"/>
                  <a:pt x="147" y="126"/>
                  <a:pt x="146" y="126"/>
                </a:cubicBezTo>
                <a:cubicBezTo>
                  <a:pt x="146" y="125"/>
                  <a:pt x="145" y="125"/>
                  <a:pt x="145" y="125"/>
                </a:cubicBezTo>
                <a:cubicBezTo>
                  <a:pt x="145" y="124"/>
                  <a:pt x="144" y="124"/>
                  <a:pt x="144" y="124"/>
                </a:cubicBezTo>
                <a:cubicBezTo>
                  <a:pt x="144" y="123"/>
                  <a:pt x="145" y="122"/>
                  <a:pt x="145" y="122"/>
                </a:cubicBezTo>
                <a:cubicBezTo>
                  <a:pt x="145" y="122"/>
                  <a:pt x="145" y="121"/>
                  <a:pt x="146" y="121"/>
                </a:cubicBezTo>
                <a:cubicBezTo>
                  <a:pt x="146" y="121"/>
                  <a:pt x="146" y="121"/>
                  <a:pt x="147" y="120"/>
                </a:cubicBezTo>
                <a:cubicBezTo>
                  <a:pt x="147" y="120"/>
                  <a:pt x="147" y="120"/>
                  <a:pt x="148" y="120"/>
                </a:cubicBezTo>
                <a:cubicBezTo>
                  <a:pt x="148" y="119"/>
                  <a:pt x="149" y="119"/>
                  <a:pt x="149" y="119"/>
                </a:cubicBezTo>
                <a:cubicBezTo>
                  <a:pt x="150" y="118"/>
                  <a:pt x="150" y="118"/>
                  <a:pt x="149" y="117"/>
                </a:cubicBezTo>
                <a:cubicBezTo>
                  <a:pt x="149" y="117"/>
                  <a:pt x="149" y="116"/>
                  <a:pt x="148" y="116"/>
                </a:cubicBezTo>
                <a:cubicBezTo>
                  <a:pt x="148" y="116"/>
                  <a:pt x="147" y="117"/>
                  <a:pt x="147" y="117"/>
                </a:cubicBezTo>
                <a:cubicBezTo>
                  <a:pt x="146" y="117"/>
                  <a:pt x="145" y="118"/>
                  <a:pt x="145" y="118"/>
                </a:cubicBezTo>
                <a:cubicBezTo>
                  <a:pt x="144" y="118"/>
                  <a:pt x="144" y="118"/>
                  <a:pt x="144" y="118"/>
                </a:cubicBezTo>
                <a:cubicBezTo>
                  <a:pt x="144" y="118"/>
                  <a:pt x="144" y="118"/>
                  <a:pt x="143" y="118"/>
                </a:cubicBezTo>
                <a:cubicBezTo>
                  <a:pt x="143" y="118"/>
                  <a:pt x="142" y="119"/>
                  <a:pt x="142" y="119"/>
                </a:cubicBezTo>
                <a:cubicBezTo>
                  <a:pt x="141" y="119"/>
                  <a:pt x="141" y="120"/>
                  <a:pt x="140" y="120"/>
                </a:cubicBezTo>
                <a:cubicBezTo>
                  <a:pt x="139" y="120"/>
                  <a:pt x="139" y="120"/>
                  <a:pt x="138" y="121"/>
                </a:cubicBezTo>
                <a:cubicBezTo>
                  <a:pt x="137" y="121"/>
                  <a:pt x="137" y="121"/>
                  <a:pt x="136" y="121"/>
                </a:cubicBezTo>
                <a:cubicBezTo>
                  <a:pt x="135" y="121"/>
                  <a:pt x="133" y="121"/>
                  <a:pt x="132" y="121"/>
                </a:cubicBezTo>
                <a:cubicBezTo>
                  <a:pt x="131" y="121"/>
                  <a:pt x="130" y="121"/>
                  <a:pt x="129" y="121"/>
                </a:cubicBezTo>
                <a:cubicBezTo>
                  <a:pt x="129" y="121"/>
                  <a:pt x="129" y="121"/>
                  <a:pt x="129" y="121"/>
                </a:cubicBezTo>
                <a:cubicBezTo>
                  <a:pt x="128" y="120"/>
                  <a:pt x="128" y="120"/>
                  <a:pt x="128" y="120"/>
                </a:cubicBezTo>
                <a:cubicBezTo>
                  <a:pt x="127" y="120"/>
                  <a:pt x="127" y="120"/>
                  <a:pt x="126" y="119"/>
                </a:cubicBezTo>
                <a:cubicBezTo>
                  <a:pt x="126" y="119"/>
                  <a:pt x="126" y="119"/>
                  <a:pt x="126" y="119"/>
                </a:cubicBezTo>
                <a:cubicBezTo>
                  <a:pt x="125" y="118"/>
                  <a:pt x="125" y="118"/>
                  <a:pt x="125" y="118"/>
                </a:cubicBezTo>
                <a:cubicBezTo>
                  <a:pt x="124" y="118"/>
                  <a:pt x="125" y="117"/>
                  <a:pt x="125" y="116"/>
                </a:cubicBezTo>
                <a:cubicBezTo>
                  <a:pt x="125" y="115"/>
                  <a:pt x="125" y="115"/>
                  <a:pt x="126" y="114"/>
                </a:cubicBezTo>
                <a:cubicBezTo>
                  <a:pt x="127" y="113"/>
                  <a:pt x="128" y="112"/>
                  <a:pt x="128" y="112"/>
                </a:cubicBezTo>
                <a:cubicBezTo>
                  <a:pt x="128" y="111"/>
                  <a:pt x="126" y="111"/>
                  <a:pt x="126" y="111"/>
                </a:cubicBezTo>
                <a:cubicBezTo>
                  <a:pt x="125" y="111"/>
                  <a:pt x="125" y="112"/>
                  <a:pt x="125" y="113"/>
                </a:cubicBezTo>
                <a:cubicBezTo>
                  <a:pt x="125" y="113"/>
                  <a:pt x="124" y="113"/>
                  <a:pt x="124" y="114"/>
                </a:cubicBezTo>
                <a:cubicBezTo>
                  <a:pt x="124" y="114"/>
                  <a:pt x="124" y="114"/>
                  <a:pt x="124" y="115"/>
                </a:cubicBezTo>
                <a:cubicBezTo>
                  <a:pt x="123" y="116"/>
                  <a:pt x="120" y="116"/>
                  <a:pt x="120" y="115"/>
                </a:cubicBezTo>
                <a:cubicBezTo>
                  <a:pt x="119" y="115"/>
                  <a:pt x="120" y="114"/>
                  <a:pt x="120" y="114"/>
                </a:cubicBezTo>
                <a:cubicBezTo>
                  <a:pt x="120" y="113"/>
                  <a:pt x="120" y="112"/>
                  <a:pt x="120" y="112"/>
                </a:cubicBezTo>
                <a:cubicBezTo>
                  <a:pt x="121" y="111"/>
                  <a:pt x="121" y="110"/>
                  <a:pt x="122" y="110"/>
                </a:cubicBezTo>
                <a:cubicBezTo>
                  <a:pt x="122" y="110"/>
                  <a:pt x="123" y="109"/>
                  <a:pt x="124" y="109"/>
                </a:cubicBezTo>
                <a:cubicBezTo>
                  <a:pt x="124" y="109"/>
                  <a:pt x="124" y="110"/>
                  <a:pt x="125" y="110"/>
                </a:cubicBezTo>
                <a:cubicBezTo>
                  <a:pt x="125" y="110"/>
                  <a:pt x="125" y="110"/>
                  <a:pt x="126" y="110"/>
                </a:cubicBezTo>
                <a:cubicBezTo>
                  <a:pt x="127" y="110"/>
                  <a:pt x="127" y="111"/>
                  <a:pt x="128" y="110"/>
                </a:cubicBezTo>
                <a:cubicBezTo>
                  <a:pt x="130" y="110"/>
                  <a:pt x="130" y="109"/>
                  <a:pt x="131" y="108"/>
                </a:cubicBezTo>
                <a:cubicBezTo>
                  <a:pt x="132" y="108"/>
                  <a:pt x="132" y="108"/>
                  <a:pt x="133" y="108"/>
                </a:cubicBezTo>
                <a:cubicBezTo>
                  <a:pt x="134" y="108"/>
                  <a:pt x="135" y="108"/>
                  <a:pt x="136" y="108"/>
                </a:cubicBezTo>
                <a:cubicBezTo>
                  <a:pt x="136" y="108"/>
                  <a:pt x="136" y="108"/>
                  <a:pt x="137" y="108"/>
                </a:cubicBezTo>
                <a:cubicBezTo>
                  <a:pt x="137" y="109"/>
                  <a:pt x="137" y="109"/>
                  <a:pt x="137" y="109"/>
                </a:cubicBezTo>
                <a:cubicBezTo>
                  <a:pt x="138" y="110"/>
                  <a:pt x="138" y="110"/>
                  <a:pt x="139" y="110"/>
                </a:cubicBezTo>
                <a:cubicBezTo>
                  <a:pt x="139" y="110"/>
                  <a:pt x="139" y="111"/>
                  <a:pt x="139" y="111"/>
                </a:cubicBezTo>
                <a:cubicBezTo>
                  <a:pt x="140" y="111"/>
                  <a:pt x="139" y="112"/>
                  <a:pt x="140" y="112"/>
                </a:cubicBezTo>
                <a:cubicBezTo>
                  <a:pt x="141" y="112"/>
                  <a:pt x="142" y="112"/>
                  <a:pt x="143" y="113"/>
                </a:cubicBezTo>
                <a:cubicBezTo>
                  <a:pt x="143" y="114"/>
                  <a:pt x="144" y="114"/>
                  <a:pt x="145" y="114"/>
                </a:cubicBezTo>
                <a:cubicBezTo>
                  <a:pt x="146" y="114"/>
                  <a:pt x="147" y="115"/>
                  <a:pt x="148" y="115"/>
                </a:cubicBezTo>
                <a:cubicBezTo>
                  <a:pt x="148" y="115"/>
                  <a:pt x="148" y="115"/>
                  <a:pt x="149" y="115"/>
                </a:cubicBezTo>
                <a:cubicBezTo>
                  <a:pt x="149" y="115"/>
                  <a:pt x="149" y="116"/>
                  <a:pt x="149" y="116"/>
                </a:cubicBezTo>
                <a:cubicBezTo>
                  <a:pt x="150" y="116"/>
                  <a:pt x="151" y="116"/>
                  <a:pt x="151" y="116"/>
                </a:cubicBezTo>
                <a:cubicBezTo>
                  <a:pt x="152" y="115"/>
                  <a:pt x="152" y="115"/>
                  <a:pt x="152" y="114"/>
                </a:cubicBezTo>
                <a:cubicBezTo>
                  <a:pt x="153" y="114"/>
                  <a:pt x="153" y="114"/>
                  <a:pt x="153" y="115"/>
                </a:cubicBezTo>
                <a:cubicBezTo>
                  <a:pt x="154" y="115"/>
                  <a:pt x="154" y="115"/>
                  <a:pt x="154" y="115"/>
                </a:cubicBezTo>
                <a:cubicBezTo>
                  <a:pt x="155" y="116"/>
                  <a:pt x="156" y="116"/>
                  <a:pt x="157" y="115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3" y="113"/>
                  <a:pt x="152" y="113"/>
                </a:cubicBezTo>
                <a:close/>
                <a:moveTo>
                  <a:pt x="70" y="140"/>
                </a:moveTo>
                <a:cubicBezTo>
                  <a:pt x="70" y="140"/>
                  <a:pt x="70" y="140"/>
                  <a:pt x="71" y="140"/>
                </a:cubicBezTo>
                <a:cubicBezTo>
                  <a:pt x="71" y="140"/>
                  <a:pt x="72" y="141"/>
                  <a:pt x="72" y="141"/>
                </a:cubicBezTo>
                <a:cubicBezTo>
                  <a:pt x="72" y="141"/>
                  <a:pt x="73" y="142"/>
                  <a:pt x="73" y="142"/>
                </a:cubicBezTo>
                <a:cubicBezTo>
                  <a:pt x="74" y="142"/>
                  <a:pt x="74" y="142"/>
                  <a:pt x="75" y="143"/>
                </a:cubicBezTo>
                <a:cubicBezTo>
                  <a:pt x="75" y="143"/>
                  <a:pt x="75" y="143"/>
                  <a:pt x="76" y="143"/>
                </a:cubicBezTo>
                <a:cubicBezTo>
                  <a:pt x="76" y="143"/>
                  <a:pt x="76" y="143"/>
                  <a:pt x="76" y="144"/>
                </a:cubicBezTo>
                <a:cubicBezTo>
                  <a:pt x="77" y="144"/>
                  <a:pt x="77" y="143"/>
                  <a:pt x="77" y="143"/>
                </a:cubicBezTo>
                <a:cubicBezTo>
                  <a:pt x="77" y="143"/>
                  <a:pt x="78" y="142"/>
                  <a:pt x="78" y="142"/>
                </a:cubicBezTo>
                <a:cubicBezTo>
                  <a:pt x="79" y="141"/>
                  <a:pt x="79" y="141"/>
                  <a:pt x="79" y="141"/>
                </a:cubicBezTo>
                <a:cubicBezTo>
                  <a:pt x="80" y="140"/>
                  <a:pt x="81" y="139"/>
                  <a:pt x="80" y="139"/>
                </a:cubicBezTo>
                <a:cubicBezTo>
                  <a:pt x="79" y="139"/>
                  <a:pt x="79" y="139"/>
                  <a:pt x="78" y="139"/>
                </a:cubicBezTo>
                <a:cubicBezTo>
                  <a:pt x="78" y="139"/>
                  <a:pt x="78" y="139"/>
                  <a:pt x="77" y="139"/>
                </a:cubicBezTo>
                <a:cubicBezTo>
                  <a:pt x="77" y="138"/>
                  <a:pt x="77" y="138"/>
                  <a:pt x="76" y="138"/>
                </a:cubicBezTo>
                <a:cubicBezTo>
                  <a:pt x="76" y="138"/>
                  <a:pt x="76" y="138"/>
                  <a:pt x="75" y="138"/>
                </a:cubicBezTo>
                <a:cubicBezTo>
                  <a:pt x="75" y="138"/>
                  <a:pt x="75" y="137"/>
                  <a:pt x="75" y="137"/>
                </a:cubicBezTo>
                <a:cubicBezTo>
                  <a:pt x="75" y="137"/>
                  <a:pt x="74" y="137"/>
                  <a:pt x="74" y="137"/>
                </a:cubicBezTo>
                <a:cubicBezTo>
                  <a:pt x="73" y="138"/>
                  <a:pt x="73" y="138"/>
                  <a:pt x="73" y="138"/>
                </a:cubicBezTo>
                <a:cubicBezTo>
                  <a:pt x="73" y="138"/>
                  <a:pt x="72" y="138"/>
                  <a:pt x="72" y="138"/>
                </a:cubicBezTo>
                <a:cubicBezTo>
                  <a:pt x="72" y="139"/>
                  <a:pt x="71" y="139"/>
                  <a:pt x="71" y="139"/>
                </a:cubicBezTo>
                <a:cubicBezTo>
                  <a:pt x="70" y="139"/>
                  <a:pt x="70" y="139"/>
                  <a:pt x="70" y="139"/>
                </a:cubicBezTo>
                <a:cubicBezTo>
                  <a:pt x="69" y="140"/>
                  <a:pt x="69" y="140"/>
                  <a:pt x="70" y="14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" name="Freeform 41">
            <a:extLst>
              <a:ext uri="{FF2B5EF4-FFF2-40B4-BE49-F238E27FC236}">
                <a16:creationId xmlns:a16="http://schemas.microsoft.com/office/drawing/2014/main" id="{3E42F687-863A-459A-9F60-7DF7866FACFB}"/>
              </a:ext>
            </a:extLst>
          </p:cNvPr>
          <p:cNvSpPr>
            <a:spLocks/>
          </p:cNvSpPr>
          <p:nvPr/>
        </p:nvSpPr>
        <p:spPr bwMode="auto">
          <a:xfrm>
            <a:off x="8824614" y="3146473"/>
            <a:ext cx="1019410" cy="459313"/>
          </a:xfrm>
          <a:custGeom>
            <a:avLst/>
            <a:gdLst>
              <a:gd name="T0" fmla="*/ 249 w 257"/>
              <a:gd name="T1" fmla="*/ 67 h 116"/>
              <a:gd name="T2" fmla="*/ 243 w 257"/>
              <a:gd name="T3" fmla="*/ 59 h 116"/>
              <a:gd name="T4" fmla="*/ 240 w 257"/>
              <a:gd name="T5" fmla="*/ 51 h 116"/>
              <a:gd name="T6" fmla="*/ 234 w 257"/>
              <a:gd name="T7" fmla="*/ 45 h 116"/>
              <a:gd name="T8" fmla="*/ 236 w 257"/>
              <a:gd name="T9" fmla="*/ 39 h 116"/>
              <a:gd name="T10" fmla="*/ 235 w 257"/>
              <a:gd name="T11" fmla="*/ 30 h 116"/>
              <a:gd name="T12" fmla="*/ 228 w 257"/>
              <a:gd name="T13" fmla="*/ 25 h 116"/>
              <a:gd name="T14" fmla="*/ 226 w 257"/>
              <a:gd name="T15" fmla="*/ 18 h 116"/>
              <a:gd name="T16" fmla="*/ 218 w 257"/>
              <a:gd name="T17" fmla="*/ 21 h 116"/>
              <a:gd name="T18" fmla="*/ 213 w 257"/>
              <a:gd name="T19" fmla="*/ 23 h 116"/>
              <a:gd name="T20" fmla="*/ 206 w 257"/>
              <a:gd name="T21" fmla="*/ 20 h 116"/>
              <a:gd name="T22" fmla="*/ 201 w 257"/>
              <a:gd name="T23" fmla="*/ 20 h 116"/>
              <a:gd name="T24" fmla="*/ 192 w 257"/>
              <a:gd name="T25" fmla="*/ 17 h 116"/>
              <a:gd name="T26" fmla="*/ 180 w 257"/>
              <a:gd name="T27" fmla="*/ 14 h 116"/>
              <a:gd name="T28" fmla="*/ 177 w 257"/>
              <a:gd name="T29" fmla="*/ 6 h 116"/>
              <a:gd name="T30" fmla="*/ 172 w 257"/>
              <a:gd name="T31" fmla="*/ 1 h 116"/>
              <a:gd name="T32" fmla="*/ 166 w 257"/>
              <a:gd name="T33" fmla="*/ 3 h 116"/>
              <a:gd name="T34" fmla="*/ 160 w 257"/>
              <a:gd name="T35" fmla="*/ 0 h 116"/>
              <a:gd name="T36" fmla="*/ 157 w 257"/>
              <a:gd name="T37" fmla="*/ 5 h 116"/>
              <a:gd name="T38" fmla="*/ 159 w 257"/>
              <a:gd name="T39" fmla="*/ 11 h 116"/>
              <a:gd name="T40" fmla="*/ 155 w 257"/>
              <a:gd name="T41" fmla="*/ 16 h 116"/>
              <a:gd name="T42" fmla="*/ 143 w 257"/>
              <a:gd name="T43" fmla="*/ 18 h 116"/>
              <a:gd name="T44" fmla="*/ 138 w 257"/>
              <a:gd name="T45" fmla="*/ 26 h 116"/>
              <a:gd name="T46" fmla="*/ 129 w 257"/>
              <a:gd name="T47" fmla="*/ 37 h 116"/>
              <a:gd name="T48" fmla="*/ 121 w 257"/>
              <a:gd name="T49" fmla="*/ 47 h 116"/>
              <a:gd name="T50" fmla="*/ 115 w 257"/>
              <a:gd name="T51" fmla="*/ 51 h 116"/>
              <a:gd name="T52" fmla="*/ 108 w 257"/>
              <a:gd name="T53" fmla="*/ 43 h 116"/>
              <a:gd name="T54" fmla="*/ 105 w 257"/>
              <a:gd name="T55" fmla="*/ 46 h 116"/>
              <a:gd name="T56" fmla="*/ 100 w 257"/>
              <a:gd name="T57" fmla="*/ 51 h 116"/>
              <a:gd name="T58" fmla="*/ 96 w 257"/>
              <a:gd name="T59" fmla="*/ 57 h 116"/>
              <a:gd name="T60" fmla="*/ 91 w 257"/>
              <a:gd name="T61" fmla="*/ 52 h 116"/>
              <a:gd name="T62" fmla="*/ 82 w 257"/>
              <a:gd name="T63" fmla="*/ 55 h 116"/>
              <a:gd name="T64" fmla="*/ 79 w 257"/>
              <a:gd name="T65" fmla="*/ 58 h 116"/>
              <a:gd name="T66" fmla="*/ 68 w 257"/>
              <a:gd name="T67" fmla="*/ 53 h 116"/>
              <a:gd name="T68" fmla="*/ 62 w 257"/>
              <a:gd name="T69" fmla="*/ 54 h 116"/>
              <a:gd name="T70" fmla="*/ 59 w 257"/>
              <a:gd name="T71" fmla="*/ 55 h 116"/>
              <a:gd name="T72" fmla="*/ 52 w 257"/>
              <a:gd name="T73" fmla="*/ 54 h 116"/>
              <a:gd name="T74" fmla="*/ 51 w 257"/>
              <a:gd name="T75" fmla="*/ 60 h 116"/>
              <a:gd name="T76" fmla="*/ 45 w 257"/>
              <a:gd name="T77" fmla="*/ 69 h 116"/>
              <a:gd name="T78" fmla="*/ 41 w 257"/>
              <a:gd name="T79" fmla="*/ 74 h 116"/>
              <a:gd name="T80" fmla="*/ 33 w 257"/>
              <a:gd name="T81" fmla="*/ 77 h 116"/>
              <a:gd name="T82" fmla="*/ 31 w 257"/>
              <a:gd name="T83" fmla="*/ 92 h 116"/>
              <a:gd name="T84" fmla="*/ 13 w 257"/>
              <a:gd name="T85" fmla="*/ 86 h 116"/>
              <a:gd name="T86" fmla="*/ 12 w 257"/>
              <a:gd name="T87" fmla="*/ 97 h 116"/>
              <a:gd name="T88" fmla="*/ 8 w 257"/>
              <a:gd name="T89" fmla="*/ 105 h 116"/>
              <a:gd name="T90" fmla="*/ 5 w 257"/>
              <a:gd name="T91" fmla="*/ 111 h 116"/>
              <a:gd name="T92" fmla="*/ 47 w 257"/>
              <a:gd name="T93" fmla="*/ 116 h 116"/>
              <a:gd name="T94" fmla="*/ 55 w 257"/>
              <a:gd name="T95" fmla="*/ 110 h 116"/>
              <a:gd name="T96" fmla="*/ 184 w 257"/>
              <a:gd name="T97" fmla="*/ 111 h 116"/>
              <a:gd name="T98" fmla="*/ 213 w 257"/>
              <a:gd name="T99" fmla="*/ 107 h 116"/>
              <a:gd name="T100" fmla="*/ 223 w 257"/>
              <a:gd name="T101" fmla="*/ 100 h 116"/>
              <a:gd name="T102" fmla="*/ 230 w 257"/>
              <a:gd name="T103" fmla="*/ 93 h 116"/>
              <a:gd name="T104" fmla="*/ 240 w 257"/>
              <a:gd name="T105" fmla="*/ 84 h 116"/>
              <a:gd name="T106" fmla="*/ 255 w 257"/>
              <a:gd name="T107" fmla="*/ 71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57" h="116">
                <a:moveTo>
                  <a:pt x="255" y="71"/>
                </a:moveTo>
                <a:cubicBezTo>
                  <a:pt x="252" y="70"/>
                  <a:pt x="252" y="70"/>
                  <a:pt x="252" y="70"/>
                </a:cubicBezTo>
                <a:cubicBezTo>
                  <a:pt x="251" y="67"/>
                  <a:pt x="251" y="67"/>
                  <a:pt x="251" y="67"/>
                </a:cubicBezTo>
                <a:cubicBezTo>
                  <a:pt x="249" y="67"/>
                  <a:pt x="249" y="67"/>
                  <a:pt x="249" y="67"/>
                </a:cubicBezTo>
                <a:cubicBezTo>
                  <a:pt x="249" y="67"/>
                  <a:pt x="245" y="64"/>
                  <a:pt x="245" y="64"/>
                </a:cubicBezTo>
                <a:cubicBezTo>
                  <a:pt x="245" y="64"/>
                  <a:pt x="245" y="63"/>
                  <a:pt x="245" y="62"/>
                </a:cubicBezTo>
                <a:cubicBezTo>
                  <a:pt x="245" y="62"/>
                  <a:pt x="246" y="61"/>
                  <a:pt x="246" y="61"/>
                </a:cubicBezTo>
                <a:cubicBezTo>
                  <a:pt x="243" y="59"/>
                  <a:pt x="243" y="59"/>
                  <a:pt x="243" y="59"/>
                </a:cubicBezTo>
                <a:cubicBezTo>
                  <a:pt x="243" y="59"/>
                  <a:pt x="242" y="55"/>
                  <a:pt x="242" y="55"/>
                </a:cubicBezTo>
                <a:cubicBezTo>
                  <a:pt x="242" y="55"/>
                  <a:pt x="239" y="54"/>
                  <a:pt x="239" y="54"/>
                </a:cubicBezTo>
                <a:cubicBezTo>
                  <a:pt x="240" y="52"/>
                  <a:pt x="240" y="52"/>
                  <a:pt x="240" y="52"/>
                </a:cubicBezTo>
                <a:cubicBezTo>
                  <a:pt x="240" y="52"/>
                  <a:pt x="240" y="51"/>
                  <a:pt x="240" y="51"/>
                </a:cubicBezTo>
                <a:cubicBezTo>
                  <a:pt x="240" y="51"/>
                  <a:pt x="238" y="50"/>
                  <a:pt x="238" y="50"/>
                </a:cubicBezTo>
                <a:cubicBezTo>
                  <a:pt x="238" y="50"/>
                  <a:pt x="238" y="48"/>
                  <a:pt x="237" y="48"/>
                </a:cubicBezTo>
                <a:cubicBezTo>
                  <a:pt x="237" y="48"/>
                  <a:pt x="236" y="45"/>
                  <a:pt x="236" y="45"/>
                </a:cubicBezTo>
                <a:cubicBezTo>
                  <a:pt x="236" y="45"/>
                  <a:pt x="234" y="45"/>
                  <a:pt x="234" y="45"/>
                </a:cubicBezTo>
                <a:cubicBezTo>
                  <a:pt x="234" y="44"/>
                  <a:pt x="235" y="43"/>
                  <a:pt x="235" y="43"/>
                </a:cubicBezTo>
                <a:cubicBezTo>
                  <a:pt x="236" y="42"/>
                  <a:pt x="236" y="42"/>
                  <a:pt x="236" y="42"/>
                </a:cubicBezTo>
                <a:cubicBezTo>
                  <a:pt x="235" y="40"/>
                  <a:pt x="235" y="40"/>
                  <a:pt x="235" y="40"/>
                </a:cubicBezTo>
                <a:cubicBezTo>
                  <a:pt x="235" y="40"/>
                  <a:pt x="236" y="39"/>
                  <a:pt x="236" y="39"/>
                </a:cubicBezTo>
                <a:cubicBezTo>
                  <a:pt x="236" y="39"/>
                  <a:pt x="236" y="36"/>
                  <a:pt x="236" y="36"/>
                </a:cubicBezTo>
                <a:cubicBezTo>
                  <a:pt x="236" y="35"/>
                  <a:pt x="236" y="33"/>
                  <a:pt x="236" y="33"/>
                </a:cubicBezTo>
                <a:cubicBezTo>
                  <a:pt x="235" y="30"/>
                  <a:pt x="235" y="30"/>
                  <a:pt x="235" y="30"/>
                </a:cubicBezTo>
                <a:cubicBezTo>
                  <a:pt x="235" y="30"/>
                  <a:pt x="235" y="30"/>
                  <a:pt x="235" y="30"/>
                </a:cubicBezTo>
                <a:cubicBezTo>
                  <a:pt x="235" y="29"/>
                  <a:pt x="235" y="28"/>
                  <a:pt x="234" y="28"/>
                </a:cubicBezTo>
                <a:cubicBezTo>
                  <a:pt x="233" y="27"/>
                  <a:pt x="232" y="26"/>
                  <a:pt x="231" y="26"/>
                </a:cubicBezTo>
                <a:cubicBezTo>
                  <a:pt x="231" y="26"/>
                  <a:pt x="230" y="26"/>
                  <a:pt x="230" y="25"/>
                </a:cubicBezTo>
                <a:cubicBezTo>
                  <a:pt x="229" y="25"/>
                  <a:pt x="229" y="25"/>
                  <a:pt x="228" y="25"/>
                </a:cubicBezTo>
                <a:cubicBezTo>
                  <a:pt x="227" y="24"/>
                  <a:pt x="227" y="23"/>
                  <a:pt x="226" y="23"/>
                </a:cubicBezTo>
                <a:cubicBezTo>
                  <a:pt x="226" y="22"/>
                  <a:pt x="226" y="21"/>
                  <a:pt x="226" y="20"/>
                </a:cubicBezTo>
                <a:cubicBezTo>
                  <a:pt x="226" y="19"/>
                  <a:pt x="226" y="19"/>
                  <a:pt x="226" y="19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5" y="17"/>
                  <a:pt x="224" y="17"/>
                  <a:pt x="224" y="17"/>
                </a:cubicBezTo>
                <a:cubicBezTo>
                  <a:pt x="223" y="18"/>
                  <a:pt x="222" y="18"/>
                  <a:pt x="221" y="18"/>
                </a:cubicBezTo>
                <a:cubicBezTo>
                  <a:pt x="221" y="18"/>
                  <a:pt x="220" y="19"/>
                  <a:pt x="220" y="20"/>
                </a:cubicBezTo>
                <a:cubicBezTo>
                  <a:pt x="219" y="20"/>
                  <a:pt x="219" y="21"/>
                  <a:pt x="218" y="21"/>
                </a:cubicBezTo>
                <a:cubicBezTo>
                  <a:pt x="218" y="22"/>
                  <a:pt x="217" y="22"/>
                  <a:pt x="217" y="22"/>
                </a:cubicBezTo>
                <a:cubicBezTo>
                  <a:pt x="216" y="23"/>
                  <a:pt x="216" y="23"/>
                  <a:pt x="215" y="23"/>
                </a:cubicBezTo>
                <a:cubicBezTo>
                  <a:pt x="215" y="23"/>
                  <a:pt x="214" y="23"/>
                  <a:pt x="214" y="23"/>
                </a:cubicBezTo>
                <a:cubicBezTo>
                  <a:pt x="213" y="23"/>
                  <a:pt x="213" y="23"/>
                  <a:pt x="213" y="23"/>
                </a:cubicBezTo>
                <a:cubicBezTo>
                  <a:pt x="212" y="23"/>
                  <a:pt x="211" y="24"/>
                  <a:pt x="211" y="24"/>
                </a:cubicBezTo>
                <a:cubicBezTo>
                  <a:pt x="211" y="24"/>
                  <a:pt x="210" y="23"/>
                  <a:pt x="210" y="23"/>
                </a:cubicBezTo>
                <a:cubicBezTo>
                  <a:pt x="209" y="22"/>
                  <a:pt x="208" y="21"/>
                  <a:pt x="207" y="21"/>
                </a:cubicBezTo>
                <a:cubicBezTo>
                  <a:pt x="207" y="21"/>
                  <a:pt x="206" y="20"/>
                  <a:pt x="206" y="20"/>
                </a:cubicBezTo>
                <a:cubicBezTo>
                  <a:pt x="206" y="20"/>
                  <a:pt x="205" y="20"/>
                  <a:pt x="205" y="20"/>
                </a:cubicBezTo>
                <a:cubicBezTo>
                  <a:pt x="205" y="19"/>
                  <a:pt x="205" y="19"/>
                  <a:pt x="204" y="19"/>
                </a:cubicBezTo>
                <a:cubicBezTo>
                  <a:pt x="204" y="19"/>
                  <a:pt x="203" y="20"/>
                  <a:pt x="202" y="20"/>
                </a:cubicBezTo>
                <a:cubicBezTo>
                  <a:pt x="202" y="20"/>
                  <a:pt x="201" y="20"/>
                  <a:pt x="201" y="20"/>
                </a:cubicBezTo>
                <a:cubicBezTo>
                  <a:pt x="200" y="21"/>
                  <a:pt x="200" y="21"/>
                  <a:pt x="199" y="22"/>
                </a:cubicBezTo>
                <a:cubicBezTo>
                  <a:pt x="199" y="22"/>
                  <a:pt x="197" y="23"/>
                  <a:pt x="196" y="22"/>
                </a:cubicBezTo>
                <a:cubicBezTo>
                  <a:pt x="195" y="21"/>
                  <a:pt x="195" y="20"/>
                  <a:pt x="194" y="19"/>
                </a:cubicBezTo>
                <a:cubicBezTo>
                  <a:pt x="193" y="18"/>
                  <a:pt x="193" y="18"/>
                  <a:pt x="192" y="17"/>
                </a:cubicBezTo>
                <a:cubicBezTo>
                  <a:pt x="192" y="17"/>
                  <a:pt x="191" y="16"/>
                  <a:pt x="190" y="16"/>
                </a:cubicBezTo>
                <a:cubicBezTo>
                  <a:pt x="189" y="15"/>
                  <a:pt x="187" y="16"/>
                  <a:pt x="186" y="16"/>
                </a:cubicBezTo>
                <a:cubicBezTo>
                  <a:pt x="185" y="16"/>
                  <a:pt x="184" y="16"/>
                  <a:pt x="182" y="16"/>
                </a:cubicBezTo>
                <a:cubicBezTo>
                  <a:pt x="181" y="16"/>
                  <a:pt x="181" y="15"/>
                  <a:pt x="180" y="14"/>
                </a:cubicBezTo>
                <a:cubicBezTo>
                  <a:pt x="180" y="13"/>
                  <a:pt x="179" y="12"/>
                  <a:pt x="179" y="11"/>
                </a:cubicBezTo>
                <a:cubicBezTo>
                  <a:pt x="178" y="10"/>
                  <a:pt x="178" y="9"/>
                  <a:pt x="178" y="8"/>
                </a:cubicBezTo>
                <a:cubicBezTo>
                  <a:pt x="178" y="8"/>
                  <a:pt x="177" y="8"/>
                  <a:pt x="177" y="7"/>
                </a:cubicBezTo>
                <a:cubicBezTo>
                  <a:pt x="177" y="7"/>
                  <a:pt x="177" y="7"/>
                  <a:pt x="177" y="6"/>
                </a:cubicBezTo>
                <a:cubicBezTo>
                  <a:pt x="177" y="6"/>
                  <a:pt x="176" y="5"/>
                  <a:pt x="176" y="5"/>
                </a:cubicBezTo>
                <a:cubicBezTo>
                  <a:pt x="176" y="5"/>
                  <a:pt x="175" y="4"/>
                  <a:pt x="175" y="4"/>
                </a:cubicBezTo>
                <a:cubicBezTo>
                  <a:pt x="174" y="4"/>
                  <a:pt x="173" y="3"/>
                  <a:pt x="173" y="2"/>
                </a:cubicBezTo>
                <a:cubicBezTo>
                  <a:pt x="172" y="2"/>
                  <a:pt x="172" y="2"/>
                  <a:pt x="172" y="1"/>
                </a:cubicBezTo>
                <a:cubicBezTo>
                  <a:pt x="172" y="1"/>
                  <a:pt x="171" y="1"/>
                  <a:pt x="170" y="1"/>
                </a:cubicBezTo>
                <a:cubicBezTo>
                  <a:pt x="170" y="1"/>
                  <a:pt x="169" y="2"/>
                  <a:pt x="168" y="2"/>
                </a:cubicBezTo>
                <a:cubicBezTo>
                  <a:pt x="168" y="2"/>
                  <a:pt x="167" y="2"/>
                  <a:pt x="167" y="3"/>
                </a:cubicBezTo>
                <a:cubicBezTo>
                  <a:pt x="167" y="3"/>
                  <a:pt x="166" y="3"/>
                  <a:pt x="166" y="3"/>
                </a:cubicBezTo>
                <a:cubicBezTo>
                  <a:pt x="165" y="3"/>
                  <a:pt x="164" y="2"/>
                  <a:pt x="164" y="2"/>
                </a:cubicBezTo>
                <a:cubicBezTo>
                  <a:pt x="163" y="2"/>
                  <a:pt x="163" y="1"/>
                  <a:pt x="163" y="1"/>
                </a:cubicBezTo>
                <a:cubicBezTo>
                  <a:pt x="162" y="0"/>
                  <a:pt x="162" y="0"/>
                  <a:pt x="161" y="0"/>
                </a:cubicBezTo>
                <a:cubicBezTo>
                  <a:pt x="161" y="0"/>
                  <a:pt x="160" y="0"/>
                  <a:pt x="160" y="0"/>
                </a:cubicBezTo>
                <a:cubicBezTo>
                  <a:pt x="160" y="0"/>
                  <a:pt x="159" y="1"/>
                  <a:pt x="159" y="1"/>
                </a:cubicBezTo>
                <a:cubicBezTo>
                  <a:pt x="159" y="1"/>
                  <a:pt x="159" y="1"/>
                  <a:pt x="159" y="1"/>
                </a:cubicBezTo>
                <a:cubicBezTo>
                  <a:pt x="158" y="3"/>
                  <a:pt x="158" y="3"/>
                  <a:pt x="158" y="3"/>
                </a:cubicBezTo>
                <a:cubicBezTo>
                  <a:pt x="158" y="3"/>
                  <a:pt x="157" y="4"/>
                  <a:pt x="157" y="5"/>
                </a:cubicBezTo>
                <a:cubicBezTo>
                  <a:pt x="157" y="6"/>
                  <a:pt x="158" y="6"/>
                  <a:pt x="158" y="7"/>
                </a:cubicBezTo>
                <a:cubicBezTo>
                  <a:pt x="158" y="7"/>
                  <a:pt x="159" y="8"/>
                  <a:pt x="158" y="9"/>
                </a:cubicBezTo>
                <a:cubicBezTo>
                  <a:pt x="158" y="10"/>
                  <a:pt x="158" y="10"/>
                  <a:pt x="158" y="11"/>
                </a:cubicBezTo>
                <a:cubicBezTo>
                  <a:pt x="158" y="11"/>
                  <a:pt x="158" y="11"/>
                  <a:pt x="159" y="11"/>
                </a:cubicBezTo>
                <a:cubicBezTo>
                  <a:pt x="160" y="11"/>
                  <a:pt x="160" y="12"/>
                  <a:pt x="160" y="13"/>
                </a:cubicBezTo>
                <a:cubicBezTo>
                  <a:pt x="160" y="13"/>
                  <a:pt x="159" y="14"/>
                  <a:pt x="159" y="14"/>
                </a:cubicBezTo>
                <a:cubicBezTo>
                  <a:pt x="159" y="14"/>
                  <a:pt x="160" y="16"/>
                  <a:pt x="159" y="16"/>
                </a:cubicBezTo>
                <a:cubicBezTo>
                  <a:pt x="158" y="17"/>
                  <a:pt x="157" y="16"/>
                  <a:pt x="155" y="16"/>
                </a:cubicBezTo>
                <a:cubicBezTo>
                  <a:pt x="153" y="16"/>
                  <a:pt x="153" y="16"/>
                  <a:pt x="152" y="17"/>
                </a:cubicBezTo>
                <a:cubicBezTo>
                  <a:pt x="151" y="17"/>
                  <a:pt x="150" y="19"/>
                  <a:pt x="149" y="19"/>
                </a:cubicBezTo>
                <a:cubicBezTo>
                  <a:pt x="147" y="20"/>
                  <a:pt x="147" y="20"/>
                  <a:pt x="146" y="20"/>
                </a:cubicBezTo>
                <a:cubicBezTo>
                  <a:pt x="145" y="20"/>
                  <a:pt x="144" y="18"/>
                  <a:pt x="143" y="18"/>
                </a:cubicBezTo>
                <a:cubicBezTo>
                  <a:pt x="143" y="18"/>
                  <a:pt x="142" y="18"/>
                  <a:pt x="141" y="18"/>
                </a:cubicBezTo>
                <a:cubicBezTo>
                  <a:pt x="140" y="18"/>
                  <a:pt x="139" y="18"/>
                  <a:pt x="138" y="19"/>
                </a:cubicBezTo>
                <a:cubicBezTo>
                  <a:pt x="137" y="19"/>
                  <a:pt x="137" y="22"/>
                  <a:pt x="137" y="23"/>
                </a:cubicBezTo>
                <a:cubicBezTo>
                  <a:pt x="137" y="24"/>
                  <a:pt x="138" y="25"/>
                  <a:pt x="138" y="26"/>
                </a:cubicBezTo>
                <a:cubicBezTo>
                  <a:pt x="138" y="27"/>
                  <a:pt x="137" y="29"/>
                  <a:pt x="137" y="29"/>
                </a:cubicBezTo>
                <a:cubicBezTo>
                  <a:pt x="137" y="29"/>
                  <a:pt x="132" y="31"/>
                  <a:pt x="132" y="32"/>
                </a:cubicBezTo>
                <a:cubicBezTo>
                  <a:pt x="131" y="33"/>
                  <a:pt x="131" y="34"/>
                  <a:pt x="131" y="35"/>
                </a:cubicBezTo>
                <a:cubicBezTo>
                  <a:pt x="131" y="36"/>
                  <a:pt x="130" y="36"/>
                  <a:pt x="129" y="37"/>
                </a:cubicBezTo>
                <a:cubicBezTo>
                  <a:pt x="128" y="38"/>
                  <a:pt x="128" y="38"/>
                  <a:pt x="127" y="38"/>
                </a:cubicBezTo>
                <a:cubicBezTo>
                  <a:pt x="126" y="38"/>
                  <a:pt x="125" y="39"/>
                  <a:pt x="124" y="39"/>
                </a:cubicBezTo>
                <a:cubicBezTo>
                  <a:pt x="123" y="40"/>
                  <a:pt x="123" y="41"/>
                  <a:pt x="122" y="42"/>
                </a:cubicBezTo>
                <a:cubicBezTo>
                  <a:pt x="122" y="43"/>
                  <a:pt x="121" y="46"/>
                  <a:pt x="121" y="47"/>
                </a:cubicBezTo>
                <a:cubicBezTo>
                  <a:pt x="121" y="48"/>
                  <a:pt x="121" y="49"/>
                  <a:pt x="121" y="49"/>
                </a:cubicBezTo>
                <a:cubicBezTo>
                  <a:pt x="121" y="50"/>
                  <a:pt x="119" y="50"/>
                  <a:pt x="119" y="50"/>
                </a:cubicBezTo>
                <a:cubicBezTo>
                  <a:pt x="118" y="50"/>
                  <a:pt x="117" y="52"/>
                  <a:pt x="117" y="52"/>
                </a:cubicBezTo>
                <a:cubicBezTo>
                  <a:pt x="117" y="52"/>
                  <a:pt x="116" y="51"/>
                  <a:pt x="115" y="51"/>
                </a:cubicBezTo>
                <a:cubicBezTo>
                  <a:pt x="115" y="50"/>
                  <a:pt x="114" y="50"/>
                  <a:pt x="113" y="49"/>
                </a:cubicBezTo>
                <a:cubicBezTo>
                  <a:pt x="112" y="49"/>
                  <a:pt x="111" y="49"/>
                  <a:pt x="110" y="48"/>
                </a:cubicBezTo>
                <a:cubicBezTo>
                  <a:pt x="109" y="48"/>
                  <a:pt x="109" y="46"/>
                  <a:pt x="109" y="45"/>
                </a:cubicBezTo>
                <a:cubicBezTo>
                  <a:pt x="108" y="44"/>
                  <a:pt x="108" y="44"/>
                  <a:pt x="108" y="43"/>
                </a:cubicBezTo>
                <a:cubicBezTo>
                  <a:pt x="108" y="43"/>
                  <a:pt x="106" y="42"/>
                  <a:pt x="106" y="42"/>
                </a:cubicBezTo>
                <a:cubicBezTo>
                  <a:pt x="106" y="42"/>
                  <a:pt x="106" y="42"/>
                  <a:pt x="106" y="43"/>
                </a:cubicBezTo>
                <a:cubicBezTo>
                  <a:pt x="105" y="44"/>
                  <a:pt x="107" y="44"/>
                  <a:pt x="107" y="45"/>
                </a:cubicBezTo>
                <a:cubicBezTo>
                  <a:pt x="107" y="45"/>
                  <a:pt x="105" y="46"/>
                  <a:pt x="105" y="46"/>
                </a:cubicBezTo>
                <a:cubicBezTo>
                  <a:pt x="104" y="46"/>
                  <a:pt x="102" y="45"/>
                  <a:pt x="102" y="46"/>
                </a:cubicBezTo>
                <a:cubicBezTo>
                  <a:pt x="102" y="46"/>
                  <a:pt x="103" y="47"/>
                  <a:pt x="103" y="48"/>
                </a:cubicBezTo>
                <a:cubicBezTo>
                  <a:pt x="103" y="48"/>
                  <a:pt x="101" y="48"/>
                  <a:pt x="101" y="49"/>
                </a:cubicBezTo>
                <a:cubicBezTo>
                  <a:pt x="100" y="49"/>
                  <a:pt x="100" y="50"/>
                  <a:pt x="100" y="51"/>
                </a:cubicBezTo>
                <a:cubicBezTo>
                  <a:pt x="101" y="52"/>
                  <a:pt x="101" y="54"/>
                  <a:pt x="101" y="54"/>
                </a:cubicBezTo>
                <a:cubicBezTo>
                  <a:pt x="100" y="54"/>
                  <a:pt x="99" y="54"/>
                  <a:pt x="98" y="54"/>
                </a:cubicBezTo>
                <a:cubicBezTo>
                  <a:pt x="98" y="54"/>
                  <a:pt x="98" y="56"/>
                  <a:pt x="98" y="57"/>
                </a:cubicBezTo>
                <a:cubicBezTo>
                  <a:pt x="97" y="58"/>
                  <a:pt x="96" y="57"/>
                  <a:pt x="96" y="57"/>
                </a:cubicBezTo>
                <a:cubicBezTo>
                  <a:pt x="96" y="57"/>
                  <a:pt x="96" y="55"/>
                  <a:pt x="96" y="55"/>
                </a:cubicBezTo>
                <a:cubicBezTo>
                  <a:pt x="96" y="54"/>
                  <a:pt x="95" y="55"/>
                  <a:pt x="95" y="55"/>
                </a:cubicBezTo>
                <a:cubicBezTo>
                  <a:pt x="94" y="55"/>
                  <a:pt x="93" y="55"/>
                  <a:pt x="93" y="54"/>
                </a:cubicBezTo>
                <a:cubicBezTo>
                  <a:pt x="92" y="54"/>
                  <a:pt x="91" y="53"/>
                  <a:pt x="91" y="52"/>
                </a:cubicBezTo>
                <a:cubicBezTo>
                  <a:pt x="91" y="52"/>
                  <a:pt x="90" y="51"/>
                  <a:pt x="90" y="51"/>
                </a:cubicBezTo>
                <a:cubicBezTo>
                  <a:pt x="90" y="51"/>
                  <a:pt x="88" y="52"/>
                  <a:pt x="88" y="53"/>
                </a:cubicBezTo>
                <a:cubicBezTo>
                  <a:pt x="87" y="53"/>
                  <a:pt x="85" y="54"/>
                  <a:pt x="84" y="54"/>
                </a:cubicBezTo>
                <a:cubicBezTo>
                  <a:pt x="83" y="55"/>
                  <a:pt x="82" y="55"/>
                  <a:pt x="82" y="55"/>
                </a:cubicBezTo>
                <a:cubicBezTo>
                  <a:pt x="82" y="56"/>
                  <a:pt x="82" y="57"/>
                  <a:pt x="81" y="58"/>
                </a:cubicBezTo>
                <a:cubicBezTo>
                  <a:pt x="81" y="58"/>
                  <a:pt x="81" y="59"/>
                  <a:pt x="80" y="60"/>
                </a:cubicBezTo>
                <a:cubicBezTo>
                  <a:pt x="80" y="60"/>
                  <a:pt x="79" y="60"/>
                  <a:pt x="79" y="60"/>
                </a:cubicBezTo>
                <a:cubicBezTo>
                  <a:pt x="79" y="60"/>
                  <a:pt x="79" y="59"/>
                  <a:pt x="79" y="58"/>
                </a:cubicBezTo>
                <a:cubicBezTo>
                  <a:pt x="78" y="58"/>
                  <a:pt x="78" y="57"/>
                  <a:pt x="78" y="57"/>
                </a:cubicBezTo>
                <a:cubicBezTo>
                  <a:pt x="78" y="57"/>
                  <a:pt x="77" y="57"/>
                  <a:pt x="76" y="57"/>
                </a:cubicBezTo>
                <a:cubicBezTo>
                  <a:pt x="76" y="57"/>
                  <a:pt x="70" y="53"/>
                  <a:pt x="70" y="53"/>
                </a:cubicBezTo>
                <a:cubicBezTo>
                  <a:pt x="70" y="53"/>
                  <a:pt x="69" y="53"/>
                  <a:pt x="68" y="53"/>
                </a:cubicBezTo>
                <a:cubicBezTo>
                  <a:pt x="67" y="54"/>
                  <a:pt x="67" y="54"/>
                  <a:pt x="66" y="54"/>
                </a:cubicBezTo>
                <a:cubicBezTo>
                  <a:pt x="66" y="54"/>
                  <a:pt x="65" y="53"/>
                  <a:pt x="64" y="52"/>
                </a:cubicBezTo>
                <a:cubicBezTo>
                  <a:pt x="64" y="52"/>
                  <a:pt x="64" y="52"/>
                  <a:pt x="63" y="52"/>
                </a:cubicBezTo>
                <a:cubicBezTo>
                  <a:pt x="62" y="53"/>
                  <a:pt x="62" y="54"/>
                  <a:pt x="62" y="54"/>
                </a:cubicBezTo>
                <a:cubicBezTo>
                  <a:pt x="63" y="55"/>
                  <a:pt x="63" y="57"/>
                  <a:pt x="63" y="57"/>
                </a:cubicBezTo>
                <a:cubicBezTo>
                  <a:pt x="63" y="58"/>
                  <a:pt x="63" y="58"/>
                  <a:pt x="61" y="58"/>
                </a:cubicBezTo>
                <a:cubicBezTo>
                  <a:pt x="60" y="58"/>
                  <a:pt x="60" y="57"/>
                  <a:pt x="60" y="57"/>
                </a:cubicBezTo>
                <a:cubicBezTo>
                  <a:pt x="60" y="56"/>
                  <a:pt x="60" y="55"/>
                  <a:pt x="59" y="55"/>
                </a:cubicBezTo>
                <a:cubicBezTo>
                  <a:pt x="59" y="55"/>
                  <a:pt x="58" y="55"/>
                  <a:pt x="58" y="56"/>
                </a:cubicBezTo>
                <a:cubicBezTo>
                  <a:pt x="57" y="56"/>
                  <a:pt x="55" y="56"/>
                  <a:pt x="55" y="56"/>
                </a:cubicBezTo>
                <a:cubicBezTo>
                  <a:pt x="55" y="56"/>
                  <a:pt x="54" y="55"/>
                  <a:pt x="54" y="54"/>
                </a:cubicBezTo>
                <a:cubicBezTo>
                  <a:pt x="53" y="54"/>
                  <a:pt x="52" y="54"/>
                  <a:pt x="52" y="54"/>
                </a:cubicBezTo>
                <a:cubicBezTo>
                  <a:pt x="52" y="54"/>
                  <a:pt x="52" y="56"/>
                  <a:pt x="51" y="56"/>
                </a:cubicBezTo>
                <a:cubicBezTo>
                  <a:pt x="51" y="57"/>
                  <a:pt x="52" y="58"/>
                  <a:pt x="52" y="58"/>
                </a:cubicBezTo>
                <a:cubicBezTo>
                  <a:pt x="52" y="58"/>
                  <a:pt x="53" y="59"/>
                  <a:pt x="53" y="59"/>
                </a:cubicBezTo>
                <a:cubicBezTo>
                  <a:pt x="53" y="59"/>
                  <a:pt x="51" y="61"/>
                  <a:pt x="51" y="60"/>
                </a:cubicBezTo>
                <a:cubicBezTo>
                  <a:pt x="50" y="60"/>
                  <a:pt x="49" y="60"/>
                  <a:pt x="49" y="60"/>
                </a:cubicBezTo>
                <a:cubicBezTo>
                  <a:pt x="49" y="60"/>
                  <a:pt x="45" y="64"/>
                  <a:pt x="45" y="64"/>
                </a:cubicBezTo>
                <a:cubicBezTo>
                  <a:pt x="45" y="65"/>
                  <a:pt x="44" y="66"/>
                  <a:pt x="44" y="66"/>
                </a:cubicBezTo>
                <a:cubicBezTo>
                  <a:pt x="44" y="66"/>
                  <a:pt x="45" y="69"/>
                  <a:pt x="45" y="69"/>
                </a:cubicBezTo>
                <a:cubicBezTo>
                  <a:pt x="45" y="69"/>
                  <a:pt x="47" y="71"/>
                  <a:pt x="47" y="71"/>
                </a:cubicBezTo>
                <a:cubicBezTo>
                  <a:pt x="47" y="73"/>
                  <a:pt x="47" y="73"/>
                  <a:pt x="47" y="73"/>
                </a:cubicBezTo>
                <a:cubicBezTo>
                  <a:pt x="47" y="73"/>
                  <a:pt x="46" y="74"/>
                  <a:pt x="46" y="74"/>
                </a:cubicBezTo>
                <a:cubicBezTo>
                  <a:pt x="45" y="74"/>
                  <a:pt x="42" y="74"/>
                  <a:pt x="41" y="74"/>
                </a:cubicBezTo>
                <a:cubicBezTo>
                  <a:pt x="41" y="74"/>
                  <a:pt x="39" y="75"/>
                  <a:pt x="39" y="75"/>
                </a:cubicBezTo>
                <a:cubicBezTo>
                  <a:pt x="38" y="76"/>
                  <a:pt x="37" y="76"/>
                  <a:pt x="37" y="76"/>
                </a:cubicBezTo>
                <a:cubicBezTo>
                  <a:pt x="37" y="77"/>
                  <a:pt x="34" y="76"/>
                  <a:pt x="34" y="76"/>
                </a:cubicBezTo>
                <a:cubicBezTo>
                  <a:pt x="34" y="76"/>
                  <a:pt x="33" y="77"/>
                  <a:pt x="33" y="77"/>
                </a:cubicBezTo>
                <a:cubicBezTo>
                  <a:pt x="32" y="78"/>
                  <a:pt x="32" y="82"/>
                  <a:pt x="32" y="82"/>
                </a:cubicBezTo>
                <a:cubicBezTo>
                  <a:pt x="32" y="82"/>
                  <a:pt x="34" y="87"/>
                  <a:pt x="34" y="87"/>
                </a:cubicBezTo>
                <a:cubicBezTo>
                  <a:pt x="34" y="91"/>
                  <a:pt x="34" y="91"/>
                  <a:pt x="34" y="91"/>
                </a:cubicBezTo>
                <a:cubicBezTo>
                  <a:pt x="31" y="92"/>
                  <a:pt x="31" y="92"/>
                  <a:pt x="31" y="92"/>
                </a:cubicBezTo>
                <a:cubicBezTo>
                  <a:pt x="31" y="92"/>
                  <a:pt x="27" y="89"/>
                  <a:pt x="27" y="89"/>
                </a:cubicBezTo>
                <a:cubicBezTo>
                  <a:pt x="27" y="89"/>
                  <a:pt x="20" y="85"/>
                  <a:pt x="20" y="85"/>
                </a:cubicBezTo>
                <a:cubicBezTo>
                  <a:pt x="20" y="85"/>
                  <a:pt x="15" y="84"/>
                  <a:pt x="15" y="84"/>
                </a:cubicBezTo>
                <a:cubicBezTo>
                  <a:pt x="13" y="86"/>
                  <a:pt x="13" y="86"/>
                  <a:pt x="13" y="86"/>
                </a:cubicBezTo>
                <a:cubicBezTo>
                  <a:pt x="13" y="86"/>
                  <a:pt x="10" y="90"/>
                  <a:pt x="10" y="90"/>
                </a:cubicBezTo>
                <a:cubicBezTo>
                  <a:pt x="10" y="90"/>
                  <a:pt x="9" y="93"/>
                  <a:pt x="9" y="93"/>
                </a:cubicBezTo>
                <a:cubicBezTo>
                  <a:pt x="9" y="93"/>
                  <a:pt x="10" y="95"/>
                  <a:pt x="10" y="95"/>
                </a:cubicBezTo>
                <a:cubicBezTo>
                  <a:pt x="12" y="97"/>
                  <a:pt x="12" y="97"/>
                  <a:pt x="12" y="97"/>
                </a:cubicBezTo>
                <a:cubicBezTo>
                  <a:pt x="12" y="97"/>
                  <a:pt x="10" y="99"/>
                  <a:pt x="10" y="99"/>
                </a:cubicBezTo>
                <a:cubicBezTo>
                  <a:pt x="10" y="99"/>
                  <a:pt x="8" y="102"/>
                  <a:pt x="8" y="102"/>
                </a:cubicBezTo>
                <a:cubicBezTo>
                  <a:pt x="8" y="102"/>
                  <a:pt x="11" y="104"/>
                  <a:pt x="11" y="104"/>
                </a:cubicBezTo>
                <a:cubicBezTo>
                  <a:pt x="11" y="104"/>
                  <a:pt x="8" y="105"/>
                  <a:pt x="8" y="105"/>
                </a:cubicBezTo>
                <a:cubicBezTo>
                  <a:pt x="8" y="105"/>
                  <a:pt x="9" y="109"/>
                  <a:pt x="9" y="109"/>
                </a:cubicBezTo>
                <a:cubicBezTo>
                  <a:pt x="9" y="109"/>
                  <a:pt x="7" y="113"/>
                  <a:pt x="7" y="113"/>
                </a:cubicBezTo>
                <a:cubicBezTo>
                  <a:pt x="7" y="113"/>
                  <a:pt x="6" y="112"/>
                  <a:pt x="6" y="112"/>
                </a:cubicBezTo>
                <a:cubicBezTo>
                  <a:pt x="6" y="112"/>
                  <a:pt x="5" y="111"/>
                  <a:pt x="5" y="111"/>
                </a:cubicBezTo>
                <a:cubicBezTo>
                  <a:pt x="5" y="111"/>
                  <a:pt x="3" y="110"/>
                  <a:pt x="3" y="110"/>
                </a:cubicBezTo>
                <a:cubicBezTo>
                  <a:pt x="3" y="110"/>
                  <a:pt x="1" y="112"/>
                  <a:pt x="1" y="112"/>
                </a:cubicBezTo>
                <a:cubicBezTo>
                  <a:pt x="0" y="116"/>
                  <a:pt x="0" y="116"/>
                  <a:pt x="0" y="116"/>
                </a:cubicBezTo>
                <a:cubicBezTo>
                  <a:pt x="47" y="116"/>
                  <a:pt x="47" y="116"/>
                  <a:pt x="47" y="116"/>
                </a:cubicBezTo>
                <a:cubicBezTo>
                  <a:pt x="48" y="111"/>
                  <a:pt x="48" y="111"/>
                  <a:pt x="48" y="111"/>
                </a:cubicBezTo>
                <a:cubicBezTo>
                  <a:pt x="47" y="108"/>
                  <a:pt x="47" y="108"/>
                  <a:pt x="47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5" y="110"/>
                  <a:pt x="55" y="110"/>
                  <a:pt x="55" y="110"/>
                </a:cubicBezTo>
                <a:cubicBezTo>
                  <a:pt x="74" y="110"/>
                  <a:pt x="74" y="110"/>
                  <a:pt x="74" y="110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142" y="111"/>
                  <a:pt x="142" y="111"/>
                  <a:pt x="142" y="111"/>
                </a:cubicBezTo>
                <a:cubicBezTo>
                  <a:pt x="184" y="111"/>
                  <a:pt x="184" y="111"/>
                  <a:pt x="184" y="111"/>
                </a:cubicBezTo>
                <a:cubicBezTo>
                  <a:pt x="199" y="111"/>
                  <a:pt x="199" y="111"/>
                  <a:pt x="199" y="111"/>
                </a:cubicBezTo>
                <a:cubicBezTo>
                  <a:pt x="205" y="108"/>
                  <a:pt x="205" y="108"/>
                  <a:pt x="205" y="108"/>
                </a:cubicBezTo>
                <a:cubicBezTo>
                  <a:pt x="205" y="108"/>
                  <a:pt x="208" y="108"/>
                  <a:pt x="208" y="108"/>
                </a:cubicBezTo>
                <a:cubicBezTo>
                  <a:pt x="208" y="108"/>
                  <a:pt x="212" y="107"/>
                  <a:pt x="213" y="107"/>
                </a:cubicBezTo>
                <a:cubicBezTo>
                  <a:pt x="213" y="106"/>
                  <a:pt x="216" y="106"/>
                  <a:pt x="217" y="105"/>
                </a:cubicBezTo>
                <a:cubicBezTo>
                  <a:pt x="217" y="105"/>
                  <a:pt x="218" y="104"/>
                  <a:pt x="218" y="104"/>
                </a:cubicBezTo>
                <a:cubicBezTo>
                  <a:pt x="218" y="103"/>
                  <a:pt x="219" y="101"/>
                  <a:pt x="219" y="101"/>
                </a:cubicBezTo>
                <a:cubicBezTo>
                  <a:pt x="220" y="101"/>
                  <a:pt x="222" y="100"/>
                  <a:pt x="223" y="100"/>
                </a:cubicBezTo>
                <a:cubicBezTo>
                  <a:pt x="224" y="100"/>
                  <a:pt x="224" y="100"/>
                  <a:pt x="225" y="100"/>
                </a:cubicBezTo>
                <a:cubicBezTo>
                  <a:pt x="225" y="99"/>
                  <a:pt x="226" y="98"/>
                  <a:pt x="227" y="98"/>
                </a:cubicBezTo>
                <a:cubicBezTo>
                  <a:pt x="227" y="97"/>
                  <a:pt x="226" y="95"/>
                  <a:pt x="227" y="95"/>
                </a:cubicBezTo>
                <a:cubicBezTo>
                  <a:pt x="228" y="94"/>
                  <a:pt x="230" y="93"/>
                  <a:pt x="230" y="93"/>
                </a:cubicBezTo>
                <a:cubicBezTo>
                  <a:pt x="231" y="92"/>
                  <a:pt x="231" y="93"/>
                  <a:pt x="231" y="92"/>
                </a:cubicBezTo>
                <a:cubicBezTo>
                  <a:pt x="232" y="91"/>
                  <a:pt x="232" y="90"/>
                  <a:pt x="232" y="89"/>
                </a:cubicBezTo>
                <a:cubicBezTo>
                  <a:pt x="232" y="89"/>
                  <a:pt x="234" y="88"/>
                  <a:pt x="235" y="87"/>
                </a:cubicBezTo>
                <a:cubicBezTo>
                  <a:pt x="236" y="86"/>
                  <a:pt x="239" y="84"/>
                  <a:pt x="240" y="84"/>
                </a:cubicBezTo>
                <a:cubicBezTo>
                  <a:pt x="242" y="83"/>
                  <a:pt x="244" y="83"/>
                  <a:pt x="245" y="82"/>
                </a:cubicBezTo>
                <a:cubicBezTo>
                  <a:pt x="246" y="82"/>
                  <a:pt x="247" y="80"/>
                  <a:pt x="248" y="79"/>
                </a:cubicBezTo>
                <a:cubicBezTo>
                  <a:pt x="249" y="79"/>
                  <a:pt x="257" y="71"/>
                  <a:pt x="257" y="71"/>
                </a:cubicBezTo>
                <a:lnTo>
                  <a:pt x="255" y="71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4" name="Freeform 42">
            <a:extLst>
              <a:ext uri="{FF2B5EF4-FFF2-40B4-BE49-F238E27FC236}">
                <a16:creationId xmlns:a16="http://schemas.microsoft.com/office/drawing/2014/main" id="{DE580E74-172F-4BA0-862B-6FC1B720089C}"/>
              </a:ext>
            </a:extLst>
          </p:cNvPr>
          <p:cNvSpPr>
            <a:spLocks/>
          </p:cNvSpPr>
          <p:nvPr/>
        </p:nvSpPr>
        <p:spPr bwMode="auto">
          <a:xfrm>
            <a:off x="7098062" y="2991166"/>
            <a:ext cx="1022715" cy="527053"/>
          </a:xfrm>
          <a:custGeom>
            <a:avLst/>
            <a:gdLst>
              <a:gd name="T0" fmla="*/ 258 w 258"/>
              <a:gd name="T1" fmla="*/ 40 h 133"/>
              <a:gd name="T2" fmla="*/ 257 w 258"/>
              <a:gd name="T3" fmla="*/ 38 h 133"/>
              <a:gd name="T4" fmla="*/ 255 w 258"/>
              <a:gd name="T5" fmla="*/ 38 h 133"/>
              <a:gd name="T6" fmla="*/ 251 w 258"/>
              <a:gd name="T7" fmla="*/ 37 h 133"/>
              <a:gd name="T8" fmla="*/ 249 w 258"/>
              <a:gd name="T9" fmla="*/ 34 h 133"/>
              <a:gd name="T10" fmla="*/ 247 w 258"/>
              <a:gd name="T11" fmla="*/ 30 h 133"/>
              <a:gd name="T12" fmla="*/ 247 w 258"/>
              <a:gd name="T13" fmla="*/ 28 h 133"/>
              <a:gd name="T14" fmla="*/ 246 w 258"/>
              <a:gd name="T15" fmla="*/ 28 h 133"/>
              <a:gd name="T16" fmla="*/ 245 w 258"/>
              <a:gd name="T17" fmla="*/ 28 h 133"/>
              <a:gd name="T18" fmla="*/ 243 w 258"/>
              <a:gd name="T19" fmla="*/ 26 h 133"/>
              <a:gd name="T20" fmla="*/ 242 w 258"/>
              <a:gd name="T21" fmla="*/ 24 h 133"/>
              <a:gd name="T22" fmla="*/ 241 w 258"/>
              <a:gd name="T23" fmla="*/ 19 h 133"/>
              <a:gd name="T24" fmla="*/ 242 w 258"/>
              <a:gd name="T25" fmla="*/ 19 h 133"/>
              <a:gd name="T26" fmla="*/ 242 w 258"/>
              <a:gd name="T27" fmla="*/ 18 h 133"/>
              <a:gd name="T28" fmla="*/ 243 w 258"/>
              <a:gd name="T29" fmla="*/ 16 h 133"/>
              <a:gd name="T30" fmla="*/ 243 w 258"/>
              <a:gd name="T31" fmla="*/ 15 h 133"/>
              <a:gd name="T32" fmla="*/ 245 w 258"/>
              <a:gd name="T33" fmla="*/ 15 h 133"/>
              <a:gd name="T34" fmla="*/ 245 w 258"/>
              <a:gd name="T35" fmla="*/ 13 h 133"/>
              <a:gd name="T36" fmla="*/ 247 w 258"/>
              <a:gd name="T37" fmla="*/ 13 h 133"/>
              <a:gd name="T38" fmla="*/ 246 w 258"/>
              <a:gd name="T39" fmla="*/ 11 h 133"/>
              <a:gd name="T40" fmla="*/ 247 w 258"/>
              <a:gd name="T41" fmla="*/ 11 h 133"/>
              <a:gd name="T42" fmla="*/ 248 w 258"/>
              <a:gd name="T43" fmla="*/ 10 h 133"/>
              <a:gd name="T44" fmla="*/ 248 w 258"/>
              <a:gd name="T45" fmla="*/ 8 h 133"/>
              <a:gd name="T46" fmla="*/ 246 w 258"/>
              <a:gd name="T47" fmla="*/ 8 h 133"/>
              <a:gd name="T48" fmla="*/ 245 w 258"/>
              <a:gd name="T49" fmla="*/ 6 h 133"/>
              <a:gd name="T50" fmla="*/ 244 w 258"/>
              <a:gd name="T51" fmla="*/ 5 h 133"/>
              <a:gd name="T52" fmla="*/ 243 w 258"/>
              <a:gd name="T53" fmla="*/ 6 h 133"/>
              <a:gd name="T54" fmla="*/ 242 w 258"/>
              <a:gd name="T55" fmla="*/ 7 h 133"/>
              <a:gd name="T56" fmla="*/ 240 w 258"/>
              <a:gd name="T57" fmla="*/ 7 h 133"/>
              <a:gd name="T58" fmla="*/ 238 w 258"/>
              <a:gd name="T59" fmla="*/ 5 h 133"/>
              <a:gd name="T60" fmla="*/ 236 w 258"/>
              <a:gd name="T61" fmla="*/ 3 h 133"/>
              <a:gd name="T62" fmla="*/ 234 w 258"/>
              <a:gd name="T63" fmla="*/ 1 h 133"/>
              <a:gd name="T64" fmla="*/ 232 w 258"/>
              <a:gd name="T65" fmla="*/ 0 h 133"/>
              <a:gd name="T66" fmla="*/ 0 w 258"/>
              <a:gd name="T67" fmla="*/ 0 h 133"/>
              <a:gd name="T68" fmla="*/ 0 w 258"/>
              <a:gd name="T69" fmla="*/ 133 h 133"/>
              <a:gd name="T70" fmla="*/ 257 w 258"/>
              <a:gd name="T71" fmla="*/ 133 h 133"/>
              <a:gd name="T72" fmla="*/ 258 w 258"/>
              <a:gd name="T73" fmla="*/ 4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58" h="133">
                <a:moveTo>
                  <a:pt x="258" y="40"/>
                </a:moveTo>
                <a:cubicBezTo>
                  <a:pt x="257" y="38"/>
                  <a:pt x="257" y="38"/>
                  <a:pt x="257" y="38"/>
                </a:cubicBezTo>
                <a:cubicBezTo>
                  <a:pt x="257" y="38"/>
                  <a:pt x="256" y="38"/>
                  <a:pt x="255" y="38"/>
                </a:cubicBezTo>
                <a:cubicBezTo>
                  <a:pt x="254" y="38"/>
                  <a:pt x="253" y="37"/>
                  <a:pt x="251" y="37"/>
                </a:cubicBezTo>
                <a:cubicBezTo>
                  <a:pt x="250" y="36"/>
                  <a:pt x="250" y="35"/>
                  <a:pt x="249" y="34"/>
                </a:cubicBezTo>
                <a:cubicBezTo>
                  <a:pt x="248" y="33"/>
                  <a:pt x="246" y="32"/>
                  <a:pt x="247" y="30"/>
                </a:cubicBezTo>
                <a:cubicBezTo>
                  <a:pt x="247" y="29"/>
                  <a:pt x="247" y="29"/>
                  <a:pt x="247" y="28"/>
                </a:cubicBezTo>
                <a:cubicBezTo>
                  <a:pt x="247" y="28"/>
                  <a:pt x="246" y="28"/>
                  <a:pt x="246" y="28"/>
                </a:cubicBezTo>
                <a:cubicBezTo>
                  <a:pt x="245" y="28"/>
                  <a:pt x="245" y="28"/>
                  <a:pt x="245" y="28"/>
                </a:cubicBezTo>
                <a:cubicBezTo>
                  <a:pt x="244" y="27"/>
                  <a:pt x="244" y="26"/>
                  <a:pt x="243" y="26"/>
                </a:cubicBezTo>
                <a:cubicBezTo>
                  <a:pt x="243" y="25"/>
                  <a:pt x="242" y="24"/>
                  <a:pt x="242" y="24"/>
                </a:cubicBezTo>
                <a:cubicBezTo>
                  <a:pt x="241" y="23"/>
                  <a:pt x="239" y="20"/>
                  <a:pt x="241" y="19"/>
                </a:cubicBezTo>
                <a:cubicBezTo>
                  <a:pt x="241" y="19"/>
                  <a:pt x="242" y="19"/>
                  <a:pt x="242" y="19"/>
                </a:cubicBezTo>
                <a:cubicBezTo>
                  <a:pt x="242" y="19"/>
                  <a:pt x="242" y="18"/>
                  <a:pt x="242" y="18"/>
                </a:cubicBezTo>
                <a:cubicBezTo>
                  <a:pt x="242" y="17"/>
                  <a:pt x="242" y="17"/>
                  <a:pt x="243" y="16"/>
                </a:cubicBezTo>
                <a:cubicBezTo>
                  <a:pt x="243" y="16"/>
                  <a:pt x="243" y="16"/>
                  <a:pt x="243" y="15"/>
                </a:cubicBezTo>
                <a:cubicBezTo>
                  <a:pt x="244" y="15"/>
                  <a:pt x="244" y="15"/>
                  <a:pt x="245" y="15"/>
                </a:cubicBezTo>
                <a:cubicBezTo>
                  <a:pt x="245" y="14"/>
                  <a:pt x="245" y="13"/>
                  <a:pt x="245" y="13"/>
                </a:cubicBezTo>
                <a:cubicBezTo>
                  <a:pt x="246" y="13"/>
                  <a:pt x="247" y="13"/>
                  <a:pt x="247" y="13"/>
                </a:cubicBezTo>
                <a:cubicBezTo>
                  <a:pt x="247" y="12"/>
                  <a:pt x="245" y="12"/>
                  <a:pt x="246" y="11"/>
                </a:cubicBezTo>
                <a:cubicBezTo>
                  <a:pt x="247" y="10"/>
                  <a:pt x="247" y="11"/>
                  <a:pt x="247" y="11"/>
                </a:cubicBezTo>
                <a:cubicBezTo>
                  <a:pt x="248" y="11"/>
                  <a:pt x="248" y="10"/>
                  <a:pt x="248" y="10"/>
                </a:cubicBezTo>
                <a:cubicBezTo>
                  <a:pt x="248" y="9"/>
                  <a:pt x="248" y="9"/>
                  <a:pt x="248" y="8"/>
                </a:cubicBezTo>
                <a:cubicBezTo>
                  <a:pt x="247" y="8"/>
                  <a:pt x="247" y="8"/>
                  <a:pt x="246" y="8"/>
                </a:cubicBezTo>
                <a:cubicBezTo>
                  <a:pt x="246" y="7"/>
                  <a:pt x="246" y="6"/>
                  <a:pt x="245" y="6"/>
                </a:cubicBezTo>
                <a:cubicBezTo>
                  <a:pt x="245" y="5"/>
                  <a:pt x="245" y="5"/>
                  <a:pt x="244" y="5"/>
                </a:cubicBezTo>
                <a:cubicBezTo>
                  <a:pt x="244" y="5"/>
                  <a:pt x="243" y="5"/>
                  <a:pt x="243" y="6"/>
                </a:cubicBezTo>
                <a:cubicBezTo>
                  <a:pt x="243" y="6"/>
                  <a:pt x="243" y="7"/>
                  <a:pt x="242" y="7"/>
                </a:cubicBezTo>
                <a:cubicBezTo>
                  <a:pt x="242" y="7"/>
                  <a:pt x="241" y="7"/>
                  <a:pt x="240" y="7"/>
                </a:cubicBezTo>
                <a:cubicBezTo>
                  <a:pt x="239" y="6"/>
                  <a:pt x="238" y="5"/>
                  <a:pt x="238" y="5"/>
                </a:cubicBezTo>
                <a:cubicBezTo>
                  <a:pt x="237" y="4"/>
                  <a:pt x="236" y="4"/>
                  <a:pt x="236" y="3"/>
                </a:cubicBezTo>
                <a:cubicBezTo>
                  <a:pt x="235" y="2"/>
                  <a:pt x="235" y="2"/>
                  <a:pt x="234" y="1"/>
                </a:cubicBezTo>
                <a:cubicBezTo>
                  <a:pt x="233" y="1"/>
                  <a:pt x="233" y="1"/>
                  <a:pt x="23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3"/>
                  <a:pt x="0" y="133"/>
                  <a:pt x="0" y="133"/>
                </a:cubicBezTo>
                <a:cubicBezTo>
                  <a:pt x="257" y="133"/>
                  <a:pt x="257" y="133"/>
                  <a:pt x="257" y="133"/>
                </a:cubicBezTo>
                <a:lnTo>
                  <a:pt x="258" y="4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5" name="Freeform 43">
            <a:extLst>
              <a:ext uri="{FF2B5EF4-FFF2-40B4-BE49-F238E27FC236}">
                <a16:creationId xmlns:a16="http://schemas.microsoft.com/office/drawing/2014/main" id="{979EDAED-EE14-4544-ABCC-F44F7394F22D}"/>
              </a:ext>
            </a:extLst>
          </p:cNvPr>
          <p:cNvSpPr>
            <a:spLocks/>
          </p:cNvSpPr>
          <p:nvPr/>
        </p:nvSpPr>
        <p:spPr bwMode="auto">
          <a:xfrm>
            <a:off x="7838249" y="2348458"/>
            <a:ext cx="887234" cy="579924"/>
          </a:xfrm>
          <a:custGeom>
            <a:avLst/>
            <a:gdLst>
              <a:gd name="T0" fmla="*/ 173 w 224"/>
              <a:gd name="T1" fmla="*/ 138 h 146"/>
              <a:gd name="T2" fmla="*/ 176 w 224"/>
              <a:gd name="T3" fmla="*/ 142 h 146"/>
              <a:gd name="T4" fmla="*/ 180 w 224"/>
              <a:gd name="T5" fmla="*/ 145 h 146"/>
              <a:gd name="T6" fmla="*/ 182 w 224"/>
              <a:gd name="T7" fmla="*/ 142 h 146"/>
              <a:gd name="T8" fmla="*/ 182 w 224"/>
              <a:gd name="T9" fmla="*/ 135 h 146"/>
              <a:gd name="T10" fmla="*/ 189 w 224"/>
              <a:gd name="T11" fmla="*/ 133 h 146"/>
              <a:gd name="T12" fmla="*/ 192 w 224"/>
              <a:gd name="T13" fmla="*/ 125 h 146"/>
              <a:gd name="T14" fmla="*/ 195 w 224"/>
              <a:gd name="T15" fmla="*/ 111 h 146"/>
              <a:gd name="T16" fmla="*/ 192 w 224"/>
              <a:gd name="T17" fmla="*/ 100 h 146"/>
              <a:gd name="T18" fmla="*/ 197 w 224"/>
              <a:gd name="T19" fmla="*/ 98 h 146"/>
              <a:gd name="T20" fmla="*/ 206 w 224"/>
              <a:gd name="T21" fmla="*/ 95 h 146"/>
              <a:gd name="T22" fmla="*/ 215 w 224"/>
              <a:gd name="T23" fmla="*/ 91 h 146"/>
              <a:gd name="T24" fmla="*/ 221 w 224"/>
              <a:gd name="T25" fmla="*/ 81 h 146"/>
              <a:gd name="T26" fmla="*/ 223 w 224"/>
              <a:gd name="T27" fmla="*/ 66 h 146"/>
              <a:gd name="T28" fmla="*/ 213 w 224"/>
              <a:gd name="T29" fmla="*/ 54 h 146"/>
              <a:gd name="T30" fmla="*/ 207 w 224"/>
              <a:gd name="T31" fmla="*/ 47 h 146"/>
              <a:gd name="T32" fmla="*/ 203 w 224"/>
              <a:gd name="T33" fmla="*/ 41 h 146"/>
              <a:gd name="T34" fmla="*/ 196 w 224"/>
              <a:gd name="T35" fmla="*/ 39 h 146"/>
              <a:gd name="T36" fmla="*/ 191 w 224"/>
              <a:gd name="T37" fmla="*/ 30 h 146"/>
              <a:gd name="T38" fmla="*/ 189 w 224"/>
              <a:gd name="T39" fmla="*/ 24 h 146"/>
              <a:gd name="T40" fmla="*/ 190 w 224"/>
              <a:gd name="T41" fmla="*/ 15 h 146"/>
              <a:gd name="T42" fmla="*/ 187 w 224"/>
              <a:gd name="T43" fmla="*/ 7 h 146"/>
              <a:gd name="T44" fmla="*/ 187 w 224"/>
              <a:gd name="T45" fmla="*/ 0 h 146"/>
              <a:gd name="T46" fmla="*/ 1 w 224"/>
              <a:gd name="T47" fmla="*/ 3 h 146"/>
              <a:gd name="T48" fmla="*/ 2 w 224"/>
              <a:gd name="T49" fmla="*/ 10 h 146"/>
              <a:gd name="T50" fmla="*/ 6 w 224"/>
              <a:gd name="T51" fmla="*/ 14 h 146"/>
              <a:gd name="T52" fmla="*/ 5 w 224"/>
              <a:gd name="T53" fmla="*/ 22 h 146"/>
              <a:gd name="T54" fmla="*/ 3 w 224"/>
              <a:gd name="T55" fmla="*/ 28 h 146"/>
              <a:gd name="T56" fmla="*/ 0 w 224"/>
              <a:gd name="T57" fmla="*/ 37 h 146"/>
              <a:gd name="T58" fmla="*/ 6 w 224"/>
              <a:gd name="T59" fmla="*/ 46 h 146"/>
              <a:gd name="T60" fmla="*/ 8 w 224"/>
              <a:gd name="T61" fmla="*/ 52 h 146"/>
              <a:gd name="T62" fmla="*/ 11 w 224"/>
              <a:gd name="T63" fmla="*/ 59 h 146"/>
              <a:gd name="T64" fmla="*/ 12 w 224"/>
              <a:gd name="T65" fmla="*/ 65 h 146"/>
              <a:gd name="T66" fmla="*/ 14 w 224"/>
              <a:gd name="T67" fmla="*/ 71 h 146"/>
              <a:gd name="T68" fmla="*/ 17 w 224"/>
              <a:gd name="T69" fmla="*/ 73 h 146"/>
              <a:gd name="T70" fmla="*/ 19 w 224"/>
              <a:gd name="T71" fmla="*/ 82 h 146"/>
              <a:gd name="T72" fmla="*/ 18 w 224"/>
              <a:gd name="T73" fmla="*/ 87 h 146"/>
              <a:gd name="T74" fmla="*/ 20 w 224"/>
              <a:gd name="T75" fmla="*/ 94 h 146"/>
              <a:gd name="T76" fmla="*/ 24 w 224"/>
              <a:gd name="T77" fmla="*/ 96 h 146"/>
              <a:gd name="T78" fmla="*/ 25 w 224"/>
              <a:gd name="T79" fmla="*/ 105 h 146"/>
              <a:gd name="T80" fmla="*/ 26 w 224"/>
              <a:gd name="T81" fmla="*/ 113 h 146"/>
              <a:gd name="T82" fmla="*/ 28 w 224"/>
              <a:gd name="T83" fmla="*/ 127 h 146"/>
              <a:gd name="T84" fmla="*/ 29 w 224"/>
              <a:gd name="T85" fmla="*/ 133 h 146"/>
              <a:gd name="T86" fmla="*/ 169 w 224"/>
              <a:gd name="T87" fmla="*/ 13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4" h="146">
                <a:moveTo>
                  <a:pt x="169" y="135"/>
                </a:moveTo>
                <a:cubicBezTo>
                  <a:pt x="169" y="135"/>
                  <a:pt x="170" y="137"/>
                  <a:pt x="171" y="137"/>
                </a:cubicBezTo>
                <a:cubicBezTo>
                  <a:pt x="171" y="137"/>
                  <a:pt x="173" y="138"/>
                  <a:pt x="173" y="138"/>
                </a:cubicBezTo>
                <a:cubicBezTo>
                  <a:pt x="173" y="138"/>
                  <a:pt x="174" y="139"/>
                  <a:pt x="174" y="139"/>
                </a:cubicBezTo>
                <a:cubicBezTo>
                  <a:pt x="174" y="139"/>
                  <a:pt x="174" y="141"/>
                  <a:pt x="175" y="141"/>
                </a:cubicBezTo>
                <a:cubicBezTo>
                  <a:pt x="175" y="141"/>
                  <a:pt x="176" y="142"/>
                  <a:pt x="176" y="142"/>
                </a:cubicBezTo>
                <a:cubicBezTo>
                  <a:pt x="176" y="142"/>
                  <a:pt x="176" y="143"/>
                  <a:pt x="176" y="143"/>
                </a:cubicBezTo>
                <a:cubicBezTo>
                  <a:pt x="177" y="144"/>
                  <a:pt x="177" y="144"/>
                  <a:pt x="178" y="144"/>
                </a:cubicBezTo>
                <a:cubicBezTo>
                  <a:pt x="178" y="144"/>
                  <a:pt x="180" y="145"/>
                  <a:pt x="180" y="145"/>
                </a:cubicBezTo>
                <a:cubicBezTo>
                  <a:pt x="180" y="146"/>
                  <a:pt x="180" y="146"/>
                  <a:pt x="180" y="146"/>
                </a:cubicBezTo>
                <a:cubicBezTo>
                  <a:pt x="180" y="146"/>
                  <a:pt x="181" y="145"/>
                  <a:pt x="181" y="145"/>
                </a:cubicBezTo>
                <a:cubicBezTo>
                  <a:pt x="182" y="144"/>
                  <a:pt x="182" y="142"/>
                  <a:pt x="182" y="142"/>
                </a:cubicBezTo>
                <a:cubicBezTo>
                  <a:pt x="182" y="141"/>
                  <a:pt x="181" y="140"/>
                  <a:pt x="181" y="139"/>
                </a:cubicBezTo>
                <a:cubicBezTo>
                  <a:pt x="181" y="139"/>
                  <a:pt x="181" y="138"/>
                  <a:pt x="181" y="137"/>
                </a:cubicBezTo>
                <a:cubicBezTo>
                  <a:pt x="181" y="136"/>
                  <a:pt x="182" y="136"/>
                  <a:pt x="182" y="135"/>
                </a:cubicBezTo>
                <a:cubicBezTo>
                  <a:pt x="183" y="135"/>
                  <a:pt x="183" y="134"/>
                  <a:pt x="184" y="134"/>
                </a:cubicBezTo>
                <a:cubicBezTo>
                  <a:pt x="185" y="134"/>
                  <a:pt x="186" y="134"/>
                  <a:pt x="187" y="134"/>
                </a:cubicBezTo>
                <a:cubicBezTo>
                  <a:pt x="188" y="134"/>
                  <a:pt x="189" y="134"/>
                  <a:pt x="189" y="133"/>
                </a:cubicBezTo>
                <a:cubicBezTo>
                  <a:pt x="190" y="132"/>
                  <a:pt x="190" y="132"/>
                  <a:pt x="191" y="131"/>
                </a:cubicBezTo>
                <a:cubicBezTo>
                  <a:pt x="191" y="130"/>
                  <a:pt x="191" y="128"/>
                  <a:pt x="191" y="128"/>
                </a:cubicBezTo>
                <a:cubicBezTo>
                  <a:pt x="191" y="127"/>
                  <a:pt x="191" y="126"/>
                  <a:pt x="192" y="125"/>
                </a:cubicBezTo>
                <a:cubicBezTo>
                  <a:pt x="192" y="124"/>
                  <a:pt x="194" y="123"/>
                  <a:pt x="195" y="122"/>
                </a:cubicBezTo>
                <a:cubicBezTo>
                  <a:pt x="196" y="121"/>
                  <a:pt x="196" y="118"/>
                  <a:pt x="196" y="117"/>
                </a:cubicBezTo>
                <a:cubicBezTo>
                  <a:pt x="196" y="116"/>
                  <a:pt x="196" y="112"/>
                  <a:pt x="195" y="111"/>
                </a:cubicBezTo>
                <a:cubicBezTo>
                  <a:pt x="194" y="109"/>
                  <a:pt x="192" y="107"/>
                  <a:pt x="191" y="107"/>
                </a:cubicBezTo>
                <a:cubicBezTo>
                  <a:pt x="191" y="106"/>
                  <a:pt x="191" y="105"/>
                  <a:pt x="191" y="104"/>
                </a:cubicBezTo>
                <a:cubicBezTo>
                  <a:pt x="191" y="103"/>
                  <a:pt x="192" y="101"/>
                  <a:pt x="192" y="100"/>
                </a:cubicBezTo>
                <a:cubicBezTo>
                  <a:pt x="192" y="100"/>
                  <a:pt x="193" y="98"/>
                  <a:pt x="193" y="98"/>
                </a:cubicBezTo>
                <a:cubicBezTo>
                  <a:pt x="194" y="98"/>
                  <a:pt x="194" y="97"/>
                  <a:pt x="195" y="97"/>
                </a:cubicBezTo>
                <a:cubicBezTo>
                  <a:pt x="196" y="97"/>
                  <a:pt x="196" y="98"/>
                  <a:pt x="197" y="98"/>
                </a:cubicBezTo>
                <a:cubicBezTo>
                  <a:pt x="198" y="97"/>
                  <a:pt x="198" y="97"/>
                  <a:pt x="199" y="96"/>
                </a:cubicBezTo>
                <a:cubicBezTo>
                  <a:pt x="200" y="96"/>
                  <a:pt x="201" y="96"/>
                  <a:pt x="201" y="96"/>
                </a:cubicBezTo>
                <a:cubicBezTo>
                  <a:pt x="202" y="96"/>
                  <a:pt x="206" y="96"/>
                  <a:pt x="206" y="95"/>
                </a:cubicBezTo>
                <a:cubicBezTo>
                  <a:pt x="207" y="94"/>
                  <a:pt x="207" y="94"/>
                  <a:pt x="208" y="93"/>
                </a:cubicBezTo>
                <a:cubicBezTo>
                  <a:pt x="210" y="93"/>
                  <a:pt x="211" y="94"/>
                  <a:pt x="212" y="93"/>
                </a:cubicBezTo>
                <a:cubicBezTo>
                  <a:pt x="213" y="93"/>
                  <a:pt x="214" y="92"/>
                  <a:pt x="215" y="91"/>
                </a:cubicBezTo>
                <a:cubicBezTo>
                  <a:pt x="216" y="91"/>
                  <a:pt x="216" y="91"/>
                  <a:pt x="217" y="89"/>
                </a:cubicBezTo>
                <a:cubicBezTo>
                  <a:pt x="218" y="88"/>
                  <a:pt x="218" y="86"/>
                  <a:pt x="218" y="85"/>
                </a:cubicBezTo>
                <a:cubicBezTo>
                  <a:pt x="218" y="83"/>
                  <a:pt x="219" y="82"/>
                  <a:pt x="221" y="81"/>
                </a:cubicBezTo>
                <a:cubicBezTo>
                  <a:pt x="222" y="80"/>
                  <a:pt x="223" y="79"/>
                  <a:pt x="223" y="78"/>
                </a:cubicBezTo>
                <a:cubicBezTo>
                  <a:pt x="224" y="76"/>
                  <a:pt x="224" y="73"/>
                  <a:pt x="224" y="71"/>
                </a:cubicBezTo>
                <a:cubicBezTo>
                  <a:pt x="224" y="70"/>
                  <a:pt x="224" y="67"/>
                  <a:pt x="223" y="66"/>
                </a:cubicBezTo>
                <a:cubicBezTo>
                  <a:pt x="222" y="65"/>
                  <a:pt x="218" y="62"/>
                  <a:pt x="216" y="61"/>
                </a:cubicBezTo>
                <a:cubicBezTo>
                  <a:pt x="215" y="60"/>
                  <a:pt x="214" y="59"/>
                  <a:pt x="214" y="57"/>
                </a:cubicBezTo>
                <a:cubicBezTo>
                  <a:pt x="214" y="56"/>
                  <a:pt x="214" y="55"/>
                  <a:pt x="213" y="54"/>
                </a:cubicBezTo>
                <a:cubicBezTo>
                  <a:pt x="212" y="53"/>
                  <a:pt x="211" y="52"/>
                  <a:pt x="210" y="51"/>
                </a:cubicBezTo>
                <a:cubicBezTo>
                  <a:pt x="208" y="50"/>
                  <a:pt x="207" y="50"/>
                  <a:pt x="207" y="49"/>
                </a:cubicBezTo>
                <a:cubicBezTo>
                  <a:pt x="207" y="49"/>
                  <a:pt x="207" y="47"/>
                  <a:pt x="207" y="47"/>
                </a:cubicBezTo>
                <a:cubicBezTo>
                  <a:pt x="206" y="46"/>
                  <a:pt x="206" y="45"/>
                  <a:pt x="206" y="44"/>
                </a:cubicBezTo>
                <a:cubicBezTo>
                  <a:pt x="205" y="44"/>
                  <a:pt x="205" y="43"/>
                  <a:pt x="205" y="42"/>
                </a:cubicBezTo>
                <a:cubicBezTo>
                  <a:pt x="204" y="42"/>
                  <a:pt x="204" y="41"/>
                  <a:pt x="203" y="41"/>
                </a:cubicBezTo>
                <a:cubicBezTo>
                  <a:pt x="202" y="40"/>
                  <a:pt x="201" y="40"/>
                  <a:pt x="200" y="40"/>
                </a:cubicBezTo>
                <a:cubicBezTo>
                  <a:pt x="199" y="40"/>
                  <a:pt x="199" y="40"/>
                  <a:pt x="198" y="39"/>
                </a:cubicBezTo>
                <a:cubicBezTo>
                  <a:pt x="198" y="39"/>
                  <a:pt x="197" y="39"/>
                  <a:pt x="196" y="39"/>
                </a:cubicBezTo>
                <a:cubicBezTo>
                  <a:pt x="195" y="39"/>
                  <a:pt x="195" y="38"/>
                  <a:pt x="194" y="38"/>
                </a:cubicBezTo>
                <a:cubicBezTo>
                  <a:pt x="192" y="36"/>
                  <a:pt x="192" y="34"/>
                  <a:pt x="192" y="32"/>
                </a:cubicBezTo>
                <a:cubicBezTo>
                  <a:pt x="192" y="31"/>
                  <a:pt x="192" y="30"/>
                  <a:pt x="191" y="30"/>
                </a:cubicBezTo>
                <a:cubicBezTo>
                  <a:pt x="191" y="29"/>
                  <a:pt x="190" y="28"/>
                  <a:pt x="190" y="28"/>
                </a:cubicBezTo>
                <a:cubicBezTo>
                  <a:pt x="190" y="27"/>
                  <a:pt x="189" y="27"/>
                  <a:pt x="189" y="26"/>
                </a:cubicBezTo>
                <a:cubicBezTo>
                  <a:pt x="189" y="25"/>
                  <a:pt x="189" y="25"/>
                  <a:pt x="189" y="24"/>
                </a:cubicBezTo>
                <a:cubicBezTo>
                  <a:pt x="188" y="23"/>
                  <a:pt x="189" y="21"/>
                  <a:pt x="189" y="20"/>
                </a:cubicBezTo>
                <a:cubicBezTo>
                  <a:pt x="189" y="19"/>
                  <a:pt x="188" y="18"/>
                  <a:pt x="189" y="17"/>
                </a:cubicBezTo>
                <a:cubicBezTo>
                  <a:pt x="189" y="16"/>
                  <a:pt x="190" y="15"/>
                  <a:pt x="190" y="15"/>
                </a:cubicBezTo>
                <a:cubicBezTo>
                  <a:pt x="191" y="14"/>
                  <a:pt x="192" y="13"/>
                  <a:pt x="192" y="13"/>
                </a:cubicBezTo>
                <a:cubicBezTo>
                  <a:pt x="193" y="10"/>
                  <a:pt x="190" y="9"/>
                  <a:pt x="188" y="8"/>
                </a:cubicBezTo>
                <a:cubicBezTo>
                  <a:pt x="188" y="8"/>
                  <a:pt x="187" y="7"/>
                  <a:pt x="187" y="7"/>
                </a:cubicBezTo>
                <a:cubicBezTo>
                  <a:pt x="187" y="6"/>
                  <a:pt x="187" y="6"/>
                  <a:pt x="187" y="5"/>
                </a:cubicBezTo>
                <a:cubicBezTo>
                  <a:pt x="187" y="4"/>
                  <a:pt x="187" y="4"/>
                  <a:pt x="187" y="3"/>
                </a:cubicBezTo>
                <a:cubicBezTo>
                  <a:pt x="187" y="0"/>
                  <a:pt x="187" y="0"/>
                  <a:pt x="187" y="0"/>
                </a:cubicBezTo>
                <a:cubicBezTo>
                  <a:pt x="6" y="1"/>
                  <a:pt x="6" y="1"/>
                  <a:pt x="6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2"/>
                  <a:pt x="1" y="3"/>
                </a:cubicBezTo>
                <a:cubicBezTo>
                  <a:pt x="2" y="3"/>
                  <a:pt x="4" y="5"/>
                  <a:pt x="4" y="5"/>
                </a:cubicBezTo>
                <a:cubicBezTo>
                  <a:pt x="4" y="6"/>
                  <a:pt x="4" y="9"/>
                  <a:pt x="4" y="9"/>
                </a:cubicBezTo>
                <a:cubicBezTo>
                  <a:pt x="2" y="10"/>
                  <a:pt x="2" y="10"/>
                  <a:pt x="2" y="10"/>
                </a:cubicBezTo>
                <a:cubicBezTo>
                  <a:pt x="2" y="11"/>
                  <a:pt x="2" y="11"/>
                  <a:pt x="2" y="11"/>
                </a:cubicBezTo>
                <a:cubicBezTo>
                  <a:pt x="2" y="13"/>
                  <a:pt x="2" y="13"/>
                  <a:pt x="2" y="13"/>
                </a:cubicBezTo>
                <a:cubicBezTo>
                  <a:pt x="2" y="13"/>
                  <a:pt x="6" y="14"/>
                  <a:pt x="6" y="14"/>
                </a:cubicBezTo>
                <a:cubicBezTo>
                  <a:pt x="6" y="14"/>
                  <a:pt x="7" y="18"/>
                  <a:pt x="7" y="19"/>
                </a:cubicBezTo>
                <a:cubicBezTo>
                  <a:pt x="7" y="19"/>
                  <a:pt x="7" y="20"/>
                  <a:pt x="7" y="21"/>
                </a:cubicBezTo>
                <a:cubicBezTo>
                  <a:pt x="7" y="21"/>
                  <a:pt x="6" y="21"/>
                  <a:pt x="5" y="22"/>
                </a:cubicBezTo>
                <a:cubicBezTo>
                  <a:pt x="5" y="22"/>
                  <a:pt x="4" y="22"/>
                  <a:pt x="4" y="23"/>
                </a:cubicBezTo>
                <a:cubicBezTo>
                  <a:pt x="4" y="23"/>
                  <a:pt x="5" y="26"/>
                  <a:pt x="5" y="27"/>
                </a:cubicBezTo>
                <a:cubicBezTo>
                  <a:pt x="5" y="27"/>
                  <a:pt x="3" y="28"/>
                  <a:pt x="3" y="28"/>
                </a:cubicBezTo>
                <a:cubicBezTo>
                  <a:pt x="3" y="29"/>
                  <a:pt x="3" y="32"/>
                  <a:pt x="3" y="32"/>
                </a:cubicBezTo>
                <a:cubicBezTo>
                  <a:pt x="3" y="32"/>
                  <a:pt x="0" y="35"/>
                  <a:pt x="0" y="35"/>
                </a:cubicBezTo>
                <a:cubicBezTo>
                  <a:pt x="0" y="35"/>
                  <a:pt x="0" y="37"/>
                  <a:pt x="0" y="37"/>
                </a:cubicBezTo>
                <a:cubicBezTo>
                  <a:pt x="0" y="38"/>
                  <a:pt x="4" y="41"/>
                  <a:pt x="4" y="41"/>
                </a:cubicBezTo>
                <a:cubicBezTo>
                  <a:pt x="4" y="42"/>
                  <a:pt x="4" y="42"/>
                  <a:pt x="4" y="43"/>
                </a:cubicBezTo>
                <a:cubicBezTo>
                  <a:pt x="4" y="43"/>
                  <a:pt x="6" y="46"/>
                  <a:pt x="6" y="46"/>
                </a:cubicBezTo>
                <a:cubicBezTo>
                  <a:pt x="6" y="46"/>
                  <a:pt x="5" y="48"/>
                  <a:pt x="5" y="48"/>
                </a:cubicBezTo>
                <a:cubicBezTo>
                  <a:pt x="9" y="49"/>
                  <a:pt x="9" y="49"/>
                  <a:pt x="9" y="49"/>
                </a:cubicBezTo>
                <a:cubicBezTo>
                  <a:pt x="9" y="49"/>
                  <a:pt x="8" y="52"/>
                  <a:pt x="8" y="52"/>
                </a:cubicBezTo>
                <a:cubicBezTo>
                  <a:pt x="8" y="53"/>
                  <a:pt x="8" y="54"/>
                  <a:pt x="8" y="55"/>
                </a:cubicBezTo>
                <a:cubicBezTo>
                  <a:pt x="8" y="55"/>
                  <a:pt x="9" y="57"/>
                  <a:pt x="9" y="57"/>
                </a:cubicBezTo>
                <a:cubicBezTo>
                  <a:pt x="10" y="58"/>
                  <a:pt x="11" y="59"/>
                  <a:pt x="11" y="59"/>
                </a:cubicBezTo>
                <a:cubicBezTo>
                  <a:pt x="11" y="59"/>
                  <a:pt x="10" y="61"/>
                  <a:pt x="10" y="61"/>
                </a:cubicBezTo>
                <a:cubicBezTo>
                  <a:pt x="10" y="62"/>
                  <a:pt x="10" y="63"/>
                  <a:pt x="10" y="63"/>
                </a:cubicBezTo>
                <a:cubicBezTo>
                  <a:pt x="10" y="63"/>
                  <a:pt x="12" y="65"/>
                  <a:pt x="12" y="65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69"/>
                  <a:pt x="14" y="69"/>
                  <a:pt x="14" y="69"/>
                </a:cubicBezTo>
                <a:cubicBezTo>
                  <a:pt x="14" y="69"/>
                  <a:pt x="14" y="71"/>
                  <a:pt x="14" y="71"/>
                </a:cubicBezTo>
                <a:cubicBezTo>
                  <a:pt x="14" y="72"/>
                  <a:pt x="15" y="71"/>
                  <a:pt x="15" y="71"/>
                </a:cubicBezTo>
                <a:cubicBezTo>
                  <a:pt x="16" y="71"/>
                  <a:pt x="16" y="72"/>
                  <a:pt x="16" y="72"/>
                </a:cubicBezTo>
                <a:cubicBezTo>
                  <a:pt x="16" y="72"/>
                  <a:pt x="17" y="72"/>
                  <a:pt x="17" y="73"/>
                </a:cubicBezTo>
                <a:cubicBezTo>
                  <a:pt x="18" y="73"/>
                  <a:pt x="16" y="76"/>
                  <a:pt x="16" y="76"/>
                </a:cubicBezTo>
                <a:cubicBezTo>
                  <a:pt x="16" y="76"/>
                  <a:pt x="19" y="79"/>
                  <a:pt x="20" y="80"/>
                </a:cubicBezTo>
                <a:cubicBezTo>
                  <a:pt x="20" y="80"/>
                  <a:pt x="19" y="82"/>
                  <a:pt x="19" y="82"/>
                </a:cubicBezTo>
                <a:cubicBezTo>
                  <a:pt x="19" y="82"/>
                  <a:pt x="19" y="84"/>
                  <a:pt x="19" y="85"/>
                </a:cubicBezTo>
                <a:cubicBezTo>
                  <a:pt x="19" y="85"/>
                  <a:pt x="18" y="85"/>
                  <a:pt x="18" y="85"/>
                </a:cubicBezTo>
                <a:cubicBezTo>
                  <a:pt x="18" y="85"/>
                  <a:pt x="18" y="87"/>
                  <a:pt x="18" y="87"/>
                </a:cubicBezTo>
                <a:cubicBezTo>
                  <a:pt x="18" y="87"/>
                  <a:pt x="18" y="89"/>
                  <a:pt x="18" y="89"/>
                </a:cubicBezTo>
                <a:cubicBezTo>
                  <a:pt x="18" y="89"/>
                  <a:pt x="19" y="91"/>
                  <a:pt x="19" y="92"/>
                </a:cubicBezTo>
                <a:cubicBezTo>
                  <a:pt x="19" y="92"/>
                  <a:pt x="20" y="94"/>
                  <a:pt x="20" y="94"/>
                </a:cubicBezTo>
                <a:cubicBezTo>
                  <a:pt x="20" y="94"/>
                  <a:pt x="21" y="92"/>
                  <a:pt x="22" y="92"/>
                </a:cubicBezTo>
                <a:cubicBezTo>
                  <a:pt x="22" y="92"/>
                  <a:pt x="21" y="95"/>
                  <a:pt x="21" y="95"/>
                </a:cubicBezTo>
                <a:cubicBezTo>
                  <a:pt x="21" y="95"/>
                  <a:pt x="24" y="96"/>
                  <a:pt x="24" y="96"/>
                </a:cubicBezTo>
                <a:cubicBezTo>
                  <a:pt x="25" y="97"/>
                  <a:pt x="25" y="98"/>
                  <a:pt x="25" y="99"/>
                </a:cubicBezTo>
                <a:cubicBezTo>
                  <a:pt x="25" y="99"/>
                  <a:pt x="26" y="102"/>
                  <a:pt x="26" y="103"/>
                </a:cubicBezTo>
                <a:cubicBezTo>
                  <a:pt x="26" y="104"/>
                  <a:pt x="25" y="104"/>
                  <a:pt x="25" y="105"/>
                </a:cubicBezTo>
                <a:cubicBezTo>
                  <a:pt x="24" y="105"/>
                  <a:pt x="24" y="106"/>
                  <a:pt x="24" y="107"/>
                </a:cubicBezTo>
                <a:cubicBezTo>
                  <a:pt x="24" y="108"/>
                  <a:pt x="25" y="109"/>
                  <a:pt x="26" y="109"/>
                </a:cubicBezTo>
                <a:cubicBezTo>
                  <a:pt x="26" y="110"/>
                  <a:pt x="26" y="112"/>
                  <a:pt x="26" y="113"/>
                </a:cubicBezTo>
                <a:cubicBezTo>
                  <a:pt x="26" y="114"/>
                  <a:pt x="27" y="116"/>
                  <a:pt x="27" y="117"/>
                </a:cubicBezTo>
                <a:cubicBezTo>
                  <a:pt x="28" y="118"/>
                  <a:pt x="28" y="121"/>
                  <a:pt x="28" y="122"/>
                </a:cubicBezTo>
                <a:cubicBezTo>
                  <a:pt x="28" y="123"/>
                  <a:pt x="28" y="126"/>
                  <a:pt x="28" y="127"/>
                </a:cubicBezTo>
                <a:cubicBezTo>
                  <a:pt x="27" y="129"/>
                  <a:pt x="27" y="129"/>
                  <a:pt x="26" y="129"/>
                </a:cubicBezTo>
                <a:cubicBezTo>
                  <a:pt x="25" y="130"/>
                  <a:pt x="26" y="131"/>
                  <a:pt x="27" y="131"/>
                </a:cubicBezTo>
                <a:cubicBezTo>
                  <a:pt x="27" y="132"/>
                  <a:pt x="29" y="132"/>
                  <a:pt x="29" y="133"/>
                </a:cubicBezTo>
                <a:cubicBezTo>
                  <a:pt x="30" y="133"/>
                  <a:pt x="30" y="136"/>
                  <a:pt x="30" y="136"/>
                </a:cubicBezTo>
                <a:cubicBezTo>
                  <a:pt x="70" y="136"/>
                  <a:pt x="70" y="136"/>
                  <a:pt x="70" y="136"/>
                </a:cubicBezTo>
                <a:lnTo>
                  <a:pt x="169" y="135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6" name="Freeform 44">
            <a:extLst>
              <a:ext uri="{FF2B5EF4-FFF2-40B4-BE49-F238E27FC236}">
                <a16:creationId xmlns:a16="http://schemas.microsoft.com/office/drawing/2014/main" id="{5BFB2D03-DDB8-4954-B6EF-BCB2CFDEC8D6}"/>
              </a:ext>
            </a:extLst>
          </p:cNvPr>
          <p:cNvSpPr>
            <a:spLocks/>
          </p:cNvSpPr>
          <p:nvPr/>
        </p:nvSpPr>
        <p:spPr bwMode="auto">
          <a:xfrm>
            <a:off x="9008009" y="2673942"/>
            <a:ext cx="451052" cy="713753"/>
          </a:xfrm>
          <a:custGeom>
            <a:avLst/>
            <a:gdLst>
              <a:gd name="T0" fmla="*/ 5 w 114"/>
              <a:gd name="T1" fmla="*/ 175 h 180"/>
              <a:gd name="T2" fmla="*/ 9 w 114"/>
              <a:gd name="T3" fmla="*/ 175 h 180"/>
              <a:gd name="T4" fmla="*/ 14 w 114"/>
              <a:gd name="T5" fmla="*/ 176 h 180"/>
              <a:gd name="T6" fmla="*/ 16 w 114"/>
              <a:gd name="T7" fmla="*/ 173 h 180"/>
              <a:gd name="T8" fmla="*/ 20 w 114"/>
              <a:gd name="T9" fmla="*/ 173 h 180"/>
              <a:gd name="T10" fmla="*/ 30 w 114"/>
              <a:gd name="T11" fmla="*/ 176 h 180"/>
              <a:gd name="T12" fmla="*/ 33 w 114"/>
              <a:gd name="T13" fmla="*/ 179 h 180"/>
              <a:gd name="T14" fmla="*/ 36 w 114"/>
              <a:gd name="T15" fmla="*/ 174 h 180"/>
              <a:gd name="T16" fmla="*/ 44 w 114"/>
              <a:gd name="T17" fmla="*/ 170 h 180"/>
              <a:gd name="T18" fmla="*/ 49 w 114"/>
              <a:gd name="T19" fmla="*/ 174 h 180"/>
              <a:gd name="T20" fmla="*/ 52 w 114"/>
              <a:gd name="T21" fmla="*/ 176 h 180"/>
              <a:gd name="T22" fmla="*/ 54 w 114"/>
              <a:gd name="T23" fmla="*/ 170 h 180"/>
              <a:gd name="T24" fmla="*/ 56 w 114"/>
              <a:gd name="T25" fmla="*/ 165 h 180"/>
              <a:gd name="T26" fmla="*/ 60 w 114"/>
              <a:gd name="T27" fmla="*/ 162 h 180"/>
              <a:gd name="T28" fmla="*/ 63 w 114"/>
              <a:gd name="T29" fmla="*/ 164 h 180"/>
              <a:gd name="T30" fmla="*/ 69 w 114"/>
              <a:gd name="T31" fmla="*/ 170 h 180"/>
              <a:gd name="T32" fmla="*/ 75 w 114"/>
              <a:gd name="T33" fmla="*/ 168 h 180"/>
              <a:gd name="T34" fmla="*/ 78 w 114"/>
              <a:gd name="T35" fmla="*/ 158 h 180"/>
              <a:gd name="T36" fmla="*/ 85 w 114"/>
              <a:gd name="T37" fmla="*/ 154 h 180"/>
              <a:gd name="T38" fmla="*/ 92 w 114"/>
              <a:gd name="T39" fmla="*/ 145 h 180"/>
              <a:gd name="T40" fmla="*/ 95 w 114"/>
              <a:gd name="T41" fmla="*/ 137 h 180"/>
              <a:gd name="T42" fmla="*/ 103 w 114"/>
              <a:gd name="T43" fmla="*/ 138 h 180"/>
              <a:gd name="T44" fmla="*/ 113 w 114"/>
              <a:gd name="T45" fmla="*/ 135 h 180"/>
              <a:gd name="T46" fmla="*/ 113 w 114"/>
              <a:gd name="T47" fmla="*/ 130 h 180"/>
              <a:gd name="T48" fmla="*/ 112 w 114"/>
              <a:gd name="T49" fmla="*/ 126 h 180"/>
              <a:gd name="T50" fmla="*/ 113 w 114"/>
              <a:gd name="T51" fmla="*/ 120 h 180"/>
              <a:gd name="T52" fmla="*/ 45 w 114"/>
              <a:gd name="T53" fmla="*/ 0 h 180"/>
              <a:gd name="T54" fmla="*/ 41 w 114"/>
              <a:gd name="T55" fmla="*/ 2 h 180"/>
              <a:gd name="T56" fmla="*/ 33 w 114"/>
              <a:gd name="T57" fmla="*/ 6 h 180"/>
              <a:gd name="T58" fmla="*/ 30 w 114"/>
              <a:gd name="T59" fmla="*/ 7 h 180"/>
              <a:gd name="T60" fmla="*/ 27 w 114"/>
              <a:gd name="T61" fmla="*/ 7 h 180"/>
              <a:gd name="T62" fmla="*/ 22 w 114"/>
              <a:gd name="T63" fmla="*/ 4 h 180"/>
              <a:gd name="T64" fmla="*/ 19 w 114"/>
              <a:gd name="T65" fmla="*/ 0 h 180"/>
              <a:gd name="T66" fmla="*/ 17 w 114"/>
              <a:gd name="T67" fmla="*/ 113 h 180"/>
              <a:gd name="T68" fmla="*/ 16 w 114"/>
              <a:gd name="T69" fmla="*/ 119 h 180"/>
              <a:gd name="T70" fmla="*/ 18 w 114"/>
              <a:gd name="T71" fmla="*/ 123 h 180"/>
              <a:gd name="T72" fmla="*/ 20 w 114"/>
              <a:gd name="T73" fmla="*/ 128 h 180"/>
              <a:gd name="T74" fmla="*/ 19 w 114"/>
              <a:gd name="T75" fmla="*/ 133 h 180"/>
              <a:gd name="T76" fmla="*/ 17 w 114"/>
              <a:gd name="T77" fmla="*/ 141 h 180"/>
              <a:gd name="T78" fmla="*/ 15 w 114"/>
              <a:gd name="T79" fmla="*/ 145 h 180"/>
              <a:gd name="T80" fmla="*/ 14 w 114"/>
              <a:gd name="T81" fmla="*/ 148 h 180"/>
              <a:gd name="T82" fmla="*/ 9 w 114"/>
              <a:gd name="T83" fmla="*/ 154 h 180"/>
              <a:gd name="T84" fmla="*/ 6 w 114"/>
              <a:gd name="T85" fmla="*/ 157 h 180"/>
              <a:gd name="T86" fmla="*/ 4 w 114"/>
              <a:gd name="T87" fmla="*/ 158 h 180"/>
              <a:gd name="T88" fmla="*/ 6 w 114"/>
              <a:gd name="T89" fmla="*/ 162 h 180"/>
              <a:gd name="T90" fmla="*/ 5 w 114"/>
              <a:gd name="T91" fmla="*/ 166 h 180"/>
              <a:gd name="T92" fmla="*/ 3 w 114"/>
              <a:gd name="T93" fmla="*/ 168 h 180"/>
              <a:gd name="T94" fmla="*/ 1 w 114"/>
              <a:gd name="T95" fmla="*/ 173 h 180"/>
              <a:gd name="T96" fmla="*/ 2 w 114"/>
              <a:gd name="T97" fmla="*/ 177 h 180"/>
              <a:gd name="T98" fmla="*/ 5 w 114"/>
              <a:gd name="T99" fmla="*/ 179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4" h="180">
                <a:moveTo>
                  <a:pt x="7" y="178"/>
                </a:moveTo>
                <a:cubicBezTo>
                  <a:pt x="7" y="178"/>
                  <a:pt x="6" y="177"/>
                  <a:pt x="6" y="177"/>
                </a:cubicBezTo>
                <a:cubicBezTo>
                  <a:pt x="6" y="177"/>
                  <a:pt x="5" y="176"/>
                  <a:pt x="5" y="175"/>
                </a:cubicBezTo>
                <a:cubicBezTo>
                  <a:pt x="6" y="175"/>
                  <a:pt x="6" y="173"/>
                  <a:pt x="6" y="173"/>
                </a:cubicBezTo>
                <a:cubicBezTo>
                  <a:pt x="6" y="173"/>
                  <a:pt x="7" y="173"/>
                  <a:pt x="8" y="173"/>
                </a:cubicBezTo>
                <a:cubicBezTo>
                  <a:pt x="8" y="174"/>
                  <a:pt x="9" y="175"/>
                  <a:pt x="9" y="175"/>
                </a:cubicBezTo>
                <a:cubicBezTo>
                  <a:pt x="9" y="175"/>
                  <a:pt x="11" y="175"/>
                  <a:pt x="12" y="175"/>
                </a:cubicBezTo>
                <a:cubicBezTo>
                  <a:pt x="12" y="174"/>
                  <a:pt x="13" y="174"/>
                  <a:pt x="13" y="174"/>
                </a:cubicBezTo>
                <a:cubicBezTo>
                  <a:pt x="14" y="174"/>
                  <a:pt x="14" y="175"/>
                  <a:pt x="14" y="176"/>
                </a:cubicBezTo>
                <a:cubicBezTo>
                  <a:pt x="14" y="176"/>
                  <a:pt x="14" y="177"/>
                  <a:pt x="15" y="177"/>
                </a:cubicBezTo>
                <a:cubicBezTo>
                  <a:pt x="17" y="177"/>
                  <a:pt x="17" y="177"/>
                  <a:pt x="17" y="176"/>
                </a:cubicBezTo>
                <a:cubicBezTo>
                  <a:pt x="17" y="176"/>
                  <a:pt x="17" y="174"/>
                  <a:pt x="16" y="173"/>
                </a:cubicBezTo>
                <a:cubicBezTo>
                  <a:pt x="16" y="173"/>
                  <a:pt x="16" y="172"/>
                  <a:pt x="17" y="171"/>
                </a:cubicBezTo>
                <a:cubicBezTo>
                  <a:pt x="18" y="171"/>
                  <a:pt x="18" y="171"/>
                  <a:pt x="18" y="171"/>
                </a:cubicBezTo>
                <a:cubicBezTo>
                  <a:pt x="19" y="172"/>
                  <a:pt x="20" y="173"/>
                  <a:pt x="20" y="173"/>
                </a:cubicBezTo>
                <a:cubicBezTo>
                  <a:pt x="21" y="173"/>
                  <a:pt x="21" y="173"/>
                  <a:pt x="22" y="172"/>
                </a:cubicBezTo>
                <a:cubicBezTo>
                  <a:pt x="23" y="172"/>
                  <a:pt x="24" y="172"/>
                  <a:pt x="24" y="172"/>
                </a:cubicBezTo>
                <a:cubicBezTo>
                  <a:pt x="24" y="172"/>
                  <a:pt x="30" y="176"/>
                  <a:pt x="30" y="176"/>
                </a:cubicBezTo>
                <a:cubicBezTo>
                  <a:pt x="31" y="176"/>
                  <a:pt x="32" y="176"/>
                  <a:pt x="32" y="176"/>
                </a:cubicBezTo>
                <a:cubicBezTo>
                  <a:pt x="32" y="176"/>
                  <a:pt x="32" y="177"/>
                  <a:pt x="33" y="177"/>
                </a:cubicBezTo>
                <a:cubicBezTo>
                  <a:pt x="33" y="178"/>
                  <a:pt x="33" y="179"/>
                  <a:pt x="33" y="179"/>
                </a:cubicBezTo>
                <a:cubicBezTo>
                  <a:pt x="33" y="179"/>
                  <a:pt x="34" y="179"/>
                  <a:pt x="34" y="179"/>
                </a:cubicBezTo>
                <a:cubicBezTo>
                  <a:pt x="35" y="178"/>
                  <a:pt x="35" y="177"/>
                  <a:pt x="35" y="177"/>
                </a:cubicBezTo>
                <a:cubicBezTo>
                  <a:pt x="36" y="176"/>
                  <a:pt x="36" y="175"/>
                  <a:pt x="36" y="174"/>
                </a:cubicBezTo>
                <a:cubicBezTo>
                  <a:pt x="36" y="174"/>
                  <a:pt x="37" y="174"/>
                  <a:pt x="38" y="173"/>
                </a:cubicBezTo>
                <a:cubicBezTo>
                  <a:pt x="39" y="173"/>
                  <a:pt x="41" y="172"/>
                  <a:pt x="42" y="172"/>
                </a:cubicBezTo>
                <a:cubicBezTo>
                  <a:pt x="42" y="171"/>
                  <a:pt x="44" y="170"/>
                  <a:pt x="44" y="170"/>
                </a:cubicBezTo>
                <a:cubicBezTo>
                  <a:pt x="44" y="170"/>
                  <a:pt x="45" y="171"/>
                  <a:pt x="45" y="171"/>
                </a:cubicBezTo>
                <a:cubicBezTo>
                  <a:pt x="45" y="172"/>
                  <a:pt x="46" y="173"/>
                  <a:pt x="47" y="173"/>
                </a:cubicBezTo>
                <a:cubicBezTo>
                  <a:pt x="47" y="174"/>
                  <a:pt x="48" y="174"/>
                  <a:pt x="49" y="174"/>
                </a:cubicBezTo>
                <a:cubicBezTo>
                  <a:pt x="49" y="174"/>
                  <a:pt x="50" y="173"/>
                  <a:pt x="50" y="174"/>
                </a:cubicBezTo>
                <a:cubicBezTo>
                  <a:pt x="50" y="174"/>
                  <a:pt x="50" y="176"/>
                  <a:pt x="50" y="176"/>
                </a:cubicBezTo>
                <a:cubicBezTo>
                  <a:pt x="50" y="176"/>
                  <a:pt x="51" y="177"/>
                  <a:pt x="52" y="176"/>
                </a:cubicBezTo>
                <a:cubicBezTo>
                  <a:pt x="52" y="175"/>
                  <a:pt x="52" y="173"/>
                  <a:pt x="52" y="173"/>
                </a:cubicBezTo>
                <a:cubicBezTo>
                  <a:pt x="53" y="173"/>
                  <a:pt x="54" y="173"/>
                  <a:pt x="55" y="173"/>
                </a:cubicBezTo>
                <a:cubicBezTo>
                  <a:pt x="55" y="173"/>
                  <a:pt x="55" y="171"/>
                  <a:pt x="54" y="170"/>
                </a:cubicBezTo>
                <a:cubicBezTo>
                  <a:pt x="54" y="169"/>
                  <a:pt x="54" y="168"/>
                  <a:pt x="55" y="168"/>
                </a:cubicBezTo>
                <a:cubicBezTo>
                  <a:pt x="55" y="167"/>
                  <a:pt x="57" y="167"/>
                  <a:pt x="57" y="167"/>
                </a:cubicBezTo>
                <a:cubicBezTo>
                  <a:pt x="57" y="166"/>
                  <a:pt x="56" y="165"/>
                  <a:pt x="56" y="165"/>
                </a:cubicBezTo>
                <a:cubicBezTo>
                  <a:pt x="56" y="164"/>
                  <a:pt x="58" y="165"/>
                  <a:pt x="59" y="165"/>
                </a:cubicBezTo>
                <a:cubicBezTo>
                  <a:pt x="59" y="165"/>
                  <a:pt x="61" y="164"/>
                  <a:pt x="61" y="164"/>
                </a:cubicBezTo>
                <a:cubicBezTo>
                  <a:pt x="61" y="163"/>
                  <a:pt x="59" y="163"/>
                  <a:pt x="60" y="162"/>
                </a:cubicBezTo>
                <a:cubicBezTo>
                  <a:pt x="60" y="161"/>
                  <a:pt x="60" y="161"/>
                  <a:pt x="60" y="161"/>
                </a:cubicBezTo>
                <a:cubicBezTo>
                  <a:pt x="60" y="161"/>
                  <a:pt x="62" y="162"/>
                  <a:pt x="62" y="162"/>
                </a:cubicBezTo>
                <a:cubicBezTo>
                  <a:pt x="62" y="163"/>
                  <a:pt x="62" y="163"/>
                  <a:pt x="63" y="164"/>
                </a:cubicBezTo>
                <a:cubicBezTo>
                  <a:pt x="63" y="165"/>
                  <a:pt x="63" y="167"/>
                  <a:pt x="64" y="167"/>
                </a:cubicBezTo>
                <a:cubicBezTo>
                  <a:pt x="65" y="168"/>
                  <a:pt x="66" y="168"/>
                  <a:pt x="67" y="168"/>
                </a:cubicBezTo>
                <a:cubicBezTo>
                  <a:pt x="68" y="169"/>
                  <a:pt x="69" y="169"/>
                  <a:pt x="69" y="170"/>
                </a:cubicBezTo>
                <a:cubicBezTo>
                  <a:pt x="70" y="170"/>
                  <a:pt x="71" y="171"/>
                  <a:pt x="71" y="171"/>
                </a:cubicBezTo>
                <a:cubicBezTo>
                  <a:pt x="71" y="171"/>
                  <a:pt x="72" y="169"/>
                  <a:pt x="73" y="169"/>
                </a:cubicBezTo>
                <a:cubicBezTo>
                  <a:pt x="73" y="169"/>
                  <a:pt x="75" y="169"/>
                  <a:pt x="75" y="168"/>
                </a:cubicBezTo>
                <a:cubicBezTo>
                  <a:pt x="75" y="168"/>
                  <a:pt x="75" y="167"/>
                  <a:pt x="75" y="166"/>
                </a:cubicBezTo>
                <a:cubicBezTo>
                  <a:pt x="75" y="165"/>
                  <a:pt x="76" y="162"/>
                  <a:pt x="76" y="161"/>
                </a:cubicBezTo>
                <a:cubicBezTo>
                  <a:pt x="77" y="160"/>
                  <a:pt x="77" y="159"/>
                  <a:pt x="78" y="158"/>
                </a:cubicBezTo>
                <a:cubicBezTo>
                  <a:pt x="79" y="158"/>
                  <a:pt x="80" y="157"/>
                  <a:pt x="81" y="157"/>
                </a:cubicBezTo>
                <a:cubicBezTo>
                  <a:pt x="82" y="157"/>
                  <a:pt x="82" y="157"/>
                  <a:pt x="83" y="156"/>
                </a:cubicBezTo>
                <a:cubicBezTo>
                  <a:pt x="84" y="155"/>
                  <a:pt x="85" y="155"/>
                  <a:pt x="85" y="154"/>
                </a:cubicBezTo>
                <a:cubicBezTo>
                  <a:pt x="85" y="153"/>
                  <a:pt x="85" y="152"/>
                  <a:pt x="86" y="151"/>
                </a:cubicBezTo>
                <a:cubicBezTo>
                  <a:pt x="86" y="150"/>
                  <a:pt x="91" y="148"/>
                  <a:pt x="91" y="148"/>
                </a:cubicBezTo>
                <a:cubicBezTo>
                  <a:pt x="91" y="148"/>
                  <a:pt x="92" y="146"/>
                  <a:pt x="92" y="145"/>
                </a:cubicBezTo>
                <a:cubicBezTo>
                  <a:pt x="92" y="144"/>
                  <a:pt x="91" y="143"/>
                  <a:pt x="91" y="142"/>
                </a:cubicBezTo>
                <a:cubicBezTo>
                  <a:pt x="91" y="141"/>
                  <a:pt x="91" y="138"/>
                  <a:pt x="92" y="138"/>
                </a:cubicBezTo>
                <a:cubicBezTo>
                  <a:pt x="93" y="137"/>
                  <a:pt x="94" y="137"/>
                  <a:pt x="95" y="137"/>
                </a:cubicBezTo>
                <a:cubicBezTo>
                  <a:pt x="96" y="137"/>
                  <a:pt x="97" y="137"/>
                  <a:pt x="97" y="137"/>
                </a:cubicBezTo>
                <a:cubicBezTo>
                  <a:pt x="98" y="137"/>
                  <a:pt x="99" y="139"/>
                  <a:pt x="100" y="139"/>
                </a:cubicBezTo>
                <a:cubicBezTo>
                  <a:pt x="101" y="139"/>
                  <a:pt x="101" y="139"/>
                  <a:pt x="103" y="138"/>
                </a:cubicBezTo>
                <a:cubicBezTo>
                  <a:pt x="104" y="138"/>
                  <a:pt x="105" y="136"/>
                  <a:pt x="106" y="136"/>
                </a:cubicBezTo>
                <a:cubicBezTo>
                  <a:pt x="107" y="135"/>
                  <a:pt x="107" y="135"/>
                  <a:pt x="109" y="135"/>
                </a:cubicBezTo>
                <a:cubicBezTo>
                  <a:pt x="111" y="135"/>
                  <a:pt x="112" y="136"/>
                  <a:pt x="113" y="135"/>
                </a:cubicBezTo>
                <a:cubicBezTo>
                  <a:pt x="114" y="135"/>
                  <a:pt x="113" y="133"/>
                  <a:pt x="113" y="133"/>
                </a:cubicBezTo>
                <a:cubicBezTo>
                  <a:pt x="113" y="133"/>
                  <a:pt x="114" y="132"/>
                  <a:pt x="114" y="132"/>
                </a:cubicBezTo>
                <a:cubicBezTo>
                  <a:pt x="114" y="131"/>
                  <a:pt x="114" y="130"/>
                  <a:pt x="113" y="130"/>
                </a:cubicBezTo>
                <a:cubicBezTo>
                  <a:pt x="112" y="130"/>
                  <a:pt x="112" y="130"/>
                  <a:pt x="112" y="130"/>
                </a:cubicBezTo>
                <a:cubicBezTo>
                  <a:pt x="112" y="129"/>
                  <a:pt x="112" y="129"/>
                  <a:pt x="112" y="128"/>
                </a:cubicBezTo>
                <a:cubicBezTo>
                  <a:pt x="113" y="127"/>
                  <a:pt x="112" y="126"/>
                  <a:pt x="112" y="126"/>
                </a:cubicBezTo>
                <a:cubicBezTo>
                  <a:pt x="112" y="125"/>
                  <a:pt x="111" y="125"/>
                  <a:pt x="111" y="124"/>
                </a:cubicBezTo>
                <a:cubicBezTo>
                  <a:pt x="111" y="123"/>
                  <a:pt x="112" y="122"/>
                  <a:pt x="112" y="122"/>
                </a:cubicBezTo>
                <a:cubicBezTo>
                  <a:pt x="113" y="120"/>
                  <a:pt x="113" y="120"/>
                  <a:pt x="113" y="120"/>
                </a:cubicBezTo>
                <a:cubicBezTo>
                  <a:pt x="114" y="0"/>
                  <a:pt x="114" y="0"/>
                  <a:pt x="11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4" y="1"/>
                  <a:pt x="44" y="1"/>
                  <a:pt x="44" y="1"/>
                </a:cubicBezTo>
                <a:cubicBezTo>
                  <a:pt x="43" y="1"/>
                  <a:pt x="43" y="1"/>
                  <a:pt x="42" y="1"/>
                </a:cubicBezTo>
                <a:cubicBezTo>
                  <a:pt x="42" y="1"/>
                  <a:pt x="41" y="2"/>
                  <a:pt x="41" y="2"/>
                </a:cubicBezTo>
                <a:cubicBezTo>
                  <a:pt x="41" y="2"/>
                  <a:pt x="41" y="2"/>
                  <a:pt x="40" y="2"/>
                </a:cubicBezTo>
                <a:cubicBezTo>
                  <a:pt x="39" y="3"/>
                  <a:pt x="38" y="3"/>
                  <a:pt x="37" y="4"/>
                </a:cubicBezTo>
                <a:cubicBezTo>
                  <a:pt x="36" y="5"/>
                  <a:pt x="35" y="5"/>
                  <a:pt x="33" y="6"/>
                </a:cubicBezTo>
                <a:cubicBezTo>
                  <a:pt x="33" y="6"/>
                  <a:pt x="33" y="6"/>
                  <a:pt x="32" y="6"/>
                </a:cubicBezTo>
                <a:cubicBezTo>
                  <a:pt x="32" y="6"/>
                  <a:pt x="32" y="6"/>
                  <a:pt x="31" y="6"/>
                </a:cubicBezTo>
                <a:cubicBezTo>
                  <a:pt x="31" y="7"/>
                  <a:pt x="30" y="7"/>
                  <a:pt x="30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28" y="7"/>
                  <a:pt x="28" y="7"/>
                  <a:pt x="28" y="7"/>
                </a:cubicBezTo>
                <a:cubicBezTo>
                  <a:pt x="28" y="7"/>
                  <a:pt x="28" y="7"/>
                  <a:pt x="27" y="7"/>
                </a:cubicBezTo>
                <a:cubicBezTo>
                  <a:pt x="27" y="6"/>
                  <a:pt x="26" y="6"/>
                  <a:pt x="25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3" y="5"/>
                  <a:pt x="22" y="4"/>
                  <a:pt x="22" y="4"/>
                </a:cubicBezTo>
                <a:cubicBezTo>
                  <a:pt x="21" y="3"/>
                  <a:pt x="21" y="3"/>
                  <a:pt x="21" y="2"/>
                </a:cubicBezTo>
                <a:cubicBezTo>
                  <a:pt x="20" y="2"/>
                  <a:pt x="20" y="1"/>
                  <a:pt x="20" y="1"/>
                </a:cubicBezTo>
                <a:cubicBezTo>
                  <a:pt x="20" y="1"/>
                  <a:pt x="19" y="1"/>
                  <a:pt x="19" y="0"/>
                </a:cubicBezTo>
                <a:cubicBezTo>
                  <a:pt x="20" y="110"/>
                  <a:pt x="20" y="110"/>
                  <a:pt x="20" y="110"/>
                </a:cubicBezTo>
                <a:cubicBezTo>
                  <a:pt x="16" y="111"/>
                  <a:pt x="16" y="111"/>
                  <a:pt x="16" y="111"/>
                </a:cubicBezTo>
                <a:cubicBezTo>
                  <a:pt x="16" y="111"/>
                  <a:pt x="17" y="113"/>
                  <a:pt x="17" y="113"/>
                </a:cubicBezTo>
                <a:cubicBezTo>
                  <a:pt x="17" y="114"/>
                  <a:pt x="18" y="114"/>
                  <a:pt x="18" y="114"/>
                </a:cubicBezTo>
                <a:cubicBezTo>
                  <a:pt x="17" y="117"/>
                  <a:pt x="17" y="117"/>
                  <a:pt x="17" y="117"/>
                </a:cubicBezTo>
                <a:cubicBezTo>
                  <a:pt x="17" y="117"/>
                  <a:pt x="16" y="118"/>
                  <a:pt x="16" y="119"/>
                </a:cubicBezTo>
                <a:cubicBezTo>
                  <a:pt x="16" y="119"/>
                  <a:pt x="16" y="120"/>
                  <a:pt x="16" y="120"/>
                </a:cubicBezTo>
                <a:cubicBezTo>
                  <a:pt x="16" y="120"/>
                  <a:pt x="16" y="121"/>
                  <a:pt x="16" y="121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6"/>
                  <a:pt x="18" y="126"/>
                  <a:pt x="18" y="126"/>
                </a:cubicBezTo>
                <a:cubicBezTo>
                  <a:pt x="20" y="127"/>
                  <a:pt x="20" y="127"/>
                  <a:pt x="20" y="127"/>
                </a:cubicBezTo>
                <a:cubicBezTo>
                  <a:pt x="20" y="128"/>
                  <a:pt x="20" y="128"/>
                  <a:pt x="20" y="128"/>
                </a:cubicBezTo>
                <a:cubicBezTo>
                  <a:pt x="20" y="128"/>
                  <a:pt x="19" y="130"/>
                  <a:pt x="19" y="130"/>
                </a:cubicBezTo>
                <a:cubicBezTo>
                  <a:pt x="19" y="130"/>
                  <a:pt x="18" y="132"/>
                  <a:pt x="18" y="132"/>
                </a:cubicBezTo>
                <a:cubicBezTo>
                  <a:pt x="18" y="132"/>
                  <a:pt x="19" y="133"/>
                  <a:pt x="19" y="133"/>
                </a:cubicBezTo>
                <a:cubicBezTo>
                  <a:pt x="21" y="137"/>
                  <a:pt x="21" y="137"/>
                  <a:pt x="21" y="137"/>
                </a:cubicBezTo>
                <a:cubicBezTo>
                  <a:pt x="19" y="140"/>
                  <a:pt x="19" y="140"/>
                  <a:pt x="19" y="140"/>
                </a:cubicBezTo>
                <a:cubicBezTo>
                  <a:pt x="17" y="141"/>
                  <a:pt x="17" y="141"/>
                  <a:pt x="17" y="141"/>
                </a:cubicBezTo>
                <a:cubicBezTo>
                  <a:pt x="17" y="142"/>
                  <a:pt x="17" y="142"/>
                  <a:pt x="17" y="142"/>
                </a:cubicBezTo>
                <a:cubicBezTo>
                  <a:pt x="17" y="144"/>
                  <a:pt x="17" y="144"/>
                  <a:pt x="17" y="144"/>
                </a:cubicBezTo>
                <a:cubicBezTo>
                  <a:pt x="15" y="145"/>
                  <a:pt x="15" y="145"/>
                  <a:pt x="15" y="145"/>
                </a:cubicBezTo>
                <a:cubicBezTo>
                  <a:pt x="15" y="145"/>
                  <a:pt x="15" y="146"/>
                  <a:pt x="15" y="146"/>
                </a:cubicBezTo>
                <a:cubicBezTo>
                  <a:pt x="15" y="146"/>
                  <a:pt x="15" y="147"/>
                  <a:pt x="15" y="147"/>
                </a:cubicBezTo>
                <a:cubicBezTo>
                  <a:pt x="14" y="148"/>
                  <a:pt x="14" y="148"/>
                  <a:pt x="14" y="148"/>
                </a:cubicBezTo>
                <a:cubicBezTo>
                  <a:pt x="12" y="149"/>
                  <a:pt x="12" y="149"/>
                  <a:pt x="12" y="149"/>
                </a:cubicBezTo>
                <a:cubicBezTo>
                  <a:pt x="12" y="151"/>
                  <a:pt x="12" y="151"/>
                  <a:pt x="12" y="151"/>
                </a:cubicBezTo>
                <a:cubicBezTo>
                  <a:pt x="9" y="154"/>
                  <a:pt x="9" y="154"/>
                  <a:pt x="9" y="154"/>
                </a:cubicBezTo>
                <a:cubicBezTo>
                  <a:pt x="9" y="157"/>
                  <a:pt x="9" y="157"/>
                  <a:pt x="9" y="157"/>
                </a:cubicBezTo>
                <a:cubicBezTo>
                  <a:pt x="8" y="156"/>
                  <a:pt x="8" y="156"/>
                  <a:pt x="8" y="156"/>
                </a:cubicBezTo>
                <a:cubicBezTo>
                  <a:pt x="6" y="157"/>
                  <a:pt x="6" y="157"/>
                  <a:pt x="6" y="157"/>
                </a:cubicBezTo>
                <a:cubicBezTo>
                  <a:pt x="5" y="156"/>
                  <a:pt x="5" y="156"/>
                  <a:pt x="5" y="156"/>
                </a:cubicBezTo>
                <a:cubicBezTo>
                  <a:pt x="5" y="159"/>
                  <a:pt x="5" y="159"/>
                  <a:pt x="5" y="159"/>
                </a:cubicBezTo>
                <a:cubicBezTo>
                  <a:pt x="4" y="158"/>
                  <a:pt x="4" y="158"/>
                  <a:pt x="4" y="158"/>
                </a:cubicBezTo>
                <a:cubicBezTo>
                  <a:pt x="4" y="158"/>
                  <a:pt x="4" y="159"/>
                  <a:pt x="4" y="159"/>
                </a:cubicBezTo>
                <a:cubicBezTo>
                  <a:pt x="4" y="160"/>
                  <a:pt x="4" y="161"/>
                  <a:pt x="4" y="161"/>
                </a:cubicBezTo>
                <a:cubicBezTo>
                  <a:pt x="6" y="162"/>
                  <a:pt x="6" y="162"/>
                  <a:pt x="6" y="162"/>
                </a:cubicBezTo>
                <a:cubicBezTo>
                  <a:pt x="6" y="162"/>
                  <a:pt x="5" y="164"/>
                  <a:pt x="5" y="164"/>
                </a:cubicBezTo>
                <a:cubicBezTo>
                  <a:pt x="5" y="164"/>
                  <a:pt x="3" y="165"/>
                  <a:pt x="3" y="165"/>
                </a:cubicBezTo>
                <a:cubicBezTo>
                  <a:pt x="3" y="165"/>
                  <a:pt x="5" y="166"/>
                  <a:pt x="5" y="166"/>
                </a:cubicBezTo>
                <a:cubicBezTo>
                  <a:pt x="5" y="166"/>
                  <a:pt x="4" y="167"/>
                  <a:pt x="4" y="167"/>
                </a:cubicBezTo>
                <a:cubicBezTo>
                  <a:pt x="2" y="167"/>
                  <a:pt x="2" y="167"/>
                  <a:pt x="2" y="167"/>
                </a:cubicBezTo>
                <a:cubicBezTo>
                  <a:pt x="3" y="168"/>
                  <a:pt x="3" y="168"/>
                  <a:pt x="3" y="168"/>
                </a:cubicBezTo>
                <a:cubicBezTo>
                  <a:pt x="3" y="171"/>
                  <a:pt x="3" y="171"/>
                  <a:pt x="3" y="171"/>
                </a:cubicBezTo>
                <a:cubicBezTo>
                  <a:pt x="2" y="174"/>
                  <a:pt x="2" y="174"/>
                  <a:pt x="2" y="174"/>
                </a:cubicBezTo>
                <a:cubicBezTo>
                  <a:pt x="2" y="174"/>
                  <a:pt x="1" y="173"/>
                  <a:pt x="1" y="173"/>
                </a:cubicBezTo>
                <a:cubicBezTo>
                  <a:pt x="1" y="172"/>
                  <a:pt x="0" y="174"/>
                  <a:pt x="0" y="174"/>
                </a:cubicBezTo>
                <a:cubicBezTo>
                  <a:pt x="0" y="174"/>
                  <a:pt x="1" y="175"/>
                  <a:pt x="2" y="176"/>
                </a:cubicBezTo>
                <a:cubicBezTo>
                  <a:pt x="2" y="176"/>
                  <a:pt x="2" y="177"/>
                  <a:pt x="2" y="177"/>
                </a:cubicBezTo>
                <a:cubicBezTo>
                  <a:pt x="0" y="178"/>
                  <a:pt x="0" y="178"/>
                  <a:pt x="0" y="178"/>
                </a:cubicBezTo>
                <a:cubicBezTo>
                  <a:pt x="3" y="179"/>
                  <a:pt x="3" y="179"/>
                  <a:pt x="3" y="179"/>
                </a:cubicBezTo>
                <a:cubicBezTo>
                  <a:pt x="3" y="179"/>
                  <a:pt x="4" y="179"/>
                  <a:pt x="5" y="179"/>
                </a:cubicBezTo>
                <a:cubicBezTo>
                  <a:pt x="5" y="180"/>
                  <a:pt x="7" y="178"/>
                  <a:pt x="7" y="178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7" name="Freeform 45">
            <a:extLst>
              <a:ext uri="{FF2B5EF4-FFF2-40B4-BE49-F238E27FC236}">
                <a16:creationId xmlns:a16="http://schemas.microsoft.com/office/drawing/2014/main" id="{8D25BF9B-F4F6-4193-8EEB-92E7BBBD08A5}"/>
              </a:ext>
            </a:extLst>
          </p:cNvPr>
          <p:cNvSpPr>
            <a:spLocks/>
          </p:cNvSpPr>
          <p:nvPr/>
        </p:nvSpPr>
        <p:spPr bwMode="auto">
          <a:xfrm>
            <a:off x="8540435" y="2535157"/>
            <a:ext cx="550184" cy="988019"/>
          </a:xfrm>
          <a:custGeom>
            <a:avLst/>
            <a:gdLst>
              <a:gd name="T0" fmla="*/ 138 w 139"/>
              <a:gd name="T1" fmla="*/ 163 h 249"/>
              <a:gd name="T2" fmla="*/ 134 w 139"/>
              <a:gd name="T3" fmla="*/ 156 h 249"/>
              <a:gd name="T4" fmla="*/ 136 w 139"/>
              <a:gd name="T5" fmla="*/ 149 h 249"/>
              <a:gd name="T6" fmla="*/ 137 w 139"/>
              <a:gd name="T7" fmla="*/ 35 h 249"/>
              <a:gd name="T8" fmla="*/ 134 w 139"/>
              <a:gd name="T9" fmla="*/ 27 h 249"/>
              <a:gd name="T10" fmla="*/ 133 w 139"/>
              <a:gd name="T11" fmla="*/ 22 h 249"/>
              <a:gd name="T12" fmla="*/ 129 w 139"/>
              <a:gd name="T13" fmla="*/ 16 h 249"/>
              <a:gd name="T14" fmla="*/ 128 w 139"/>
              <a:gd name="T15" fmla="*/ 5 h 249"/>
              <a:gd name="T16" fmla="*/ 30 w 139"/>
              <a:gd name="T17" fmla="*/ 0 h 249"/>
              <a:gd name="T18" fmla="*/ 37 w 139"/>
              <a:gd name="T19" fmla="*/ 10 h 249"/>
              <a:gd name="T20" fmla="*/ 46 w 139"/>
              <a:gd name="T21" fmla="*/ 31 h 249"/>
              <a:gd name="T22" fmla="*/ 38 w 139"/>
              <a:gd name="T23" fmla="*/ 44 h 249"/>
              <a:gd name="T24" fmla="*/ 24 w 139"/>
              <a:gd name="T25" fmla="*/ 49 h 249"/>
              <a:gd name="T26" fmla="*/ 16 w 139"/>
              <a:gd name="T27" fmla="*/ 51 h 249"/>
              <a:gd name="T28" fmla="*/ 18 w 139"/>
              <a:gd name="T29" fmla="*/ 64 h 249"/>
              <a:gd name="T30" fmla="*/ 14 w 139"/>
              <a:gd name="T31" fmla="*/ 81 h 249"/>
              <a:gd name="T32" fmla="*/ 7 w 139"/>
              <a:gd name="T33" fmla="*/ 87 h 249"/>
              <a:gd name="T34" fmla="*/ 5 w 139"/>
              <a:gd name="T35" fmla="*/ 95 h 249"/>
              <a:gd name="T36" fmla="*/ 0 w 139"/>
              <a:gd name="T37" fmla="*/ 104 h 249"/>
              <a:gd name="T38" fmla="*/ 2 w 139"/>
              <a:gd name="T39" fmla="*/ 116 h 249"/>
              <a:gd name="T40" fmla="*/ 5 w 139"/>
              <a:gd name="T41" fmla="*/ 125 h 249"/>
              <a:gd name="T42" fmla="*/ 12 w 139"/>
              <a:gd name="T43" fmla="*/ 136 h 249"/>
              <a:gd name="T44" fmla="*/ 27 w 139"/>
              <a:gd name="T45" fmla="*/ 149 h 249"/>
              <a:gd name="T46" fmla="*/ 29 w 139"/>
              <a:gd name="T47" fmla="*/ 161 h 249"/>
              <a:gd name="T48" fmla="*/ 37 w 139"/>
              <a:gd name="T49" fmla="*/ 162 h 249"/>
              <a:gd name="T50" fmla="*/ 45 w 139"/>
              <a:gd name="T51" fmla="*/ 173 h 249"/>
              <a:gd name="T52" fmla="*/ 42 w 139"/>
              <a:gd name="T53" fmla="*/ 185 h 249"/>
              <a:gd name="T54" fmla="*/ 51 w 139"/>
              <a:gd name="T55" fmla="*/ 205 h 249"/>
              <a:gd name="T56" fmla="*/ 55 w 139"/>
              <a:gd name="T57" fmla="*/ 210 h 249"/>
              <a:gd name="T58" fmla="*/ 63 w 139"/>
              <a:gd name="T59" fmla="*/ 216 h 249"/>
              <a:gd name="T60" fmla="*/ 70 w 139"/>
              <a:gd name="T61" fmla="*/ 223 h 249"/>
              <a:gd name="T62" fmla="*/ 71 w 139"/>
              <a:gd name="T63" fmla="*/ 229 h 249"/>
              <a:gd name="T64" fmla="*/ 69 w 139"/>
              <a:gd name="T65" fmla="*/ 235 h 249"/>
              <a:gd name="T66" fmla="*/ 73 w 139"/>
              <a:gd name="T67" fmla="*/ 243 h 249"/>
              <a:gd name="T68" fmla="*/ 77 w 139"/>
              <a:gd name="T69" fmla="*/ 248 h 249"/>
              <a:gd name="T70" fmla="*/ 78 w 139"/>
              <a:gd name="T71" fmla="*/ 245 h 249"/>
              <a:gd name="T72" fmla="*/ 82 w 139"/>
              <a:gd name="T73" fmla="*/ 249 h 249"/>
              <a:gd name="T74" fmla="*/ 87 w 139"/>
              <a:gd name="T75" fmla="*/ 238 h 249"/>
              <a:gd name="T76" fmla="*/ 106 w 139"/>
              <a:gd name="T77" fmla="*/ 245 h 249"/>
              <a:gd name="T78" fmla="*/ 106 w 139"/>
              <a:gd name="T79" fmla="*/ 230 h 249"/>
              <a:gd name="T80" fmla="*/ 118 w 139"/>
              <a:gd name="T81" fmla="*/ 228 h 249"/>
              <a:gd name="T82" fmla="*/ 116 w 139"/>
              <a:gd name="T83" fmla="*/ 220 h 249"/>
              <a:gd name="T84" fmla="*/ 120 w 139"/>
              <a:gd name="T85" fmla="*/ 212 h 249"/>
              <a:gd name="T86" fmla="*/ 120 w 139"/>
              <a:gd name="T87" fmla="*/ 209 h 249"/>
              <a:gd name="T88" fmla="*/ 122 w 139"/>
              <a:gd name="T89" fmla="*/ 202 h 249"/>
              <a:gd name="T90" fmla="*/ 124 w 139"/>
              <a:gd name="T91" fmla="*/ 197 h 249"/>
              <a:gd name="T92" fmla="*/ 123 w 139"/>
              <a:gd name="T93" fmla="*/ 194 h 249"/>
              <a:gd name="T94" fmla="*/ 127 w 139"/>
              <a:gd name="T95" fmla="*/ 192 h 249"/>
              <a:gd name="T96" fmla="*/ 132 w 139"/>
              <a:gd name="T97" fmla="*/ 183 h 249"/>
              <a:gd name="T98" fmla="*/ 135 w 139"/>
              <a:gd name="T99" fmla="*/ 179 h 249"/>
              <a:gd name="T100" fmla="*/ 139 w 139"/>
              <a:gd name="T101" fmla="*/ 172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9" h="249">
                <a:moveTo>
                  <a:pt x="137" y="168"/>
                </a:moveTo>
                <a:cubicBezTo>
                  <a:pt x="137" y="168"/>
                  <a:pt x="136" y="167"/>
                  <a:pt x="136" y="167"/>
                </a:cubicBezTo>
                <a:cubicBezTo>
                  <a:pt x="136" y="167"/>
                  <a:pt x="137" y="165"/>
                  <a:pt x="137" y="165"/>
                </a:cubicBezTo>
                <a:cubicBezTo>
                  <a:pt x="137" y="165"/>
                  <a:pt x="138" y="163"/>
                  <a:pt x="138" y="163"/>
                </a:cubicBezTo>
                <a:cubicBezTo>
                  <a:pt x="138" y="162"/>
                  <a:pt x="138" y="162"/>
                  <a:pt x="138" y="162"/>
                </a:cubicBezTo>
                <a:cubicBezTo>
                  <a:pt x="136" y="161"/>
                  <a:pt x="136" y="161"/>
                  <a:pt x="136" y="161"/>
                </a:cubicBezTo>
                <a:cubicBezTo>
                  <a:pt x="136" y="158"/>
                  <a:pt x="136" y="158"/>
                  <a:pt x="136" y="158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4" y="156"/>
                  <a:pt x="134" y="155"/>
                  <a:pt x="134" y="155"/>
                </a:cubicBezTo>
                <a:cubicBezTo>
                  <a:pt x="134" y="155"/>
                  <a:pt x="134" y="154"/>
                  <a:pt x="134" y="154"/>
                </a:cubicBezTo>
                <a:cubicBezTo>
                  <a:pt x="134" y="153"/>
                  <a:pt x="135" y="152"/>
                  <a:pt x="135" y="152"/>
                </a:cubicBezTo>
                <a:cubicBezTo>
                  <a:pt x="136" y="149"/>
                  <a:pt x="136" y="149"/>
                  <a:pt x="136" y="149"/>
                </a:cubicBezTo>
                <a:cubicBezTo>
                  <a:pt x="136" y="149"/>
                  <a:pt x="135" y="149"/>
                  <a:pt x="135" y="148"/>
                </a:cubicBezTo>
                <a:cubicBezTo>
                  <a:pt x="135" y="148"/>
                  <a:pt x="134" y="146"/>
                  <a:pt x="134" y="146"/>
                </a:cubicBezTo>
                <a:cubicBezTo>
                  <a:pt x="138" y="145"/>
                  <a:pt x="138" y="145"/>
                  <a:pt x="138" y="145"/>
                </a:cubicBezTo>
                <a:cubicBezTo>
                  <a:pt x="137" y="35"/>
                  <a:pt x="137" y="35"/>
                  <a:pt x="137" y="35"/>
                </a:cubicBezTo>
                <a:cubicBezTo>
                  <a:pt x="137" y="35"/>
                  <a:pt x="137" y="35"/>
                  <a:pt x="137" y="34"/>
                </a:cubicBezTo>
                <a:cubicBezTo>
                  <a:pt x="136" y="33"/>
                  <a:pt x="136" y="32"/>
                  <a:pt x="135" y="31"/>
                </a:cubicBezTo>
                <a:cubicBezTo>
                  <a:pt x="135" y="30"/>
                  <a:pt x="135" y="29"/>
                  <a:pt x="134" y="28"/>
                </a:cubicBezTo>
                <a:cubicBezTo>
                  <a:pt x="134" y="28"/>
                  <a:pt x="134" y="27"/>
                  <a:pt x="134" y="27"/>
                </a:cubicBezTo>
                <a:cubicBezTo>
                  <a:pt x="134" y="26"/>
                  <a:pt x="134" y="26"/>
                  <a:pt x="134" y="25"/>
                </a:cubicBezTo>
                <a:cubicBezTo>
                  <a:pt x="134" y="25"/>
                  <a:pt x="134" y="25"/>
                  <a:pt x="134" y="24"/>
                </a:cubicBezTo>
                <a:cubicBezTo>
                  <a:pt x="133" y="24"/>
                  <a:pt x="134" y="23"/>
                  <a:pt x="133" y="23"/>
                </a:cubicBezTo>
                <a:cubicBezTo>
                  <a:pt x="133" y="23"/>
                  <a:pt x="133" y="22"/>
                  <a:pt x="133" y="22"/>
                </a:cubicBezTo>
                <a:cubicBezTo>
                  <a:pt x="133" y="21"/>
                  <a:pt x="133" y="21"/>
                  <a:pt x="132" y="21"/>
                </a:cubicBezTo>
                <a:cubicBezTo>
                  <a:pt x="132" y="21"/>
                  <a:pt x="132" y="20"/>
                  <a:pt x="132" y="20"/>
                </a:cubicBezTo>
                <a:cubicBezTo>
                  <a:pt x="131" y="20"/>
                  <a:pt x="131" y="19"/>
                  <a:pt x="131" y="19"/>
                </a:cubicBezTo>
                <a:cubicBezTo>
                  <a:pt x="130" y="18"/>
                  <a:pt x="130" y="17"/>
                  <a:pt x="129" y="16"/>
                </a:cubicBezTo>
                <a:cubicBezTo>
                  <a:pt x="129" y="16"/>
                  <a:pt x="128" y="15"/>
                  <a:pt x="128" y="14"/>
                </a:cubicBezTo>
                <a:cubicBezTo>
                  <a:pt x="128" y="13"/>
                  <a:pt x="127" y="12"/>
                  <a:pt x="128" y="10"/>
                </a:cubicBezTo>
                <a:cubicBezTo>
                  <a:pt x="128" y="9"/>
                  <a:pt x="128" y="8"/>
                  <a:pt x="128" y="7"/>
                </a:cubicBezTo>
                <a:cubicBezTo>
                  <a:pt x="128" y="6"/>
                  <a:pt x="128" y="6"/>
                  <a:pt x="128" y="5"/>
                </a:cubicBezTo>
                <a:cubicBezTo>
                  <a:pt x="128" y="5"/>
                  <a:pt x="128" y="4"/>
                  <a:pt x="128" y="4"/>
                </a:cubicBezTo>
                <a:cubicBezTo>
                  <a:pt x="128" y="3"/>
                  <a:pt x="129" y="2"/>
                  <a:pt x="128" y="1"/>
                </a:cubicBezTo>
                <a:cubicBezTo>
                  <a:pt x="128" y="1"/>
                  <a:pt x="128" y="1"/>
                  <a:pt x="128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0" y="0"/>
                  <a:pt x="30" y="2"/>
                  <a:pt x="30" y="2"/>
                </a:cubicBezTo>
                <a:cubicBezTo>
                  <a:pt x="30" y="3"/>
                  <a:pt x="31" y="3"/>
                  <a:pt x="33" y="4"/>
                </a:cubicBezTo>
                <a:cubicBezTo>
                  <a:pt x="34" y="5"/>
                  <a:pt x="35" y="6"/>
                  <a:pt x="36" y="7"/>
                </a:cubicBezTo>
                <a:cubicBezTo>
                  <a:pt x="37" y="8"/>
                  <a:pt x="37" y="9"/>
                  <a:pt x="37" y="10"/>
                </a:cubicBezTo>
                <a:cubicBezTo>
                  <a:pt x="37" y="12"/>
                  <a:pt x="38" y="13"/>
                  <a:pt x="39" y="14"/>
                </a:cubicBezTo>
                <a:cubicBezTo>
                  <a:pt x="41" y="15"/>
                  <a:pt x="45" y="18"/>
                  <a:pt x="46" y="19"/>
                </a:cubicBezTo>
                <a:cubicBezTo>
                  <a:pt x="47" y="20"/>
                  <a:pt x="47" y="23"/>
                  <a:pt x="47" y="24"/>
                </a:cubicBezTo>
                <a:cubicBezTo>
                  <a:pt x="47" y="26"/>
                  <a:pt x="47" y="29"/>
                  <a:pt x="46" y="31"/>
                </a:cubicBezTo>
                <a:cubicBezTo>
                  <a:pt x="46" y="32"/>
                  <a:pt x="45" y="33"/>
                  <a:pt x="44" y="34"/>
                </a:cubicBezTo>
                <a:cubicBezTo>
                  <a:pt x="42" y="35"/>
                  <a:pt x="41" y="36"/>
                  <a:pt x="41" y="38"/>
                </a:cubicBezTo>
                <a:cubicBezTo>
                  <a:pt x="41" y="39"/>
                  <a:pt x="41" y="41"/>
                  <a:pt x="40" y="42"/>
                </a:cubicBezTo>
                <a:cubicBezTo>
                  <a:pt x="39" y="44"/>
                  <a:pt x="39" y="44"/>
                  <a:pt x="38" y="44"/>
                </a:cubicBezTo>
                <a:cubicBezTo>
                  <a:pt x="37" y="45"/>
                  <a:pt x="36" y="46"/>
                  <a:pt x="35" y="46"/>
                </a:cubicBezTo>
                <a:cubicBezTo>
                  <a:pt x="34" y="47"/>
                  <a:pt x="33" y="46"/>
                  <a:pt x="31" y="46"/>
                </a:cubicBezTo>
                <a:cubicBezTo>
                  <a:pt x="30" y="47"/>
                  <a:pt x="30" y="47"/>
                  <a:pt x="29" y="48"/>
                </a:cubicBezTo>
                <a:cubicBezTo>
                  <a:pt x="29" y="49"/>
                  <a:pt x="25" y="49"/>
                  <a:pt x="24" y="49"/>
                </a:cubicBezTo>
                <a:cubicBezTo>
                  <a:pt x="24" y="49"/>
                  <a:pt x="23" y="49"/>
                  <a:pt x="22" y="49"/>
                </a:cubicBezTo>
                <a:cubicBezTo>
                  <a:pt x="21" y="50"/>
                  <a:pt x="21" y="50"/>
                  <a:pt x="20" y="51"/>
                </a:cubicBezTo>
                <a:cubicBezTo>
                  <a:pt x="19" y="51"/>
                  <a:pt x="19" y="50"/>
                  <a:pt x="18" y="50"/>
                </a:cubicBezTo>
                <a:cubicBezTo>
                  <a:pt x="17" y="50"/>
                  <a:pt x="17" y="51"/>
                  <a:pt x="16" y="51"/>
                </a:cubicBezTo>
                <a:cubicBezTo>
                  <a:pt x="16" y="51"/>
                  <a:pt x="15" y="53"/>
                  <a:pt x="15" y="53"/>
                </a:cubicBezTo>
                <a:cubicBezTo>
                  <a:pt x="15" y="54"/>
                  <a:pt x="14" y="56"/>
                  <a:pt x="14" y="57"/>
                </a:cubicBezTo>
                <a:cubicBezTo>
                  <a:pt x="14" y="58"/>
                  <a:pt x="14" y="59"/>
                  <a:pt x="14" y="60"/>
                </a:cubicBezTo>
                <a:cubicBezTo>
                  <a:pt x="15" y="60"/>
                  <a:pt x="17" y="62"/>
                  <a:pt x="18" y="64"/>
                </a:cubicBezTo>
                <a:cubicBezTo>
                  <a:pt x="19" y="65"/>
                  <a:pt x="19" y="69"/>
                  <a:pt x="19" y="70"/>
                </a:cubicBezTo>
                <a:cubicBezTo>
                  <a:pt x="19" y="71"/>
                  <a:pt x="19" y="74"/>
                  <a:pt x="18" y="75"/>
                </a:cubicBezTo>
                <a:cubicBezTo>
                  <a:pt x="17" y="76"/>
                  <a:pt x="15" y="77"/>
                  <a:pt x="15" y="78"/>
                </a:cubicBezTo>
                <a:cubicBezTo>
                  <a:pt x="14" y="79"/>
                  <a:pt x="14" y="80"/>
                  <a:pt x="14" y="81"/>
                </a:cubicBezTo>
                <a:cubicBezTo>
                  <a:pt x="14" y="81"/>
                  <a:pt x="14" y="83"/>
                  <a:pt x="14" y="84"/>
                </a:cubicBezTo>
                <a:cubicBezTo>
                  <a:pt x="13" y="85"/>
                  <a:pt x="13" y="85"/>
                  <a:pt x="12" y="86"/>
                </a:cubicBezTo>
                <a:cubicBezTo>
                  <a:pt x="12" y="87"/>
                  <a:pt x="11" y="87"/>
                  <a:pt x="10" y="87"/>
                </a:cubicBezTo>
                <a:cubicBezTo>
                  <a:pt x="9" y="87"/>
                  <a:pt x="8" y="87"/>
                  <a:pt x="7" y="87"/>
                </a:cubicBezTo>
                <a:cubicBezTo>
                  <a:pt x="6" y="87"/>
                  <a:pt x="6" y="88"/>
                  <a:pt x="5" y="88"/>
                </a:cubicBezTo>
                <a:cubicBezTo>
                  <a:pt x="5" y="89"/>
                  <a:pt x="4" y="89"/>
                  <a:pt x="4" y="90"/>
                </a:cubicBezTo>
                <a:cubicBezTo>
                  <a:pt x="4" y="91"/>
                  <a:pt x="4" y="92"/>
                  <a:pt x="4" y="92"/>
                </a:cubicBezTo>
                <a:cubicBezTo>
                  <a:pt x="4" y="93"/>
                  <a:pt x="5" y="94"/>
                  <a:pt x="5" y="95"/>
                </a:cubicBezTo>
                <a:cubicBezTo>
                  <a:pt x="5" y="95"/>
                  <a:pt x="5" y="97"/>
                  <a:pt x="4" y="98"/>
                </a:cubicBezTo>
                <a:cubicBezTo>
                  <a:pt x="4" y="98"/>
                  <a:pt x="3" y="99"/>
                  <a:pt x="3" y="99"/>
                </a:cubicBezTo>
                <a:cubicBezTo>
                  <a:pt x="3" y="99"/>
                  <a:pt x="1" y="102"/>
                  <a:pt x="1" y="102"/>
                </a:cubicBezTo>
                <a:cubicBezTo>
                  <a:pt x="1" y="102"/>
                  <a:pt x="0" y="104"/>
                  <a:pt x="0" y="104"/>
                </a:cubicBezTo>
                <a:cubicBezTo>
                  <a:pt x="0" y="104"/>
                  <a:pt x="0" y="108"/>
                  <a:pt x="0" y="108"/>
                </a:cubicBezTo>
                <a:cubicBezTo>
                  <a:pt x="0" y="108"/>
                  <a:pt x="1" y="113"/>
                  <a:pt x="1" y="113"/>
                </a:cubicBezTo>
                <a:cubicBezTo>
                  <a:pt x="1" y="113"/>
                  <a:pt x="1" y="114"/>
                  <a:pt x="1" y="114"/>
                </a:cubicBezTo>
                <a:cubicBezTo>
                  <a:pt x="1" y="114"/>
                  <a:pt x="2" y="116"/>
                  <a:pt x="2" y="116"/>
                </a:cubicBezTo>
                <a:cubicBezTo>
                  <a:pt x="3" y="119"/>
                  <a:pt x="3" y="119"/>
                  <a:pt x="3" y="119"/>
                </a:cubicBezTo>
                <a:cubicBezTo>
                  <a:pt x="3" y="119"/>
                  <a:pt x="3" y="121"/>
                  <a:pt x="3" y="121"/>
                </a:cubicBezTo>
                <a:cubicBezTo>
                  <a:pt x="3" y="121"/>
                  <a:pt x="3" y="123"/>
                  <a:pt x="3" y="123"/>
                </a:cubicBezTo>
                <a:cubicBezTo>
                  <a:pt x="5" y="125"/>
                  <a:pt x="5" y="125"/>
                  <a:pt x="5" y="125"/>
                </a:cubicBezTo>
                <a:cubicBezTo>
                  <a:pt x="5" y="127"/>
                  <a:pt x="5" y="127"/>
                  <a:pt x="5" y="127"/>
                </a:cubicBezTo>
                <a:cubicBezTo>
                  <a:pt x="7" y="130"/>
                  <a:pt x="7" y="130"/>
                  <a:pt x="7" y="130"/>
                </a:cubicBezTo>
                <a:cubicBezTo>
                  <a:pt x="12" y="134"/>
                  <a:pt x="12" y="134"/>
                  <a:pt x="12" y="134"/>
                </a:cubicBezTo>
                <a:cubicBezTo>
                  <a:pt x="12" y="134"/>
                  <a:pt x="12" y="136"/>
                  <a:pt x="12" y="136"/>
                </a:cubicBezTo>
                <a:cubicBezTo>
                  <a:pt x="12" y="136"/>
                  <a:pt x="14" y="136"/>
                  <a:pt x="14" y="136"/>
                </a:cubicBezTo>
                <a:cubicBezTo>
                  <a:pt x="14" y="136"/>
                  <a:pt x="17" y="141"/>
                  <a:pt x="17" y="141"/>
                </a:cubicBezTo>
                <a:cubicBezTo>
                  <a:pt x="19" y="142"/>
                  <a:pt x="19" y="142"/>
                  <a:pt x="19" y="142"/>
                </a:cubicBezTo>
                <a:cubicBezTo>
                  <a:pt x="27" y="149"/>
                  <a:pt x="27" y="149"/>
                  <a:pt x="27" y="149"/>
                </a:cubicBezTo>
                <a:cubicBezTo>
                  <a:pt x="29" y="156"/>
                  <a:pt x="29" y="156"/>
                  <a:pt x="29" y="156"/>
                </a:cubicBezTo>
                <a:cubicBezTo>
                  <a:pt x="28" y="158"/>
                  <a:pt x="28" y="158"/>
                  <a:pt x="28" y="158"/>
                </a:cubicBezTo>
                <a:cubicBezTo>
                  <a:pt x="28" y="158"/>
                  <a:pt x="28" y="159"/>
                  <a:pt x="28" y="159"/>
                </a:cubicBezTo>
                <a:cubicBezTo>
                  <a:pt x="28" y="160"/>
                  <a:pt x="29" y="161"/>
                  <a:pt x="29" y="161"/>
                </a:cubicBezTo>
                <a:cubicBezTo>
                  <a:pt x="29" y="161"/>
                  <a:pt x="30" y="166"/>
                  <a:pt x="30" y="166"/>
                </a:cubicBezTo>
                <a:cubicBezTo>
                  <a:pt x="30" y="166"/>
                  <a:pt x="32" y="166"/>
                  <a:pt x="32" y="166"/>
                </a:cubicBezTo>
                <a:cubicBezTo>
                  <a:pt x="32" y="166"/>
                  <a:pt x="34" y="166"/>
                  <a:pt x="34" y="166"/>
                </a:cubicBezTo>
                <a:cubicBezTo>
                  <a:pt x="34" y="165"/>
                  <a:pt x="37" y="162"/>
                  <a:pt x="37" y="162"/>
                </a:cubicBezTo>
                <a:cubicBezTo>
                  <a:pt x="43" y="163"/>
                  <a:pt x="43" y="163"/>
                  <a:pt x="43" y="163"/>
                </a:cubicBezTo>
                <a:cubicBezTo>
                  <a:pt x="48" y="167"/>
                  <a:pt x="48" y="167"/>
                  <a:pt x="48" y="167"/>
                </a:cubicBezTo>
                <a:cubicBezTo>
                  <a:pt x="48" y="167"/>
                  <a:pt x="47" y="170"/>
                  <a:pt x="47" y="171"/>
                </a:cubicBezTo>
                <a:cubicBezTo>
                  <a:pt x="47" y="171"/>
                  <a:pt x="45" y="173"/>
                  <a:pt x="45" y="173"/>
                </a:cubicBezTo>
                <a:cubicBezTo>
                  <a:pt x="45" y="174"/>
                  <a:pt x="45" y="177"/>
                  <a:pt x="45" y="177"/>
                </a:cubicBezTo>
                <a:cubicBezTo>
                  <a:pt x="45" y="177"/>
                  <a:pt x="44" y="181"/>
                  <a:pt x="44" y="181"/>
                </a:cubicBezTo>
                <a:cubicBezTo>
                  <a:pt x="44" y="181"/>
                  <a:pt x="43" y="183"/>
                  <a:pt x="43" y="183"/>
                </a:cubicBezTo>
                <a:cubicBezTo>
                  <a:pt x="43" y="183"/>
                  <a:pt x="42" y="185"/>
                  <a:pt x="42" y="185"/>
                </a:cubicBezTo>
                <a:cubicBezTo>
                  <a:pt x="42" y="185"/>
                  <a:pt x="40" y="188"/>
                  <a:pt x="40" y="189"/>
                </a:cubicBezTo>
                <a:cubicBezTo>
                  <a:pt x="40" y="189"/>
                  <a:pt x="40" y="191"/>
                  <a:pt x="40" y="191"/>
                </a:cubicBezTo>
                <a:cubicBezTo>
                  <a:pt x="40" y="191"/>
                  <a:pt x="40" y="196"/>
                  <a:pt x="40" y="196"/>
                </a:cubicBezTo>
                <a:cubicBezTo>
                  <a:pt x="51" y="205"/>
                  <a:pt x="51" y="205"/>
                  <a:pt x="51" y="205"/>
                </a:cubicBezTo>
                <a:cubicBezTo>
                  <a:pt x="55" y="207"/>
                  <a:pt x="55" y="207"/>
                  <a:pt x="55" y="207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53" y="207"/>
                  <a:pt x="53" y="209"/>
                  <a:pt x="53" y="209"/>
                </a:cubicBezTo>
                <a:cubicBezTo>
                  <a:pt x="53" y="210"/>
                  <a:pt x="55" y="210"/>
                  <a:pt x="55" y="210"/>
                </a:cubicBezTo>
                <a:cubicBezTo>
                  <a:pt x="55" y="210"/>
                  <a:pt x="57" y="210"/>
                  <a:pt x="57" y="209"/>
                </a:cubicBezTo>
                <a:cubicBezTo>
                  <a:pt x="57" y="209"/>
                  <a:pt x="58" y="209"/>
                  <a:pt x="58" y="209"/>
                </a:cubicBezTo>
                <a:cubicBezTo>
                  <a:pt x="64" y="213"/>
                  <a:pt x="64" y="213"/>
                  <a:pt x="64" y="213"/>
                </a:cubicBezTo>
                <a:cubicBezTo>
                  <a:pt x="64" y="213"/>
                  <a:pt x="63" y="215"/>
                  <a:pt x="63" y="216"/>
                </a:cubicBezTo>
                <a:cubicBezTo>
                  <a:pt x="63" y="216"/>
                  <a:pt x="65" y="216"/>
                  <a:pt x="66" y="216"/>
                </a:cubicBezTo>
                <a:cubicBezTo>
                  <a:pt x="66" y="216"/>
                  <a:pt x="69" y="218"/>
                  <a:pt x="69" y="219"/>
                </a:cubicBezTo>
                <a:cubicBezTo>
                  <a:pt x="69" y="219"/>
                  <a:pt x="70" y="220"/>
                  <a:pt x="70" y="221"/>
                </a:cubicBezTo>
                <a:cubicBezTo>
                  <a:pt x="70" y="221"/>
                  <a:pt x="70" y="223"/>
                  <a:pt x="70" y="223"/>
                </a:cubicBezTo>
                <a:cubicBezTo>
                  <a:pt x="69" y="223"/>
                  <a:pt x="69" y="223"/>
                  <a:pt x="69" y="223"/>
                </a:cubicBezTo>
                <a:cubicBezTo>
                  <a:pt x="69" y="223"/>
                  <a:pt x="69" y="224"/>
                  <a:pt x="69" y="224"/>
                </a:cubicBezTo>
                <a:cubicBezTo>
                  <a:pt x="69" y="224"/>
                  <a:pt x="69" y="226"/>
                  <a:pt x="69" y="226"/>
                </a:cubicBezTo>
                <a:cubicBezTo>
                  <a:pt x="70" y="226"/>
                  <a:pt x="71" y="229"/>
                  <a:pt x="71" y="229"/>
                </a:cubicBezTo>
                <a:cubicBezTo>
                  <a:pt x="71" y="229"/>
                  <a:pt x="72" y="231"/>
                  <a:pt x="72" y="231"/>
                </a:cubicBezTo>
                <a:cubicBezTo>
                  <a:pt x="72" y="232"/>
                  <a:pt x="71" y="233"/>
                  <a:pt x="71" y="233"/>
                </a:cubicBezTo>
                <a:cubicBezTo>
                  <a:pt x="71" y="233"/>
                  <a:pt x="70" y="234"/>
                  <a:pt x="70" y="234"/>
                </a:cubicBezTo>
                <a:cubicBezTo>
                  <a:pt x="69" y="235"/>
                  <a:pt x="69" y="235"/>
                  <a:pt x="69" y="235"/>
                </a:cubicBezTo>
                <a:cubicBezTo>
                  <a:pt x="69" y="235"/>
                  <a:pt x="69" y="236"/>
                  <a:pt x="69" y="236"/>
                </a:cubicBezTo>
                <a:cubicBezTo>
                  <a:pt x="69" y="237"/>
                  <a:pt x="71" y="237"/>
                  <a:pt x="71" y="237"/>
                </a:cubicBezTo>
                <a:cubicBezTo>
                  <a:pt x="71" y="237"/>
                  <a:pt x="71" y="239"/>
                  <a:pt x="71" y="239"/>
                </a:cubicBezTo>
                <a:cubicBezTo>
                  <a:pt x="73" y="243"/>
                  <a:pt x="73" y="243"/>
                  <a:pt x="73" y="243"/>
                </a:cubicBezTo>
                <a:cubicBezTo>
                  <a:pt x="73" y="243"/>
                  <a:pt x="73" y="244"/>
                  <a:pt x="73" y="245"/>
                </a:cubicBezTo>
                <a:cubicBezTo>
                  <a:pt x="73" y="245"/>
                  <a:pt x="74" y="247"/>
                  <a:pt x="74" y="247"/>
                </a:cubicBezTo>
                <a:cubicBezTo>
                  <a:pt x="74" y="247"/>
                  <a:pt x="76" y="248"/>
                  <a:pt x="76" y="248"/>
                </a:cubicBezTo>
                <a:cubicBezTo>
                  <a:pt x="76" y="248"/>
                  <a:pt x="77" y="248"/>
                  <a:pt x="77" y="248"/>
                </a:cubicBezTo>
                <a:cubicBezTo>
                  <a:pt x="77" y="248"/>
                  <a:pt x="78" y="247"/>
                  <a:pt x="78" y="247"/>
                </a:cubicBezTo>
                <a:cubicBezTo>
                  <a:pt x="78" y="247"/>
                  <a:pt x="77" y="246"/>
                  <a:pt x="77" y="246"/>
                </a:cubicBezTo>
                <a:cubicBezTo>
                  <a:pt x="77" y="246"/>
                  <a:pt x="76" y="245"/>
                  <a:pt x="76" y="245"/>
                </a:cubicBezTo>
                <a:cubicBezTo>
                  <a:pt x="78" y="245"/>
                  <a:pt x="78" y="245"/>
                  <a:pt x="78" y="245"/>
                </a:cubicBezTo>
                <a:cubicBezTo>
                  <a:pt x="78" y="245"/>
                  <a:pt x="79" y="247"/>
                  <a:pt x="79" y="248"/>
                </a:cubicBezTo>
                <a:cubicBezTo>
                  <a:pt x="79" y="248"/>
                  <a:pt x="80" y="249"/>
                  <a:pt x="80" y="249"/>
                </a:cubicBezTo>
                <a:cubicBezTo>
                  <a:pt x="82" y="249"/>
                  <a:pt x="82" y="249"/>
                  <a:pt x="82" y="249"/>
                </a:cubicBezTo>
                <a:cubicBezTo>
                  <a:pt x="82" y="249"/>
                  <a:pt x="82" y="249"/>
                  <a:pt x="82" y="249"/>
                </a:cubicBezTo>
                <a:cubicBezTo>
                  <a:pt x="82" y="249"/>
                  <a:pt x="81" y="247"/>
                  <a:pt x="81" y="247"/>
                </a:cubicBezTo>
                <a:cubicBezTo>
                  <a:pt x="81" y="247"/>
                  <a:pt x="82" y="244"/>
                  <a:pt x="82" y="244"/>
                </a:cubicBezTo>
                <a:cubicBezTo>
                  <a:pt x="82" y="244"/>
                  <a:pt x="85" y="240"/>
                  <a:pt x="85" y="240"/>
                </a:cubicBezTo>
                <a:cubicBezTo>
                  <a:pt x="87" y="238"/>
                  <a:pt x="87" y="238"/>
                  <a:pt x="87" y="238"/>
                </a:cubicBezTo>
                <a:cubicBezTo>
                  <a:pt x="87" y="238"/>
                  <a:pt x="92" y="239"/>
                  <a:pt x="92" y="239"/>
                </a:cubicBezTo>
                <a:cubicBezTo>
                  <a:pt x="92" y="239"/>
                  <a:pt x="99" y="243"/>
                  <a:pt x="99" y="243"/>
                </a:cubicBezTo>
                <a:cubicBezTo>
                  <a:pt x="99" y="243"/>
                  <a:pt x="103" y="246"/>
                  <a:pt x="103" y="246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6" y="241"/>
                  <a:pt x="106" y="241"/>
                  <a:pt x="106" y="241"/>
                </a:cubicBezTo>
                <a:cubicBezTo>
                  <a:pt x="106" y="241"/>
                  <a:pt x="104" y="236"/>
                  <a:pt x="104" y="236"/>
                </a:cubicBezTo>
                <a:cubicBezTo>
                  <a:pt x="104" y="236"/>
                  <a:pt x="104" y="232"/>
                  <a:pt x="105" y="231"/>
                </a:cubicBezTo>
                <a:cubicBezTo>
                  <a:pt x="105" y="231"/>
                  <a:pt x="106" y="230"/>
                  <a:pt x="106" y="230"/>
                </a:cubicBezTo>
                <a:cubicBezTo>
                  <a:pt x="106" y="230"/>
                  <a:pt x="109" y="231"/>
                  <a:pt x="109" y="230"/>
                </a:cubicBezTo>
                <a:cubicBezTo>
                  <a:pt x="109" y="230"/>
                  <a:pt x="110" y="230"/>
                  <a:pt x="111" y="229"/>
                </a:cubicBezTo>
                <a:cubicBezTo>
                  <a:pt x="111" y="229"/>
                  <a:pt x="113" y="228"/>
                  <a:pt x="113" y="228"/>
                </a:cubicBezTo>
                <a:cubicBezTo>
                  <a:pt x="114" y="228"/>
                  <a:pt x="117" y="228"/>
                  <a:pt x="118" y="228"/>
                </a:cubicBezTo>
                <a:cubicBezTo>
                  <a:pt x="118" y="228"/>
                  <a:pt x="119" y="227"/>
                  <a:pt x="119" y="227"/>
                </a:cubicBezTo>
                <a:cubicBezTo>
                  <a:pt x="119" y="225"/>
                  <a:pt x="119" y="225"/>
                  <a:pt x="119" y="225"/>
                </a:cubicBezTo>
                <a:cubicBezTo>
                  <a:pt x="119" y="225"/>
                  <a:pt x="117" y="223"/>
                  <a:pt x="117" y="223"/>
                </a:cubicBezTo>
                <a:cubicBezTo>
                  <a:pt x="117" y="223"/>
                  <a:pt x="116" y="220"/>
                  <a:pt x="116" y="220"/>
                </a:cubicBezTo>
                <a:cubicBezTo>
                  <a:pt x="116" y="220"/>
                  <a:pt x="117" y="219"/>
                  <a:pt x="117" y="218"/>
                </a:cubicBezTo>
                <a:cubicBezTo>
                  <a:pt x="117" y="218"/>
                  <a:pt x="121" y="214"/>
                  <a:pt x="121" y="214"/>
                </a:cubicBezTo>
                <a:cubicBezTo>
                  <a:pt x="118" y="213"/>
                  <a:pt x="118" y="213"/>
                  <a:pt x="118" y="213"/>
                </a:cubicBezTo>
                <a:cubicBezTo>
                  <a:pt x="120" y="212"/>
                  <a:pt x="120" y="212"/>
                  <a:pt x="120" y="212"/>
                </a:cubicBezTo>
                <a:cubicBezTo>
                  <a:pt x="120" y="212"/>
                  <a:pt x="120" y="211"/>
                  <a:pt x="120" y="211"/>
                </a:cubicBezTo>
                <a:cubicBezTo>
                  <a:pt x="119" y="210"/>
                  <a:pt x="118" y="209"/>
                  <a:pt x="118" y="209"/>
                </a:cubicBezTo>
                <a:cubicBezTo>
                  <a:pt x="118" y="209"/>
                  <a:pt x="119" y="207"/>
                  <a:pt x="119" y="208"/>
                </a:cubicBezTo>
                <a:cubicBezTo>
                  <a:pt x="119" y="208"/>
                  <a:pt x="120" y="209"/>
                  <a:pt x="120" y="209"/>
                </a:cubicBezTo>
                <a:cubicBezTo>
                  <a:pt x="121" y="206"/>
                  <a:pt x="121" y="206"/>
                  <a:pt x="121" y="206"/>
                </a:cubicBezTo>
                <a:cubicBezTo>
                  <a:pt x="121" y="203"/>
                  <a:pt x="121" y="203"/>
                  <a:pt x="121" y="203"/>
                </a:cubicBezTo>
                <a:cubicBezTo>
                  <a:pt x="120" y="202"/>
                  <a:pt x="120" y="202"/>
                  <a:pt x="120" y="202"/>
                </a:cubicBezTo>
                <a:cubicBezTo>
                  <a:pt x="122" y="202"/>
                  <a:pt x="122" y="202"/>
                  <a:pt x="122" y="202"/>
                </a:cubicBezTo>
                <a:cubicBezTo>
                  <a:pt x="122" y="202"/>
                  <a:pt x="123" y="201"/>
                  <a:pt x="123" y="201"/>
                </a:cubicBezTo>
                <a:cubicBezTo>
                  <a:pt x="123" y="201"/>
                  <a:pt x="121" y="200"/>
                  <a:pt x="121" y="200"/>
                </a:cubicBezTo>
                <a:cubicBezTo>
                  <a:pt x="121" y="200"/>
                  <a:pt x="123" y="199"/>
                  <a:pt x="123" y="199"/>
                </a:cubicBezTo>
                <a:cubicBezTo>
                  <a:pt x="123" y="199"/>
                  <a:pt x="124" y="197"/>
                  <a:pt x="124" y="197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196"/>
                  <a:pt x="122" y="195"/>
                  <a:pt x="122" y="194"/>
                </a:cubicBezTo>
                <a:cubicBezTo>
                  <a:pt x="122" y="194"/>
                  <a:pt x="122" y="193"/>
                  <a:pt x="122" y="193"/>
                </a:cubicBezTo>
                <a:cubicBezTo>
                  <a:pt x="123" y="194"/>
                  <a:pt x="123" y="194"/>
                  <a:pt x="123" y="194"/>
                </a:cubicBezTo>
                <a:cubicBezTo>
                  <a:pt x="123" y="191"/>
                  <a:pt x="123" y="191"/>
                  <a:pt x="123" y="191"/>
                </a:cubicBezTo>
                <a:cubicBezTo>
                  <a:pt x="124" y="192"/>
                  <a:pt x="124" y="192"/>
                  <a:pt x="124" y="192"/>
                </a:cubicBezTo>
                <a:cubicBezTo>
                  <a:pt x="126" y="191"/>
                  <a:pt x="126" y="191"/>
                  <a:pt x="126" y="191"/>
                </a:cubicBezTo>
                <a:cubicBezTo>
                  <a:pt x="127" y="192"/>
                  <a:pt x="127" y="192"/>
                  <a:pt x="127" y="192"/>
                </a:cubicBezTo>
                <a:cubicBezTo>
                  <a:pt x="127" y="189"/>
                  <a:pt x="127" y="189"/>
                  <a:pt x="127" y="189"/>
                </a:cubicBezTo>
                <a:cubicBezTo>
                  <a:pt x="130" y="186"/>
                  <a:pt x="130" y="186"/>
                  <a:pt x="130" y="186"/>
                </a:cubicBezTo>
                <a:cubicBezTo>
                  <a:pt x="130" y="184"/>
                  <a:pt x="130" y="184"/>
                  <a:pt x="130" y="184"/>
                </a:cubicBezTo>
                <a:cubicBezTo>
                  <a:pt x="132" y="183"/>
                  <a:pt x="132" y="183"/>
                  <a:pt x="132" y="183"/>
                </a:cubicBezTo>
                <a:cubicBezTo>
                  <a:pt x="133" y="182"/>
                  <a:pt x="133" y="182"/>
                  <a:pt x="133" y="182"/>
                </a:cubicBezTo>
                <a:cubicBezTo>
                  <a:pt x="133" y="182"/>
                  <a:pt x="133" y="181"/>
                  <a:pt x="133" y="181"/>
                </a:cubicBezTo>
                <a:cubicBezTo>
                  <a:pt x="133" y="181"/>
                  <a:pt x="133" y="180"/>
                  <a:pt x="133" y="180"/>
                </a:cubicBezTo>
                <a:cubicBezTo>
                  <a:pt x="135" y="179"/>
                  <a:pt x="135" y="179"/>
                  <a:pt x="135" y="179"/>
                </a:cubicBezTo>
                <a:cubicBezTo>
                  <a:pt x="135" y="177"/>
                  <a:pt x="135" y="177"/>
                  <a:pt x="135" y="177"/>
                </a:cubicBezTo>
                <a:cubicBezTo>
                  <a:pt x="135" y="176"/>
                  <a:pt x="135" y="176"/>
                  <a:pt x="135" y="176"/>
                </a:cubicBezTo>
                <a:cubicBezTo>
                  <a:pt x="137" y="175"/>
                  <a:pt x="137" y="175"/>
                  <a:pt x="137" y="175"/>
                </a:cubicBezTo>
                <a:cubicBezTo>
                  <a:pt x="139" y="172"/>
                  <a:pt x="139" y="172"/>
                  <a:pt x="139" y="172"/>
                </a:cubicBezTo>
                <a:lnTo>
                  <a:pt x="137" y="168"/>
                </a:ln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8" name="Freeform 46">
            <a:extLst>
              <a:ext uri="{FF2B5EF4-FFF2-40B4-BE49-F238E27FC236}">
                <a16:creationId xmlns:a16="http://schemas.microsoft.com/office/drawing/2014/main" id="{8EBD296F-C63B-4E43-BE86-FE0A5508B553}"/>
              </a:ext>
            </a:extLst>
          </p:cNvPr>
          <p:cNvSpPr>
            <a:spLocks/>
          </p:cNvSpPr>
          <p:nvPr/>
        </p:nvSpPr>
        <p:spPr bwMode="auto">
          <a:xfrm>
            <a:off x="5019590" y="1258003"/>
            <a:ext cx="847581" cy="1372982"/>
          </a:xfrm>
          <a:custGeom>
            <a:avLst/>
            <a:gdLst>
              <a:gd name="T0" fmla="*/ 200 w 214"/>
              <a:gd name="T1" fmla="*/ 217 h 346"/>
              <a:gd name="T2" fmla="*/ 199 w 214"/>
              <a:gd name="T3" fmla="*/ 224 h 346"/>
              <a:gd name="T4" fmla="*/ 193 w 214"/>
              <a:gd name="T5" fmla="*/ 225 h 346"/>
              <a:gd name="T6" fmla="*/ 186 w 214"/>
              <a:gd name="T7" fmla="*/ 225 h 346"/>
              <a:gd name="T8" fmla="*/ 171 w 214"/>
              <a:gd name="T9" fmla="*/ 224 h 346"/>
              <a:gd name="T10" fmla="*/ 168 w 214"/>
              <a:gd name="T11" fmla="*/ 230 h 346"/>
              <a:gd name="T12" fmla="*/ 156 w 214"/>
              <a:gd name="T13" fmla="*/ 228 h 346"/>
              <a:gd name="T14" fmla="*/ 151 w 214"/>
              <a:gd name="T15" fmla="*/ 233 h 346"/>
              <a:gd name="T16" fmla="*/ 147 w 214"/>
              <a:gd name="T17" fmla="*/ 227 h 346"/>
              <a:gd name="T18" fmla="*/ 145 w 214"/>
              <a:gd name="T19" fmla="*/ 222 h 346"/>
              <a:gd name="T20" fmla="*/ 142 w 214"/>
              <a:gd name="T21" fmla="*/ 214 h 346"/>
              <a:gd name="T22" fmla="*/ 135 w 214"/>
              <a:gd name="T23" fmla="*/ 213 h 346"/>
              <a:gd name="T24" fmla="*/ 130 w 214"/>
              <a:gd name="T25" fmla="*/ 208 h 346"/>
              <a:gd name="T26" fmla="*/ 132 w 214"/>
              <a:gd name="T27" fmla="*/ 201 h 346"/>
              <a:gd name="T28" fmla="*/ 129 w 214"/>
              <a:gd name="T29" fmla="*/ 197 h 346"/>
              <a:gd name="T30" fmla="*/ 124 w 214"/>
              <a:gd name="T31" fmla="*/ 191 h 346"/>
              <a:gd name="T32" fmla="*/ 122 w 214"/>
              <a:gd name="T33" fmla="*/ 184 h 346"/>
              <a:gd name="T34" fmla="*/ 120 w 214"/>
              <a:gd name="T35" fmla="*/ 178 h 346"/>
              <a:gd name="T36" fmla="*/ 118 w 214"/>
              <a:gd name="T37" fmla="*/ 174 h 346"/>
              <a:gd name="T38" fmla="*/ 112 w 214"/>
              <a:gd name="T39" fmla="*/ 169 h 346"/>
              <a:gd name="T40" fmla="*/ 106 w 214"/>
              <a:gd name="T41" fmla="*/ 176 h 346"/>
              <a:gd name="T42" fmla="*/ 101 w 214"/>
              <a:gd name="T43" fmla="*/ 180 h 346"/>
              <a:gd name="T44" fmla="*/ 94 w 214"/>
              <a:gd name="T45" fmla="*/ 176 h 346"/>
              <a:gd name="T46" fmla="*/ 95 w 214"/>
              <a:gd name="T47" fmla="*/ 169 h 346"/>
              <a:gd name="T48" fmla="*/ 96 w 214"/>
              <a:gd name="T49" fmla="*/ 161 h 346"/>
              <a:gd name="T50" fmla="*/ 99 w 214"/>
              <a:gd name="T51" fmla="*/ 158 h 346"/>
              <a:gd name="T52" fmla="*/ 96 w 214"/>
              <a:gd name="T53" fmla="*/ 151 h 346"/>
              <a:gd name="T54" fmla="*/ 96 w 214"/>
              <a:gd name="T55" fmla="*/ 146 h 346"/>
              <a:gd name="T56" fmla="*/ 97 w 214"/>
              <a:gd name="T57" fmla="*/ 140 h 346"/>
              <a:gd name="T58" fmla="*/ 99 w 214"/>
              <a:gd name="T59" fmla="*/ 130 h 346"/>
              <a:gd name="T60" fmla="*/ 101 w 214"/>
              <a:gd name="T61" fmla="*/ 125 h 346"/>
              <a:gd name="T62" fmla="*/ 97 w 214"/>
              <a:gd name="T63" fmla="*/ 122 h 346"/>
              <a:gd name="T64" fmla="*/ 92 w 214"/>
              <a:gd name="T65" fmla="*/ 122 h 346"/>
              <a:gd name="T66" fmla="*/ 88 w 214"/>
              <a:gd name="T67" fmla="*/ 117 h 346"/>
              <a:gd name="T68" fmla="*/ 85 w 214"/>
              <a:gd name="T69" fmla="*/ 115 h 346"/>
              <a:gd name="T70" fmla="*/ 80 w 214"/>
              <a:gd name="T71" fmla="*/ 112 h 346"/>
              <a:gd name="T72" fmla="*/ 76 w 214"/>
              <a:gd name="T73" fmla="*/ 105 h 346"/>
              <a:gd name="T74" fmla="*/ 68 w 214"/>
              <a:gd name="T75" fmla="*/ 94 h 346"/>
              <a:gd name="T76" fmla="*/ 62 w 214"/>
              <a:gd name="T77" fmla="*/ 90 h 346"/>
              <a:gd name="T78" fmla="*/ 55 w 214"/>
              <a:gd name="T79" fmla="*/ 84 h 346"/>
              <a:gd name="T80" fmla="*/ 54 w 214"/>
              <a:gd name="T81" fmla="*/ 81 h 346"/>
              <a:gd name="T82" fmla="*/ 55 w 214"/>
              <a:gd name="T83" fmla="*/ 78 h 346"/>
              <a:gd name="T84" fmla="*/ 54 w 214"/>
              <a:gd name="T85" fmla="*/ 74 h 346"/>
              <a:gd name="T86" fmla="*/ 42 w 214"/>
              <a:gd name="T87" fmla="*/ 54 h 346"/>
              <a:gd name="T88" fmla="*/ 8 w 214"/>
              <a:gd name="T89" fmla="*/ 133 h 346"/>
              <a:gd name="T90" fmla="*/ 9 w 214"/>
              <a:gd name="T91" fmla="*/ 139 h 346"/>
              <a:gd name="T92" fmla="*/ 11 w 214"/>
              <a:gd name="T93" fmla="*/ 145 h 346"/>
              <a:gd name="T94" fmla="*/ 12 w 214"/>
              <a:gd name="T95" fmla="*/ 154 h 346"/>
              <a:gd name="T96" fmla="*/ 25 w 214"/>
              <a:gd name="T97" fmla="*/ 166 h 346"/>
              <a:gd name="T98" fmla="*/ 27 w 214"/>
              <a:gd name="T99" fmla="*/ 174 h 346"/>
              <a:gd name="T100" fmla="*/ 20 w 214"/>
              <a:gd name="T101" fmla="*/ 189 h 346"/>
              <a:gd name="T102" fmla="*/ 14 w 214"/>
              <a:gd name="T103" fmla="*/ 203 h 346"/>
              <a:gd name="T104" fmla="*/ 14 w 214"/>
              <a:gd name="T105" fmla="*/ 207 h 346"/>
              <a:gd name="T106" fmla="*/ 10 w 214"/>
              <a:gd name="T107" fmla="*/ 215 h 346"/>
              <a:gd name="T108" fmla="*/ 5 w 214"/>
              <a:gd name="T109" fmla="*/ 221 h 346"/>
              <a:gd name="T110" fmla="*/ 1 w 214"/>
              <a:gd name="T111" fmla="*/ 232 h 346"/>
              <a:gd name="T112" fmla="*/ 2 w 214"/>
              <a:gd name="T113" fmla="*/ 236 h 346"/>
              <a:gd name="T114" fmla="*/ 7 w 214"/>
              <a:gd name="T115" fmla="*/ 240 h 346"/>
              <a:gd name="T116" fmla="*/ 10 w 214"/>
              <a:gd name="T117" fmla="*/ 242 h 346"/>
              <a:gd name="T118" fmla="*/ 11 w 214"/>
              <a:gd name="T119" fmla="*/ 252 h 346"/>
              <a:gd name="T120" fmla="*/ 8 w 214"/>
              <a:gd name="T121" fmla="*/ 346 h 346"/>
              <a:gd name="T122" fmla="*/ 212 w 214"/>
              <a:gd name="T123" fmla="*/ 228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" h="346">
                <a:moveTo>
                  <a:pt x="203" y="215"/>
                </a:moveTo>
                <a:cubicBezTo>
                  <a:pt x="203" y="214"/>
                  <a:pt x="202" y="216"/>
                  <a:pt x="202" y="217"/>
                </a:cubicBezTo>
                <a:cubicBezTo>
                  <a:pt x="201" y="217"/>
                  <a:pt x="201" y="217"/>
                  <a:pt x="200" y="217"/>
                </a:cubicBezTo>
                <a:cubicBezTo>
                  <a:pt x="199" y="218"/>
                  <a:pt x="199" y="218"/>
                  <a:pt x="199" y="219"/>
                </a:cubicBezTo>
                <a:cubicBezTo>
                  <a:pt x="199" y="220"/>
                  <a:pt x="199" y="221"/>
                  <a:pt x="198" y="222"/>
                </a:cubicBezTo>
                <a:cubicBezTo>
                  <a:pt x="198" y="222"/>
                  <a:pt x="199" y="223"/>
                  <a:pt x="199" y="224"/>
                </a:cubicBezTo>
                <a:cubicBezTo>
                  <a:pt x="199" y="225"/>
                  <a:pt x="200" y="225"/>
                  <a:pt x="199" y="225"/>
                </a:cubicBezTo>
                <a:cubicBezTo>
                  <a:pt x="199" y="225"/>
                  <a:pt x="197" y="225"/>
                  <a:pt x="197" y="225"/>
                </a:cubicBezTo>
                <a:cubicBezTo>
                  <a:pt x="196" y="225"/>
                  <a:pt x="194" y="224"/>
                  <a:pt x="193" y="225"/>
                </a:cubicBezTo>
                <a:cubicBezTo>
                  <a:pt x="191" y="225"/>
                  <a:pt x="190" y="226"/>
                  <a:pt x="189" y="226"/>
                </a:cubicBezTo>
                <a:cubicBezTo>
                  <a:pt x="188" y="227"/>
                  <a:pt x="187" y="227"/>
                  <a:pt x="187" y="227"/>
                </a:cubicBezTo>
                <a:cubicBezTo>
                  <a:pt x="187" y="227"/>
                  <a:pt x="186" y="225"/>
                  <a:pt x="186" y="225"/>
                </a:cubicBezTo>
                <a:cubicBezTo>
                  <a:pt x="186" y="225"/>
                  <a:pt x="184" y="225"/>
                  <a:pt x="183" y="225"/>
                </a:cubicBezTo>
                <a:cubicBezTo>
                  <a:pt x="183" y="225"/>
                  <a:pt x="179" y="226"/>
                  <a:pt x="179" y="226"/>
                </a:cubicBezTo>
                <a:cubicBezTo>
                  <a:pt x="178" y="226"/>
                  <a:pt x="172" y="224"/>
                  <a:pt x="171" y="224"/>
                </a:cubicBezTo>
                <a:cubicBezTo>
                  <a:pt x="171" y="224"/>
                  <a:pt x="170" y="224"/>
                  <a:pt x="170" y="224"/>
                </a:cubicBezTo>
                <a:cubicBezTo>
                  <a:pt x="169" y="224"/>
                  <a:pt x="169" y="227"/>
                  <a:pt x="169" y="228"/>
                </a:cubicBezTo>
                <a:cubicBezTo>
                  <a:pt x="168" y="229"/>
                  <a:pt x="168" y="230"/>
                  <a:pt x="168" y="230"/>
                </a:cubicBezTo>
                <a:cubicBezTo>
                  <a:pt x="168" y="230"/>
                  <a:pt x="166" y="230"/>
                  <a:pt x="165" y="229"/>
                </a:cubicBezTo>
                <a:cubicBezTo>
                  <a:pt x="163" y="229"/>
                  <a:pt x="161" y="229"/>
                  <a:pt x="159" y="228"/>
                </a:cubicBezTo>
                <a:cubicBezTo>
                  <a:pt x="157" y="227"/>
                  <a:pt x="157" y="228"/>
                  <a:pt x="156" y="228"/>
                </a:cubicBezTo>
                <a:cubicBezTo>
                  <a:pt x="155" y="229"/>
                  <a:pt x="154" y="229"/>
                  <a:pt x="153" y="230"/>
                </a:cubicBezTo>
                <a:cubicBezTo>
                  <a:pt x="153" y="231"/>
                  <a:pt x="153" y="233"/>
                  <a:pt x="153" y="234"/>
                </a:cubicBezTo>
                <a:cubicBezTo>
                  <a:pt x="153" y="234"/>
                  <a:pt x="152" y="234"/>
                  <a:pt x="151" y="233"/>
                </a:cubicBezTo>
                <a:cubicBezTo>
                  <a:pt x="150" y="232"/>
                  <a:pt x="149" y="232"/>
                  <a:pt x="148" y="231"/>
                </a:cubicBezTo>
                <a:cubicBezTo>
                  <a:pt x="148" y="230"/>
                  <a:pt x="147" y="230"/>
                  <a:pt x="147" y="229"/>
                </a:cubicBezTo>
                <a:cubicBezTo>
                  <a:pt x="146" y="228"/>
                  <a:pt x="147" y="228"/>
                  <a:pt x="147" y="227"/>
                </a:cubicBezTo>
                <a:cubicBezTo>
                  <a:pt x="147" y="226"/>
                  <a:pt x="146" y="226"/>
                  <a:pt x="146" y="225"/>
                </a:cubicBezTo>
                <a:cubicBezTo>
                  <a:pt x="146" y="224"/>
                  <a:pt x="144" y="223"/>
                  <a:pt x="144" y="223"/>
                </a:cubicBezTo>
                <a:cubicBezTo>
                  <a:pt x="144" y="223"/>
                  <a:pt x="145" y="222"/>
                  <a:pt x="145" y="222"/>
                </a:cubicBezTo>
                <a:cubicBezTo>
                  <a:pt x="145" y="221"/>
                  <a:pt x="145" y="221"/>
                  <a:pt x="145" y="220"/>
                </a:cubicBezTo>
                <a:cubicBezTo>
                  <a:pt x="144" y="219"/>
                  <a:pt x="144" y="218"/>
                  <a:pt x="144" y="217"/>
                </a:cubicBezTo>
                <a:cubicBezTo>
                  <a:pt x="143" y="216"/>
                  <a:pt x="142" y="215"/>
                  <a:pt x="142" y="214"/>
                </a:cubicBezTo>
                <a:cubicBezTo>
                  <a:pt x="141" y="214"/>
                  <a:pt x="140" y="213"/>
                  <a:pt x="139" y="212"/>
                </a:cubicBezTo>
                <a:cubicBezTo>
                  <a:pt x="138" y="212"/>
                  <a:pt x="138" y="212"/>
                  <a:pt x="137" y="212"/>
                </a:cubicBezTo>
                <a:cubicBezTo>
                  <a:pt x="136" y="213"/>
                  <a:pt x="135" y="213"/>
                  <a:pt x="135" y="213"/>
                </a:cubicBezTo>
                <a:cubicBezTo>
                  <a:pt x="135" y="213"/>
                  <a:pt x="134" y="212"/>
                  <a:pt x="134" y="212"/>
                </a:cubicBezTo>
                <a:cubicBezTo>
                  <a:pt x="134" y="211"/>
                  <a:pt x="133" y="211"/>
                  <a:pt x="133" y="210"/>
                </a:cubicBezTo>
                <a:cubicBezTo>
                  <a:pt x="132" y="210"/>
                  <a:pt x="131" y="208"/>
                  <a:pt x="130" y="208"/>
                </a:cubicBezTo>
                <a:cubicBezTo>
                  <a:pt x="130" y="207"/>
                  <a:pt x="130" y="206"/>
                  <a:pt x="130" y="206"/>
                </a:cubicBezTo>
                <a:cubicBezTo>
                  <a:pt x="130" y="205"/>
                  <a:pt x="132" y="205"/>
                  <a:pt x="132" y="205"/>
                </a:cubicBezTo>
                <a:cubicBezTo>
                  <a:pt x="132" y="205"/>
                  <a:pt x="132" y="202"/>
                  <a:pt x="132" y="201"/>
                </a:cubicBezTo>
                <a:cubicBezTo>
                  <a:pt x="132" y="200"/>
                  <a:pt x="131" y="200"/>
                  <a:pt x="131" y="200"/>
                </a:cubicBezTo>
                <a:cubicBezTo>
                  <a:pt x="131" y="199"/>
                  <a:pt x="130" y="199"/>
                  <a:pt x="130" y="199"/>
                </a:cubicBezTo>
                <a:cubicBezTo>
                  <a:pt x="130" y="199"/>
                  <a:pt x="129" y="198"/>
                  <a:pt x="129" y="197"/>
                </a:cubicBezTo>
                <a:cubicBezTo>
                  <a:pt x="129" y="197"/>
                  <a:pt x="128" y="197"/>
                  <a:pt x="127" y="196"/>
                </a:cubicBezTo>
                <a:cubicBezTo>
                  <a:pt x="127" y="196"/>
                  <a:pt x="126" y="195"/>
                  <a:pt x="126" y="194"/>
                </a:cubicBezTo>
                <a:cubicBezTo>
                  <a:pt x="125" y="194"/>
                  <a:pt x="125" y="192"/>
                  <a:pt x="124" y="191"/>
                </a:cubicBezTo>
                <a:cubicBezTo>
                  <a:pt x="123" y="190"/>
                  <a:pt x="123" y="189"/>
                  <a:pt x="123" y="188"/>
                </a:cubicBezTo>
                <a:cubicBezTo>
                  <a:pt x="122" y="187"/>
                  <a:pt x="122" y="186"/>
                  <a:pt x="122" y="185"/>
                </a:cubicBezTo>
                <a:cubicBezTo>
                  <a:pt x="122" y="184"/>
                  <a:pt x="122" y="184"/>
                  <a:pt x="122" y="184"/>
                </a:cubicBezTo>
                <a:cubicBezTo>
                  <a:pt x="121" y="184"/>
                  <a:pt x="121" y="183"/>
                  <a:pt x="120" y="182"/>
                </a:cubicBezTo>
                <a:cubicBezTo>
                  <a:pt x="120" y="182"/>
                  <a:pt x="120" y="181"/>
                  <a:pt x="120" y="180"/>
                </a:cubicBezTo>
                <a:cubicBezTo>
                  <a:pt x="121" y="180"/>
                  <a:pt x="120" y="179"/>
                  <a:pt x="120" y="178"/>
                </a:cubicBezTo>
                <a:cubicBezTo>
                  <a:pt x="120" y="178"/>
                  <a:pt x="120" y="178"/>
                  <a:pt x="119" y="177"/>
                </a:cubicBezTo>
                <a:cubicBezTo>
                  <a:pt x="118" y="177"/>
                  <a:pt x="118" y="176"/>
                  <a:pt x="118" y="176"/>
                </a:cubicBezTo>
                <a:cubicBezTo>
                  <a:pt x="119" y="176"/>
                  <a:pt x="119" y="174"/>
                  <a:pt x="118" y="174"/>
                </a:cubicBezTo>
                <a:cubicBezTo>
                  <a:pt x="118" y="173"/>
                  <a:pt x="118" y="173"/>
                  <a:pt x="117" y="173"/>
                </a:cubicBezTo>
                <a:cubicBezTo>
                  <a:pt x="116" y="173"/>
                  <a:pt x="115" y="172"/>
                  <a:pt x="115" y="171"/>
                </a:cubicBezTo>
                <a:cubicBezTo>
                  <a:pt x="115" y="171"/>
                  <a:pt x="114" y="169"/>
                  <a:pt x="112" y="169"/>
                </a:cubicBezTo>
                <a:cubicBezTo>
                  <a:pt x="111" y="169"/>
                  <a:pt x="112" y="170"/>
                  <a:pt x="112" y="171"/>
                </a:cubicBezTo>
                <a:cubicBezTo>
                  <a:pt x="112" y="172"/>
                  <a:pt x="111" y="173"/>
                  <a:pt x="110" y="173"/>
                </a:cubicBezTo>
                <a:cubicBezTo>
                  <a:pt x="110" y="174"/>
                  <a:pt x="107" y="176"/>
                  <a:pt x="106" y="176"/>
                </a:cubicBezTo>
                <a:cubicBezTo>
                  <a:pt x="105" y="176"/>
                  <a:pt x="104" y="176"/>
                  <a:pt x="104" y="177"/>
                </a:cubicBezTo>
                <a:cubicBezTo>
                  <a:pt x="104" y="177"/>
                  <a:pt x="104" y="179"/>
                  <a:pt x="103" y="179"/>
                </a:cubicBezTo>
                <a:cubicBezTo>
                  <a:pt x="102" y="179"/>
                  <a:pt x="101" y="180"/>
                  <a:pt x="101" y="180"/>
                </a:cubicBezTo>
                <a:cubicBezTo>
                  <a:pt x="100" y="180"/>
                  <a:pt x="99" y="179"/>
                  <a:pt x="98" y="179"/>
                </a:cubicBezTo>
                <a:cubicBezTo>
                  <a:pt x="97" y="178"/>
                  <a:pt x="97" y="177"/>
                  <a:pt x="97" y="176"/>
                </a:cubicBezTo>
                <a:cubicBezTo>
                  <a:pt x="96" y="176"/>
                  <a:pt x="95" y="176"/>
                  <a:pt x="94" y="176"/>
                </a:cubicBezTo>
                <a:cubicBezTo>
                  <a:pt x="93" y="176"/>
                  <a:pt x="93" y="175"/>
                  <a:pt x="93" y="174"/>
                </a:cubicBezTo>
                <a:cubicBezTo>
                  <a:pt x="93" y="173"/>
                  <a:pt x="94" y="172"/>
                  <a:pt x="94" y="172"/>
                </a:cubicBezTo>
                <a:cubicBezTo>
                  <a:pt x="95" y="171"/>
                  <a:pt x="95" y="169"/>
                  <a:pt x="95" y="169"/>
                </a:cubicBezTo>
                <a:cubicBezTo>
                  <a:pt x="95" y="168"/>
                  <a:pt x="93" y="166"/>
                  <a:pt x="93" y="165"/>
                </a:cubicBezTo>
                <a:cubicBezTo>
                  <a:pt x="93" y="164"/>
                  <a:pt x="94" y="164"/>
                  <a:pt x="94" y="163"/>
                </a:cubicBezTo>
                <a:cubicBezTo>
                  <a:pt x="95" y="162"/>
                  <a:pt x="95" y="162"/>
                  <a:pt x="96" y="161"/>
                </a:cubicBezTo>
                <a:cubicBezTo>
                  <a:pt x="96" y="161"/>
                  <a:pt x="97" y="161"/>
                  <a:pt x="98" y="161"/>
                </a:cubicBezTo>
                <a:cubicBezTo>
                  <a:pt x="99" y="161"/>
                  <a:pt x="99" y="161"/>
                  <a:pt x="99" y="160"/>
                </a:cubicBezTo>
                <a:cubicBezTo>
                  <a:pt x="99" y="159"/>
                  <a:pt x="99" y="159"/>
                  <a:pt x="99" y="158"/>
                </a:cubicBezTo>
                <a:cubicBezTo>
                  <a:pt x="98" y="156"/>
                  <a:pt x="98" y="155"/>
                  <a:pt x="98" y="155"/>
                </a:cubicBezTo>
                <a:cubicBezTo>
                  <a:pt x="97" y="154"/>
                  <a:pt x="96" y="154"/>
                  <a:pt x="96" y="153"/>
                </a:cubicBezTo>
                <a:cubicBezTo>
                  <a:pt x="96" y="153"/>
                  <a:pt x="96" y="151"/>
                  <a:pt x="96" y="151"/>
                </a:cubicBezTo>
                <a:cubicBezTo>
                  <a:pt x="96" y="151"/>
                  <a:pt x="96" y="150"/>
                  <a:pt x="96" y="149"/>
                </a:cubicBezTo>
                <a:cubicBezTo>
                  <a:pt x="96" y="149"/>
                  <a:pt x="95" y="148"/>
                  <a:pt x="95" y="147"/>
                </a:cubicBezTo>
                <a:cubicBezTo>
                  <a:pt x="95" y="147"/>
                  <a:pt x="95" y="146"/>
                  <a:pt x="96" y="146"/>
                </a:cubicBezTo>
                <a:cubicBezTo>
                  <a:pt x="97" y="146"/>
                  <a:pt x="97" y="145"/>
                  <a:pt x="97" y="145"/>
                </a:cubicBezTo>
                <a:cubicBezTo>
                  <a:pt x="97" y="144"/>
                  <a:pt x="97" y="143"/>
                  <a:pt x="96" y="143"/>
                </a:cubicBezTo>
                <a:cubicBezTo>
                  <a:pt x="96" y="142"/>
                  <a:pt x="96" y="141"/>
                  <a:pt x="97" y="140"/>
                </a:cubicBezTo>
                <a:cubicBezTo>
                  <a:pt x="97" y="140"/>
                  <a:pt x="98" y="138"/>
                  <a:pt x="98" y="138"/>
                </a:cubicBezTo>
                <a:cubicBezTo>
                  <a:pt x="98" y="137"/>
                  <a:pt x="99" y="135"/>
                  <a:pt x="99" y="134"/>
                </a:cubicBezTo>
                <a:cubicBezTo>
                  <a:pt x="99" y="133"/>
                  <a:pt x="99" y="131"/>
                  <a:pt x="99" y="130"/>
                </a:cubicBezTo>
                <a:cubicBezTo>
                  <a:pt x="99" y="130"/>
                  <a:pt x="99" y="129"/>
                  <a:pt x="99" y="129"/>
                </a:cubicBezTo>
                <a:cubicBezTo>
                  <a:pt x="99" y="129"/>
                  <a:pt x="100" y="128"/>
                  <a:pt x="100" y="128"/>
                </a:cubicBezTo>
                <a:cubicBezTo>
                  <a:pt x="101" y="128"/>
                  <a:pt x="101" y="125"/>
                  <a:pt x="101" y="125"/>
                </a:cubicBezTo>
                <a:cubicBezTo>
                  <a:pt x="101" y="125"/>
                  <a:pt x="101" y="122"/>
                  <a:pt x="101" y="122"/>
                </a:cubicBezTo>
                <a:cubicBezTo>
                  <a:pt x="101" y="121"/>
                  <a:pt x="100" y="121"/>
                  <a:pt x="100" y="121"/>
                </a:cubicBezTo>
                <a:cubicBezTo>
                  <a:pt x="100" y="121"/>
                  <a:pt x="98" y="122"/>
                  <a:pt x="97" y="122"/>
                </a:cubicBezTo>
                <a:cubicBezTo>
                  <a:pt x="97" y="123"/>
                  <a:pt x="96" y="122"/>
                  <a:pt x="96" y="122"/>
                </a:cubicBezTo>
                <a:cubicBezTo>
                  <a:pt x="95" y="122"/>
                  <a:pt x="94" y="122"/>
                  <a:pt x="94" y="122"/>
                </a:cubicBezTo>
                <a:cubicBezTo>
                  <a:pt x="94" y="122"/>
                  <a:pt x="92" y="122"/>
                  <a:pt x="92" y="122"/>
                </a:cubicBezTo>
                <a:cubicBezTo>
                  <a:pt x="92" y="122"/>
                  <a:pt x="91" y="121"/>
                  <a:pt x="91" y="120"/>
                </a:cubicBezTo>
                <a:cubicBezTo>
                  <a:pt x="90" y="119"/>
                  <a:pt x="90" y="118"/>
                  <a:pt x="90" y="118"/>
                </a:cubicBezTo>
                <a:cubicBezTo>
                  <a:pt x="90" y="117"/>
                  <a:pt x="89" y="117"/>
                  <a:pt x="88" y="117"/>
                </a:cubicBezTo>
                <a:cubicBezTo>
                  <a:pt x="88" y="117"/>
                  <a:pt x="87" y="119"/>
                  <a:pt x="86" y="119"/>
                </a:cubicBezTo>
                <a:cubicBezTo>
                  <a:pt x="86" y="119"/>
                  <a:pt x="86" y="118"/>
                  <a:pt x="86" y="117"/>
                </a:cubicBezTo>
                <a:cubicBezTo>
                  <a:pt x="86" y="116"/>
                  <a:pt x="86" y="116"/>
                  <a:pt x="85" y="115"/>
                </a:cubicBezTo>
                <a:cubicBezTo>
                  <a:pt x="85" y="115"/>
                  <a:pt x="84" y="114"/>
                  <a:pt x="83" y="113"/>
                </a:cubicBezTo>
                <a:cubicBezTo>
                  <a:pt x="83" y="113"/>
                  <a:pt x="82" y="114"/>
                  <a:pt x="82" y="114"/>
                </a:cubicBezTo>
                <a:cubicBezTo>
                  <a:pt x="81" y="114"/>
                  <a:pt x="80" y="112"/>
                  <a:pt x="80" y="112"/>
                </a:cubicBezTo>
                <a:cubicBezTo>
                  <a:pt x="80" y="111"/>
                  <a:pt x="80" y="109"/>
                  <a:pt x="80" y="108"/>
                </a:cubicBezTo>
                <a:cubicBezTo>
                  <a:pt x="80" y="107"/>
                  <a:pt x="79" y="106"/>
                  <a:pt x="78" y="106"/>
                </a:cubicBezTo>
                <a:cubicBezTo>
                  <a:pt x="77" y="105"/>
                  <a:pt x="76" y="105"/>
                  <a:pt x="76" y="105"/>
                </a:cubicBezTo>
                <a:cubicBezTo>
                  <a:pt x="75" y="104"/>
                  <a:pt x="74" y="101"/>
                  <a:pt x="74" y="101"/>
                </a:cubicBezTo>
                <a:cubicBezTo>
                  <a:pt x="74" y="100"/>
                  <a:pt x="73" y="99"/>
                  <a:pt x="72" y="98"/>
                </a:cubicBezTo>
                <a:cubicBezTo>
                  <a:pt x="72" y="98"/>
                  <a:pt x="68" y="95"/>
                  <a:pt x="68" y="94"/>
                </a:cubicBezTo>
                <a:cubicBezTo>
                  <a:pt x="67" y="94"/>
                  <a:pt x="67" y="92"/>
                  <a:pt x="67" y="91"/>
                </a:cubicBezTo>
                <a:cubicBezTo>
                  <a:pt x="67" y="91"/>
                  <a:pt x="66" y="91"/>
                  <a:pt x="65" y="90"/>
                </a:cubicBezTo>
                <a:cubicBezTo>
                  <a:pt x="65" y="90"/>
                  <a:pt x="63" y="90"/>
                  <a:pt x="62" y="90"/>
                </a:cubicBezTo>
                <a:cubicBezTo>
                  <a:pt x="61" y="89"/>
                  <a:pt x="61" y="89"/>
                  <a:pt x="60" y="89"/>
                </a:cubicBezTo>
                <a:cubicBezTo>
                  <a:pt x="59" y="88"/>
                  <a:pt x="58" y="86"/>
                  <a:pt x="57" y="85"/>
                </a:cubicBezTo>
                <a:cubicBezTo>
                  <a:pt x="57" y="84"/>
                  <a:pt x="56" y="84"/>
                  <a:pt x="55" y="84"/>
                </a:cubicBezTo>
                <a:cubicBezTo>
                  <a:pt x="55" y="83"/>
                  <a:pt x="53" y="83"/>
                  <a:pt x="53" y="83"/>
                </a:cubicBezTo>
                <a:cubicBezTo>
                  <a:pt x="52" y="82"/>
                  <a:pt x="52" y="82"/>
                  <a:pt x="52" y="82"/>
                </a:cubicBezTo>
                <a:cubicBezTo>
                  <a:pt x="52" y="82"/>
                  <a:pt x="54" y="81"/>
                  <a:pt x="54" y="81"/>
                </a:cubicBezTo>
                <a:cubicBezTo>
                  <a:pt x="55" y="81"/>
                  <a:pt x="56" y="80"/>
                  <a:pt x="56" y="80"/>
                </a:cubicBezTo>
                <a:cubicBezTo>
                  <a:pt x="56" y="80"/>
                  <a:pt x="56" y="80"/>
                  <a:pt x="56" y="79"/>
                </a:cubicBezTo>
                <a:cubicBezTo>
                  <a:pt x="56" y="79"/>
                  <a:pt x="55" y="79"/>
                  <a:pt x="55" y="78"/>
                </a:cubicBezTo>
                <a:cubicBezTo>
                  <a:pt x="54" y="78"/>
                  <a:pt x="52" y="76"/>
                  <a:pt x="52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74"/>
                  <a:pt x="54" y="71"/>
                  <a:pt x="54" y="71"/>
                </a:cubicBezTo>
                <a:cubicBezTo>
                  <a:pt x="54" y="70"/>
                  <a:pt x="52" y="67"/>
                  <a:pt x="52" y="67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0"/>
                  <a:pt x="42" y="0"/>
                  <a:pt x="42" y="0"/>
                </a:cubicBezTo>
                <a:cubicBezTo>
                  <a:pt x="8" y="0"/>
                  <a:pt x="8" y="0"/>
                  <a:pt x="8" y="0"/>
                </a:cubicBezTo>
                <a:cubicBezTo>
                  <a:pt x="8" y="133"/>
                  <a:pt x="8" y="133"/>
                  <a:pt x="8" y="133"/>
                </a:cubicBezTo>
                <a:cubicBezTo>
                  <a:pt x="8" y="133"/>
                  <a:pt x="7" y="135"/>
                  <a:pt x="7" y="135"/>
                </a:cubicBezTo>
                <a:cubicBezTo>
                  <a:pt x="7" y="136"/>
                  <a:pt x="7" y="136"/>
                  <a:pt x="7" y="137"/>
                </a:cubicBezTo>
                <a:cubicBezTo>
                  <a:pt x="7" y="137"/>
                  <a:pt x="8" y="138"/>
                  <a:pt x="9" y="139"/>
                </a:cubicBezTo>
                <a:cubicBezTo>
                  <a:pt x="10" y="139"/>
                  <a:pt x="10" y="140"/>
                  <a:pt x="10" y="141"/>
                </a:cubicBezTo>
                <a:cubicBezTo>
                  <a:pt x="10" y="141"/>
                  <a:pt x="10" y="143"/>
                  <a:pt x="10" y="144"/>
                </a:cubicBezTo>
                <a:cubicBezTo>
                  <a:pt x="10" y="145"/>
                  <a:pt x="11" y="145"/>
                  <a:pt x="11" y="145"/>
                </a:cubicBezTo>
                <a:cubicBezTo>
                  <a:pt x="12" y="145"/>
                  <a:pt x="11" y="146"/>
                  <a:pt x="11" y="147"/>
                </a:cubicBezTo>
                <a:cubicBezTo>
                  <a:pt x="11" y="147"/>
                  <a:pt x="9" y="150"/>
                  <a:pt x="9" y="150"/>
                </a:cubicBezTo>
                <a:cubicBezTo>
                  <a:pt x="12" y="154"/>
                  <a:pt x="12" y="154"/>
                  <a:pt x="12" y="154"/>
                </a:cubicBezTo>
                <a:cubicBezTo>
                  <a:pt x="17" y="162"/>
                  <a:pt x="17" y="162"/>
                  <a:pt x="17" y="162"/>
                </a:cubicBezTo>
                <a:cubicBezTo>
                  <a:pt x="17" y="162"/>
                  <a:pt x="20" y="164"/>
                  <a:pt x="21" y="164"/>
                </a:cubicBezTo>
                <a:cubicBezTo>
                  <a:pt x="21" y="164"/>
                  <a:pt x="25" y="166"/>
                  <a:pt x="25" y="166"/>
                </a:cubicBezTo>
                <a:cubicBezTo>
                  <a:pt x="25" y="166"/>
                  <a:pt x="25" y="168"/>
                  <a:pt x="25" y="169"/>
                </a:cubicBezTo>
                <a:cubicBezTo>
                  <a:pt x="25" y="169"/>
                  <a:pt x="26" y="171"/>
                  <a:pt x="26" y="171"/>
                </a:cubicBezTo>
                <a:cubicBezTo>
                  <a:pt x="27" y="174"/>
                  <a:pt x="27" y="174"/>
                  <a:pt x="27" y="174"/>
                </a:cubicBezTo>
                <a:cubicBezTo>
                  <a:pt x="27" y="174"/>
                  <a:pt x="26" y="177"/>
                  <a:pt x="25" y="177"/>
                </a:cubicBezTo>
                <a:cubicBezTo>
                  <a:pt x="25" y="178"/>
                  <a:pt x="25" y="179"/>
                  <a:pt x="25" y="179"/>
                </a:cubicBezTo>
                <a:cubicBezTo>
                  <a:pt x="25" y="179"/>
                  <a:pt x="20" y="189"/>
                  <a:pt x="20" y="189"/>
                </a:cubicBezTo>
                <a:cubicBezTo>
                  <a:pt x="20" y="189"/>
                  <a:pt x="18" y="196"/>
                  <a:pt x="18" y="196"/>
                </a:cubicBezTo>
                <a:cubicBezTo>
                  <a:pt x="14" y="202"/>
                  <a:pt x="14" y="202"/>
                  <a:pt x="14" y="202"/>
                </a:cubicBezTo>
                <a:cubicBezTo>
                  <a:pt x="14" y="203"/>
                  <a:pt x="14" y="203"/>
                  <a:pt x="14" y="203"/>
                </a:cubicBezTo>
                <a:cubicBezTo>
                  <a:pt x="15" y="204"/>
                  <a:pt x="15" y="204"/>
                  <a:pt x="15" y="204"/>
                </a:cubicBezTo>
                <a:cubicBezTo>
                  <a:pt x="15" y="205"/>
                  <a:pt x="15" y="205"/>
                  <a:pt x="15" y="205"/>
                </a:cubicBezTo>
                <a:cubicBezTo>
                  <a:pt x="14" y="206"/>
                  <a:pt x="14" y="206"/>
                  <a:pt x="14" y="207"/>
                </a:cubicBezTo>
                <a:cubicBezTo>
                  <a:pt x="14" y="208"/>
                  <a:pt x="14" y="209"/>
                  <a:pt x="13" y="210"/>
                </a:cubicBezTo>
                <a:cubicBezTo>
                  <a:pt x="12" y="211"/>
                  <a:pt x="12" y="212"/>
                  <a:pt x="11" y="213"/>
                </a:cubicBezTo>
                <a:cubicBezTo>
                  <a:pt x="11" y="214"/>
                  <a:pt x="11" y="214"/>
                  <a:pt x="10" y="215"/>
                </a:cubicBezTo>
                <a:cubicBezTo>
                  <a:pt x="9" y="215"/>
                  <a:pt x="8" y="215"/>
                  <a:pt x="8" y="216"/>
                </a:cubicBezTo>
                <a:cubicBezTo>
                  <a:pt x="7" y="216"/>
                  <a:pt x="7" y="216"/>
                  <a:pt x="7" y="217"/>
                </a:cubicBezTo>
                <a:cubicBezTo>
                  <a:pt x="6" y="218"/>
                  <a:pt x="6" y="220"/>
                  <a:pt x="5" y="221"/>
                </a:cubicBezTo>
                <a:cubicBezTo>
                  <a:pt x="5" y="222"/>
                  <a:pt x="5" y="224"/>
                  <a:pt x="4" y="225"/>
                </a:cubicBezTo>
                <a:cubicBezTo>
                  <a:pt x="3" y="227"/>
                  <a:pt x="2" y="227"/>
                  <a:pt x="1" y="229"/>
                </a:cubicBezTo>
                <a:cubicBezTo>
                  <a:pt x="1" y="230"/>
                  <a:pt x="2" y="231"/>
                  <a:pt x="1" y="232"/>
                </a:cubicBezTo>
                <a:cubicBezTo>
                  <a:pt x="1" y="232"/>
                  <a:pt x="0" y="232"/>
                  <a:pt x="0" y="233"/>
                </a:cubicBezTo>
                <a:cubicBezTo>
                  <a:pt x="0" y="233"/>
                  <a:pt x="1" y="233"/>
                  <a:pt x="1" y="234"/>
                </a:cubicBezTo>
                <a:cubicBezTo>
                  <a:pt x="2" y="234"/>
                  <a:pt x="2" y="235"/>
                  <a:pt x="2" y="236"/>
                </a:cubicBezTo>
                <a:cubicBezTo>
                  <a:pt x="2" y="236"/>
                  <a:pt x="2" y="237"/>
                  <a:pt x="2" y="237"/>
                </a:cubicBezTo>
                <a:cubicBezTo>
                  <a:pt x="2" y="238"/>
                  <a:pt x="4" y="239"/>
                  <a:pt x="4" y="238"/>
                </a:cubicBezTo>
                <a:cubicBezTo>
                  <a:pt x="5" y="238"/>
                  <a:pt x="6" y="239"/>
                  <a:pt x="7" y="240"/>
                </a:cubicBezTo>
                <a:cubicBezTo>
                  <a:pt x="8" y="240"/>
                  <a:pt x="8" y="240"/>
                  <a:pt x="8" y="240"/>
                </a:cubicBezTo>
                <a:cubicBezTo>
                  <a:pt x="9" y="240"/>
                  <a:pt x="9" y="239"/>
                  <a:pt x="10" y="240"/>
                </a:cubicBezTo>
                <a:cubicBezTo>
                  <a:pt x="10" y="240"/>
                  <a:pt x="10" y="242"/>
                  <a:pt x="10" y="242"/>
                </a:cubicBezTo>
                <a:cubicBezTo>
                  <a:pt x="10" y="243"/>
                  <a:pt x="11" y="243"/>
                  <a:pt x="12" y="243"/>
                </a:cubicBezTo>
                <a:cubicBezTo>
                  <a:pt x="13" y="244"/>
                  <a:pt x="11" y="247"/>
                  <a:pt x="10" y="247"/>
                </a:cubicBezTo>
                <a:cubicBezTo>
                  <a:pt x="9" y="249"/>
                  <a:pt x="11" y="250"/>
                  <a:pt x="11" y="252"/>
                </a:cubicBezTo>
                <a:cubicBezTo>
                  <a:pt x="11" y="253"/>
                  <a:pt x="10" y="254"/>
                  <a:pt x="10" y="256"/>
                </a:cubicBezTo>
                <a:cubicBezTo>
                  <a:pt x="9" y="257"/>
                  <a:pt x="9" y="259"/>
                  <a:pt x="8" y="259"/>
                </a:cubicBezTo>
                <a:cubicBezTo>
                  <a:pt x="8" y="346"/>
                  <a:pt x="8" y="346"/>
                  <a:pt x="8" y="346"/>
                </a:cubicBezTo>
                <a:cubicBezTo>
                  <a:pt x="214" y="346"/>
                  <a:pt x="214" y="346"/>
                  <a:pt x="214" y="346"/>
                </a:cubicBezTo>
                <a:cubicBezTo>
                  <a:pt x="214" y="229"/>
                  <a:pt x="214" y="229"/>
                  <a:pt x="214" y="229"/>
                </a:cubicBezTo>
                <a:cubicBezTo>
                  <a:pt x="212" y="228"/>
                  <a:pt x="212" y="228"/>
                  <a:pt x="212" y="228"/>
                </a:cubicBezTo>
                <a:cubicBezTo>
                  <a:pt x="212" y="228"/>
                  <a:pt x="204" y="215"/>
                  <a:pt x="203" y="215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9" name="Freeform 47">
            <a:extLst>
              <a:ext uri="{FF2B5EF4-FFF2-40B4-BE49-F238E27FC236}">
                <a16:creationId xmlns:a16="http://schemas.microsoft.com/office/drawing/2014/main" id="{BE6983CA-372C-4282-9E3A-245929C2AB7E}"/>
              </a:ext>
            </a:extLst>
          </p:cNvPr>
          <p:cNvSpPr>
            <a:spLocks/>
          </p:cNvSpPr>
          <p:nvPr/>
        </p:nvSpPr>
        <p:spPr bwMode="auto">
          <a:xfrm>
            <a:off x="9348363" y="3858574"/>
            <a:ext cx="652621" cy="758362"/>
          </a:xfrm>
          <a:custGeom>
            <a:avLst/>
            <a:gdLst>
              <a:gd name="T0" fmla="*/ 155 w 165"/>
              <a:gd name="T1" fmla="*/ 115 h 191"/>
              <a:gd name="T2" fmla="*/ 152 w 165"/>
              <a:gd name="T3" fmla="*/ 106 h 191"/>
              <a:gd name="T4" fmla="*/ 145 w 165"/>
              <a:gd name="T5" fmla="*/ 95 h 191"/>
              <a:gd name="T6" fmla="*/ 139 w 165"/>
              <a:gd name="T7" fmla="*/ 79 h 191"/>
              <a:gd name="T8" fmla="*/ 130 w 165"/>
              <a:gd name="T9" fmla="*/ 73 h 191"/>
              <a:gd name="T10" fmla="*/ 127 w 165"/>
              <a:gd name="T11" fmla="*/ 69 h 191"/>
              <a:gd name="T12" fmla="*/ 123 w 165"/>
              <a:gd name="T13" fmla="*/ 60 h 191"/>
              <a:gd name="T14" fmla="*/ 105 w 165"/>
              <a:gd name="T15" fmla="*/ 44 h 191"/>
              <a:gd name="T16" fmla="*/ 99 w 165"/>
              <a:gd name="T17" fmla="*/ 30 h 191"/>
              <a:gd name="T18" fmla="*/ 88 w 165"/>
              <a:gd name="T19" fmla="*/ 20 h 191"/>
              <a:gd name="T20" fmla="*/ 79 w 165"/>
              <a:gd name="T21" fmla="*/ 13 h 191"/>
              <a:gd name="T22" fmla="*/ 86 w 165"/>
              <a:gd name="T23" fmla="*/ 2 h 191"/>
              <a:gd name="T24" fmla="*/ 15 w 165"/>
              <a:gd name="T25" fmla="*/ 89 h 191"/>
              <a:gd name="T26" fmla="*/ 18 w 165"/>
              <a:gd name="T27" fmla="*/ 99 h 191"/>
              <a:gd name="T28" fmla="*/ 23 w 165"/>
              <a:gd name="T29" fmla="*/ 112 h 191"/>
              <a:gd name="T30" fmla="*/ 19 w 165"/>
              <a:gd name="T31" fmla="*/ 122 h 191"/>
              <a:gd name="T32" fmla="*/ 18 w 165"/>
              <a:gd name="T33" fmla="*/ 137 h 191"/>
              <a:gd name="T34" fmla="*/ 17 w 165"/>
              <a:gd name="T35" fmla="*/ 156 h 191"/>
              <a:gd name="T36" fmla="*/ 23 w 165"/>
              <a:gd name="T37" fmla="*/ 169 h 191"/>
              <a:gd name="T38" fmla="*/ 116 w 165"/>
              <a:gd name="T39" fmla="*/ 181 h 191"/>
              <a:gd name="T40" fmla="*/ 120 w 165"/>
              <a:gd name="T41" fmla="*/ 190 h 191"/>
              <a:gd name="T42" fmla="*/ 124 w 165"/>
              <a:gd name="T43" fmla="*/ 181 h 191"/>
              <a:gd name="T44" fmla="*/ 125 w 165"/>
              <a:gd name="T45" fmla="*/ 173 h 191"/>
              <a:gd name="T46" fmla="*/ 132 w 165"/>
              <a:gd name="T47" fmla="*/ 174 h 191"/>
              <a:gd name="T48" fmla="*/ 142 w 165"/>
              <a:gd name="T49" fmla="*/ 175 h 191"/>
              <a:gd name="T50" fmla="*/ 141 w 165"/>
              <a:gd name="T51" fmla="*/ 170 h 191"/>
              <a:gd name="T52" fmla="*/ 143 w 165"/>
              <a:gd name="T53" fmla="*/ 169 h 191"/>
              <a:gd name="T54" fmla="*/ 144 w 165"/>
              <a:gd name="T55" fmla="*/ 171 h 191"/>
              <a:gd name="T56" fmla="*/ 145 w 165"/>
              <a:gd name="T57" fmla="*/ 167 h 191"/>
              <a:gd name="T58" fmla="*/ 144 w 165"/>
              <a:gd name="T59" fmla="*/ 166 h 191"/>
              <a:gd name="T60" fmla="*/ 142 w 165"/>
              <a:gd name="T61" fmla="*/ 166 h 191"/>
              <a:gd name="T62" fmla="*/ 141 w 165"/>
              <a:gd name="T63" fmla="*/ 162 h 191"/>
              <a:gd name="T64" fmla="*/ 142 w 165"/>
              <a:gd name="T65" fmla="*/ 160 h 191"/>
              <a:gd name="T66" fmla="*/ 144 w 165"/>
              <a:gd name="T67" fmla="*/ 158 h 191"/>
              <a:gd name="T68" fmla="*/ 146 w 165"/>
              <a:gd name="T69" fmla="*/ 153 h 191"/>
              <a:gd name="T70" fmla="*/ 145 w 165"/>
              <a:gd name="T71" fmla="*/ 156 h 191"/>
              <a:gd name="T72" fmla="*/ 146 w 165"/>
              <a:gd name="T73" fmla="*/ 158 h 191"/>
              <a:gd name="T74" fmla="*/ 148 w 165"/>
              <a:gd name="T75" fmla="*/ 155 h 191"/>
              <a:gd name="T76" fmla="*/ 148 w 165"/>
              <a:gd name="T77" fmla="*/ 152 h 191"/>
              <a:gd name="T78" fmla="*/ 148 w 165"/>
              <a:gd name="T79" fmla="*/ 151 h 191"/>
              <a:gd name="T80" fmla="*/ 150 w 165"/>
              <a:gd name="T81" fmla="*/ 149 h 191"/>
              <a:gd name="T82" fmla="*/ 151 w 165"/>
              <a:gd name="T83" fmla="*/ 146 h 191"/>
              <a:gd name="T84" fmla="*/ 151 w 165"/>
              <a:gd name="T85" fmla="*/ 144 h 191"/>
              <a:gd name="T86" fmla="*/ 148 w 165"/>
              <a:gd name="T87" fmla="*/ 143 h 191"/>
              <a:gd name="T88" fmla="*/ 150 w 165"/>
              <a:gd name="T89" fmla="*/ 142 h 191"/>
              <a:gd name="T90" fmla="*/ 151 w 165"/>
              <a:gd name="T91" fmla="*/ 139 h 191"/>
              <a:gd name="T92" fmla="*/ 148 w 165"/>
              <a:gd name="T93" fmla="*/ 138 h 191"/>
              <a:gd name="T94" fmla="*/ 152 w 165"/>
              <a:gd name="T95" fmla="*/ 136 h 191"/>
              <a:gd name="T96" fmla="*/ 153 w 165"/>
              <a:gd name="T97" fmla="*/ 134 h 191"/>
              <a:gd name="T98" fmla="*/ 157 w 165"/>
              <a:gd name="T99" fmla="*/ 133 h 191"/>
              <a:gd name="T100" fmla="*/ 155 w 165"/>
              <a:gd name="T101" fmla="*/ 130 h 191"/>
              <a:gd name="T102" fmla="*/ 156 w 165"/>
              <a:gd name="T103" fmla="*/ 128 h 191"/>
              <a:gd name="T104" fmla="*/ 161 w 165"/>
              <a:gd name="T105" fmla="*/ 128 h 191"/>
              <a:gd name="T106" fmla="*/ 160 w 165"/>
              <a:gd name="T107" fmla="*/ 125 h 191"/>
              <a:gd name="T108" fmla="*/ 164 w 165"/>
              <a:gd name="T109" fmla="*/ 125 h 191"/>
              <a:gd name="T110" fmla="*/ 161 w 165"/>
              <a:gd name="T111" fmla="*/ 122 h 191"/>
              <a:gd name="T112" fmla="*/ 160 w 165"/>
              <a:gd name="T113" fmla="*/ 12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5" h="191">
                <a:moveTo>
                  <a:pt x="159" y="120"/>
                </a:moveTo>
                <a:cubicBezTo>
                  <a:pt x="159" y="120"/>
                  <a:pt x="157" y="120"/>
                  <a:pt x="157" y="120"/>
                </a:cubicBezTo>
                <a:cubicBezTo>
                  <a:pt x="156" y="120"/>
                  <a:pt x="155" y="120"/>
                  <a:pt x="155" y="119"/>
                </a:cubicBezTo>
                <a:cubicBezTo>
                  <a:pt x="155" y="119"/>
                  <a:pt x="155" y="116"/>
                  <a:pt x="155" y="115"/>
                </a:cubicBezTo>
                <a:cubicBezTo>
                  <a:pt x="155" y="115"/>
                  <a:pt x="155" y="113"/>
                  <a:pt x="155" y="112"/>
                </a:cubicBezTo>
                <a:cubicBezTo>
                  <a:pt x="155" y="111"/>
                  <a:pt x="155" y="111"/>
                  <a:pt x="154" y="110"/>
                </a:cubicBezTo>
                <a:cubicBezTo>
                  <a:pt x="153" y="109"/>
                  <a:pt x="153" y="108"/>
                  <a:pt x="153" y="108"/>
                </a:cubicBezTo>
                <a:cubicBezTo>
                  <a:pt x="152" y="108"/>
                  <a:pt x="152" y="107"/>
                  <a:pt x="152" y="106"/>
                </a:cubicBezTo>
                <a:cubicBezTo>
                  <a:pt x="152" y="106"/>
                  <a:pt x="152" y="105"/>
                  <a:pt x="152" y="105"/>
                </a:cubicBezTo>
                <a:cubicBezTo>
                  <a:pt x="152" y="105"/>
                  <a:pt x="145" y="99"/>
                  <a:pt x="145" y="99"/>
                </a:cubicBezTo>
                <a:cubicBezTo>
                  <a:pt x="145" y="98"/>
                  <a:pt x="145" y="97"/>
                  <a:pt x="145" y="97"/>
                </a:cubicBezTo>
                <a:cubicBezTo>
                  <a:pt x="145" y="96"/>
                  <a:pt x="145" y="95"/>
                  <a:pt x="145" y="95"/>
                </a:cubicBezTo>
                <a:cubicBezTo>
                  <a:pt x="144" y="95"/>
                  <a:pt x="145" y="91"/>
                  <a:pt x="144" y="90"/>
                </a:cubicBezTo>
                <a:cubicBezTo>
                  <a:pt x="144" y="90"/>
                  <a:pt x="143" y="88"/>
                  <a:pt x="142" y="88"/>
                </a:cubicBezTo>
                <a:cubicBezTo>
                  <a:pt x="142" y="87"/>
                  <a:pt x="142" y="83"/>
                  <a:pt x="142" y="83"/>
                </a:cubicBezTo>
                <a:cubicBezTo>
                  <a:pt x="141" y="82"/>
                  <a:pt x="139" y="80"/>
                  <a:pt x="139" y="79"/>
                </a:cubicBezTo>
                <a:cubicBezTo>
                  <a:pt x="138" y="79"/>
                  <a:pt x="134" y="77"/>
                  <a:pt x="134" y="77"/>
                </a:cubicBezTo>
                <a:cubicBezTo>
                  <a:pt x="133" y="77"/>
                  <a:pt x="133" y="77"/>
                  <a:pt x="133" y="76"/>
                </a:cubicBezTo>
                <a:cubicBezTo>
                  <a:pt x="133" y="76"/>
                  <a:pt x="133" y="74"/>
                  <a:pt x="132" y="74"/>
                </a:cubicBezTo>
                <a:cubicBezTo>
                  <a:pt x="132" y="74"/>
                  <a:pt x="131" y="73"/>
                  <a:pt x="130" y="73"/>
                </a:cubicBezTo>
                <a:cubicBezTo>
                  <a:pt x="130" y="73"/>
                  <a:pt x="130" y="72"/>
                  <a:pt x="130" y="72"/>
                </a:cubicBezTo>
                <a:cubicBezTo>
                  <a:pt x="130" y="72"/>
                  <a:pt x="129" y="71"/>
                  <a:pt x="129" y="71"/>
                </a:cubicBezTo>
                <a:cubicBezTo>
                  <a:pt x="129" y="70"/>
                  <a:pt x="130" y="70"/>
                  <a:pt x="129" y="70"/>
                </a:cubicBezTo>
                <a:cubicBezTo>
                  <a:pt x="128" y="69"/>
                  <a:pt x="127" y="69"/>
                  <a:pt x="127" y="69"/>
                </a:cubicBezTo>
                <a:cubicBezTo>
                  <a:pt x="127" y="69"/>
                  <a:pt x="126" y="67"/>
                  <a:pt x="126" y="67"/>
                </a:cubicBezTo>
                <a:cubicBezTo>
                  <a:pt x="126" y="66"/>
                  <a:pt x="127" y="65"/>
                  <a:pt x="127" y="65"/>
                </a:cubicBezTo>
                <a:cubicBezTo>
                  <a:pt x="127" y="65"/>
                  <a:pt x="127" y="64"/>
                  <a:pt x="126" y="63"/>
                </a:cubicBezTo>
                <a:cubicBezTo>
                  <a:pt x="125" y="63"/>
                  <a:pt x="124" y="61"/>
                  <a:pt x="123" y="60"/>
                </a:cubicBezTo>
                <a:cubicBezTo>
                  <a:pt x="122" y="60"/>
                  <a:pt x="118" y="58"/>
                  <a:pt x="118" y="57"/>
                </a:cubicBezTo>
                <a:cubicBezTo>
                  <a:pt x="117" y="57"/>
                  <a:pt x="117" y="54"/>
                  <a:pt x="117" y="53"/>
                </a:cubicBezTo>
                <a:cubicBezTo>
                  <a:pt x="117" y="53"/>
                  <a:pt x="114" y="49"/>
                  <a:pt x="113" y="48"/>
                </a:cubicBezTo>
                <a:cubicBezTo>
                  <a:pt x="112" y="48"/>
                  <a:pt x="106" y="44"/>
                  <a:pt x="105" y="44"/>
                </a:cubicBezTo>
                <a:cubicBezTo>
                  <a:pt x="105" y="43"/>
                  <a:pt x="104" y="41"/>
                  <a:pt x="104" y="40"/>
                </a:cubicBezTo>
                <a:cubicBezTo>
                  <a:pt x="103" y="39"/>
                  <a:pt x="102" y="37"/>
                  <a:pt x="101" y="36"/>
                </a:cubicBezTo>
                <a:cubicBezTo>
                  <a:pt x="101" y="36"/>
                  <a:pt x="99" y="36"/>
                  <a:pt x="99" y="34"/>
                </a:cubicBezTo>
                <a:cubicBezTo>
                  <a:pt x="99" y="33"/>
                  <a:pt x="99" y="31"/>
                  <a:pt x="99" y="30"/>
                </a:cubicBezTo>
                <a:cubicBezTo>
                  <a:pt x="98" y="30"/>
                  <a:pt x="96" y="27"/>
                  <a:pt x="96" y="27"/>
                </a:cubicBezTo>
                <a:cubicBezTo>
                  <a:pt x="96" y="26"/>
                  <a:pt x="95" y="24"/>
                  <a:pt x="95" y="23"/>
                </a:cubicBezTo>
                <a:cubicBezTo>
                  <a:pt x="95" y="22"/>
                  <a:pt x="95" y="21"/>
                  <a:pt x="93" y="21"/>
                </a:cubicBezTo>
                <a:cubicBezTo>
                  <a:pt x="91" y="21"/>
                  <a:pt x="89" y="21"/>
                  <a:pt x="88" y="20"/>
                </a:cubicBezTo>
                <a:cubicBezTo>
                  <a:pt x="87" y="19"/>
                  <a:pt x="86" y="18"/>
                  <a:pt x="85" y="18"/>
                </a:cubicBezTo>
                <a:cubicBezTo>
                  <a:pt x="85" y="17"/>
                  <a:pt x="86" y="16"/>
                  <a:pt x="84" y="16"/>
                </a:cubicBezTo>
                <a:cubicBezTo>
                  <a:pt x="82" y="16"/>
                  <a:pt x="81" y="15"/>
                  <a:pt x="80" y="15"/>
                </a:cubicBezTo>
                <a:cubicBezTo>
                  <a:pt x="80" y="14"/>
                  <a:pt x="79" y="14"/>
                  <a:pt x="79" y="13"/>
                </a:cubicBezTo>
                <a:cubicBezTo>
                  <a:pt x="78" y="13"/>
                  <a:pt x="77" y="13"/>
                  <a:pt x="78" y="12"/>
                </a:cubicBezTo>
                <a:cubicBezTo>
                  <a:pt x="78" y="11"/>
                  <a:pt x="78" y="8"/>
                  <a:pt x="79" y="8"/>
                </a:cubicBezTo>
                <a:cubicBezTo>
                  <a:pt x="80" y="7"/>
                  <a:pt x="81" y="6"/>
                  <a:pt x="81" y="5"/>
                </a:cubicBezTo>
                <a:cubicBezTo>
                  <a:pt x="82" y="5"/>
                  <a:pt x="86" y="2"/>
                  <a:pt x="86" y="2"/>
                </a:cubicBezTo>
                <a:cubicBezTo>
                  <a:pt x="86" y="0"/>
                  <a:pt x="86" y="0"/>
                  <a:pt x="8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5" y="88"/>
                  <a:pt x="15" y="89"/>
                </a:cubicBezTo>
                <a:cubicBezTo>
                  <a:pt x="15" y="89"/>
                  <a:pt x="16" y="91"/>
                  <a:pt x="16" y="92"/>
                </a:cubicBezTo>
                <a:cubicBezTo>
                  <a:pt x="16" y="92"/>
                  <a:pt x="16" y="93"/>
                  <a:pt x="16" y="93"/>
                </a:cubicBezTo>
                <a:cubicBezTo>
                  <a:pt x="17" y="94"/>
                  <a:pt x="17" y="95"/>
                  <a:pt x="17" y="96"/>
                </a:cubicBezTo>
                <a:cubicBezTo>
                  <a:pt x="17" y="97"/>
                  <a:pt x="18" y="98"/>
                  <a:pt x="18" y="99"/>
                </a:cubicBezTo>
                <a:cubicBezTo>
                  <a:pt x="18" y="100"/>
                  <a:pt x="21" y="105"/>
                  <a:pt x="21" y="105"/>
                </a:cubicBezTo>
                <a:cubicBezTo>
                  <a:pt x="22" y="105"/>
                  <a:pt x="22" y="107"/>
                  <a:pt x="21" y="108"/>
                </a:cubicBezTo>
                <a:cubicBezTo>
                  <a:pt x="21" y="108"/>
                  <a:pt x="21" y="109"/>
                  <a:pt x="21" y="110"/>
                </a:cubicBezTo>
                <a:cubicBezTo>
                  <a:pt x="21" y="111"/>
                  <a:pt x="22" y="111"/>
                  <a:pt x="23" y="112"/>
                </a:cubicBezTo>
                <a:cubicBezTo>
                  <a:pt x="23" y="112"/>
                  <a:pt x="24" y="113"/>
                  <a:pt x="24" y="113"/>
                </a:cubicBezTo>
                <a:cubicBezTo>
                  <a:pt x="24" y="113"/>
                  <a:pt x="22" y="115"/>
                  <a:pt x="22" y="115"/>
                </a:cubicBezTo>
                <a:cubicBezTo>
                  <a:pt x="22" y="116"/>
                  <a:pt x="19" y="118"/>
                  <a:pt x="19" y="119"/>
                </a:cubicBezTo>
                <a:cubicBezTo>
                  <a:pt x="19" y="120"/>
                  <a:pt x="19" y="121"/>
                  <a:pt x="19" y="122"/>
                </a:cubicBezTo>
                <a:cubicBezTo>
                  <a:pt x="19" y="123"/>
                  <a:pt x="18" y="124"/>
                  <a:pt x="18" y="125"/>
                </a:cubicBezTo>
                <a:cubicBezTo>
                  <a:pt x="17" y="126"/>
                  <a:pt x="16" y="128"/>
                  <a:pt x="16" y="129"/>
                </a:cubicBezTo>
                <a:cubicBezTo>
                  <a:pt x="16" y="129"/>
                  <a:pt x="16" y="132"/>
                  <a:pt x="16" y="133"/>
                </a:cubicBezTo>
                <a:cubicBezTo>
                  <a:pt x="16" y="134"/>
                  <a:pt x="17" y="137"/>
                  <a:pt x="18" y="137"/>
                </a:cubicBezTo>
                <a:cubicBezTo>
                  <a:pt x="18" y="138"/>
                  <a:pt x="19" y="143"/>
                  <a:pt x="19" y="144"/>
                </a:cubicBezTo>
                <a:cubicBezTo>
                  <a:pt x="19" y="144"/>
                  <a:pt x="19" y="148"/>
                  <a:pt x="18" y="149"/>
                </a:cubicBezTo>
                <a:cubicBezTo>
                  <a:pt x="18" y="149"/>
                  <a:pt x="17" y="152"/>
                  <a:pt x="17" y="152"/>
                </a:cubicBezTo>
                <a:cubicBezTo>
                  <a:pt x="17" y="152"/>
                  <a:pt x="17" y="155"/>
                  <a:pt x="17" y="156"/>
                </a:cubicBezTo>
                <a:cubicBezTo>
                  <a:pt x="17" y="156"/>
                  <a:pt x="18" y="157"/>
                  <a:pt x="18" y="158"/>
                </a:cubicBezTo>
                <a:cubicBezTo>
                  <a:pt x="19" y="159"/>
                  <a:pt x="20" y="160"/>
                  <a:pt x="20" y="160"/>
                </a:cubicBezTo>
                <a:cubicBezTo>
                  <a:pt x="20" y="161"/>
                  <a:pt x="21" y="164"/>
                  <a:pt x="21" y="164"/>
                </a:cubicBezTo>
                <a:cubicBezTo>
                  <a:pt x="23" y="169"/>
                  <a:pt x="23" y="169"/>
                  <a:pt x="23" y="169"/>
                </a:cubicBezTo>
                <a:cubicBezTo>
                  <a:pt x="23" y="169"/>
                  <a:pt x="23" y="172"/>
                  <a:pt x="23" y="172"/>
                </a:cubicBezTo>
                <a:cubicBezTo>
                  <a:pt x="23" y="173"/>
                  <a:pt x="24" y="174"/>
                  <a:pt x="24" y="174"/>
                </a:cubicBezTo>
                <a:cubicBezTo>
                  <a:pt x="24" y="175"/>
                  <a:pt x="27" y="176"/>
                  <a:pt x="27" y="176"/>
                </a:cubicBezTo>
                <a:cubicBezTo>
                  <a:pt x="27" y="176"/>
                  <a:pt x="116" y="181"/>
                  <a:pt x="116" y="181"/>
                </a:cubicBezTo>
                <a:cubicBezTo>
                  <a:pt x="116" y="181"/>
                  <a:pt x="117" y="183"/>
                  <a:pt x="117" y="183"/>
                </a:cubicBezTo>
                <a:cubicBezTo>
                  <a:pt x="117" y="184"/>
                  <a:pt x="117" y="186"/>
                  <a:pt x="117" y="186"/>
                </a:cubicBezTo>
                <a:cubicBezTo>
                  <a:pt x="117" y="187"/>
                  <a:pt x="117" y="188"/>
                  <a:pt x="118" y="189"/>
                </a:cubicBezTo>
                <a:cubicBezTo>
                  <a:pt x="118" y="189"/>
                  <a:pt x="119" y="190"/>
                  <a:pt x="120" y="190"/>
                </a:cubicBezTo>
                <a:cubicBezTo>
                  <a:pt x="121" y="190"/>
                  <a:pt x="122" y="191"/>
                  <a:pt x="122" y="190"/>
                </a:cubicBezTo>
                <a:cubicBezTo>
                  <a:pt x="122" y="190"/>
                  <a:pt x="123" y="188"/>
                  <a:pt x="124" y="188"/>
                </a:cubicBezTo>
                <a:cubicBezTo>
                  <a:pt x="124" y="187"/>
                  <a:pt x="123" y="185"/>
                  <a:pt x="124" y="184"/>
                </a:cubicBezTo>
                <a:cubicBezTo>
                  <a:pt x="124" y="184"/>
                  <a:pt x="124" y="182"/>
                  <a:pt x="124" y="181"/>
                </a:cubicBezTo>
                <a:cubicBezTo>
                  <a:pt x="124" y="181"/>
                  <a:pt x="123" y="179"/>
                  <a:pt x="123" y="178"/>
                </a:cubicBezTo>
                <a:cubicBezTo>
                  <a:pt x="123" y="178"/>
                  <a:pt x="123" y="177"/>
                  <a:pt x="123" y="176"/>
                </a:cubicBezTo>
                <a:cubicBezTo>
                  <a:pt x="123" y="175"/>
                  <a:pt x="123" y="174"/>
                  <a:pt x="123" y="173"/>
                </a:cubicBezTo>
                <a:cubicBezTo>
                  <a:pt x="123" y="173"/>
                  <a:pt x="124" y="173"/>
                  <a:pt x="125" y="173"/>
                </a:cubicBezTo>
                <a:cubicBezTo>
                  <a:pt x="125" y="173"/>
                  <a:pt x="125" y="173"/>
                  <a:pt x="126" y="172"/>
                </a:cubicBezTo>
                <a:cubicBezTo>
                  <a:pt x="126" y="172"/>
                  <a:pt x="127" y="171"/>
                  <a:pt x="127" y="171"/>
                </a:cubicBezTo>
                <a:cubicBezTo>
                  <a:pt x="127" y="171"/>
                  <a:pt x="129" y="172"/>
                  <a:pt x="129" y="172"/>
                </a:cubicBezTo>
                <a:cubicBezTo>
                  <a:pt x="129" y="172"/>
                  <a:pt x="131" y="173"/>
                  <a:pt x="132" y="174"/>
                </a:cubicBezTo>
                <a:cubicBezTo>
                  <a:pt x="132" y="174"/>
                  <a:pt x="134" y="174"/>
                  <a:pt x="134" y="174"/>
                </a:cubicBezTo>
                <a:cubicBezTo>
                  <a:pt x="135" y="175"/>
                  <a:pt x="138" y="176"/>
                  <a:pt x="138" y="176"/>
                </a:cubicBezTo>
                <a:cubicBezTo>
                  <a:pt x="138" y="176"/>
                  <a:pt x="140" y="176"/>
                  <a:pt x="142" y="176"/>
                </a:cubicBezTo>
                <a:cubicBezTo>
                  <a:pt x="142" y="175"/>
                  <a:pt x="142" y="175"/>
                  <a:pt x="142" y="175"/>
                </a:cubicBezTo>
                <a:cubicBezTo>
                  <a:pt x="142" y="174"/>
                  <a:pt x="142" y="174"/>
                  <a:pt x="142" y="173"/>
                </a:cubicBezTo>
                <a:cubicBezTo>
                  <a:pt x="141" y="173"/>
                  <a:pt x="141" y="173"/>
                  <a:pt x="141" y="172"/>
                </a:cubicBezTo>
                <a:cubicBezTo>
                  <a:pt x="141" y="172"/>
                  <a:pt x="141" y="172"/>
                  <a:pt x="141" y="171"/>
                </a:cubicBezTo>
                <a:cubicBezTo>
                  <a:pt x="141" y="171"/>
                  <a:pt x="141" y="171"/>
                  <a:pt x="141" y="170"/>
                </a:cubicBezTo>
                <a:cubicBezTo>
                  <a:pt x="141" y="170"/>
                  <a:pt x="141" y="170"/>
                  <a:pt x="141" y="169"/>
                </a:cubicBezTo>
                <a:cubicBezTo>
                  <a:pt x="141" y="169"/>
                  <a:pt x="142" y="168"/>
                  <a:pt x="142" y="168"/>
                </a:cubicBezTo>
                <a:cubicBezTo>
                  <a:pt x="142" y="168"/>
                  <a:pt x="143" y="168"/>
                  <a:pt x="143" y="168"/>
                </a:cubicBezTo>
                <a:cubicBezTo>
                  <a:pt x="143" y="169"/>
                  <a:pt x="143" y="169"/>
                  <a:pt x="143" y="169"/>
                </a:cubicBezTo>
                <a:cubicBezTo>
                  <a:pt x="143" y="169"/>
                  <a:pt x="143" y="170"/>
                  <a:pt x="143" y="170"/>
                </a:cubicBezTo>
                <a:cubicBezTo>
                  <a:pt x="143" y="171"/>
                  <a:pt x="143" y="171"/>
                  <a:pt x="143" y="172"/>
                </a:cubicBezTo>
                <a:cubicBezTo>
                  <a:pt x="143" y="172"/>
                  <a:pt x="143" y="171"/>
                  <a:pt x="144" y="171"/>
                </a:cubicBezTo>
                <a:cubicBezTo>
                  <a:pt x="144" y="171"/>
                  <a:pt x="144" y="171"/>
                  <a:pt x="144" y="171"/>
                </a:cubicBezTo>
                <a:cubicBezTo>
                  <a:pt x="144" y="170"/>
                  <a:pt x="144" y="170"/>
                  <a:pt x="145" y="170"/>
                </a:cubicBezTo>
                <a:cubicBezTo>
                  <a:pt x="145" y="169"/>
                  <a:pt x="145" y="169"/>
                  <a:pt x="145" y="169"/>
                </a:cubicBezTo>
                <a:cubicBezTo>
                  <a:pt x="146" y="169"/>
                  <a:pt x="146" y="168"/>
                  <a:pt x="146" y="168"/>
                </a:cubicBezTo>
                <a:cubicBezTo>
                  <a:pt x="146" y="167"/>
                  <a:pt x="146" y="168"/>
                  <a:pt x="145" y="167"/>
                </a:cubicBezTo>
                <a:cubicBezTo>
                  <a:pt x="145" y="167"/>
                  <a:pt x="145" y="167"/>
                  <a:pt x="145" y="167"/>
                </a:cubicBezTo>
                <a:cubicBezTo>
                  <a:pt x="145" y="167"/>
                  <a:pt x="145" y="166"/>
                  <a:pt x="145" y="166"/>
                </a:cubicBezTo>
                <a:cubicBezTo>
                  <a:pt x="145" y="166"/>
                  <a:pt x="144" y="166"/>
                  <a:pt x="144" y="166"/>
                </a:cubicBezTo>
                <a:cubicBezTo>
                  <a:pt x="144" y="166"/>
                  <a:pt x="144" y="166"/>
                  <a:pt x="144" y="166"/>
                </a:cubicBezTo>
                <a:cubicBezTo>
                  <a:pt x="144" y="167"/>
                  <a:pt x="144" y="167"/>
                  <a:pt x="144" y="167"/>
                </a:cubicBezTo>
                <a:cubicBezTo>
                  <a:pt x="144" y="167"/>
                  <a:pt x="144" y="167"/>
                  <a:pt x="143" y="167"/>
                </a:cubicBezTo>
                <a:cubicBezTo>
                  <a:pt x="143" y="167"/>
                  <a:pt x="143" y="167"/>
                  <a:pt x="143" y="167"/>
                </a:cubicBezTo>
                <a:cubicBezTo>
                  <a:pt x="142" y="167"/>
                  <a:pt x="142" y="167"/>
                  <a:pt x="142" y="166"/>
                </a:cubicBezTo>
                <a:cubicBezTo>
                  <a:pt x="142" y="166"/>
                  <a:pt x="141" y="166"/>
                  <a:pt x="141" y="165"/>
                </a:cubicBezTo>
                <a:cubicBezTo>
                  <a:pt x="141" y="165"/>
                  <a:pt x="142" y="164"/>
                  <a:pt x="142" y="164"/>
                </a:cubicBezTo>
                <a:cubicBezTo>
                  <a:pt x="142" y="164"/>
                  <a:pt x="142" y="163"/>
                  <a:pt x="142" y="163"/>
                </a:cubicBezTo>
                <a:cubicBezTo>
                  <a:pt x="142" y="162"/>
                  <a:pt x="141" y="162"/>
                  <a:pt x="141" y="162"/>
                </a:cubicBezTo>
                <a:cubicBezTo>
                  <a:pt x="140" y="162"/>
                  <a:pt x="140" y="161"/>
                  <a:pt x="141" y="161"/>
                </a:cubicBezTo>
                <a:cubicBezTo>
                  <a:pt x="141" y="161"/>
                  <a:pt x="141" y="161"/>
                  <a:pt x="142" y="161"/>
                </a:cubicBezTo>
                <a:cubicBezTo>
                  <a:pt x="142" y="161"/>
                  <a:pt x="142" y="161"/>
                  <a:pt x="143" y="160"/>
                </a:cubicBezTo>
                <a:cubicBezTo>
                  <a:pt x="143" y="160"/>
                  <a:pt x="142" y="160"/>
                  <a:pt x="142" y="160"/>
                </a:cubicBezTo>
                <a:cubicBezTo>
                  <a:pt x="142" y="160"/>
                  <a:pt x="141" y="160"/>
                  <a:pt x="141" y="159"/>
                </a:cubicBezTo>
                <a:cubicBezTo>
                  <a:pt x="141" y="159"/>
                  <a:pt x="142" y="159"/>
                  <a:pt x="142" y="159"/>
                </a:cubicBezTo>
                <a:cubicBezTo>
                  <a:pt x="142" y="159"/>
                  <a:pt x="142" y="159"/>
                  <a:pt x="142" y="158"/>
                </a:cubicBezTo>
                <a:cubicBezTo>
                  <a:pt x="143" y="158"/>
                  <a:pt x="143" y="158"/>
                  <a:pt x="144" y="158"/>
                </a:cubicBezTo>
                <a:cubicBezTo>
                  <a:pt x="144" y="158"/>
                  <a:pt x="144" y="157"/>
                  <a:pt x="144" y="156"/>
                </a:cubicBezTo>
                <a:cubicBezTo>
                  <a:pt x="144" y="156"/>
                  <a:pt x="144" y="155"/>
                  <a:pt x="144" y="155"/>
                </a:cubicBezTo>
                <a:cubicBezTo>
                  <a:pt x="144" y="155"/>
                  <a:pt x="145" y="154"/>
                  <a:pt x="145" y="154"/>
                </a:cubicBezTo>
                <a:cubicBezTo>
                  <a:pt x="145" y="154"/>
                  <a:pt x="146" y="153"/>
                  <a:pt x="146" y="153"/>
                </a:cubicBezTo>
                <a:cubicBezTo>
                  <a:pt x="146" y="153"/>
                  <a:pt x="146" y="154"/>
                  <a:pt x="146" y="154"/>
                </a:cubicBezTo>
                <a:cubicBezTo>
                  <a:pt x="146" y="154"/>
                  <a:pt x="146" y="154"/>
                  <a:pt x="146" y="155"/>
                </a:cubicBezTo>
                <a:cubicBezTo>
                  <a:pt x="146" y="155"/>
                  <a:pt x="146" y="155"/>
                  <a:pt x="146" y="155"/>
                </a:cubicBezTo>
                <a:cubicBezTo>
                  <a:pt x="146" y="156"/>
                  <a:pt x="145" y="156"/>
                  <a:pt x="145" y="156"/>
                </a:cubicBezTo>
                <a:cubicBezTo>
                  <a:pt x="145" y="156"/>
                  <a:pt x="145" y="157"/>
                  <a:pt x="145" y="157"/>
                </a:cubicBezTo>
                <a:cubicBezTo>
                  <a:pt x="146" y="158"/>
                  <a:pt x="146" y="158"/>
                  <a:pt x="146" y="158"/>
                </a:cubicBezTo>
                <a:cubicBezTo>
                  <a:pt x="146" y="159"/>
                  <a:pt x="146" y="159"/>
                  <a:pt x="146" y="159"/>
                </a:cubicBezTo>
                <a:cubicBezTo>
                  <a:pt x="146" y="159"/>
                  <a:pt x="146" y="159"/>
                  <a:pt x="146" y="158"/>
                </a:cubicBezTo>
                <a:cubicBezTo>
                  <a:pt x="146" y="158"/>
                  <a:pt x="146" y="158"/>
                  <a:pt x="147" y="158"/>
                </a:cubicBezTo>
                <a:cubicBezTo>
                  <a:pt x="147" y="158"/>
                  <a:pt x="147" y="157"/>
                  <a:pt x="147" y="157"/>
                </a:cubicBezTo>
                <a:cubicBezTo>
                  <a:pt x="147" y="157"/>
                  <a:pt x="147" y="156"/>
                  <a:pt x="147" y="156"/>
                </a:cubicBezTo>
                <a:cubicBezTo>
                  <a:pt x="147" y="156"/>
                  <a:pt x="148" y="156"/>
                  <a:pt x="148" y="155"/>
                </a:cubicBezTo>
                <a:cubicBezTo>
                  <a:pt x="148" y="155"/>
                  <a:pt x="148" y="155"/>
                  <a:pt x="148" y="154"/>
                </a:cubicBezTo>
                <a:cubicBezTo>
                  <a:pt x="148" y="154"/>
                  <a:pt x="148" y="154"/>
                  <a:pt x="149" y="153"/>
                </a:cubicBezTo>
                <a:cubicBezTo>
                  <a:pt x="149" y="153"/>
                  <a:pt x="149" y="152"/>
                  <a:pt x="149" y="152"/>
                </a:cubicBezTo>
                <a:cubicBezTo>
                  <a:pt x="149" y="152"/>
                  <a:pt x="148" y="152"/>
                  <a:pt x="148" y="152"/>
                </a:cubicBezTo>
                <a:cubicBezTo>
                  <a:pt x="147" y="152"/>
                  <a:pt x="147" y="152"/>
                  <a:pt x="146" y="152"/>
                </a:cubicBezTo>
                <a:cubicBezTo>
                  <a:pt x="146" y="152"/>
                  <a:pt x="146" y="152"/>
                  <a:pt x="146" y="152"/>
                </a:cubicBezTo>
                <a:cubicBezTo>
                  <a:pt x="146" y="151"/>
                  <a:pt x="147" y="151"/>
                  <a:pt x="147" y="151"/>
                </a:cubicBezTo>
                <a:cubicBezTo>
                  <a:pt x="147" y="151"/>
                  <a:pt x="148" y="151"/>
                  <a:pt x="148" y="151"/>
                </a:cubicBezTo>
                <a:cubicBezTo>
                  <a:pt x="148" y="151"/>
                  <a:pt x="148" y="151"/>
                  <a:pt x="148" y="151"/>
                </a:cubicBezTo>
                <a:cubicBezTo>
                  <a:pt x="148" y="151"/>
                  <a:pt x="149" y="151"/>
                  <a:pt x="149" y="151"/>
                </a:cubicBezTo>
                <a:cubicBezTo>
                  <a:pt x="149" y="151"/>
                  <a:pt x="149" y="151"/>
                  <a:pt x="149" y="150"/>
                </a:cubicBezTo>
                <a:cubicBezTo>
                  <a:pt x="149" y="150"/>
                  <a:pt x="149" y="149"/>
                  <a:pt x="150" y="149"/>
                </a:cubicBezTo>
                <a:cubicBezTo>
                  <a:pt x="150" y="149"/>
                  <a:pt x="150" y="149"/>
                  <a:pt x="150" y="148"/>
                </a:cubicBezTo>
                <a:cubicBezTo>
                  <a:pt x="150" y="148"/>
                  <a:pt x="151" y="148"/>
                  <a:pt x="151" y="147"/>
                </a:cubicBezTo>
                <a:cubicBezTo>
                  <a:pt x="151" y="147"/>
                  <a:pt x="151" y="147"/>
                  <a:pt x="151" y="147"/>
                </a:cubicBezTo>
                <a:cubicBezTo>
                  <a:pt x="151" y="146"/>
                  <a:pt x="151" y="146"/>
                  <a:pt x="151" y="146"/>
                </a:cubicBezTo>
                <a:cubicBezTo>
                  <a:pt x="152" y="145"/>
                  <a:pt x="151" y="145"/>
                  <a:pt x="152" y="144"/>
                </a:cubicBezTo>
                <a:cubicBezTo>
                  <a:pt x="152" y="144"/>
                  <a:pt x="153" y="143"/>
                  <a:pt x="152" y="143"/>
                </a:cubicBezTo>
                <a:cubicBezTo>
                  <a:pt x="152" y="143"/>
                  <a:pt x="152" y="144"/>
                  <a:pt x="152" y="144"/>
                </a:cubicBezTo>
                <a:cubicBezTo>
                  <a:pt x="151" y="144"/>
                  <a:pt x="151" y="144"/>
                  <a:pt x="151" y="144"/>
                </a:cubicBezTo>
                <a:cubicBezTo>
                  <a:pt x="150" y="144"/>
                  <a:pt x="150" y="144"/>
                  <a:pt x="150" y="144"/>
                </a:cubicBezTo>
                <a:cubicBezTo>
                  <a:pt x="150" y="144"/>
                  <a:pt x="150" y="144"/>
                  <a:pt x="150" y="144"/>
                </a:cubicBezTo>
                <a:cubicBezTo>
                  <a:pt x="149" y="144"/>
                  <a:pt x="149" y="144"/>
                  <a:pt x="149" y="144"/>
                </a:cubicBezTo>
                <a:cubicBezTo>
                  <a:pt x="149" y="143"/>
                  <a:pt x="149" y="143"/>
                  <a:pt x="148" y="143"/>
                </a:cubicBezTo>
                <a:cubicBezTo>
                  <a:pt x="148" y="143"/>
                  <a:pt x="147" y="142"/>
                  <a:pt x="147" y="142"/>
                </a:cubicBezTo>
                <a:cubicBezTo>
                  <a:pt x="147" y="142"/>
                  <a:pt x="148" y="142"/>
                  <a:pt x="148" y="142"/>
                </a:cubicBezTo>
                <a:cubicBezTo>
                  <a:pt x="149" y="142"/>
                  <a:pt x="149" y="142"/>
                  <a:pt x="149" y="142"/>
                </a:cubicBezTo>
                <a:cubicBezTo>
                  <a:pt x="150" y="142"/>
                  <a:pt x="150" y="142"/>
                  <a:pt x="150" y="142"/>
                </a:cubicBezTo>
                <a:cubicBezTo>
                  <a:pt x="151" y="142"/>
                  <a:pt x="151" y="142"/>
                  <a:pt x="151" y="141"/>
                </a:cubicBezTo>
                <a:cubicBezTo>
                  <a:pt x="151" y="141"/>
                  <a:pt x="151" y="141"/>
                  <a:pt x="151" y="141"/>
                </a:cubicBezTo>
                <a:cubicBezTo>
                  <a:pt x="152" y="140"/>
                  <a:pt x="152" y="140"/>
                  <a:pt x="152" y="140"/>
                </a:cubicBezTo>
                <a:cubicBezTo>
                  <a:pt x="152" y="139"/>
                  <a:pt x="151" y="139"/>
                  <a:pt x="151" y="139"/>
                </a:cubicBezTo>
                <a:cubicBezTo>
                  <a:pt x="150" y="139"/>
                  <a:pt x="149" y="139"/>
                  <a:pt x="149" y="139"/>
                </a:cubicBezTo>
                <a:cubicBezTo>
                  <a:pt x="148" y="139"/>
                  <a:pt x="148" y="139"/>
                  <a:pt x="148" y="138"/>
                </a:cubicBezTo>
                <a:cubicBezTo>
                  <a:pt x="148" y="138"/>
                  <a:pt x="147" y="138"/>
                  <a:pt x="147" y="138"/>
                </a:cubicBezTo>
                <a:cubicBezTo>
                  <a:pt x="147" y="138"/>
                  <a:pt x="147" y="138"/>
                  <a:pt x="148" y="138"/>
                </a:cubicBezTo>
                <a:cubicBezTo>
                  <a:pt x="148" y="138"/>
                  <a:pt x="149" y="138"/>
                  <a:pt x="149" y="137"/>
                </a:cubicBezTo>
                <a:cubicBezTo>
                  <a:pt x="150" y="137"/>
                  <a:pt x="150" y="137"/>
                  <a:pt x="151" y="137"/>
                </a:cubicBezTo>
                <a:cubicBezTo>
                  <a:pt x="151" y="137"/>
                  <a:pt x="152" y="137"/>
                  <a:pt x="152" y="137"/>
                </a:cubicBezTo>
                <a:cubicBezTo>
                  <a:pt x="152" y="136"/>
                  <a:pt x="152" y="136"/>
                  <a:pt x="152" y="136"/>
                </a:cubicBezTo>
                <a:cubicBezTo>
                  <a:pt x="152" y="136"/>
                  <a:pt x="152" y="136"/>
                  <a:pt x="152" y="135"/>
                </a:cubicBezTo>
                <a:cubicBezTo>
                  <a:pt x="152" y="135"/>
                  <a:pt x="151" y="135"/>
                  <a:pt x="151" y="135"/>
                </a:cubicBezTo>
                <a:cubicBezTo>
                  <a:pt x="151" y="135"/>
                  <a:pt x="151" y="134"/>
                  <a:pt x="151" y="134"/>
                </a:cubicBezTo>
                <a:cubicBezTo>
                  <a:pt x="151" y="134"/>
                  <a:pt x="152" y="134"/>
                  <a:pt x="153" y="134"/>
                </a:cubicBezTo>
                <a:cubicBezTo>
                  <a:pt x="153" y="134"/>
                  <a:pt x="154" y="134"/>
                  <a:pt x="154" y="134"/>
                </a:cubicBezTo>
                <a:cubicBezTo>
                  <a:pt x="154" y="134"/>
                  <a:pt x="154" y="135"/>
                  <a:pt x="154" y="135"/>
                </a:cubicBezTo>
                <a:cubicBezTo>
                  <a:pt x="154" y="136"/>
                  <a:pt x="155" y="135"/>
                  <a:pt x="155" y="135"/>
                </a:cubicBezTo>
                <a:cubicBezTo>
                  <a:pt x="156" y="134"/>
                  <a:pt x="156" y="134"/>
                  <a:pt x="157" y="133"/>
                </a:cubicBezTo>
                <a:cubicBezTo>
                  <a:pt x="157" y="133"/>
                  <a:pt x="159" y="131"/>
                  <a:pt x="157" y="131"/>
                </a:cubicBezTo>
                <a:cubicBezTo>
                  <a:pt x="157" y="131"/>
                  <a:pt x="157" y="131"/>
                  <a:pt x="156" y="131"/>
                </a:cubicBezTo>
                <a:cubicBezTo>
                  <a:pt x="156" y="131"/>
                  <a:pt x="156" y="131"/>
                  <a:pt x="156" y="130"/>
                </a:cubicBezTo>
                <a:cubicBezTo>
                  <a:pt x="156" y="130"/>
                  <a:pt x="155" y="130"/>
                  <a:pt x="155" y="130"/>
                </a:cubicBezTo>
                <a:cubicBezTo>
                  <a:pt x="154" y="130"/>
                  <a:pt x="155" y="130"/>
                  <a:pt x="155" y="129"/>
                </a:cubicBezTo>
                <a:cubicBezTo>
                  <a:pt x="155" y="129"/>
                  <a:pt x="155" y="129"/>
                  <a:pt x="155" y="129"/>
                </a:cubicBezTo>
                <a:cubicBezTo>
                  <a:pt x="155" y="128"/>
                  <a:pt x="155" y="128"/>
                  <a:pt x="155" y="128"/>
                </a:cubicBezTo>
                <a:cubicBezTo>
                  <a:pt x="155" y="127"/>
                  <a:pt x="156" y="127"/>
                  <a:pt x="156" y="128"/>
                </a:cubicBezTo>
                <a:cubicBezTo>
                  <a:pt x="156" y="128"/>
                  <a:pt x="157" y="128"/>
                  <a:pt x="157" y="129"/>
                </a:cubicBezTo>
                <a:cubicBezTo>
                  <a:pt x="158" y="129"/>
                  <a:pt x="158" y="129"/>
                  <a:pt x="158" y="129"/>
                </a:cubicBezTo>
                <a:cubicBezTo>
                  <a:pt x="159" y="129"/>
                  <a:pt x="159" y="129"/>
                  <a:pt x="160" y="129"/>
                </a:cubicBezTo>
                <a:cubicBezTo>
                  <a:pt x="160" y="128"/>
                  <a:pt x="160" y="128"/>
                  <a:pt x="161" y="128"/>
                </a:cubicBezTo>
                <a:cubicBezTo>
                  <a:pt x="161" y="127"/>
                  <a:pt x="160" y="127"/>
                  <a:pt x="160" y="127"/>
                </a:cubicBezTo>
                <a:cubicBezTo>
                  <a:pt x="159" y="126"/>
                  <a:pt x="159" y="126"/>
                  <a:pt x="159" y="126"/>
                </a:cubicBezTo>
                <a:cubicBezTo>
                  <a:pt x="159" y="126"/>
                  <a:pt x="158" y="126"/>
                  <a:pt x="159" y="125"/>
                </a:cubicBezTo>
                <a:cubicBezTo>
                  <a:pt x="159" y="125"/>
                  <a:pt x="159" y="125"/>
                  <a:pt x="160" y="125"/>
                </a:cubicBezTo>
                <a:cubicBezTo>
                  <a:pt x="160" y="126"/>
                  <a:pt x="160" y="126"/>
                  <a:pt x="160" y="126"/>
                </a:cubicBezTo>
                <a:cubicBezTo>
                  <a:pt x="161" y="126"/>
                  <a:pt x="161" y="126"/>
                  <a:pt x="162" y="126"/>
                </a:cubicBezTo>
                <a:cubicBezTo>
                  <a:pt x="162" y="126"/>
                  <a:pt x="163" y="126"/>
                  <a:pt x="163" y="126"/>
                </a:cubicBezTo>
                <a:cubicBezTo>
                  <a:pt x="164" y="125"/>
                  <a:pt x="164" y="125"/>
                  <a:pt x="164" y="125"/>
                </a:cubicBezTo>
                <a:cubicBezTo>
                  <a:pt x="165" y="124"/>
                  <a:pt x="164" y="124"/>
                  <a:pt x="164" y="123"/>
                </a:cubicBezTo>
                <a:cubicBezTo>
                  <a:pt x="164" y="123"/>
                  <a:pt x="164" y="123"/>
                  <a:pt x="163" y="123"/>
                </a:cubicBezTo>
                <a:cubicBezTo>
                  <a:pt x="163" y="123"/>
                  <a:pt x="163" y="123"/>
                  <a:pt x="162" y="123"/>
                </a:cubicBezTo>
                <a:cubicBezTo>
                  <a:pt x="162" y="123"/>
                  <a:pt x="161" y="122"/>
                  <a:pt x="161" y="122"/>
                </a:cubicBezTo>
                <a:cubicBezTo>
                  <a:pt x="161" y="122"/>
                  <a:pt x="160" y="122"/>
                  <a:pt x="160" y="122"/>
                </a:cubicBezTo>
                <a:cubicBezTo>
                  <a:pt x="160" y="122"/>
                  <a:pt x="160" y="122"/>
                  <a:pt x="160" y="122"/>
                </a:cubicBezTo>
                <a:cubicBezTo>
                  <a:pt x="159" y="121"/>
                  <a:pt x="160" y="121"/>
                  <a:pt x="160" y="121"/>
                </a:cubicBezTo>
                <a:cubicBezTo>
                  <a:pt x="160" y="121"/>
                  <a:pt x="160" y="121"/>
                  <a:pt x="160" y="121"/>
                </a:cubicBezTo>
                <a:cubicBezTo>
                  <a:pt x="160" y="121"/>
                  <a:pt x="160" y="120"/>
                  <a:pt x="159" y="12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0" name="Freeform 48">
            <a:extLst>
              <a:ext uri="{FF2B5EF4-FFF2-40B4-BE49-F238E27FC236}">
                <a16:creationId xmlns:a16="http://schemas.microsoft.com/office/drawing/2014/main" id="{5CE0A6D3-D06C-4401-A1D1-322F9DC5C0B0}"/>
              </a:ext>
            </a:extLst>
          </p:cNvPr>
          <p:cNvSpPr>
            <a:spLocks noEditPoints="1"/>
          </p:cNvSpPr>
          <p:nvPr/>
        </p:nvSpPr>
        <p:spPr bwMode="auto">
          <a:xfrm>
            <a:off x="9070793" y="4509543"/>
            <a:ext cx="1042541" cy="915322"/>
          </a:xfrm>
          <a:custGeom>
            <a:avLst/>
            <a:gdLst>
              <a:gd name="T0" fmla="*/ 251 w 263"/>
              <a:gd name="T1" fmla="*/ 230 h 231"/>
              <a:gd name="T2" fmla="*/ 193 w 263"/>
              <a:gd name="T3" fmla="*/ 12 h 231"/>
              <a:gd name="T4" fmla="*/ 187 w 263"/>
              <a:gd name="T5" fmla="*/ 19 h 231"/>
              <a:gd name="T6" fmla="*/ 0 w 263"/>
              <a:gd name="T7" fmla="*/ 6 h 231"/>
              <a:gd name="T8" fmla="*/ 9 w 263"/>
              <a:gd name="T9" fmla="*/ 22 h 231"/>
              <a:gd name="T10" fmla="*/ 11 w 263"/>
              <a:gd name="T11" fmla="*/ 27 h 231"/>
              <a:gd name="T12" fmla="*/ 18 w 263"/>
              <a:gd name="T13" fmla="*/ 22 h 231"/>
              <a:gd name="T14" fmla="*/ 22 w 263"/>
              <a:gd name="T15" fmla="*/ 21 h 231"/>
              <a:gd name="T16" fmla="*/ 35 w 263"/>
              <a:gd name="T17" fmla="*/ 25 h 231"/>
              <a:gd name="T18" fmla="*/ 46 w 263"/>
              <a:gd name="T19" fmla="*/ 22 h 231"/>
              <a:gd name="T20" fmla="*/ 50 w 263"/>
              <a:gd name="T21" fmla="*/ 26 h 231"/>
              <a:gd name="T22" fmla="*/ 65 w 263"/>
              <a:gd name="T23" fmla="*/ 35 h 231"/>
              <a:gd name="T24" fmla="*/ 69 w 263"/>
              <a:gd name="T25" fmla="*/ 37 h 231"/>
              <a:gd name="T26" fmla="*/ 81 w 263"/>
              <a:gd name="T27" fmla="*/ 53 h 231"/>
              <a:gd name="T28" fmla="*/ 94 w 263"/>
              <a:gd name="T29" fmla="*/ 50 h 231"/>
              <a:gd name="T30" fmla="*/ 104 w 263"/>
              <a:gd name="T31" fmla="*/ 46 h 231"/>
              <a:gd name="T32" fmla="*/ 116 w 263"/>
              <a:gd name="T33" fmla="*/ 38 h 231"/>
              <a:gd name="T34" fmla="*/ 133 w 263"/>
              <a:gd name="T35" fmla="*/ 42 h 231"/>
              <a:gd name="T36" fmla="*/ 150 w 263"/>
              <a:gd name="T37" fmla="*/ 62 h 231"/>
              <a:gd name="T38" fmla="*/ 157 w 263"/>
              <a:gd name="T39" fmla="*/ 68 h 231"/>
              <a:gd name="T40" fmla="*/ 168 w 263"/>
              <a:gd name="T41" fmla="*/ 78 h 231"/>
              <a:gd name="T42" fmla="*/ 171 w 263"/>
              <a:gd name="T43" fmla="*/ 88 h 231"/>
              <a:gd name="T44" fmla="*/ 169 w 263"/>
              <a:gd name="T45" fmla="*/ 110 h 231"/>
              <a:gd name="T46" fmla="*/ 169 w 263"/>
              <a:gd name="T47" fmla="*/ 129 h 231"/>
              <a:gd name="T48" fmla="*/ 171 w 263"/>
              <a:gd name="T49" fmla="*/ 122 h 231"/>
              <a:gd name="T50" fmla="*/ 178 w 263"/>
              <a:gd name="T51" fmla="*/ 126 h 231"/>
              <a:gd name="T52" fmla="*/ 181 w 263"/>
              <a:gd name="T53" fmla="*/ 126 h 231"/>
              <a:gd name="T54" fmla="*/ 175 w 263"/>
              <a:gd name="T55" fmla="*/ 137 h 231"/>
              <a:gd name="T56" fmla="*/ 173 w 263"/>
              <a:gd name="T57" fmla="*/ 142 h 231"/>
              <a:gd name="T58" fmla="*/ 182 w 263"/>
              <a:gd name="T59" fmla="*/ 160 h 231"/>
              <a:gd name="T60" fmla="*/ 189 w 263"/>
              <a:gd name="T61" fmla="*/ 164 h 231"/>
              <a:gd name="T62" fmla="*/ 195 w 263"/>
              <a:gd name="T63" fmla="*/ 159 h 231"/>
              <a:gd name="T64" fmla="*/ 192 w 263"/>
              <a:gd name="T65" fmla="*/ 170 h 231"/>
              <a:gd name="T66" fmla="*/ 192 w 263"/>
              <a:gd name="T67" fmla="*/ 178 h 231"/>
              <a:gd name="T68" fmla="*/ 198 w 263"/>
              <a:gd name="T69" fmla="*/ 181 h 231"/>
              <a:gd name="T70" fmla="*/ 202 w 263"/>
              <a:gd name="T71" fmla="*/ 194 h 231"/>
              <a:gd name="T72" fmla="*/ 213 w 263"/>
              <a:gd name="T73" fmla="*/ 204 h 231"/>
              <a:gd name="T74" fmla="*/ 222 w 263"/>
              <a:gd name="T75" fmla="*/ 217 h 231"/>
              <a:gd name="T76" fmla="*/ 224 w 263"/>
              <a:gd name="T77" fmla="*/ 222 h 231"/>
              <a:gd name="T78" fmla="*/ 234 w 263"/>
              <a:gd name="T79" fmla="*/ 229 h 231"/>
              <a:gd name="T80" fmla="*/ 252 w 263"/>
              <a:gd name="T81" fmla="*/ 222 h 231"/>
              <a:gd name="T82" fmla="*/ 255 w 263"/>
              <a:gd name="T83" fmla="*/ 210 h 231"/>
              <a:gd name="T84" fmla="*/ 259 w 263"/>
              <a:gd name="T85" fmla="*/ 200 h 231"/>
              <a:gd name="T86" fmla="*/ 262 w 263"/>
              <a:gd name="T87" fmla="*/ 179 h 231"/>
              <a:gd name="T88" fmla="*/ 261 w 263"/>
              <a:gd name="T89" fmla="*/ 160 h 231"/>
              <a:gd name="T90" fmla="*/ 256 w 263"/>
              <a:gd name="T91" fmla="*/ 151 h 231"/>
              <a:gd name="T92" fmla="*/ 255 w 263"/>
              <a:gd name="T93" fmla="*/ 147 h 231"/>
              <a:gd name="T94" fmla="*/ 252 w 263"/>
              <a:gd name="T95" fmla="*/ 140 h 231"/>
              <a:gd name="T96" fmla="*/ 250 w 263"/>
              <a:gd name="T97" fmla="*/ 131 h 231"/>
              <a:gd name="T98" fmla="*/ 245 w 263"/>
              <a:gd name="T99" fmla="*/ 120 h 231"/>
              <a:gd name="T100" fmla="*/ 239 w 263"/>
              <a:gd name="T101" fmla="*/ 107 h 231"/>
              <a:gd name="T102" fmla="*/ 242 w 263"/>
              <a:gd name="T103" fmla="*/ 100 h 231"/>
              <a:gd name="T104" fmla="*/ 245 w 263"/>
              <a:gd name="T105" fmla="*/ 101 h 231"/>
              <a:gd name="T106" fmla="*/ 236 w 263"/>
              <a:gd name="T107" fmla="*/ 88 h 231"/>
              <a:gd name="T108" fmla="*/ 231 w 263"/>
              <a:gd name="T109" fmla="*/ 76 h 231"/>
              <a:gd name="T110" fmla="*/ 228 w 263"/>
              <a:gd name="T111" fmla="*/ 69 h 231"/>
              <a:gd name="T112" fmla="*/ 225 w 263"/>
              <a:gd name="T113" fmla="*/ 63 h 231"/>
              <a:gd name="T114" fmla="*/ 219 w 263"/>
              <a:gd name="T115" fmla="*/ 46 h 231"/>
              <a:gd name="T116" fmla="*/ 217 w 263"/>
              <a:gd name="T117" fmla="*/ 34 h 231"/>
              <a:gd name="T118" fmla="*/ 216 w 263"/>
              <a:gd name="T119" fmla="*/ 26 h 231"/>
              <a:gd name="T120" fmla="*/ 214 w 263"/>
              <a:gd name="T121" fmla="*/ 22 h 231"/>
              <a:gd name="T122" fmla="*/ 213 w 263"/>
              <a:gd name="T123" fmla="*/ 17 h 231"/>
              <a:gd name="T124" fmla="*/ 212 w 263"/>
              <a:gd name="T125" fmla="*/ 1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" h="231">
                <a:moveTo>
                  <a:pt x="249" y="231"/>
                </a:moveTo>
                <a:cubicBezTo>
                  <a:pt x="249" y="229"/>
                  <a:pt x="249" y="229"/>
                  <a:pt x="250" y="228"/>
                </a:cubicBezTo>
                <a:cubicBezTo>
                  <a:pt x="251" y="227"/>
                  <a:pt x="252" y="226"/>
                  <a:pt x="252" y="225"/>
                </a:cubicBezTo>
                <a:cubicBezTo>
                  <a:pt x="252" y="224"/>
                  <a:pt x="253" y="223"/>
                  <a:pt x="254" y="223"/>
                </a:cubicBezTo>
                <a:cubicBezTo>
                  <a:pt x="254" y="223"/>
                  <a:pt x="254" y="224"/>
                  <a:pt x="254" y="225"/>
                </a:cubicBezTo>
                <a:cubicBezTo>
                  <a:pt x="253" y="225"/>
                  <a:pt x="253" y="226"/>
                  <a:pt x="253" y="227"/>
                </a:cubicBezTo>
                <a:cubicBezTo>
                  <a:pt x="252" y="227"/>
                  <a:pt x="252" y="228"/>
                  <a:pt x="252" y="228"/>
                </a:cubicBezTo>
                <a:cubicBezTo>
                  <a:pt x="252" y="229"/>
                  <a:pt x="251" y="229"/>
                  <a:pt x="251" y="229"/>
                </a:cubicBezTo>
                <a:cubicBezTo>
                  <a:pt x="251" y="230"/>
                  <a:pt x="251" y="230"/>
                  <a:pt x="251" y="230"/>
                </a:cubicBezTo>
                <a:cubicBezTo>
                  <a:pt x="250" y="231"/>
                  <a:pt x="250" y="231"/>
                  <a:pt x="249" y="231"/>
                </a:cubicBezTo>
                <a:close/>
                <a:moveTo>
                  <a:pt x="204" y="10"/>
                </a:moveTo>
                <a:cubicBezTo>
                  <a:pt x="204" y="10"/>
                  <a:pt x="202" y="10"/>
                  <a:pt x="202" y="10"/>
                </a:cubicBezTo>
                <a:cubicBezTo>
                  <a:pt x="201" y="9"/>
                  <a:pt x="199" y="8"/>
                  <a:pt x="199" y="8"/>
                </a:cubicBezTo>
                <a:cubicBezTo>
                  <a:pt x="199" y="8"/>
                  <a:pt x="197" y="7"/>
                  <a:pt x="197" y="7"/>
                </a:cubicBezTo>
                <a:cubicBezTo>
                  <a:pt x="197" y="7"/>
                  <a:pt x="196" y="8"/>
                  <a:pt x="196" y="8"/>
                </a:cubicBezTo>
                <a:cubicBezTo>
                  <a:pt x="195" y="9"/>
                  <a:pt x="195" y="9"/>
                  <a:pt x="195" y="9"/>
                </a:cubicBezTo>
                <a:cubicBezTo>
                  <a:pt x="194" y="9"/>
                  <a:pt x="193" y="9"/>
                  <a:pt x="193" y="9"/>
                </a:cubicBezTo>
                <a:cubicBezTo>
                  <a:pt x="193" y="10"/>
                  <a:pt x="193" y="11"/>
                  <a:pt x="193" y="12"/>
                </a:cubicBezTo>
                <a:cubicBezTo>
                  <a:pt x="193" y="13"/>
                  <a:pt x="193" y="14"/>
                  <a:pt x="193" y="14"/>
                </a:cubicBezTo>
                <a:cubicBezTo>
                  <a:pt x="193" y="15"/>
                  <a:pt x="194" y="17"/>
                  <a:pt x="194" y="17"/>
                </a:cubicBezTo>
                <a:cubicBezTo>
                  <a:pt x="194" y="18"/>
                  <a:pt x="194" y="20"/>
                  <a:pt x="194" y="20"/>
                </a:cubicBezTo>
                <a:cubicBezTo>
                  <a:pt x="193" y="21"/>
                  <a:pt x="194" y="23"/>
                  <a:pt x="194" y="24"/>
                </a:cubicBezTo>
                <a:cubicBezTo>
                  <a:pt x="193" y="24"/>
                  <a:pt x="192" y="26"/>
                  <a:pt x="192" y="26"/>
                </a:cubicBezTo>
                <a:cubicBezTo>
                  <a:pt x="192" y="27"/>
                  <a:pt x="191" y="26"/>
                  <a:pt x="190" y="26"/>
                </a:cubicBezTo>
                <a:cubicBezTo>
                  <a:pt x="189" y="26"/>
                  <a:pt x="188" y="25"/>
                  <a:pt x="188" y="25"/>
                </a:cubicBezTo>
                <a:cubicBezTo>
                  <a:pt x="187" y="24"/>
                  <a:pt x="187" y="23"/>
                  <a:pt x="187" y="22"/>
                </a:cubicBezTo>
                <a:cubicBezTo>
                  <a:pt x="187" y="22"/>
                  <a:pt x="187" y="20"/>
                  <a:pt x="187" y="19"/>
                </a:cubicBezTo>
                <a:cubicBezTo>
                  <a:pt x="187" y="19"/>
                  <a:pt x="186" y="17"/>
                  <a:pt x="186" y="17"/>
                </a:cubicBezTo>
                <a:cubicBezTo>
                  <a:pt x="186" y="17"/>
                  <a:pt x="97" y="12"/>
                  <a:pt x="97" y="12"/>
                </a:cubicBezTo>
                <a:cubicBezTo>
                  <a:pt x="97" y="12"/>
                  <a:pt x="94" y="11"/>
                  <a:pt x="94" y="10"/>
                </a:cubicBezTo>
                <a:cubicBezTo>
                  <a:pt x="94" y="10"/>
                  <a:pt x="93" y="9"/>
                  <a:pt x="93" y="8"/>
                </a:cubicBezTo>
                <a:cubicBezTo>
                  <a:pt x="93" y="8"/>
                  <a:pt x="93" y="5"/>
                  <a:pt x="93" y="5"/>
                </a:cubicBezTo>
                <a:cubicBezTo>
                  <a:pt x="91" y="0"/>
                  <a:pt x="91" y="0"/>
                  <a:pt x="91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3"/>
                  <a:pt x="1" y="3"/>
                  <a:pt x="1" y="3"/>
                </a:cubicBezTo>
                <a:cubicBezTo>
                  <a:pt x="0" y="6"/>
                  <a:pt x="0" y="6"/>
                  <a:pt x="0" y="6"/>
                </a:cubicBezTo>
                <a:cubicBezTo>
                  <a:pt x="0" y="6"/>
                  <a:pt x="2" y="8"/>
                  <a:pt x="2" y="8"/>
                </a:cubicBezTo>
                <a:cubicBezTo>
                  <a:pt x="2" y="9"/>
                  <a:pt x="4" y="10"/>
                  <a:pt x="4" y="10"/>
                </a:cubicBezTo>
                <a:cubicBezTo>
                  <a:pt x="4" y="11"/>
                  <a:pt x="4" y="12"/>
                  <a:pt x="5" y="12"/>
                </a:cubicBezTo>
                <a:cubicBezTo>
                  <a:pt x="5" y="12"/>
                  <a:pt x="8" y="13"/>
                  <a:pt x="8" y="13"/>
                </a:cubicBezTo>
                <a:cubicBezTo>
                  <a:pt x="8" y="13"/>
                  <a:pt x="8" y="15"/>
                  <a:pt x="8" y="15"/>
                </a:cubicBezTo>
                <a:cubicBezTo>
                  <a:pt x="8" y="15"/>
                  <a:pt x="7" y="17"/>
                  <a:pt x="7" y="17"/>
                </a:cubicBezTo>
                <a:cubicBezTo>
                  <a:pt x="7" y="18"/>
                  <a:pt x="7" y="19"/>
                  <a:pt x="7" y="19"/>
                </a:cubicBezTo>
                <a:cubicBezTo>
                  <a:pt x="7" y="19"/>
                  <a:pt x="7" y="20"/>
                  <a:pt x="7" y="21"/>
                </a:cubicBezTo>
                <a:cubicBezTo>
                  <a:pt x="8" y="21"/>
                  <a:pt x="8" y="22"/>
                  <a:pt x="9" y="22"/>
                </a:cubicBezTo>
                <a:cubicBezTo>
                  <a:pt x="9" y="22"/>
                  <a:pt x="10" y="22"/>
                  <a:pt x="10" y="23"/>
                </a:cubicBezTo>
                <a:cubicBezTo>
                  <a:pt x="10" y="24"/>
                  <a:pt x="9" y="24"/>
                  <a:pt x="8" y="25"/>
                </a:cubicBezTo>
                <a:cubicBezTo>
                  <a:pt x="8" y="25"/>
                  <a:pt x="8" y="25"/>
                  <a:pt x="8" y="26"/>
                </a:cubicBezTo>
                <a:cubicBezTo>
                  <a:pt x="7" y="26"/>
                  <a:pt x="7" y="26"/>
                  <a:pt x="7" y="27"/>
                </a:cubicBezTo>
                <a:cubicBezTo>
                  <a:pt x="6" y="27"/>
                  <a:pt x="6" y="28"/>
                  <a:pt x="6" y="29"/>
                </a:cubicBezTo>
                <a:cubicBezTo>
                  <a:pt x="6" y="29"/>
                  <a:pt x="6" y="29"/>
                  <a:pt x="7" y="29"/>
                </a:cubicBezTo>
                <a:cubicBezTo>
                  <a:pt x="7" y="28"/>
                  <a:pt x="8" y="28"/>
                  <a:pt x="8" y="28"/>
                </a:cubicBezTo>
                <a:cubicBezTo>
                  <a:pt x="9" y="28"/>
                  <a:pt x="10" y="28"/>
                  <a:pt x="11" y="28"/>
                </a:cubicBezTo>
                <a:cubicBezTo>
                  <a:pt x="11" y="27"/>
                  <a:pt x="11" y="27"/>
                  <a:pt x="11" y="27"/>
                </a:cubicBezTo>
                <a:cubicBezTo>
                  <a:pt x="12" y="27"/>
                  <a:pt x="12" y="27"/>
                  <a:pt x="12" y="27"/>
                </a:cubicBezTo>
                <a:cubicBezTo>
                  <a:pt x="13" y="26"/>
                  <a:pt x="13" y="26"/>
                  <a:pt x="13" y="25"/>
                </a:cubicBezTo>
                <a:cubicBezTo>
                  <a:pt x="13" y="25"/>
                  <a:pt x="14" y="25"/>
                  <a:pt x="14" y="25"/>
                </a:cubicBezTo>
                <a:cubicBezTo>
                  <a:pt x="15" y="25"/>
                  <a:pt x="16" y="24"/>
                  <a:pt x="16" y="23"/>
                </a:cubicBezTo>
                <a:cubicBezTo>
                  <a:pt x="16" y="22"/>
                  <a:pt x="17" y="21"/>
                  <a:pt x="17" y="20"/>
                </a:cubicBezTo>
                <a:cubicBezTo>
                  <a:pt x="17" y="20"/>
                  <a:pt x="17" y="19"/>
                  <a:pt x="17" y="19"/>
                </a:cubicBezTo>
                <a:cubicBezTo>
                  <a:pt x="17" y="19"/>
                  <a:pt x="18" y="19"/>
                  <a:pt x="18" y="20"/>
                </a:cubicBezTo>
                <a:cubicBezTo>
                  <a:pt x="18" y="20"/>
                  <a:pt x="18" y="20"/>
                  <a:pt x="18" y="21"/>
                </a:cubicBezTo>
                <a:cubicBezTo>
                  <a:pt x="18" y="21"/>
                  <a:pt x="18" y="22"/>
                  <a:pt x="18" y="22"/>
                </a:cubicBezTo>
                <a:cubicBezTo>
                  <a:pt x="19" y="22"/>
                  <a:pt x="19" y="22"/>
                  <a:pt x="19" y="21"/>
                </a:cubicBezTo>
                <a:cubicBezTo>
                  <a:pt x="20" y="21"/>
                  <a:pt x="20" y="21"/>
                  <a:pt x="20" y="2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19"/>
                  <a:pt x="20" y="19"/>
                  <a:pt x="21" y="18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1" y="19"/>
                  <a:pt x="21" y="19"/>
                </a:cubicBezTo>
                <a:cubicBezTo>
                  <a:pt x="21" y="19"/>
                  <a:pt x="21" y="20"/>
                  <a:pt x="21" y="20"/>
                </a:cubicBezTo>
                <a:cubicBezTo>
                  <a:pt x="21" y="20"/>
                  <a:pt x="21" y="20"/>
                  <a:pt x="22" y="21"/>
                </a:cubicBezTo>
                <a:cubicBezTo>
                  <a:pt x="22" y="21"/>
                  <a:pt x="22" y="21"/>
                  <a:pt x="22" y="21"/>
                </a:cubicBezTo>
                <a:cubicBezTo>
                  <a:pt x="23" y="22"/>
                  <a:pt x="24" y="21"/>
                  <a:pt x="24" y="22"/>
                </a:cubicBezTo>
                <a:cubicBezTo>
                  <a:pt x="25" y="23"/>
                  <a:pt x="22" y="23"/>
                  <a:pt x="22" y="24"/>
                </a:cubicBezTo>
                <a:cubicBezTo>
                  <a:pt x="21" y="24"/>
                  <a:pt x="21" y="24"/>
                  <a:pt x="20" y="25"/>
                </a:cubicBezTo>
                <a:cubicBezTo>
                  <a:pt x="20" y="25"/>
                  <a:pt x="18" y="25"/>
                  <a:pt x="18" y="26"/>
                </a:cubicBezTo>
                <a:cubicBezTo>
                  <a:pt x="19" y="26"/>
                  <a:pt x="20" y="26"/>
                  <a:pt x="20" y="26"/>
                </a:cubicBezTo>
                <a:cubicBezTo>
                  <a:pt x="21" y="25"/>
                  <a:pt x="22" y="25"/>
                  <a:pt x="23" y="25"/>
                </a:cubicBezTo>
                <a:cubicBezTo>
                  <a:pt x="23" y="25"/>
                  <a:pt x="24" y="25"/>
                  <a:pt x="25" y="25"/>
                </a:cubicBezTo>
                <a:cubicBezTo>
                  <a:pt x="26" y="25"/>
                  <a:pt x="28" y="25"/>
                  <a:pt x="29" y="25"/>
                </a:cubicBezTo>
                <a:cubicBezTo>
                  <a:pt x="31" y="24"/>
                  <a:pt x="33" y="25"/>
                  <a:pt x="35" y="25"/>
                </a:cubicBezTo>
                <a:cubicBezTo>
                  <a:pt x="35" y="25"/>
                  <a:pt x="36" y="25"/>
                  <a:pt x="36" y="24"/>
                </a:cubicBezTo>
                <a:cubicBezTo>
                  <a:pt x="36" y="24"/>
                  <a:pt x="36" y="24"/>
                  <a:pt x="36" y="24"/>
                </a:cubicBezTo>
                <a:cubicBezTo>
                  <a:pt x="36" y="23"/>
                  <a:pt x="36" y="23"/>
                  <a:pt x="37" y="23"/>
                </a:cubicBezTo>
                <a:cubicBezTo>
                  <a:pt x="37" y="23"/>
                  <a:pt x="37" y="23"/>
                  <a:pt x="38" y="23"/>
                </a:cubicBezTo>
                <a:cubicBezTo>
                  <a:pt x="38" y="22"/>
                  <a:pt x="39" y="22"/>
                  <a:pt x="40" y="21"/>
                </a:cubicBezTo>
                <a:cubicBezTo>
                  <a:pt x="40" y="21"/>
                  <a:pt x="41" y="21"/>
                  <a:pt x="42" y="21"/>
                </a:cubicBezTo>
                <a:cubicBezTo>
                  <a:pt x="42" y="21"/>
                  <a:pt x="42" y="22"/>
                  <a:pt x="42" y="22"/>
                </a:cubicBezTo>
                <a:cubicBezTo>
                  <a:pt x="43" y="22"/>
                  <a:pt x="44" y="22"/>
                  <a:pt x="44" y="22"/>
                </a:cubicBezTo>
                <a:cubicBezTo>
                  <a:pt x="45" y="22"/>
                  <a:pt x="45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7" y="22"/>
                  <a:pt x="48" y="22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50" y="21"/>
                  <a:pt x="50" y="21"/>
                  <a:pt x="50" y="22"/>
                </a:cubicBezTo>
                <a:cubicBezTo>
                  <a:pt x="50" y="22"/>
                  <a:pt x="51" y="23"/>
                  <a:pt x="51" y="23"/>
                </a:cubicBezTo>
                <a:cubicBezTo>
                  <a:pt x="52" y="23"/>
                  <a:pt x="52" y="24"/>
                  <a:pt x="52" y="24"/>
                </a:cubicBezTo>
                <a:cubicBezTo>
                  <a:pt x="52" y="24"/>
                  <a:pt x="52" y="24"/>
                  <a:pt x="52" y="25"/>
                </a:cubicBezTo>
                <a:cubicBezTo>
                  <a:pt x="53" y="25"/>
                  <a:pt x="53" y="25"/>
                  <a:pt x="52" y="25"/>
                </a:cubicBezTo>
                <a:cubicBezTo>
                  <a:pt x="51" y="26"/>
                  <a:pt x="51" y="26"/>
                  <a:pt x="50" y="26"/>
                </a:cubicBezTo>
                <a:cubicBezTo>
                  <a:pt x="48" y="26"/>
                  <a:pt x="47" y="26"/>
                  <a:pt x="45" y="25"/>
                </a:cubicBezTo>
                <a:cubicBezTo>
                  <a:pt x="45" y="25"/>
                  <a:pt x="42" y="25"/>
                  <a:pt x="42" y="25"/>
                </a:cubicBezTo>
                <a:cubicBezTo>
                  <a:pt x="43" y="25"/>
                  <a:pt x="45" y="26"/>
                  <a:pt x="46" y="26"/>
                </a:cubicBezTo>
                <a:cubicBezTo>
                  <a:pt x="48" y="27"/>
                  <a:pt x="50" y="27"/>
                  <a:pt x="52" y="28"/>
                </a:cubicBezTo>
                <a:cubicBezTo>
                  <a:pt x="53" y="29"/>
                  <a:pt x="55" y="29"/>
                  <a:pt x="56" y="30"/>
                </a:cubicBezTo>
                <a:cubicBezTo>
                  <a:pt x="58" y="30"/>
                  <a:pt x="59" y="31"/>
                  <a:pt x="60" y="32"/>
                </a:cubicBezTo>
                <a:cubicBezTo>
                  <a:pt x="61" y="32"/>
                  <a:pt x="61" y="32"/>
                  <a:pt x="62" y="33"/>
                </a:cubicBezTo>
                <a:cubicBezTo>
                  <a:pt x="62" y="33"/>
                  <a:pt x="63" y="33"/>
                  <a:pt x="63" y="33"/>
                </a:cubicBezTo>
                <a:cubicBezTo>
                  <a:pt x="63" y="34"/>
                  <a:pt x="64" y="34"/>
                  <a:pt x="65" y="35"/>
                </a:cubicBezTo>
                <a:cubicBezTo>
                  <a:pt x="65" y="35"/>
                  <a:pt x="65" y="35"/>
                  <a:pt x="66" y="35"/>
                </a:cubicBezTo>
                <a:cubicBezTo>
                  <a:pt x="66" y="35"/>
                  <a:pt x="66" y="35"/>
                  <a:pt x="66" y="34"/>
                </a:cubicBezTo>
                <a:cubicBezTo>
                  <a:pt x="67" y="34"/>
                  <a:pt x="67" y="34"/>
                  <a:pt x="68" y="34"/>
                </a:cubicBezTo>
                <a:cubicBezTo>
                  <a:pt x="68" y="35"/>
                  <a:pt x="69" y="35"/>
                  <a:pt x="69" y="35"/>
                </a:cubicBezTo>
                <a:cubicBezTo>
                  <a:pt x="70" y="35"/>
                  <a:pt x="71" y="35"/>
                  <a:pt x="72" y="35"/>
                </a:cubicBezTo>
                <a:cubicBezTo>
                  <a:pt x="72" y="35"/>
                  <a:pt x="72" y="36"/>
                  <a:pt x="72" y="36"/>
                </a:cubicBezTo>
                <a:cubicBezTo>
                  <a:pt x="72" y="37"/>
                  <a:pt x="72" y="37"/>
                  <a:pt x="72" y="37"/>
                </a:cubicBezTo>
                <a:cubicBezTo>
                  <a:pt x="71" y="37"/>
                  <a:pt x="71" y="37"/>
                  <a:pt x="70" y="37"/>
                </a:cubicBezTo>
                <a:cubicBezTo>
                  <a:pt x="70" y="37"/>
                  <a:pt x="69" y="36"/>
                  <a:pt x="69" y="37"/>
                </a:cubicBezTo>
                <a:cubicBezTo>
                  <a:pt x="68" y="37"/>
                  <a:pt x="70" y="38"/>
                  <a:pt x="70" y="38"/>
                </a:cubicBezTo>
                <a:cubicBezTo>
                  <a:pt x="71" y="38"/>
                  <a:pt x="71" y="39"/>
                  <a:pt x="72" y="40"/>
                </a:cubicBezTo>
                <a:cubicBezTo>
                  <a:pt x="73" y="40"/>
                  <a:pt x="73" y="41"/>
                  <a:pt x="74" y="42"/>
                </a:cubicBezTo>
                <a:cubicBezTo>
                  <a:pt x="75" y="43"/>
                  <a:pt x="76" y="43"/>
                  <a:pt x="77" y="44"/>
                </a:cubicBezTo>
                <a:cubicBezTo>
                  <a:pt x="78" y="44"/>
                  <a:pt x="78" y="44"/>
                  <a:pt x="78" y="45"/>
                </a:cubicBezTo>
                <a:cubicBezTo>
                  <a:pt x="78" y="45"/>
                  <a:pt x="78" y="46"/>
                  <a:pt x="79" y="46"/>
                </a:cubicBezTo>
                <a:cubicBezTo>
                  <a:pt x="79" y="47"/>
                  <a:pt x="80" y="48"/>
                  <a:pt x="80" y="49"/>
                </a:cubicBezTo>
                <a:cubicBezTo>
                  <a:pt x="80" y="50"/>
                  <a:pt x="81" y="50"/>
                  <a:pt x="81" y="51"/>
                </a:cubicBezTo>
                <a:cubicBezTo>
                  <a:pt x="81" y="52"/>
                  <a:pt x="80" y="52"/>
                  <a:pt x="81" y="53"/>
                </a:cubicBezTo>
                <a:cubicBezTo>
                  <a:pt x="81" y="54"/>
                  <a:pt x="82" y="53"/>
                  <a:pt x="82" y="53"/>
                </a:cubicBezTo>
                <a:cubicBezTo>
                  <a:pt x="83" y="53"/>
                  <a:pt x="84" y="53"/>
                  <a:pt x="85" y="53"/>
                </a:cubicBezTo>
                <a:cubicBezTo>
                  <a:pt x="85" y="52"/>
                  <a:pt x="85" y="52"/>
                  <a:pt x="86" y="52"/>
                </a:cubicBezTo>
                <a:cubicBezTo>
                  <a:pt x="86" y="52"/>
                  <a:pt x="87" y="52"/>
                  <a:pt x="87" y="52"/>
                </a:cubicBezTo>
                <a:cubicBezTo>
                  <a:pt x="88" y="52"/>
                  <a:pt x="88" y="52"/>
                  <a:pt x="89" y="52"/>
                </a:cubicBezTo>
                <a:cubicBezTo>
                  <a:pt x="90" y="52"/>
                  <a:pt x="91" y="52"/>
                  <a:pt x="91" y="52"/>
                </a:cubicBezTo>
                <a:cubicBezTo>
                  <a:pt x="92" y="52"/>
                  <a:pt x="92" y="52"/>
                  <a:pt x="92" y="51"/>
                </a:cubicBezTo>
                <a:cubicBezTo>
                  <a:pt x="93" y="51"/>
                  <a:pt x="93" y="51"/>
                  <a:pt x="93" y="51"/>
                </a:cubicBezTo>
                <a:cubicBezTo>
                  <a:pt x="94" y="51"/>
                  <a:pt x="94" y="51"/>
                  <a:pt x="94" y="50"/>
                </a:cubicBezTo>
                <a:cubicBezTo>
                  <a:pt x="95" y="50"/>
                  <a:pt x="95" y="50"/>
                  <a:pt x="95" y="50"/>
                </a:cubicBezTo>
                <a:cubicBezTo>
                  <a:pt x="96" y="50"/>
                  <a:pt x="95" y="50"/>
                  <a:pt x="95" y="51"/>
                </a:cubicBezTo>
                <a:cubicBezTo>
                  <a:pt x="95" y="51"/>
                  <a:pt x="95" y="51"/>
                  <a:pt x="96" y="51"/>
                </a:cubicBezTo>
                <a:cubicBezTo>
                  <a:pt x="96" y="51"/>
                  <a:pt x="97" y="50"/>
                  <a:pt x="97" y="50"/>
                </a:cubicBezTo>
                <a:cubicBezTo>
                  <a:pt x="98" y="50"/>
                  <a:pt x="98" y="49"/>
                  <a:pt x="99" y="49"/>
                </a:cubicBezTo>
                <a:cubicBezTo>
                  <a:pt x="99" y="49"/>
                  <a:pt x="100" y="49"/>
                  <a:pt x="100" y="48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2" y="47"/>
                  <a:pt x="102" y="47"/>
                  <a:pt x="102" y="47"/>
                </a:cubicBezTo>
                <a:cubicBezTo>
                  <a:pt x="103" y="47"/>
                  <a:pt x="104" y="47"/>
                  <a:pt x="104" y="46"/>
                </a:cubicBezTo>
                <a:cubicBezTo>
                  <a:pt x="104" y="46"/>
                  <a:pt x="105" y="46"/>
                  <a:pt x="105" y="46"/>
                </a:cubicBezTo>
                <a:cubicBezTo>
                  <a:pt x="106" y="45"/>
                  <a:pt x="106" y="44"/>
                  <a:pt x="107" y="44"/>
                </a:cubicBezTo>
                <a:cubicBezTo>
                  <a:pt x="108" y="44"/>
                  <a:pt x="110" y="44"/>
                  <a:pt x="111" y="44"/>
                </a:cubicBezTo>
                <a:cubicBezTo>
                  <a:pt x="112" y="44"/>
                  <a:pt x="114" y="45"/>
                  <a:pt x="114" y="43"/>
                </a:cubicBezTo>
                <a:cubicBezTo>
                  <a:pt x="114" y="43"/>
                  <a:pt x="113" y="43"/>
                  <a:pt x="112" y="43"/>
                </a:cubicBezTo>
                <a:cubicBezTo>
                  <a:pt x="112" y="42"/>
                  <a:pt x="113" y="42"/>
                  <a:pt x="113" y="41"/>
                </a:cubicBezTo>
                <a:cubicBezTo>
                  <a:pt x="113" y="41"/>
                  <a:pt x="113" y="40"/>
                  <a:pt x="113" y="40"/>
                </a:cubicBezTo>
                <a:cubicBezTo>
                  <a:pt x="113" y="39"/>
                  <a:pt x="114" y="39"/>
                  <a:pt x="114" y="38"/>
                </a:cubicBezTo>
                <a:cubicBezTo>
                  <a:pt x="115" y="38"/>
                  <a:pt x="115" y="38"/>
                  <a:pt x="116" y="38"/>
                </a:cubicBezTo>
                <a:cubicBezTo>
                  <a:pt x="116" y="37"/>
                  <a:pt x="116" y="37"/>
                  <a:pt x="117" y="37"/>
                </a:cubicBezTo>
                <a:cubicBezTo>
                  <a:pt x="117" y="37"/>
                  <a:pt x="118" y="37"/>
                  <a:pt x="119" y="37"/>
                </a:cubicBezTo>
                <a:cubicBezTo>
                  <a:pt x="119" y="38"/>
                  <a:pt x="120" y="38"/>
                  <a:pt x="120" y="38"/>
                </a:cubicBezTo>
                <a:cubicBezTo>
                  <a:pt x="121" y="37"/>
                  <a:pt x="121" y="37"/>
                  <a:pt x="122" y="37"/>
                </a:cubicBezTo>
                <a:cubicBezTo>
                  <a:pt x="122" y="37"/>
                  <a:pt x="123" y="37"/>
                  <a:pt x="123" y="37"/>
                </a:cubicBezTo>
                <a:cubicBezTo>
                  <a:pt x="124" y="37"/>
                  <a:pt x="124" y="37"/>
                  <a:pt x="125" y="37"/>
                </a:cubicBezTo>
                <a:cubicBezTo>
                  <a:pt x="125" y="37"/>
                  <a:pt x="126" y="37"/>
                  <a:pt x="126" y="38"/>
                </a:cubicBezTo>
                <a:cubicBezTo>
                  <a:pt x="127" y="39"/>
                  <a:pt x="129" y="39"/>
                  <a:pt x="130" y="40"/>
                </a:cubicBezTo>
                <a:cubicBezTo>
                  <a:pt x="131" y="41"/>
                  <a:pt x="132" y="41"/>
                  <a:pt x="133" y="42"/>
                </a:cubicBezTo>
                <a:cubicBezTo>
                  <a:pt x="134" y="42"/>
                  <a:pt x="135" y="43"/>
                  <a:pt x="136" y="43"/>
                </a:cubicBezTo>
                <a:cubicBezTo>
                  <a:pt x="137" y="45"/>
                  <a:pt x="138" y="46"/>
                  <a:pt x="139" y="47"/>
                </a:cubicBezTo>
                <a:cubicBezTo>
                  <a:pt x="140" y="49"/>
                  <a:pt x="140" y="50"/>
                  <a:pt x="141" y="51"/>
                </a:cubicBezTo>
                <a:cubicBezTo>
                  <a:pt x="142" y="52"/>
                  <a:pt x="142" y="52"/>
                  <a:pt x="143" y="53"/>
                </a:cubicBezTo>
                <a:cubicBezTo>
                  <a:pt x="143" y="53"/>
                  <a:pt x="143" y="53"/>
                  <a:pt x="144" y="53"/>
                </a:cubicBezTo>
                <a:cubicBezTo>
                  <a:pt x="144" y="53"/>
                  <a:pt x="145" y="53"/>
                  <a:pt x="145" y="54"/>
                </a:cubicBezTo>
                <a:cubicBezTo>
                  <a:pt x="145" y="54"/>
                  <a:pt x="146" y="54"/>
                  <a:pt x="147" y="55"/>
                </a:cubicBezTo>
                <a:cubicBezTo>
                  <a:pt x="147" y="57"/>
                  <a:pt x="147" y="58"/>
                  <a:pt x="147" y="60"/>
                </a:cubicBezTo>
                <a:cubicBezTo>
                  <a:pt x="147" y="61"/>
                  <a:pt x="149" y="62"/>
                  <a:pt x="150" y="62"/>
                </a:cubicBezTo>
                <a:cubicBezTo>
                  <a:pt x="151" y="63"/>
                  <a:pt x="153" y="64"/>
                  <a:pt x="153" y="65"/>
                </a:cubicBezTo>
                <a:cubicBezTo>
                  <a:pt x="154" y="65"/>
                  <a:pt x="154" y="66"/>
                  <a:pt x="154" y="66"/>
                </a:cubicBezTo>
                <a:cubicBezTo>
                  <a:pt x="154" y="67"/>
                  <a:pt x="154" y="67"/>
                  <a:pt x="154" y="67"/>
                </a:cubicBezTo>
                <a:cubicBezTo>
                  <a:pt x="155" y="68"/>
                  <a:pt x="155" y="68"/>
                  <a:pt x="156" y="68"/>
                </a:cubicBezTo>
                <a:cubicBezTo>
                  <a:pt x="156" y="67"/>
                  <a:pt x="156" y="67"/>
                  <a:pt x="156" y="67"/>
                </a:cubicBezTo>
                <a:cubicBezTo>
                  <a:pt x="157" y="66"/>
                  <a:pt x="157" y="66"/>
                  <a:pt x="157" y="66"/>
                </a:cubicBezTo>
                <a:cubicBezTo>
                  <a:pt x="158" y="66"/>
                  <a:pt x="158" y="66"/>
                  <a:pt x="158" y="67"/>
                </a:cubicBezTo>
                <a:cubicBezTo>
                  <a:pt x="158" y="67"/>
                  <a:pt x="157" y="67"/>
                  <a:pt x="157" y="68"/>
                </a:cubicBezTo>
                <a:cubicBezTo>
                  <a:pt x="157" y="68"/>
                  <a:pt x="157" y="68"/>
                  <a:pt x="157" y="68"/>
                </a:cubicBezTo>
                <a:cubicBezTo>
                  <a:pt x="156" y="69"/>
                  <a:pt x="156" y="70"/>
                  <a:pt x="157" y="70"/>
                </a:cubicBezTo>
                <a:cubicBezTo>
                  <a:pt x="157" y="71"/>
                  <a:pt x="157" y="71"/>
                  <a:pt x="158" y="72"/>
                </a:cubicBezTo>
                <a:cubicBezTo>
                  <a:pt x="158" y="73"/>
                  <a:pt x="158" y="73"/>
                  <a:pt x="159" y="74"/>
                </a:cubicBezTo>
                <a:cubicBezTo>
                  <a:pt x="159" y="74"/>
                  <a:pt x="159" y="74"/>
                  <a:pt x="159" y="74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4"/>
                  <a:pt x="162" y="74"/>
                  <a:pt x="163" y="74"/>
                </a:cubicBezTo>
                <a:cubicBezTo>
                  <a:pt x="164" y="74"/>
                  <a:pt x="165" y="74"/>
                  <a:pt x="166" y="74"/>
                </a:cubicBezTo>
                <a:cubicBezTo>
                  <a:pt x="167" y="74"/>
                  <a:pt x="167" y="74"/>
                  <a:pt x="167" y="75"/>
                </a:cubicBezTo>
                <a:cubicBezTo>
                  <a:pt x="167" y="76"/>
                  <a:pt x="167" y="77"/>
                  <a:pt x="168" y="78"/>
                </a:cubicBezTo>
                <a:cubicBezTo>
                  <a:pt x="168" y="79"/>
                  <a:pt x="168" y="79"/>
                  <a:pt x="169" y="80"/>
                </a:cubicBezTo>
                <a:cubicBezTo>
                  <a:pt x="169" y="80"/>
                  <a:pt x="169" y="80"/>
                  <a:pt x="169" y="81"/>
                </a:cubicBezTo>
                <a:cubicBezTo>
                  <a:pt x="169" y="81"/>
                  <a:pt x="170" y="82"/>
                  <a:pt x="170" y="83"/>
                </a:cubicBezTo>
                <a:cubicBezTo>
                  <a:pt x="171" y="83"/>
                  <a:pt x="171" y="84"/>
                  <a:pt x="171" y="84"/>
                </a:cubicBezTo>
                <a:cubicBezTo>
                  <a:pt x="172" y="85"/>
                  <a:pt x="172" y="85"/>
                  <a:pt x="171" y="85"/>
                </a:cubicBezTo>
                <a:cubicBezTo>
                  <a:pt x="171" y="86"/>
                  <a:pt x="171" y="86"/>
                  <a:pt x="171" y="86"/>
                </a:cubicBezTo>
                <a:cubicBezTo>
                  <a:pt x="170" y="86"/>
                  <a:pt x="170" y="86"/>
                  <a:pt x="170" y="86"/>
                </a:cubicBezTo>
                <a:cubicBezTo>
                  <a:pt x="170" y="86"/>
                  <a:pt x="170" y="87"/>
                  <a:pt x="170" y="87"/>
                </a:cubicBezTo>
                <a:cubicBezTo>
                  <a:pt x="170" y="87"/>
                  <a:pt x="171" y="87"/>
                  <a:pt x="171" y="88"/>
                </a:cubicBezTo>
                <a:cubicBezTo>
                  <a:pt x="171" y="88"/>
                  <a:pt x="171" y="89"/>
                  <a:pt x="171" y="89"/>
                </a:cubicBezTo>
                <a:cubicBezTo>
                  <a:pt x="172" y="90"/>
                  <a:pt x="172" y="90"/>
                  <a:pt x="172" y="91"/>
                </a:cubicBezTo>
                <a:cubicBezTo>
                  <a:pt x="172" y="91"/>
                  <a:pt x="172" y="92"/>
                  <a:pt x="172" y="92"/>
                </a:cubicBezTo>
                <a:cubicBezTo>
                  <a:pt x="172" y="94"/>
                  <a:pt x="172" y="96"/>
                  <a:pt x="172" y="98"/>
                </a:cubicBezTo>
                <a:cubicBezTo>
                  <a:pt x="172" y="99"/>
                  <a:pt x="172" y="99"/>
                  <a:pt x="172" y="100"/>
                </a:cubicBezTo>
                <a:cubicBezTo>
                  <a:pt x="171" y="101"/>
                  <a:pt x="171" y="101"/>
                  <a:pt x="171" y="102"/>
                </a:cubicBezTo>
                <a:cubicBezTo>
                  <a:pt x="171" y="103"/>
                  <a:pt x="171" y="103"/>
                  <a:pt x="171" y="104"/>
                </a:cubicBezTo>
                <a:cubicBezTo>
                  <a:pt x="171" y="105"/>
                  <a:pt x="171" y="106"/>
                  <a:pt x="170" y="107"/>
                </a:cubicBezTo>
                <a:cubicBezTo>
                  <a:pt x="170" y="108"/>
                  <a:pt x="169" y="109"/>
                  <a:pt x="169" y="110"/>
                </a:cubicBezTo>
                <a:cubicBezTo>
                  <a:pt x="169" y="111"/>
                  <a:pt x="168" y="112"/>
                  <a:pt x="168" y="114"/>
                </a:cubicBezTo>
                <a:cubicBezTo>
                  <a:pt x="167" y="115"/>
                  <a:pt x="168" y="116"/>
                  <a:pt x="168" y="117"/>
                </a:cubicBezTo>
                <a:cubicBezTo>
                  <a:pt x="168" y="118"/>
                  <a:pt x="168" y="119"/>
                  <a:pt x="167" y="120"/>
                </a:cubicBezTo>
                <a:cubicBezTo>
                  <a:pt x="167" y="120"/>
                  <a:pt x="167" y="121"/>
                  <a:pt x="166" y="121"/>
                </a:cubicBezTo>
                <a:cubicBezTo>
                  <a:pt x="166" y="121"/>
                  <a:pt x="166" y="122"/>
                  <a:pt x="166" y="122"/>
                </a:cubicBezTo>
                <a:cubicBezTo>
                  <a:pt x="166" y="123"/>
                  <a:pt x="165" y="123"/>
                  <a:pt x="165" y="123"/>
                </a:cubicBezTo>
                <a:cubicBezTo>
                  <a:pt x="165" y="124"/>
                  <a:pt x="165" y="125"/>
                  <a:pt x="166" y="125"/>
                </a:cubicBezTo>
                <a:cubicBezTo>
                  <a:pt x="166" y="126"/>
                  <a:pt x="167" y="127"/>
                  <a:pt x="168" y="127"/>
                </a:cubicBezTo>
                <a:cubicBezTo>
                  <a:pt x="168" y="128"/>
                  <a:pt x="169" y="128"/>
                  <a:pt x="169" y="129"/>
                </a:cubicBezTo>
                <a:cubicBezTo>
                  <a:pt x="169" y="129"/>
                  <a:pt x="169" y="130"/>
                  <a:pt x="170" y="130"/>
                </a:cubicBezTo>
                <a:cubicBezTo>
                  <a:pt x="170" y="131"/>
                  <a:pt x="172" y="131"/>
                  <a:pt x="172" y="131"/>
                </a:cubicBezTo>
                <a:cubicBezTo>
                  <a:pt x="173" y="131"/>
                  <a:pt x="173" y="129"/>
                  <a:pt x="173" y="129"/>
                </a:cubicBezTo>
                <a:cubicBezTo>
                  <a:pt x="173" y="128"/>
                  <a:pt x="174" y="128"/>
                  <a:pt x="174" y="128"/>
                </a:cubicBezTo>
                <a:cubicBezTo>
                  <a:pt x="174" y="127"/>
                  <a:pt x="174" y="127"/>
                  <a:pt x="174" y="126"/>
                </a:cubicBezTo>
                <a:cubicBezTo>
                  <a:pt x="174" y="126"/>
                  <a:pt x="174" y="125"/>
                  <a:pt x="173" y="124"/>
                </a:cubicBezTo>
                <a:cubicBezTo>
                  <a:pt x="173" y="124"/>
                  <a:pt x="172" y="124"/>
                  <a:pt x="172" y="124"/>
                </a:cubicBezTo>
                <a:cubicBezTo>
                  <a:pt x="172" y="123"/>
                  <a:pt x="172" y="123"/>
                  <a:pt x="171" y="123"/>
                </a:cubicBezTo>
                <a:cubicBezTo>
                  <a:pt x="171" y="123"/>
                  <a:pt x="171" y="123"/>
                  <a:pt x="171" y="122"/>
                </a:cubicBezTo>
                <a:cubicBezTo>
                  <a:pt x="170" y="122"/>
                  <a:pt x="170" y="122"/>
                  <a:pt x="170" y="122"/>
                </a:cubicBezTo>
                <a:cubicBezTo>
                  <a:pt x="170" y="122"/>
                  <a:pt x="171" y="122"/>
                  <a:pt x="171" y="121"/>
                </a:cubicBezTo>
                <a:cubicBezTo>
                  <a:pt x="171" y="121"/>
                  <a:pt x="171" y="120"/>
                  <a:pt x="172" y="120"/>
                </a:cubicBezTo>
                <a:cubicBezTo>
                  <a:pt x="173" y="119"/>
                  <a:pt x="173" y="120"/>
                  <a:pt x="174" y="120"/>
                </a:cubicBezTo>
                <a:cubicBezTo>
                  <a:pt x="174" y="121"/>
                  <a:pt x="175" y="121"/>
                  <a:pt x="176" y="122"/>
                </a:cubicBezTo>
                <a:cubicBezTo>
                  <a:pt x="176" y="122"/>
                  <a:pt x="176" y="122"/>
                  <a:pt x="176" y="123"/>
                </a:cubicBezTo>
                <a:cubicBezTo>
                  <a:pt x="176" y="123"/>
                  <a:pt x="176" y="124"/>
                  <a:pt x="176" y="124"/>
                </a:cubicBezTo>
                <a:cubicBezTo>
                  <a:pt x="176" y="125"/>
                  <a:pt x="176" y="126"/>
                  <a:pt x="177" y="126"/>
                </a:cubicBezTo>
                <a:cubicBezTo>
                  <a:pt x="177" y="126"/>
                  <a:pt x="178" y="126"/>
                  <a:pt x="178" y="126"/>
                </a:cubicBezTo>
                <a:cubicBezTo>
                  <a:pt x="178" y="126"/>
                  <a:pt x="178" y="125"/>
                  <a:pt x="178" y="125"/>
                </a:cubicBezTo>
                <a:cubicBezTo>
                  <a:pt x="178" y="125"/>
                  <a:pt x="178" y="124"/>
                  <a:pt x="178" y="124"/>
                </a:cubicBezTo>
                <a:cubicBezTo>
                  <a:pt x="178" y="124"/>
                  <a:pt x="178" y="124"/>
                  <a:pt x="177" y="123"/>
                </a:cubicBezTo>
                <a:cubicBezTo>
                  <a:pt x="177" y="123"/>
                  <a:pt x="178" y="123"/>
                  <a:pt x="178" y="123"/>
                </a:cubicBezTo>
                <a:cubicBezTo>
                  <a:pt x="179" y="123"/>
                  <a:pt x="179" y="122"/>
                  <a:pt x="179" y="122"/>
                </a:cubicBezTo>
                <a:cubicBezTo>
                  <a:pt x="179" y="122"/>
                  <a:pt x="180" y="122"/>
                  <a:pt x="180" y="122"/>
                </a:cubicBezTo>
                <a:cubicBezTo>
                  <a:pt x="181" y="122"/>
                  <a:pt x="181" y="122"/>
                  <a:pt x="181" y="123"/>
                </a:cubicBezTo>
                <a:cubicBezTo>
                  <a:pt x="181" y="124"/>
                  <a:pt x="181" y="124"/>
                  <a:pt x="181" y="125"/>
                </a:cubicBezTo>
                <a:cubicBezTo>
                  <a:pt x="181" y="125"/>
                  <a:pt x="181" y="126"/>
                  <a:pt x="181" y="126"/>
                </a:cubicBezTo>
                <a:cubicBezTo>
                  <a:pt x="181" y="127"/>
                  <a:pt x="181" y="127"/>
                  <a:pt x="181" y="127"/>
                </a:cubicBezTo>
                <a:cubicBezTo>
                  <a:pt x="180" y="128"/>
                  <a:pt x="179" y="128"/>
                  <a:pt x="179" y="129"/>
                </a:cubicBezTo>
                <a:cubicBezTo>
                  <a:pt x="179" y="129"/>
                  <a:pt x="178" y="130"/>
                  <a:pt x="178" y="130"/>
                </a:cubicBezTo>
                <a:cubicBezTo>
                  <a:pt x="178" y="131"/>
                  <a:pt x="178" y="131"/>
                  <a:pt x="178" y="131"/>
                </a:cubicBezTo>
                <a:cubicBezTo>
                  <a:pt x="177" y="131"/>
                  <a:pt x="177" y="132"/>
                  <a:pt x="177" y="132"/>
                </a:cubicBezTo>
                <a:cubicBezTo>
                  <a:pt x="177" y="133"/>
                  <a:pt x="177" y="133"/>
                  <a:pt x="176" y="133"/>
                </a:cubicBezTo>
                <a:cubicBezTo>
                  <a:pt x="176" y="134"/>
                  <a:pt x="176" y="135"/>
                  <a:pt x="176" y="135"/>
                </a:cubicBezTo>
                <a:cubicBezTo>
                  <a:pt x="175" y="135"/>
                  <a:pt x="175" y="135"/>
                  <a:pt x="175" y="136"/>
                </a:cubicBezTo>
                <a:cubicBezTo>
                  <a:pt x="175" y="136"/>
                  <a:pt x="175" y="136"/>
                  <a:pt x="175" y="137"/>
                </a:cubicBezTo>
                <a:cubicBezTo>
                  <a:pt x="175" y="137"/>
                  <a:pt x="175" y="137"/>
                  <a:pt x="175" y="137"/>
                </a:cubicBezTo>
                <a:cubicBezTo>
                  <a:pt x="175" y="138"/>
                  <a:pt x="175" y="138"/>
                  <a:pt x="175" y="138"/>
                </a:cubicBezTo>
                <a:cubicBezTo>
                  <a:pt x="175" y="139"/>
                  <a:pt x="176" y="138"/>
                  <a:pt x="176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6" y="139"/>
                  <a:pt x="176" y="139"/>
                  <a:pt x="176" y="139"/>
                </a:cubicBezTo>
                <a:cubicBezTo>
                  <a:pt x="175" y="139"/>
                  <a:pt x="175" y="139"/>
                  <a:pt x="174" y="139"/>
                </a:cubicBezTo>
                <a:cubicBezTo>
                  <a:pt x="174" y="139"/>
                  <a:pt x="173" y="139"/>
                  <a:pt x="172" y="139"/>
                </a:cubicBezTo>
                <a:cubicBezTo>
                  <a:pt x="171" y="140"/>
                  <a:pt x="172" y="141"/>
                  <a:pt x="172" y="141"/>
                </a:cubicBezTo>
                <a:cubicBezTo>
                  <a:pt x="173" y="142"/>
                  <a:pt x="173" y="142"/>
                  <a:pt x="173" y="142"/>
                </a:cubicBezTo>
                <a:cubicBezTo>
                  <a:pt x="174" y="142"/>
                  <a:pt x="175" y="143"/>
                  <a:pt x="175" y="143"/>
                </a:cubicBezTo>
                <a:cubicBezTo>
                  <a:pt x="176" y="144"/>
                  <a:pt x="175" y="145"/>
                  <a:pt x="175" y="146"/>
                </a:cubicBezTo>
                <a:cubicBezTo>
                  <a:pt x="175" y="147"/>
                  <a:pt x="176" y="148"/>
                  <a:pt x="176" y="149"/>
                </a:cubicBezTo>
                <a:cubicBezTo>
                  <a:pt x="177" y="149"/>
                  <a:pt x="177" y="150"/>
                  <a:pt x="178" y="151"/>
                </a:cubicBezTo>
                <a:cubicBezTo>
                  <a:pt x="178" y="152"/>
                  <a:pt x="178" y="153"/>
                  <a:pt x="178" y="154"/>
                </a:cubicBezTo>
                <a:cubicBezTo>
                  <a:pt x="179" y="154"/>
                  <a:pt x="179" y="155"/>
                  <a:pt x="179" y="155"/>
                </a:cubicBezTo>
                <a:cubicBezTo>
                  <a:pt x="179" y="155"/>
                  <a:pt x="179" y="156"/>
                  <a:pt x="179" y="156"/>
                </a:cubicBezTo>
                <a:cubicBezTo>
                  <a:pt x="180" y="157"/>
                  <a:pt x="180" y="157"/>
                  <a:pt x="180" y="158"/>
                </a:cubicBezTo>
                <a:cubicBezTo>
                  <a:pt x="181" y="159"/>
                  <a:pt x="181" y="159"/>
                  <a:pt x="182" y="160"/>
                </a:cubicBezTo>
                <a:cubicBezTo>
                  <a:pt x="183" y="161"/>
                  <a:pt x="183" y="161"/>
                  <a:pt x="183" y="162"/>
                </a:cubicBezTo>
                <a:cubicBezTo>
                  <a:pt x="184" y="163"/>
                  <a:pt x="184" y="163"/>
                  <a:pt x="184" y="163"/>
                </a:cubicBezTo>
                <a:cubicBezTo>
                  <a:pt x="185" y="164"/>
                  <a:pt x="185" y="164"/>
                  <a:pt x="185" y="164"/>
                </a:cubicBezTo>
                <a:cubicBezTo>
                  <a:pt x="185" y="164"/>
                  <a:pt x="185" y="164"/>
                  <a:pt x="185" y="165"/>
                </a:cubicBezTo>
                <a:cubicBezTo>
                  <a:pt x="185" y="165"/>
                  <a:pt x="186" y="166"/>
                  <a:pt x="186" y="166"/>
                </a:cubicBezTo>
                <a:cubicBezTo>
                  <a:pt x="187" y="166"/>
                  <a:pt x="187" y="167"/>
                  <a:pt x="188" y="166"/>
                </a:cubicBezTo>
                <a:cubicBezTo>
                  <a:pt x="188" y="166"/>
                  <a:pt x="189" y="166"/>
                  <a:pt x="189" y="165"/>
                </a:cubicBezTo>
                <a:cubicBezTo>
                  <a:pt x="189" y="165"/>
                  <a:pt x="190" y="165"/>
                  <a:pt x="189" y="165"/>
                </a:cubicBezTo>
                <a:cubicBezTo>
                  <a:pt x="189" y="164"/>
                  <a:pt x="189" y="164"/>
                  <a:pt x="189" y="164"/>
                </a:cubicBezTo>
                <a:cubicBezTo>
                  <a:pt x="189" y="164"/>
                  <a:pt x="189" y="164"/>
                  <a:pt x="189" y="163"/>
                </a:cubicBezTo>
                <a:cubicBezTo>
                  <a:pt x="189" y="163"/>
                  <a:pt x="189" y="162"/>
                  <a:pt x="188" y="162"/>
                </a:cubicBezTo>
                <a:cubicBezTo>
                  <a:pt x="188" y="161"/>
                  <a:pt x="187" y="160"/>
                  <a:pt x="187" y="159"/>
                </a:cubicBezTo>
                <a:cubicBezTo>
                  <a:pt x="187" y="159"/>
                  <a:pt x="188" y="159"/>
                  <a:pt x="188" y="160"/>
                </a:cubicBezTo>
                <a:cubicBezTo>
                  <a:pt x="188" y="160"/>
                  <a:pt x="189" y="161"/>
                  <a:pt x="189" y="161"/>
                </a:cubicBezTo>
                <a:cubicBezTo>
                  <a:pt x="190" y="161"/>
                  <a:pt x="191" y="161"/>
                  <a:pt x="192" y="161"/>
                </a:cubicBezTo>
                <a:cubicBezTo>
                  <a:pt x="193" y="160"/>
                  <a:pt x="193" y="160"/>
                  <a:pt x="193" y="159"/>
                </a:cubicBezTo>
                <a:cubicBezTo>
                  <a:pt x="194" y="159"/>
                  <a:pt x="194" y="159"/>
                  <a:pt x="194" y="159"/>
                </a:cubicBezTo>
                <a:cubicBezTo>
                  <a:pt x="194" y="159"/>
                  <a:pt x="195" y="159"/>
                  <a:pt x="195" y="159"/>
                </a:cubicBezTo>
                <a:cubicBezTo>
                  <a:pt x="195" y="160"/>
                  <a:pt x="194" y="160"/>
                  <a:pt x="194" y="160"/>
                </a:cubicBezTo>
                <a:cubicBezTo>
                  <a:pt x="193" y="160"/>
                  <a:pt x="193" y="161"/>
                  <a:pt x="193" y="161"/>
                </a:cubicBezTo>
                <a:cubicBezTo>
                  <a:pt x="193" y="161"/>
                  <a:pt x="193" y="161"/>
                  <a:pt x="193" y="162"/>
                </a:cubicBezTo>
                <a:cubicBezTo>
                  <a:pt x="192" y="162"/>
                  <a:pt x="192" y="162"/>
                  <a:pt x="192" y="163"/>
                </a:cubicBezTo>
                <a:cubicBezTo>
                  <a:pt x="192" y="163"/>
                  <a:pt x="192" y="164"/>
                  <a:pt x="192" y="164"/>
                </a:cubicBezTo>
                <a:cubicBezTo>
                  <a:pt x="192" y="165"/>
                  <a:pt x="192" y="166"/>
                  <a:pt x="192" y="166"/>
                </a:cubicBezTo>
                <a:cubicBezTo>
                  <a:pt x="193" y="167"/>
                  <a:pt x="193" y="167"/>
                  <a:pt x="193" y="168"/>
                </a:cubicBezTo>
                <a:cubicBezTo>
                  <a:pt x="193" y="168"/>
                  <a:pt x="192" y="168"/>
                  <a:pt x="192" y="169"/>
                </a:cubicBezTo>
                <a:cubicBezTo>
                  <a:pt x="192" y="169"/>
                  <a:pt x="192" y="170"/>
                  <a:pt x="192" y="170"/>
                </a:cubicBezTo>
                <a:cubicBezTo>
                  <a:pt x="192" y="171"/>
                  <a:pt x="192" y="172"/>
                  <a:pt x="191" y="172"/>
                </a:cubicBezTo>
                <a:cubicBezTo>
                  <a:pt x="190" y="172"/>
                  <a:pt x="190" y="171"/>
                  <a:pt x="190" y="170"/>
                </a:cubicBezTo>
                <a:cubicBezTo>
                  <a:pt x="190" y="170"/>
                  <a:pt x="188" y="170"/>
                  <a:pt x="189" y="171"/>
                </a:cubicBezTo>
                <a:cubicBezTo>
                  <a:pt x="189" y="171"/>
                  <a:pt x="189" y="172"/>
                  <a:pt x="189" y="172"/>
                </a:cubicBezTo>
                <a:cubicBezTo>
                  <a:pt x="190" y="172"/>
                  <a:pt x="190" y="173"/>
                  <a:pt x="190" y="173"/>
                </a:cubicBezTo>
                <a:cubicBezTo>
                  <a:pt x="190" y="173"/>
                  <a:pt x="191" y="174"/>
                  <a:pt x="191" y="174"/>
                </a:cubicBezTo>
                <a:cubicBezTo>
                  <a:pt x="190" y="175"/>
                  <a:pt x="190" y="175"/>
                  <a:pt x="190" y="176"/>
                </a:cubicBezTo>
                <a:cubicBezTo>
                  <a:pt x="191" y="176"/>
                  <a:pt x="191" y="176"/>
                  <a:pt x="191" y="176"/>
                </a:cubicBezTo>
                <a:cubicBezTo>
                  <a:pt x="191" y="177"/>
                  <a:pt x="191" y="178"/>
                  <a:pt x="192" y="178"/>
                </a:cubicBezTo>
                <a:cubicBezTo>
                  <a:pt x="192" y="178"/>
                  <a:pt x="193" y="178"/>
                  <a:pt x="193" y="177"/>
                </a:cubicBezTo>
                <a:cubicBezTo>
                  <a:pt x="192" y="177"/>
                  <a:pt x="192" y="177"/>
                  <a:pt x="192" y="177"/>
                </a:cubicBezTo>
                <a:cubicBezTo>
                  <a:pt x="192" y="176"/>
                  <a:pt x="192" y="176"/>
                  <a:pt x="193" y="176"/>
                </a:cubicBezTo>
                <a:cubicBezTo>
                  <a:pt x="193" y="176"/>
                  <a:pt x="194" y="176"/>
                  <a:pt x="194" y="176"/>
                </a:cubicBezTo>
                <a:cubicBezTo>
                  <a:pt x="195" y="177"/>
                  <a:pt x="196" y="176"/>
                  <a:pt x="195" y="177"/>
                </a:cubicBezTo>
                <a:cubicBezTo>
                  <a:pt x="195" y="178"/>
                  <a:pt x="194" y="178"/>
                  <a:pt x="195" y="179"/>
                </a:cubicBezTo>
                <a:cubicBezTo>
                  <a:pt x="195" y="179"/>
                  <a:pt x="195" y="179"/>
                  <a:pt x="196" y="179"/>
                </a:cubicBezTo>
                <a:cubicBezTo>
                  <a:pt x="196" y="179"/>
                  <a:pt x="196" y="180"/>
                  <a:pt x="196" y="180"/>
                </a:cubicBezTo>
                <a:cubicBezTo>
                  <a:pt x="197" y="181"/>
                  <a:pt x="198" y="181"/>
                  <a:pt x="198" y="181"/>
                </a:cubicBezTo>
                <a:cubicBezTo>
                  <a:pt x="198" y="182"/>
                  <a:pt x="199" y="182"/>
                  <a:pt x="199" y="181"/>
                </a:cubicBezTo>
                <a:cubicBezTo>
                  <a:pt x="199" y="181"/>
                  <a:pt x="198" y="181"/>
                  <a:pt x="198" y="181"/>
                </a:cubicBezTo>
                <a:cubicBezTo>
                  <a:pt x="198" y="180"/>
                  <a:pt x="198" y="180"/>
                  <a:pt x="199" y="180"/>
                </a:cubicBezTo>
                <a:cubicBezTo>
                  <a:pt x="200" y="180"/>
                  <a:pt x="200" y="181"/>
                  <a:pt x="200" y="181"/>
                </a:cubicBezTo>
                <a:cubicBezTo>
                  <a:pt x="200" y="182"/>
                  <a:pt x="200" y="182"/>
                  <a:pt x="200" y="183"/>
                </a:cubicBezTo>
                <a:cubicBezTo>
                  <a:pt x="200" y="183"/>
                  <a:pt x="200" y="184"/>
                  <a:pt x="200" y="184"/>
                </a:cubicBezTo>
                <a:cubicBezTo>
                  <a:pt x="201" y="186"/>
                  <a:pt x="200" y="187"/>
                  <a:pt x="201" y="189"/>
                </a:cubicBezTo>
                <a:cubicBezTo>
                  <a:pt x="201" y="190"/>
                  <a:pt x="201" y="191"/>
                  <a:pt x="201" y="193"/>
                </a:cubicBezTo>
                <a:cubicBezTo>
                  <a:pt x="201" y="193"/>
                  <a:pt x="202" y="193"/>
                  <a:pt x="202" y="194"/>
                </a:cubicBezTo>
                <a:cubicBezTo>
                  <a:pt x="202" y="195"/>
                  <a:pt x="202" y="195"/>
                  <a:pt x="202" y="196"/>
                </a:cubicBezTo>
                <a:cubicBezTo>
                  <a:pt x="203" y="196"/>
                  <a:pt x="203" y="196"/>
                  <a:pt x="203" y="197"/>
                </a:cubicBezTo>
                <a:cubicBezTo>
                  <a:pt x="204" y="198"/>
                  <a:pt x="204" y="198"/>
                  <a:pt x="204" y="199"/>
                </a:cubicBezTo>
                <a:cubicBezTo>
                  <a:pt x="205" y="199"/>
                  <a:pt x="205" y="201"/>
                  <a:pt x="206" y="201"/>
                </a:cubicBezTo>
                <a:cubicBezTo>
                  <a:pt x="207" y="201"/>
                  <a:pt x="207" y="199"/>
                  <a:pt x="208" y="200"/>
                </a:cubicBezTo>
                <a:cubicBezTo>
                  <a:pt x="208" y="200"/>
                  <a:pt x="208" y="200"/>
                  <a:pt x="209" y="200"/>
                </a:cubicBezTo>
                <a:cubicBezTo>
                  <a:pt x="209" y="201"/>
                  <a:pt x="210" y="201"/>
                  <a:pt x="210" y="201"/>
                </a:cubicBezTo>
                <a:cubicBezTo>
                  <a:pt x="211" y="202"/>
                  <a:pt x="211" y="203"/>
                  <a:pt x="212" y="204"/>
                </a:cubicBezTo>
                <a:cubicBezTo>
                  <a:pt x="212" y="204"/>
                  <a:pt x="213" y="204"/>
                  <a:pt x="213" y="204"/>
                </a:cubicBezTo>
                <a:cubicBezTo>
                  <a:pt x="213" y="204"/>
                  <a:pt x="213" y="204"/>
                  <a:pt x="214" y="204"/>
                </a:cubicBezTo>
                <a:cubicBezTo>
                  <a:pt x="214" y="203"/>
                  <a:pt x="215" y="202"/>
                  <a:pt x="215" y="202"/>
                </a:cubicBezTo>
                <a:cubicBezTo>
                  <a:pt x="216" y="202"/>
                  <a:pt x="216" y="203"/>
                  <a:pt x="217" y="204"/>
                </a:cubicBezTo>
                <a:cubicBezTo>
                  <a:pt x="217" y="205"/>
                  <a:pt x="217" y="206"/>
                  <a:pt x="217" y="207"/>
                </a:cubicBezTo>
                <a:cubicBezTo>
                  <a:pt x="217" y="207"/>
                  <a:pt x="217" y="208"/>
                  <a:pt x="217" y="208"/>
                </a:cubicBezTo>
                <a:cubicBezTo>
                  <a:pt x="217" y="209"/>
                  <a:pt x="218" y="209"/>
                  <a:pt x="219" y="210"/>
                </a:cubicBezTo>
                <a:cubicBezTo>
                  <a:pt x="220" y="211"/>
                  <a:pt x="221" y="212"/>
                  <a:pt x="221" y="213"/>
                </a:cubicBezTo>
                <a:cubicBezTo>
                  <a:pt x="221" y="214"/>
                  <a:pt x="221" y="214"/>
                  <a:pt x="221" y="215"/>
                </a:cubicBezTo>
                <a:cubicBezTo>
                  <a:pt x="221" y="216"/>
                  <a:pt x="222" y="216"/>
                  <a:pt x="222" y="217"/>
                </a:cubicBezTo>
                <a:cubicBezTo>
                  <a:pt x="223" y="218"/>
                  <a:pt x="224" y="219"/>
                  <a:pt x="225" y="219"/>
                </a:cubicBezTo>
                <a:cubicBezTo>
                  <a:pt x="225" y="219"/>
                  <a:pt x="227" y="219"/>
                  <a:pt x="228" y="219"/>
                </a:cubicBezTo>
                <a:cubicBezTo>
                  <a:pt x="228" y="219"/>
                  <a:pt x="228" y="218"/>
                  <a:pt x="229" y="218"/>
                </a:cubicBezTo>
                <a:cubicBezTo>
                  <a:pt x="229" y="218"/>
                  <a:pt x="230" y="218"/>
                  <a:pt x="230" y="218"/>
                </a:cubicBezTo>
                <a:cubicBezTo>
                  <a:pt x="231" y="218"/>
                  <a:pt x="231" y="219"/>
                  <a:pt x="231" y="219"/>
                </a:cubicBezTo>
                <a:cubicBezTo>
                  <a:pt x="230" y="220"/>
                  <a:pt x="229" y="220"/>
                  <a:pt x="229" y="220"/>
                </a:cubicBezTo>
                <a:cubicBezTo>
                  <a:pt x="228" y="220"/>
                  <a:pt x="226" y="220"/>
                  <a:pt x="225" y="220"/>
                </a:cubicBezTo>
                <a:cubicBezTo>
                  <a:pt x="225" y="220"/>
                  <a:pt x="224" y="220"/>
                  <a:pt x="224" y="220"/>
                </a:cubicBezTo>
                <a:cubicBezTo>
                  <a:pt x="224" y="221"/>
                  <a:pt x="224" y="222"/>
                  <a:pt x="224" y="222"/>
                </a:cubicBezTo>
                <a:cubicBezTo>
                  <a:pt x="224" y="223"/>
                  <a:pt x="224" y="223"/>
                  <a:pt x="223" y="224"/>
                </a:cubicBezTo>
                <a:cubicBezTo>
                  <a:pt x="223" y="224"/>
                  <a:pt x="223" y="225"/>
                  <a:pt x="223" y="225"/>
                </a:cubicBezTo>
                <a:cubicBezTo>
                  <a:pt x="223" y="226"/>
                  <a:pt x="223" y="226"/>
                  <a:pt x="223" y="227"/>
                </a:cubicBezTo>
                <a:cubicBezTo>
                  <a:pt x="224" y="227"/>
                  <a:pt x="224" y="227"/>
                  <a:pt x="224" y="228"/>
                </a:cubicBezTo>
                <a:cubicBezTo>
                  <a:pt x="224" y="228"/>
                  <a:pt x="225" y="229"/>
                  <a:pt x="225" y="230"/>
                </a:cubicBezTo>
                <a:cubicBezTo>
                  <a:pt x="226" y="230"/>
                  <a:pt x="227" y="230"/>
                  <a:pt x="228" y="230"/>
                </a:cubicBezTo>
                <a:cubicBezTo>
                  <a:pt x="229" y="230"/>
                  <a:pt x="231" y="230"/>
                  <a:pt x="232" y="230"/>
                </a:cubicBezTo>
                <a:cubicBezTo>
                  <a:pt x="232" y="230"/>
                  <a:pt x="233" y="230"/>
                  <a:pt x="233" y="229"/>
                </a:cubicBezTo>
                <a:cubicBezTo>
                  <a:pt x="233" y="229"/>
                  <a:pt x="233" y="229"/>
                  <a:pt x="234" y="229"/>
                </a:cubicBezTo>
                <a:cubicBezTo>
                  <a:pt x="235" y="229"/>
                  <a:pt x="236" y="229"/>
                  <a:pt x="237" y="229"/>
                </a:cubicBezTo>
                <a:cubicBezTo>
                  <a:pt x="238" y="229"/>
                  <a:pt x="239" y="229"/>
                  <a:pt x="240" y="229"/>
                </a:cubicBezTo>
                <a:cubicBezTo>
                  <a:pt x="240" y="229"/>
                  <a:pt x="241" y="229"/>
                  <a:pt x="242" y="228"/>
                </a:cubicBezTo>
                <a:cubicBezTo>
                  <a:pt x="242" y="228"/>
                  <a:pt x="243" y="228"/>
                  <a:pt x="243" y="228"/>
                </a:cubicBezTo>
                <a:cubicBezTo>
                  <a:pt x="244" y="227"/>
                  <a:pt x="245" y="226"/>
                  <a:pt x="246" y="227"/>
                </a:cubicBezTo>
                <a:cubicBezTo>
                  <a:pt x="247" y="227"/>
                  <a:pt x="247" y="227"/>
                  <a:pt x="247" y="227"/>
                </a:cubicBezTo>
                <a:cubicBezTo>
                  <a:pt x="248" y="227"/>
                  <a:pt x="248" y="226"/>
                  <a:pt x="248" y="226"/>
                </a:cubicBezTo>
                <a:cubicBezTo>
                  <a:pt x="249" y="225"/>
                  <a:pt x="250" y="224"/>
                  <a:pt x="251" y="224"/>
                </a:cubicBezTo>
                <a:cubicBezTo>
                  <a:pt x="251" y="223"/>
                  <a:pt x="252" y="223"/>
                  <a:pt x="252" y="222"/>
                </a:cubicBezTo>
                <a:cubicBezTo>
                  <a:pt x="253" y="221"/>
                  <a:pt x="253" y="221"/>
                  <a:pt x="252" y="220"/>
                </a:cubicBezTo>
                <a:cubicBezTo>
                  <a:pt x="252" y="219"/>
                  <a:pt x="252" y="219"/>
                  <a:pt x="252" y="218"/>
                </a:cubicBezTo>
                <a:cubicBezTo>
                  <a:pt x="252" y="218"/>
                  <a:pt x="252" y="217"/>
                  <a:pt x="253" y="217"/>
                </a:cubicBezTo>
                <a:cubicBezTo>
                  <a:pt x="253" y="216"/>
                  <a:pt x="253" y="216"/>
                  <a:pt x="253" y="215"/>
                </a:cubicBezTo>
                <a:cubicBezTo>
                  <a:pt x="253" y="215"/>
                  <a:pt x="253" y="214"/>
                  <a:pt x="253" y="214"/>
                </a:cubicBezTo>
                <a:cubicBezTo>
                  <a:pt x="253" y="214"/>
                  <a:pt x="253" y="214"/>
                  <a:pt x="253" y="213"/>
                </a:cubicBezTo>
                <a:cubicBezTo>
                  <a:pt x="253" y="213"/>
                  <a:pt x="253" y="212"/>
                  <a:pt x="253" y="212"/>
                </a:cubicBezTo>
                <a:cubicBezTo>
                  <a:pt x="253" y="212"/>
                  <a:pt x="254" y="211"/>
                  <a:pt x="254" y="211"/>
                </a:cubicBezTo>
                <a:cubicBezTo>
                  <a:pt x="254" y="211"/>
                  <a:pt x="255" y="211"/>
                  <a:pt x="255" y="210"/>
                </a:cubicBezTo>
                <a:cubicBezTo>
                  <a:pt x="255" y="210"/>
                  <a:pt x="255" y="209"/>
                  <a:pt x="255" y="209"/>
                </a:cubicBezTo>
                <a:cubicBezTo>
                  <a:pt x="256" y="209"/>
                  <a:pt x="256" y="208"/>
                  <a:pt x="256" y="208"/>
                </a:cubicBezTo>
                <a:cubicBezTo>
                  <a:pt x="257" y="207"/>
                  <a:pt x="257" y="207"/>
                  <a:pt x="257" y="206"/>
                </a:cubicBezTo>
                <a:cubicBezTo>
                  <a:pt x="258" y="206"/>
                  <a:pt x="258" y="206"/>
                  <a:pt x="258" y="205"/>
                </a:cubicBezTo>
                <a:cubicBezTo>
                  <a:pt x="258" y="205"/>
                  <a:pt x="259" y="205"/>
                  <a:pt x="259" y="204"/>
                </a:cubicBezTo>
                <a:cubicBezTo>
                  <a:pt x="259" y="204"/>
                  <a:pt x="260" y="203"/>
                  <a:pt x="259" y="202"/>
                </a:cubicBezTo>
                <a:cubicBezTo>
                  <a:pt x="259" y="202"/>
                  <a:pt x="258" y="202"/>
                  <a:pt x="258" y="201"/>
                </a:cubicBezTo>
                <a:cubicBezTo>
                  <a:pt x="258" y="201"/>
                  <a:pt x="259" y="201"/>
                  <a:pt x="259" y="201"/>
                </a:cubicBezTo>
                <a:cubicBezTo>
                  <a:pt x="259" y="200"/>
                  <a:pt x="259" y="200"/>
                  <a:pt x="259" y="200"/>
                </a:cubicBezTo>
                <a:cubicBezTo>
                  <a:pt x="259" y="199"/>
                  <a:pt x="259" y="198"/>
                  <a:pt x="259" y="198"/>
                </a:cubicBezTo>
                <a:cubicBezTo>
                  <a:pt x="259" y="197"/>
                  <a:pt x="259" y="195"/>
                  <a:pt x="260" y="195"/>
                </a:cubicBezTo>
                <a:cubicBezTo>
                  <a:pt x="260" y="193"/>
                  <a:pt x="260" y="192"/>
                  <a:pt x="260" y="191"/>
                </a:cubicBezTo>
                <a:cubicBezTo>
                  <a:pt x="260" y="190"/>
                  <a:pt x="260" y="190"/>
                  <a:pt x="260" y="189"/>
                </a:cubicBezTo>
                <a:cubicBezTo>
                  <a:pt x="261" y="188"/>
                  <a:pt x="261" y="188"/>
                  <a:pt x="261" y="188"/>
                </a:cubicBezTo>
                <a:cubicBezTo>
                  <a:pt x="261" y="187"/>
                  <a:pt x="261" y="187"/>
                  <a:pt x="261" y="186"/>
                </a:cubicBezTo>
                <a:cubicBezTo>
                  <a:pt x="261" y="186"/>
                  <a:pt x="261" y="185"/>
                  <a:pt x="261" y="184"/>
                </a:cubicBezTo>
                <a:cubicBezTo>
                  <a:pt x="261" y="183"/>
                  <a:pt x="261" y="182"/>
                  <a:pt x="261" y="182"/>
                </a:cubicBezTo>
                <a:cubicBezTo>
                  <a:pt x="262" y="181"/>
                  <a:pt x="262" y="180"/>
                  <a:pt x="262" y="179"/>
                </a:cubicBezTo>
                <a:cubicBezTo>
                  <a:pt x="262" y="178"/>
                  <a:pt x="262" y="177"/>
                  <a:pt x="262" y="177"/>
                </a:cubicBezTo>
                <a:cubicBezTo>
                  <a:pt x="262" y="176"/>
                  <a:pt x="263" y="176"/>
                  <a:pt x="263" y="175"/>
                </a:cubicBezTo>
                <a:cubicBezTo>
                  <a:pt x="263" y="175"/>
                  <a:pt x="263" y="174"/>
                  <a:pt x="263" y="173"/>
                </a:cubicBezTo>
                <a:cubicBezTo>
                  <a:pt x="263" y="172"/>
                  <a:pt x="263" y="171"/>
                  <a:pt x="263" y="170"/>
                </a:cubicBezTo>
                <a:cubicBezTo>
                  <a:pt x="263" y="169"/>
                  <a:pt x="262" y="168"/>
                  <a:pt x="262" y="168"/>
                </a:cubicBezTo>
                <a:cubicBezTo>
                  <a:pt x="262" y="167"/>
                  <a:pt x="262" y="166"/>
                  <a:pt x="262" y="165"/>
                </a:cubicBezTo>
                <a:cubicBezTo>
                  <a:pt x="262" y="164"/>
                  <a:pt x="262" y="163"/>
                  <a:pt x="262" y="162"/>
                </a:cubicBezTo>
                <a:cubicBezTo>
                  <a:pt x="262" y="162"/>
                  <a:pt x="262" y="162"/>
                  <a:pt x="262" y="161"/>
                </a:cubicBezTo>
                <a:cubicBezTo>
                  <a:pt x="262" y="161"/>
                  <a:pt x="261" y="161"/>
                  <a:pt x="261" y="160"/>
                </a:cubicBezTo>
                <a:cubicBezTo>
                  <a:pt x="261" y="160"/>
                  <a:pt x="261" y="159"/>
                  <a:pt x="261" y="159"/>
                </a:cubicBezTo>
                <a:cubicBezTo>
                  <a:pt x="261" y="158"/>
                  <a:pt x="260" y="158"/>
                  <a:pt x="260" y="158"/>
                </a:cubicBezTo>
                <a:cubicBezTo>
                  <a:pt x="260" y="157"/>
                  <a:pt x="260" y="157"/>
                  <a:pt x="260" y="157"/>
                </a:cubicBezTo>
                <a:cubicBezTo>
                  <a:pt x="260" y="156"/>
                  <a:pt x="259" y="156"/>
                  <a:pt x="259" y="156"/>
                </a:cubicBezTo>
                <a:cubicBezTo>
                  <a:pt x="259" y="155"/>
                  <a:pt x="259" y="155"/>
                  <a:pt x="259" y="155"/>
                </a:cubicBezTo>
                <a:cubicBezTo>
                  <a:pt x="259" y="154"/>
                  <a:pt x="258" y="154"/>
                  <a:pt x="258" y="154"/>
                </a:cubicBezTo>
                <a:cubicBezTo>
                  <a:pt x="258" y="153"/>
                  <a:pt x="258" y="153"/>
                  <a:pt x="258" y="153"/>
                </a:cubicBezTo>
                <a:cubicBezTo>
                  <a:pt x="258" y="152"/>
                  <a:pt x="257" y="152"/>
                  <a:pt x="257" y="151"/>
                </a:cubicBezTo>
                <a:cubicBezTo>
                  <a:pt x="256" y="151"/>
                  <a:pt x="256" y="151"/>
                  <a:pt x="256" y="151"/>
                </a:cubicBezTo>
                <a:cubicBezTo>
                  <a:pt x="256" y="151"/>
                  <a:pt x="255" y="151"/>
                  <a:pt x="255" y="151"/>
                </a:cubicBezTo>
                <a:cubicBezTo>
                  <a:pt x="255" y="152"/>
                  <a:pt x="254" y="151"/>
                  <a:pt x="254" y="150"/>
                </a:cubicBezTo>
                <a:cubicBezTo>
                  <a:pt x="254" y="150"/>
                  <a:pt x="254" y="150"/>
                  <a:pt x="253" y="150"/>
                </a:cubicBezTo>
                <a:cubicBezTo>
                  <a:pt x="253" y="150"/>
                  <a:pt x="253" y="150"/>
                  <a:pt x="253" y="149"/>
                </a:cubicBezTo>
                <a:cubicBezTo>
                  <a:pt x="253" y="149"/>
                  <a:pt x="253" y="149"/>
                  <a:pt x="253" y="149"/>
                </a:cubicBezTo>
                <a:cubicBezTo>
                  <a:pt x="254" y="149"/>
                  <a:pt x="254" y="149"/>
                  <a:pt x="254" y="150"/>
                </a:cubicBezTo>
                <a:cubicBezTo>
                  <a:pt x="254" y="150"/>
                  <a:pt x="255" y="150"/>
                  <a:pt x="256" y="150"/>
                </a:cubicBezTo>
                <a:cubicBezTo>
                  <a:pt x="256" y="149"/>
                  <a:pt x="256" y="149"/>
                  <a:pt x="256" y="149"/>
                </a:cubicBezTo>
                <a:cubicBezTo>
                  <a:pt x="255" y="148"/>
                  <a:pt x="255" y="148"/>
                  <a:pt x="255" y="147"/>
                </a:cubicBezTo>
                <a:cubicBezTo>
                  <a:pt x="255" y="147"/>
                  <a:pt x="255" y="147"/>
                  <a:pt x="255" y="147"/>
                </a:cubicBezTo>
                <a:cubicBezTo>
                  <a:pt x="255" y="146"/>
                  <a:pt x="255" y="146"/>
                  <a:pt x="255" y="146"/>
                </a:cubicBezTo>
                <a:cubicBezTo>
                  <a:pt x="254" y="145"/>
                  <a:pt x="254" y="145"/>
                  <a:pt x="254" y="144"/>
                </a:cubicBezTo>
                <a:cubicBezTo>
                  <a:pt x="254" y="144"/>
                  <a:pt x="254" y="143"/>
                  <a:pt x="254" y="143"/>
                </a:cubicBezTo>
                <a:cubicBezTo>
                  <a:pt x="253" y="142"/>
                  <a:pt x="253" y="142"/>
                  <a:pt x="253" y="142"/>
                </a:cubicBezTo>
                <a:cubicBezTo>
                  <a:pt x="253" y="141"/>
                  <a:pt x="253" y="141"/>
                  <a:pt x="253" y="140"/>
                </a:cubicBezTo>
                <a:cubicBezTo>
                  <a:pt x="253" y="140"/>
                  <a:pt x="254" y="140"/>
                  <a:pt x="254" y="139"/>
                </a:cubicBezTo>
                <a:cubicBezTo>
                  <a:pt x="254" y="139"/>
                  <a:pt x="253" y="139"/>
                  <a:pt x="253" y="139"/>
                </a:cubicBezTo>
                <a:cubicBezTo>
                  <a:pt x="252" y="139"/>
                  <a:pt x="253" y="139"/>
                  <a:pt x="252" y="140"/>
                </a:cubicBezTo>
                <a:cubicBezTo>
                  <a:pt x="252" y="139"/>
                  <a:pt x="252" y="139"/>
                  <a:pt x="252" y="139"/>
                </a:cubicBezTo>
                <a:cubicBezTo>
                  <a:pt x="252" y="138"/>
                  <a:pt x="252" y="138"/>
                  <a:pt x="252" y="137"/>
                </a:cubicBezTo>
                <a:cubicBezTo>
                  <a:pt x="252" y="137"/>
                  <a:pt x="253" y="137"/>
                  <a:pt x="253" y="137"/>
                </a:cubicBezTo>
                <a:cubicBezTo>
                  <a:pt x="252" y="136"/>
                  <a:pt x="252" y="136"/>
                  <a:pt x="252" y="136"/>
                </a:cubicBezTo>
                <a:cubicBezTo>
                  <a:pt x="252" y="136"/>
                  <a:pt x="252" y="135"/>
                  <a:pt x="252" y="135"/>
                </a:cubicBezTo>
                <a:cubicBezTo>
                  <a:pt x="252" y="134"/>
                  <a:pt x="252" y="134"/>
                  <a:pt x="251" y="133"/>
                </a:cubicBezTo>
                <a:cubicBezTo>
                  <a:pt x="251" y="133"/>
                  <a:pt x="251" y="132"/>
                  <a:pt x="251" y="132"/>
                </a:cubicBezTo>
                <a:cubicBezTo>
                  <a:pt x="251" y="132"/>
                  <a:pt x="250" y="132"/>
                  <a:pt x="250" y="131"/>
                </a:cubicBezTo>
                <a:cubicBezTo>
                  <a:pt x="250" y="131"/>
                  <a:pt x="250" y="131"/>
                  <a:pt x="250" y="131"/>
                </a:cubicBezTo>
                <a:cubicBezTo>
                  <a:pt x="249" y="130"/>
                  <a:pt x="249" y="130"/>
                  <a:pt x="249" y="129"/>
                </a:cubicBezTo>
                <a:cubicBezTo>
                  <a:pt x="249" y="129"/>
                  <a:pt x="248" y="128"/>
                  <a:pt x="248" y="127"/>
                </a:cubicBezTo>
                <a:cubicBezTo>
                  <a:pt x="248" y="127"/>
                  <a:pt x="247" y="126"/>
                  <a:pt x="247" y="125"/>
                </a:cubicBezTo>
                <a:cubicBezTo>
                  <a:pt x="247" y="125"/>
                  <a:pt x="247" y="125"/>
                  <a:pt x="246" y="124"/>
                </a:cubicBezTo>
                <a:cubicBezTo>
                  <a:pt x="246" y="124"/>
                  <a:pt x="246" y="124"/>
                  <a:pt x="246" y="123"/>
                </a:cubicBezTo>
                <a:cubicBezTo>
                  <a:pt x="246" y="123"/>
                  <a:pt x="246" y="123"/>
                  <a:pt x="246" y="122"/>
                </a:cubicBezTo>
                <a:cubicBezTo>
                  <a:pt x="246" y="122"/>
                  <a:pt x="245" y="122"/>
                  <a:pt x="245" y="121"/>
                </a:cubicBezTo>
                <a:cubicBezTo>
                  <a:pt x="245" y="121"/>
                  <a:pt x="245" y="121"/>
                  <a:pt x="245" y="121"/>
                </a:cubicBezTo>
                <a:cubicBezTo>
                  <a:pt x="245" y="120"/>
                  <a:pt x="245" y="120"/>
                  <a:pt x="245" y="120"/>
                </a:cubicBezTo>
                <a:cubicBezTo>
                  <a:pt x="245" y="119"/>
                  <a:pt x="244" y="119"/>
                  <a:pt x="244" y="118"/>
                </a:cubicBezTo>
                <a:cubicBezTo>
                  <a:pt x="244" y="118"/>
                  <a:pt x="244" y="118"/>
                  <a:pt x="244" y="117"/>
                </a:cubicBezTo>
                <a:cubicBezTo>
                  <a:pt x="243" y="117"/>
                  <a:pt x="243" y="116"/>
                  <a:pt x="243" y="116"/>
                </a:cubicBezTo>
                <a:cubicBezTo>
                  <a:pt x="243" y="115"/>
                  <a:pt x="243" y="115"/>
                  <a:pt x="242" y="114"/>
                </a:cubicBezTo>
                <a:cubicBezTo>
                  <a:pt x="242" y="114"/>
                  <a:pt x="242" y="114"/>
                  <a:pt x="242" y="113"/>
                </a:cubicBezTo>
                <a:cubicBezTo>
                  <a:pt x="242" y="113"/>
                  <a:pt x="242" y="113"/>
                  <a:pt x="242" y="112"/>
                </a:cubicBezTo>
                <a:cubicBezTo>
                  <a:pt x="241" y="112"/>
                  <a:pt x="241" y="111"/>
                  <a:pt x="241" y="110"/>
                </a:cubicBezTo>
                <a:cubicBezTo>
                  <a:pt x="240" y="110"/>
                  <a:pt x="240" y="109"/>
                  <a:pt x="240" y="109"/>
                </a:cubicBezTo>
                <a:cubicBezTo>
                  <a:pt x="240" y="108"/>
                  <a:pt x="240" y="108"/>
                  <a:pt x="239" y="107"/>
                </a:cubicBezTo>
                <a:cubicBezTo>
                  <a:pt x="239" y="107"/>
                  <a:pt x="239" y="106"/>
                  <a:pt x="239" y="106"/>
                </a:cubicBezTo>
                <a:cubicBezTo>
                  <a:pt x="239" y="106"/>
                  <a:pt x="240" y="106"/>
                  <a:pt x="240" y="106"/>
                </a:cubicBezTo>
                <a:cubicBezTo>
                  <a:pt x="240" y="107"/>
                  <a:pt x="240" y="107"/>
                  <a:pt x="240" y="107"/>
                </a:cubicBezTo>
                <a:cubicBezTo>
                  <a:pt x="240" y="107"/>
                  <a:pt x="241" y="107"/>
                  <a:pt x="241" y="107"/>
                </a:cubicBezTo>
                <a:cubicBezTo>
                  <a:pt x="241" y="106"/>
                  <a:pt x="241" y="106"/>
                  <a:pt x="241" y="105"/>
                </a:cubicBezTo>
                <a:cubicBezTo>
                  <a:pt x="241" y="104"/>
                  <a:pt x="241" y="104"/>
                  <a:pt x="241" y="103"/>
                </a:cubicBezTo>
                <a:cubicBezTo>
                  <a:pt x="241" y="103"/>
                  <a:pt x="241" y="102"/>
                  <a:pt x="241" y="102"/>
                </a:cubicBezTo>
                <a:cubicBezTo>
                  <a:pt x="242" y="101"/>
                  <a:pt x="242" y="101"/>
                  <a:pt x="242" y="101"/>
                </a:cubicBezTo>
                <a:cubicBezTo>
                  <a:pt x="242" y="101"/>
                  <a:pt x="242" y="100"/>
                  <a:pt x="242" y="100"/>
                </a:cubicBezTo>
                <a:cubicBezTo>
                  <a:pt x="242" y="100"/>
                  <a:pt x="242" y="99"/>
                  <a:pt x="243" y="99"/>
                </a:cubicBezTo>
                <a:cubicBezTo>
                  <a:pt x="243" y="100"/>
                  <a:pt x="243" y="100"/>
                  <a:pt x="243" y="101"/>
                </a:cubicBezTo>
                <a:cubicBezTo>
                  <a:pt x="243" y="101"/>
                  <a:pt x="243" y="101"/>
                  <a:pt x="243" y="101"/>
                </a:cubicBezTo>
                <a:cubicBezTo>
                  <a:pt x="243" y="101"/>
                  <a:pt x="243" y="102"/>
                  <a:pt x="243" y="102"/>
                </a:cubicBezTo>
                <a:cubicBezTo>
                  <a:pt x="243" y="102"/>
                  <a:pt x="242" y="102"/>
                  <a:pt x="242" y="103"/>
                </a:cubicBezTo>
                <a:cubicBezTo>
                  <a:pt x="242" y="103"/>
                  <a:pt x="242" y="104"/>
                  <a:pt x="243" y="104"/>
                </a:cubicBezTo>
                <a:cubicBezTo>
                  <a:pt x="243" y="104"/>
                  <a:pt x="244" y="103"/>
                  <a:pt x="244" y="103"/>
                </a:cubicBezTo>
                <a:cubicBezTo>
                  <a:pt x="245" y="103"/>
                  <a:pt x="246" y="102"/>
                  <a:pt x="246" y="102"/>
                </a:cubicBezTo>
                <a:cubicBezTo>
                  <a:pt x="246" y="101"/>
                  <a:pt x="245" y="101"/>
                  <a:pt x="245" y="101"/>
                </a:cubicBezTo>
                <a:cubicBezTo>
                  <a:pt x="245" y="101"/>
                  <a:pt x="245" y="100"/>
                  <a:pt x="245" y="100"/>
                </a:cubicBezTo>
                <a:cubicBezTo>
                  <a:pt x="245" y="99"/>
                  <a:pt x="244" y="99"/>
                  <a:pt x="244" y="98"/>
                </a:cubicBezTo>
                <a:cubicBezTo>
                  <a:pt x="244" y="98"/>
                  <a:pt x="244" y="97"/>
                  <a:pt x="244" y="97"/>
                </a:cubicBezTo>
                <a:cubicBezTo>
                  <a:pt x="244" y="97"/>
                  <a:pt x="244" y="96"/>
                  <a:pt x="244" y="96"/>
                </a:cubicBezTo>
                <a:cubicBezTo>
                  <a:pt x="243" y="96"/>
                  <a:pt x="243" y="96"/>
                  <a:pt x="243" y="95"/>
                </a:cubicBezTo>
                <a:cubicBezTo>
                  <a:pt x="243" y="95"/>
                  <a:pt x="242" y="94"/>
                  <a:pt x="241" y="94"/>
                </a:cubicBezTo>
                <a:cubicBezTo>
                  <a:pt x="241" y="93"/>
                  <a:pt x="240" y="93"/>
                  <a:pt x="240" y="93"/>
                </a:cubicBezTo>
                <a:cubicBezTo>
                  <a:pt x="239" y="92"/>
                  <a:pt x="239" y="92"/>
                  <a:pt x="238" y="91"/>
                </a:cubicBezTo>
                <a:cubicBezTo>
                  <a:pt x="237" y="90"/>
                  <a:pt x="236" y="89"/>
                  <a:pt x="236" y="88"/>
                </a:cubicBezTo>
                <a:cubicBezTo>
                  <a:pt x="235" y="86"/>
                  <a:pt x="235" y="85"/>
                  <a:pt x="235" y="84"/>
                </a:cubicBezTo>
                <a:cubicBezTo>
                  <a:pt x="235" y="83"/>
                  <a:pt x="235" y="83"/>
                  <a:pt x="235" y="82"/>
                </a:cubicBezTo>
                <a:cubicBezTo>
                  <a:pt x="234" y="82"/>
                  <a:pt x="234" y="81"/>
                  <a:pt x="234" y="81"/>
                </a:cubicBezTo>
                <a:cubicBezTo>
                  <a:pt x="234" y="80"/>
                  <a:pt x="233" y="80"/>
                  <a:pt x="233" y="79"/>
                </a:cubicBezTo>
                <a:cubicBezTo>
                  <a:pt x="233" y="79"/>
                  <a:pt x="233" y="79"/>
                  <a:pt x="233" y="79"/>
                </a:cubicBezTo>
                <a:cubicBezTo>
                  <a:pt x="233" y="79"/>
                  <a:pt x="233" y="78"/>
                  <a:pt x="233" y="78"/>
                </a:cubicBezTo>
                <a:cubicBezTo>
                  <a:pt x="232" y="78"/>
                  <a:pt x="232" y="78"/>
                  <a:pt x="232" y="78"/>
                </a:cubicBezTo>
                <a:cubicBezTo>
                  <a:pt x="232" y="77"/>
                  <a:pt x="232" y="77"/>
                  <a:pt x="232" y="77"/>
                </a:cubicBezTo>
                <a:cubicBezTo>
                  <a:pt x="232" y="76"/>
                  <a:pt x="231" y="76"/>
                  <a:pt x="231" y="76"/>
                </a:cubicBezTo>
                <a:cubicBezTo>
                  <a:pt x="231" y="75"/>
                  <a:pt x="231" y="75"/>
                  <a:pt x="230" y="75"/>
                </a:cubicBezTo>
                <a:cubicBezTo>
                  <a:pt x="230" y="75"/>
                  <a:pt x="230" y="74"/>
                  <a:pt x="230" y="74"/>
                </a:cubicBezTo>
                <a:cubicBezTo>
                  <a:pt x="230" y="74"/>
                  <a:pt x="230" y="73"/>
                  <a:pt x="230" y="73"/>
                </a:cubicBezTo>
                <a:cubicBezTo>
                  <a:pt x="230" y="72"/>
                  <a:pt x="230" y="72"/>
                  <a:pt x="229" y="72"/>
                </a:cubicBezTo>
                <a:cubicBezTo>
                  <a:pt x="229" y="72"/>
                  <a:pt x="229" y="72"/>
                  <a:pt x="229" y="71"/>
                </a:cubicBezTo>
                <a:cubicBezTo>
                  <a:pt x="229" y="71"/>
                  <a:pt x="228" y="71"/>
                  <a:pt x="228" y="71"/>
                </a:cubicBezTo>
                <a:cubicBezTo>
                  <a:pt x="228" y="71"/>
                  <a:pt x="228" y="71"/>
                  <a:pt x="228" y="71"/>
                </a:cubicBezTo>
                <a:cubicBezTo>
                  <a:pt x="227" y="70"/>
                  <a:pt x="228" y="70"/>
                  <a:pt x="229" y="69"/>
                </a:cubicBezTo>
                <a:cubicBezTo>
                  <a:pt x="229" y="69"/>
                  <a:pt x="228" y="69"/>
                  <a:pt x="228" y="69"/>
                </a:cubicBezTo>
                <a:cubicBezTo>
                  <a:pt x="228" y="69"/>
                  <a:pt x="227" y="68"/>
                  <a:pt x="227" y="68"/>
                </a:cubicBezTo>
                <a:cubicBezTo>
                  <a:pt x="227" y="68"/>
                  <a:pt x="228" y="68"/>
                  <a:pt x="228" y="68"/>
                </a:cubicBezTo>
                <a:cubicBezTo>
                  <a:pt x="228" y="68"/>
                  <a:pt x="228" y="67"/>
                  <a:pt x="228" y="67"/>
                </a:cubicBezTo>
                <a:cubicBezTo>
                  <a:pt x="227" y="67"/>
                  <a:pt x="226" y="67"/>
                  <a:pt x="226" y="67"/>
                </a:cubicBezTo>
                <a:cubicBezTo>
                  <a:pt x="227" y="67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6" y="66"/>
                  <a:pt x="226" y="66"/>
                </a:cubicBezTo>
                <a:cubicBezTo>
                  <a:pt x="226" y="65"/>
                  <a:pt x="226" y="65"/>
                  <a:pt x="226" y="65"/>
                </a:cubicBezTo>
                <a:cubicBezTo>
                  <a:pt x="226" y="64"/>
                  <a:pt x="225" y="63"/>
                  <a:pt x="225" y="63"/>
                </a:cubicBezTo>
                <a:cubicBezTo>
                  <a:pt x="224" y="61"/>
                  <a:pt x="224" y="60"/>
                  <a:pt x="223" y="59"/>
                </a:cubicBezTo>
                <a:cubicBezTo>
                  <a:pt x="223" y="58"/>
                  <a:pt x="223" y="57"/>
                  <a:pt x="223" y="57"/>
                </a:cubicBezTo>
                <a:cubicBezTo>
                  <a:pt x="223" y="56"/>
                  <a:pt x="222" y="55"/>
                  <a:pt x="222" y="55"/>
                </a:cubicBezTo>
                <a:cubicBezTo>
                  <a:pt x="222" y="54"/>
                  <a:pt x="222" y="54"/>
                  <a:pt x="222" y="53"/>
                </a:cubicBezTo>
                <a:cubicBezTo>
                  <a:pt x="222" y="53"/>
                  <a:pt x="222" y="53"/>
                  <a:pt x="221" y="52"/>
                </a:cubicBezTo>
                <a:cubicBezTo>
                  <a:pt x="221" y="51"/>
                  <a:pt x="220" y="51"/>
                  <a:pt x="220" y="50"/>
                </a:cubicBezTo>
                <a:cubicBezTo>
                  <a:pt x="220" y="49"/>
                  <a:pt x="219" y="49"/>
                  <a:pt x="219" y="48"/>
                </a:cubicBezTo>
                <a:cubicBezTo>
                  <a:pt x="219" y="48"/>
                  <a:pt x="219" y="47"/>
                  <a:pt x="219" y="47"/>
                </a:cubicBezTo>
                <a:cubicBezTo>
                  <a:pt x="219" y="47"/>
                  <a:pt x="219" y="46"/>
                  <a:pt x="219" y="46"/>
                </a:cubicBezTo>
                <a:cubicBezTo>
                  <a:pt x="219" y="46"/>
                  <a:pt x="219" y="45"/>
                  <a:pt x="219" y="45"/>
                </a:cubicBezTo>
                <a:cubicBezTo>
                  <a:pt x="219" y="44"/>
                  <a:pt x="219" y="44"/>
                  <a:pt x="219" y="43"/>
                </a:cubicBezTo>
                <a:cubicBezTo>
                  <a:pt x="219" y="42"/>
                  <a:pt x="219" y="42"/>
                  <a:pt x="218" y="41"/>
                </a:cubicBezTo>
                <a:cubicBezTo>
                  <a:pt x="218" y="41"/>
                  <a:pt x="218" y="40"/>
                  <a:pt x="218" y="39"/>
                </a:cubicBezTo>
                <a:cubicBezTo>
                  <a:pt x="218" y="39"/>
                  <a:pt x="218" y="38"/>
                  <a:pt x="218" y="38"/>
                </a:cubicBezTo>
                <a:cubicBezTo>
                  <a:pt x="218" y="37"/>
                  <a:pt x="218" y="37"/>
                  <a:pt x="217" y="37"/>
                </a:cubicBezTo>
                <a:cubicBezTo>
                  <a:pt x="217" y="36"/>
                  <a:pt x="217" y="36"/>
                  <a:pt x="217" y="36"/>
                </a:cubicBezTo>
                <a:cubicBezTo>
                  <a:pt x="217" y="36"/>
                  <a:pt x="217" y="36"/>
                  <a:pt x="217" y="35"/>
                </a:cubicBezTo>
                <a:cubicBezTo>
                  <a:pt x="217" y="35"/>
                  <a:pt x="217" y="35"/>
                  <a:pt x="217" y="34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7" y="33"/>
                  <a:pt x="217" y="33"/>
                  <a:pt x="217" y="33"/>
                </a:cubicBezTo>
                <a:cubicBezTo>
                  <a:pt x="217" y="33"/>
                  <a:pt x="216" y="33"/>
                  <a:pt x="216" y="32"/>
                </a:cubicBezTo>
                <a:cubicBezTo>
                  <a:pt x="216" y="32"/>
                  <a:pt x="216" y="31"/>
                  <a:pt x="216" y="30"/>
                </a:cubicBezTo>
                <a:cubicBezTo>
                  <a:pt x="216" y="30"/>
                  <a:pt x="216" y="30"/>
                  <a:pt x="216" y="30"/>
                </a:cubicBezTo>
                <a:cubicBezTo>
                  <a:pt x="216" y="29"/>
                  <a:pt x="216" y="29"/>
                  <a:pt x="216" y="29"/>
                </a:cubicBezTo>
                <a:cubicBezTo>
                  <a:pt x="216" y="29"/>
                  <a:pt x="216" y="28"/>
                  <a:pt x="216" y="28"/>
                </a:cubicBezTo>
                <a:cubicBezTo>
                  <a:pt x="216" y="27"/>
                  <a:pt x="216" y="27"/>
                  <a:pt x="216" y="26"/>
                </a:cubicBezTo>
                <a:cubicBezTo>
                  <a:pt x="216" y="26"/>
                  <a:pt x="216" y="25"/>
                  <a:pt x="216" y="25"/>
                </a:cubicBezTo>
                <a:cubicBezTo>
                  <a:pt x="216" y="25"/>
                  <a:pt x="215" y="25"/>
                  <a:pt x="215" y="25"/>
                </a:cubicBezTo>
                <a:cubicBezTo>
                  <a:pt x="215" y="25"/>
                  <a:pt x="214" y="25"/>
                  <a:pt x="214" y="25"/>
                </a:cubicBezTo>
                <a:cubicBezTo>
                  <a:pt x="213" y="25"/>
                  <a:pt x="213" y="25"/>
                  <a:pt x="212" y="24"/>
                </a:cubicBezTo>
                <a:cubicBezTo>
                  <a:pt x="212" y="24"/>
                  <a:pt x="212" y="24"/>
                  <a:pt x="212" y="24"/>
                </a:cubicBezTo>
                <a:cubicBezTo>
                  <a:pt x="212" y="24"/>
                  <a:pt x="212" y="24"/>
                  <a:pt x="212" y="23"/>
                </a:cubicBezTo>
                <a:cubicBezTo>
                  <a:pt x="213" y="23"/>
                  <a:pt x="213" y="23"/>
                  <a:pt x="213" y="23"/>
                </a:cubicBezTo>
                <a:cubicBezTo>
                  <a:pt x="213" y="23"/>
                  <a:pt x="214" y="23"/>
                  <a:pt x="214" y="23"/>
                </a:cubicBezTo>
                <a:cubicBezTo>
                  <a:pt x="214" y="23"/>
                  <a:pt x="214" y="23"/>
                  <a:pt x="214" y="22"/>
                </a:cubicBezTo>
                <a:cubicBezTo>
                  <a:pt x="213" y="22"/>
                  <a:pt x="213" y="22"/>
                  <a:pt x="213" y="21"/>
                </a:cubicBezTo>
                <a:cubicBezTo>
                  <a:pt x="213" y="21"/>
                  <a:pt x="213" y="20"/>
                  <a:pt x="213" y="20"/>
                </a:cubicBezTo>
                <a:cubicBezTo>
                  <a:pt x="212" y="20"/>
                  <a:pt x="212" y="20"/>
                  <a:pt x="212" y="19"/>
                </a:cubicBezTo>
                <a:cubicBezTo>
                  <a:pt x="212" y="19"/>
                  <a:pt x="212" y="19"/>
                  <a:pt x="212" y="19"/>
                </a:cubicBezTo>
                <a:cubicBezTo>
                  <a:pt x="212" y="19"/>
                  <a:pt x="212" y="19"/>
                  <a:pt x="212" y="19"/>
                </a:cubicBezTo>
                <a:cubicBezTo>
                  <a:pt x="212" y="19"/>
                  <a:pt x="212" y="19"/>
                  <a:pt x="213" y="18"/>
                </a:cubicBezTo>
                <a:cubicBezTo>
                  <a:pt x="213" y="18"/>
                  <a:pt x="213" y="18"/>
                  <a:pt x="213" y="17"/>
                </a:cubicBezTo>
                <a:cubicBezTo>
                  <a:pt x="212" y="17"/>
                  <a:pt x="213" y="16"/>
                  <a:pt x="213" y="16"/>
                </a:cubicBezTo>
                <a:cubicBezTo>
                  <a:pt x="213" y="17"/>
                  <a:pt x="213" y="17"/>
                  <a:pt x="213" y="17"/>
                </a:cubicBezTo>
                <a:cubicBezTo>
                  <a:pt x="213" y="18"/>
                  <a:pt x="213" y="19"/>
                  <a:pt x="213" y="19"/>
                </a:cubicBezTo>
                <a:cubicBezTo>
                  <a:pt x="214" y="20"/>
                  <a:pt x="214" y="19"/>
                  <a:pt x="214" y="18"/>
                </a:cubicBezTo>
                <a:cubicBezTo>
                  <a:pt x="214" y="18"/>
                  <a:pt x="214" y="17"/>
                  <a:pt x="214" y="17"/>
                </a:cubicBezTo>
                <a:cubicBezTo>
                  <a:pt x="214" y="17"/>
                  <a:pt x="214" y="16"/>
                  <a:pt x="214" y="16"/>
                </a:cubicBezTo>
                <a:cubicBezTo>
                  <a:pt x="214" y="15"/>
                  <a:pt x="214" y="15"/>
                  <a:pt x="214" y="14"/>
                </a:cubicBezTo>
                <a:cubicBezTo>
                  <a:pt x="214" y="14"/>
                  <a:pt x="214" y="14"/>
                  <a:pt x="214" y="13"/>
                </a:cubicBezTo>
                <a:cubicBezTo>
                  <a:pt x="214" y="13"/>
                  <a:pt x="213" y="13"/>
                  <a:pt x="213" y="13"/>
                </a:cubicBezTo>
                <a:cubicBezTo>
                  <a:pt x="213" y="13"/>
                  <a:pt x="213" y="13"/>
                  <a:pt x="213" y="13"/>
                </a:cubicBezTo>
                <a:cubicBezTo>
                  <a:pt x="212" y="13"/>
                  <a:pt x="213" y="13"/>
                  <a:pt x="212" y="12"/>
                </a:cubicBezTo>
                <a:cubicBezTo>
                  <a:pt x="212" y="12"/>
                  <a:pt x="212" y="12"/>
                  <a:pt x="212" y="12"/>
                </a:cubicBezTo>
                <a:cubicBezTo>
                  <a:pt x="210" y="12"/>
                  <a:pt x="208" y="12"/>
                  <a:pt x="208" y="12"/>
                </a:cubicBezTo>
                <a:cubicBezTo>
                  <a:pt x="208" y="12"/>
                  <a:pt x="205" y="11"/>
                  <a:pt x="204" y="1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1" name="Freeform 49">
            <a:extLst>
              <a:ext uri="{FF2B5EF4-FFF2-40B4-BE49-F238E27FC236}">
                <a16:creationId xmlns:a16="http://schemas.microsoft.com/office/drawing/2014/main" id="{ED219636-5FC8-4031-A2FE-21A05903F0C6}"/>
              </a:ext>
            </a:extLst>
          </p:cNvPr>
          <p:cNvSpPr>
            <a:spLocks/>
          </p:cNvSpPr>
          <p:nvPr/>
        </p:nvSpPr>
        <p:spPr bwMode="auto">
          <a:xfrm>
            <a:off x="10691604" y="3022558"/>
            <a:ext cx="102437" cy="242874"/>
          </a:xfrm>
          <a:custGeom>
            <a:avLst/>
            <a:gdLst>
              <a:gd name="T0" fmla="*/ 3 w 26"/>
              <a:gd name="T1" fmla="*/ 61 h 61"/>
              <a:gd name="T2" fmla="*/ 26 w 26"/>
              <a:gd name="T3" fmla="*/ 61 h 61"/>
              <a:gd name="T4" fmla="*/ 26 w 26"/>
              <a:gd name="T5" fmla="*/ 59 h 61"/>
              <a:gd name="T6" fmla="*/ 25 w 26"/>
              <a:gd name="T7" fmla="*/ 57 h 61"/>
              <a:gd name="T8" fmla="*/ 22 w 26"/>
              <a:gd name="T9" fmla="*/ 57 h 61"/>
              <a:gd name="T10" fmla="*/ 22 w 26"/>
              <a:gd name="T11" fmla="*/ 55 h 61"/>
              <a:gd name="T12" fmla="*/ 23 w 26"/>
              <a:gd name="T13" fmla="*/ 52 h 61"/>
              <a:gd name="T14" fmla="*/ 24 w 26"/>
              <a:gd name="T15" fmla="*/ 51 h 61"/>
              <a:gd name="T16" fmla="*/ 23 w 26"/>
              <a:gd name="T17" fmla="*/ 48 h 61"/>
              <a:gd name="T18" fmla="*/ 22 w 26"/>
              <a:gd name="T19" fmla="*/ 47 h 61"/>
              <a:gd name="T20" fmla="*/ 21 w 26"/>
              <a:gd name="T21" fmla="*/ 46 h 61"/>
              <a:gd name="T22" fmla="*/ 19 w 26"/>
              <a:gd name="T23" fmla="*/ 44 h 61"/>
              <a:gd name="T24" fmla="*/ 18 w 26"/>
              <a:gd name="T25" fmla="*/ 43 h 61"/>
              <a:gd name="T26" fmla="*/ 17 w 26"/>
              <a:gd name="T27" fmla="*/ 40 h 61"/>
              <a:gd name="T28" fmla="*/ 15 w 26"/>
              <a:gd name="T29" fmla="*/ 37 h 61"/>
              <a:gd name="T30" fmla="*/ 14 w 26"/>
              <a:gd name="T31" fmla="*/ 35 h 61"/>
              <a:gd name="T32" fmla="*/ 13 w 26"/>
              <a:gd name="T33" fmla="*/ 30 h 61"/>
              <a:gd name="T34" fmla="*/ 13 w 26"/>
              <a:gd name="T35" fmla="*/ 27 h 61"/>
              <a:gd name="T36" fmla="*/ 12 w 26"/>
              <a:gd name="T37" fmla="*/ 27 h 61"/>
              <a:gd name="T38" fmla="*/ 12 w 26"/>
              <a:gd name="T39" fmla="*/ 28 h 61"/>
              <a:gd name="T40" fmla="*/ 10 w 26"/>
              <a:gd name="T41" fmla="*/ 27 h 61"/>
              <a:gd name="T42" fmla="*/ 9 w 26"/>
              <a:gd name="T43" fmla="*/ 26 h 61"/>
              <a:gd name="T44" fmla="*/ 11 w 26"/>
              <a:gd name="T45" fmla="*/ 26 h 61"/>
              <a:gd name="T46" fmla="*/ 11 w 26"/>
              <a:gd name="T47" fmla="*/ 25 h 61"/>
              <a:gd name="T48" fmla="*/ 10 w 26"/>
              <a:gd name="T49" fmla="*/ 23 h 61"/>
              <a:gd name="T50" fmla="*/ 9 w 26"/>
              <a:gd name="T51" fmla="*/ 19 h 61"/>
              <a:gd name="T52" fmla="*/ 7 w 26"/>
              <a:gd name="T53" fmla="*/ 16 h 61"/>
              <a:gd name="T54" fmla="*/ 7 w 26"/>
              <a:gd name="T55" fmla="*/ 12 h 61"/>
              <a:gd name="T56" fmla="*/ 7 w 26"/>
              <a:gd name="T57" fmla="*/ 9 h 61"/>
              <a:gd name="T58" fmla="*/ 10 w 26"/>
              <a:gd name="T59" fmla="*/ 4 h 61"/>
              <a:gd name="T60" fmla="*/ 13 w 26"/>
              <a:gd name="T61" fmla="*/ 1 h 61"/>
              <a:gd name="T62" fmla="*/ 0 w 26"/>
              <a:gd name="T63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6" h="61">
                <a:moveTo>
                  <a:pt x="0" y="5"/>
                </a:moveTo>
                <a:cubicBezTo>
                  <a:pt x="3" y="61"/>
                  <a:pt x="3" y="61"/>
                  <a:pt x="3" y="61"/>
                </a:cubicBezTo>
                <a:cubicBezTo>
                  <a:pt x="26" y="61"/>
                  <a:pt x="26" y="61"/>
                  <a:pt x="26" y="61"/>
                </a:cubicBezTo>
                <a:cubicBezTo>
                  <a:pt x="26" y="61"/>
                  <a:pt x="26" y="61"/>
                  <a:pt x="26" y="61"/>
                </a:cubicBezTo>
                <a:cubicBezTo>
                  <a:pt x="26" y="60"/>
                  <a:pt x="26" y="60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26" y="58"/>
                  <a:pt x="25" y="58"/>
                  <a:pt x="25" y="58"/>
                </a:cubicBezTo>
                <a:cubicBezTo>
                  <a:pt x="25" y="58"/>
                  <a:pt x="25" y="57"/>
                  <a:pt x="25" y="57"/>
                </a:cubicBezTo>
                <a:cubicBezTo>
                  <a:pt x="25" y="57"/>
                  <a:pt x="24" y="57"/>
                  <a:pt x="23" y="57"/>
                </a:cubicBezTo>
                <a:cubicBezTo>
                  <a:pt x="23" y="56"/>
                  <a:pt x="23" y="57"/>
                  <a:pt x="22" y="57"/>
                </a:cubicBezTo>
                <a:cubicBezTo>
                  <a:pt x="22" y="57"/>
                  <a:pt x="21" y="57"/>
                  <a:pt x="21" y="56"/>
                </a:cubicBezTo>
                <a:cubicBezTo>
                  <a:pt x="21" y="56"/>
                  <a:pt x="22" y="55"/>
                  <a:pt x="22" y="55"/>
                </a:cubicBezTo>
                <a:cubicBezTo>
                  <a:pt x="23" y="55"/>
                  <a:pt x="23" y="54"/>
                  <a:pt x="23" y="54"/>
                </a:cubicBezTo>
                <a:cubicBezTo>
                  <a:pt x="23" y="53"/>
                  <a:pt x="23" y="52"/>
                  <a:pt x="23" y="52"/>
                </a:cubicBezTo>
                <a:cubicBezTo>
                  <a:pt x="23" y="52"/>
                  <a:pt x="23" y="51"/>
                  <a:pt x="23" y="51"/>
                </a:cubicBezTo>
                <a:cubicBezTo>
                  <a:pt x="23" y="51"/>
                  <a:pt x="24" y="51"/>
                  <a:pt x="24" y="51"/>
                </a:cubicBezTo>
                <a:cubicBezTo>
                  <a:pt x="24" y="51"/>
                  <a:pt x="24" y="50"/>
                  <a:pt x="24" y="50"/>
                </a:cubicBezTo>
                <a:cubicBezTo>
                  <a:pt x="24" y="49"/>
                  <a:pt x="24" y="48"/>
                  <a:pt x="23" y="48"/>
                </a:cubicBezTo>
                <a:cubicBezTo>
                  <a:pt x="23" y="48"/>
                  <a:pt x="23" y="48"/>
                  <a:pt x="23" y="48"/>
                </a:cubicBezTo>
                <a:cubicBezTo>
                  <a:pt x="23" y="47"/>
                  <a:pt x="23" y="47"/>
                  <a:pt x="22" y="47"/>
                </a:cubicBezTo>
                <a:cubicBezTo>
                  <a:pt x="22" y="47"/>
                  <a:pt x="22" y="47"/>
                  <a:pt x="22" y="47"/>
                </a:cubicBezTo>
                <a:cubicBezTo>
                  <a:pt x="21" y="47"/>
                  <a:pt x="21" y="47"/>
                  <a:pt x="21" y="46"/>
                </a:cubicBezTo>
                <a:cubicBezTo>
                  <a:pt x="20" y="46"/>
                  <a:pt x="20" y="46"/>
                  <a:pt x="20" y="46"/>
                </a:cubicBezTo>
                <a:cubicBezTo>
                  <a:pt x="20" y="45"/>
                  <a:pt x="20" y="45"/>
                  <a:pt x="19" y="44"/>
                </a:cubicBezTo>
                <a:cubicBezTo>
                  <a:pt x="19" y="44"/>
                  <a:pt x="19" y="44"/>
                  <a:pt x="18" y="44"/>
                </a:cubicBezTo>
                <a:cubicBezTo>
                  <a:pt x="18" y="43"/>
                  <a:pt x="18" y="43"/>
                  <a:pt x="18" y="43"/>
                </a:cubicBezTo>
                <a:cubicBezTo>
                  <a:pt x="17" y="42"/>
                  <a:pt x="17" y="42"/>
                  <a:pt x="17" y="42"/>
                </a:cubicBezTo>
                <a:cubicBezTo>
                  <a:pt x="16" y="41"/>
                  <a:pt x="16" y="41"/>
                  <a:pt x="17" y="40"/>
                </a:cubicBezTo>
                <a:cubicBezTo>
                  <a:pt x="17" y="39"/>
                  <a:pt x="17" y="39"/>
                  <a:pt x="16" y="38"/>
                </a:cubicBezTo>
                <a:cubicBezTo>
                  <a:pt x="16" y="38"/>
                  <a:pt x="15" y="37"/>
                  <a:pt x="15" y="37"/>
                </a:cubicBezTo>
                <a:cubicBezTo>
                  <a:pt x="15" y="37"/>
                  <a:pt x="14" y="36"/>
                  <a:pt x="14" y="36"/>
                </a:cubicBezTo>
                <a:cubicBezTo>
                  <a:pt x="14" y="36"/>
                  <a:pt x="14" y="35"/>
                  <a:pt x="14" y="35"/>
                </a:cubicBezTo>
                <a:cubicBezTo>
                  <a:pt x="14" y="35"/>
                  <a:pt x="13" y="35"/>
                  <a:pt x="13" y="34"/>
                </a:cubicBezTo>
                <a:cubicBezTo>
                  <a:pt x="13" y="33"/>
                  <a:pt x="13" y="31"/>
                  <a:pt x="13" y="30"/>
                </a:cubicBezTo>
                <a:cubicBezTo>
                  <a:pt x="13" y="29"/>
                  <a:pt x="13" y="29"/>
                  <a:pt x="13" y="28"/>
                </a:cubicBezTo>
                <a:cubicBezTo>
                  <a:pt x="13" y="28"/>
                  <a:pt x="13" y="27"/>
                  <a:pt x="13" y="27"/>
                </a:cubicBezTo>
                <a:cubicBezTo>
                  <a:pt x="13" y="26"/>
                  <a:pt x="13" y="26"/>
                  <a:pt x="13" y="26"/>
                </a:cubicBezTo>
                <a:cubicBezTo>
                  <a:pt x="13" y="26"/>
                  <a:pt x="12" y="26"/>
                  <a:pt x="12" y="27"/>
                </a:cubicBezTo>
                <a:cubicBezTo>
                  <a:pt x="12" y="27"/>
                  <a:pt x="13" y="28"/>
                  <a:pt x="13" y="28"/>
                </a:cubicBezTo>
                <a:cubicBezTo>
                  <a:pt x="12" y="29"/>
                  <a:pt x="12" y="28"/>
                  <a:pt x="12" y="28"/>
                </a:cubicBezTo>
                <a:cubicBezTo>
                  <a:pt x="11" y="28"/>
                  <a:pt x="11" y="28"/>
                  <a:pt x="11" y="27"/>
                </a:cubicBezTo>
                <a:cubicBezTo>
                  <a:pt x="10" y="27"/>
                  <a:pt x="10" y="27"/>
                  <a:pt x="10" y="27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27"/>
                  <a:pt x="8" y="26"/>
                  <a:pt x="9" y="26"/>
                </a:cubicBezTo>
                <a:cubicBezTo>
                  <a:pt x="9" y="26"/>
                  <a:pt x="10" y="26"/>
                  <a:pt x="10" y="26"/>
                </a:cubicBezTo>
                <a:cubicBezTo>
                  <a:pt x="10" y="26"/>
                  <a:pt x="11" y="26"/>
                  <a:pt x="11" y="26"/>
                </a:cubicBezTo>
                <a:cubicBezTo>
                  <a:pt x="11" y="26"/>
                  <a:pt x="12" y="26"/>
                  <a:pt x="12" y="26"/>
                </a:cubicBezTo>
                <a:cubicBezTo>
                  <a:pt x="12" y="26"/>
                  <a:pt x="12" y="25"/>
                  <a:pt x="11" y="25"/>
                </a:cubicBezTo>
                <a:cubicBezTo>
                  <a:pt x="11" y="25"/>
                  <a:pt x="11" y="24"/>
                  <a:pt x="11" y="24"/>
                </a:cubicBezTo>
                <a:cubicBezTo>
                  <a:pt x="10" y="23"/>
                  <a:pt x="10" y="23"/>
                  <a:pt x="10" y="23"/>
                </a:cubicBezTo>
                <a:cubicBezTo>
                  <a:pt x="10" y="22"/>
                  <a:pt x="10" y="22"/>
                  <a:pt x="9" y="21"/>
                </a:cubicBezTo>
                <a:cubicBezTo>
                  <a:pt x="9" y="20"/>
                  <a:pt x="9" y="19"/>
                  <a:pt x="9" y="19"/>
                </a:cubicBezTo>
                <a:cubicBezTo>
                  <a:pt x="8" y="18"/>
                  <a:pt x="7" y="18"/>
                  <a:pt x="7" y="17"/>
                </a:cubicBezTo>
                <a:cubicBezTo>
                  <a:pt x="7" y="17"/>
                  <a:pt x="7" y="16"/>
                  <a:pt x="7" y="16"/>
                </a:cubicBezTo>
                <a:cubicBezTo>
                  <a:pt x="7" y="15"/>
                  <a:pt x="8" y="14"/>
                  <a:pt x="8" y="13"/>
                </a:cubicBezTo>
                <a:cubicBezTo>
                  <a:pt x="8" y="12"/>
                  <a:pt x="7" y="12"/>
                  <a:pt x="7" y="12"/>
                </a:cubicBezTo>
                <a:cubicBezTo>
                  <a:pt x="7" y="11"/>
                  <a:pt x="7" y="11"/>
                  <a:pt x="7" y="11"/>
                </a:cubicBezTo>
                <a:cubicBezTo>
                  <a:pt x="7" y="10"/>
                  <a:pt x="7" y="9"/>
                  <a:pt x="7" y="9"/>
                </a:cubicBezTo>
                <a:cubicBezTo>
                  <a:pt x="8" y="8"/>
                  <a:pt x="8" y="7"/>
                  <a:pt x="9" y="7"/>
                </a:cubicBezTo>
                <a:cubicBezTo>
                  <a:pt x="9" y="6"/>
                  <a:pt x="9" y="5"/>
                  <a:pt x="10" y="4"/>
                </a:cubicBezTo>
                <a:cubicBezTo>
                  <a:pt x="10" y="3"/>
                  <a:pt x="11" y="2"/>
                  <a:pt x="12" y="1"/>
                </a:cubicBezTo>
                <a:cubicBezTo>
                  <a:pt x="12" y="1"/>
                  <a:pt x="12" y="1"/>
                  <a:pt x="13" y="1"/>
                </a:cubicBezTo>
                <a:cubicBezTo>
                  <a:pt x="6" y="0"/>
                  <a:pt x="6" y="0"/>
                  <a:pt x="6" y="0"/>
                </a:cubicBezTo>
                <a:lnTo>
                  <a:pt x="0" y="5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2" name="Freeform 50">
            <a:extLst>
              <a:ext uri="{FF2B5EF4-FFF2-40B4-BE49-F238E27FC236}">
                <a16:creationId xmlns:a16="http://schemas.microsoft.com/office/drawing/2014/main" id="{9D0CF75E-E958-4A35-BDA0-FD20D0A9AECE}"/>
              </a:ext>
            </a:extLst>
          </p:cNvPr>
          <p:cNvSpPr>
            <a:spLocks/>
          </p:cNvSpPr>
          <p:nvPr/>
        </p:nvSpPr>
        <p:spPr bwMode="auto">
          <a:xfrm>
            <a:off x="10972479" y="2622724"/>
            <a:ext cx="261048" cy="193307"/>
          </a:xfrm>
          <a:custGeom>
            <a:avLst/>
            <a:gdLst>
              <a:gd name="T0" fmla="*/ 33 w 66"/>
              <a:gd name="T1" fmla="*/ 0 h 49"/>
              <a:gd name="T2" fmla="*/ 33 w 66"/>
              <a:gd name="T3" fmla="*/ 2 h 49"/>
              <a:gd name="T4" fmla="*/ 31 w 66"/>
              <a:gd name="T5" fmla="*/ 2 h 49"/>
              <a:gd name="T6" fmla="*/ 31 w 66"/>
              <a:gd name="T7" fmla="*/ 0 h 49"/>
              <a:gd name="T8" fmla="*/ 8 w 66"/>
              <a:gd name="T9" fmla="*/ 0 h 49"/>
              <a:gd name="T10" fmla="*/ 7 w 66"/>
              <a:gd name="T11" fmla="*/ 19 h 49"/>
              <a:gd name="T12" fmla="*/ 6 w 66"/>
              <a:gd name="T13" fmla="*/ 34 h 49"/>
              <a:gd name="T14" fmla="*/ 7 w 66"/>
              <a:gd name="T15" fmla="*/ 36 h 49"/>
              <a:gd name="T16" fmla="*/ 8 w 66"/>
              <a:gd name="T17" fmla="*/ 39 h 49"/>
              <a:gd name="T18" fmla="*/ 2 w 66"/>
              <a:gd name="T19" fmla="*/ 42 h 49"/>
              <a:gd name="T20" fmla="*/ 0 w 66"/>
              <a:gd name="T21" fmla="*/ 44 h 49"/>
              <a:gd name="T22" fmla="*/ 0 w 66"/>
              <a:gd name="T23" fmla="*/ 46 h 49"/>
              <a:gd name="T24" fmla="*/ 3 w 66"/>
              <a:gd name="T25" fmla="*/ 49 h 49"/>
              <a:gd name="T26" fmla="*/ 3 w 66"/>
              <a:gd name="T27" fmla="*/ 48 h 49"/>
              <a:gd name="T28" fmla="*/ 5 w 66"/>
              <a:gd name="T29" fmla="*/ 48 h 49"/>
              <a:gd name="T30" fmla="*/ 8 w 66"/>
              <a:gd name="T31" fmla="*/ 47 h 49"/>
              <a:gd name="T32" fmla="*/ 9 w 66"/>
              <a:gd name="T33" fmla="*/ 46 h 49"/>
              <a:gd name="T34" fmla="*/ 10 w 66"/>
              <a:gd name="T35" fmla="*/ 45 h 49"/>
              <a:gd name="T36" fmla="*/ 11 w 66"/>
              <a:gd name="T37" fmla="*/ 44 h 49"/>
              <a:gd name="T38" fmla="*/ 12 w 66"/>
              <a:gd name="T39" fmla="*/ 44 h 49"/>
              <a:gd name="T40" fmla="*/ 14 w 66"/>
              <a:gd name="T41" fmla="*/ 43 h 49"/>
              <a:gd name="T42" fmla="*/ 16 w 66"/>
              <a:gd name="T43" fmla="*/ 42 h 49"/>
              <a:gd name="T44" fmla="*/ 17 w 66"/>
              <a:gd name="T45" fmla="*/ 42 h 49"/>
              <a:gd name="T46" fmla="*/ 19 w 66"/>
              <a:gd name="T47" fmla="*/ 42 h 49"/>
              <a:gd name="T48" fmla="*/ 20 w 66"/>
              <a:gd name="T49" fmla="*/ 41 h 49"/>
              <a:gd name="T50" fmla="*/ 21 w 66"/>
              <a:gd name="T51" fmla="*/ 41 h 49"/>
              <a:gd name="T52" fmla="*/ 22 w 66"/>
              <a:gd name="T53" fmla="*/ 40 h 49"/>
              <a:gd name="T54" fmla="*/ 24 w 66"/>
              <a:gd name="T55" fmla="*/ 39 h 49"/>
              <a:gd name="T56" fmla="*/ 25 w 66"/>
              <a:gd name="T57" fmla="*/ 38 h 49"/>
              <a:gd name="T58" fmla="*/ 26 w 66"/>
              <a:gd name="T59" fmla="*/ 37 h 49"/>
              <a:gd name="T60" fmla="*/ 27 w 66"/>
              <a:gd name="T61" fmla="*/ 37 h 49"/>
              <a:gd name="T62" fmla="*/ 27 w 66"/>
              <a:gd name="T63" fmla="*/ 36 h 49"/>
              <a:gd name="T64" fmla="*/ 28 w 66"/>
              <a:gd name="T65" fmla="*/ 35 h 49"/>
              <a:gd name="T66" fmla="*/ 29 w 66"/>
              <a:gd name="T67" fmla="*/ 36 h 49"/>
              <a:gd name="T68" fmla="*/ 30 w 66"/>
              <a:gd name="T69" fmla="*/ 37 h 49"/>
              <a:gd name="T70" fmla="*/ 30 w 66"/>
              <a:gd name="T71" fmla="*/ 37 h 49"/>
              <a:gd name="T72" fmla="*/ 31 w 66"/>
              <a:gd name="T73" fmla="*/ 37 h 49"/>
              <a:gd name="T74" fmla="*/ 33 w 66"/>
              <a:gd name="T75" fmla="*/ 36 h 49"/>
              <a:gd name="T76" fmla="*/ 37 w 66"/>
              <a:gd name="T77" fmla="*/ 36 h 49"/>
              <a:gd name="T78" fmla="*/ 44 w 66"/>
              <a:gd name="T79" fmla="*/ 36 h 49"/>
              <a:gd name="T80" fmla="*/ 45 w 66"/>
              <a:gd name="T81" fmla="*/ 36 h 49"/>
              <a:gd name="T82" fmla="*/ 46 w 66"/>
              <a:gd name="T83" fmla="*/ 36 h 49"/>
              <a:gd name="T84" fmla="*/ 47 w 66"/>
              <a:gd name="T85" fmla="*/ 35 h 49"/>
              <a:gd name="T86" fmla="*/ 48 w 66"/>
              <a:gd name="T87" fmla="*/ 35 h 49"/>
              <a:gd name="T88" fmla="*/ 49 w 66"/>
              <a:gd name="T89" fmla="*/ 35 h 49"/>
              <a:gd name="T90" fmla="*/ 50 w 66"/>
              <a:gd name="T91" fmla="*/ 35 h 49"/>
              <a:gd name="T92" fmla="*/ 51 w 66"/>
              <a:gd name="T93" fmla="*/ 35 h 49"/>
              <a:gd name="T94" fmla="*/ 53 w 66"/>
              <a:gd name="T95" fmla="*/ 35 h 49"/>
              <a:gd name="T96" fmla="*/ 54 w 66"/>
              <a:gd name="T97" fmla="*/ 35 h 49"/>
              <a:gd name="T98" fmla="*/ 55 w 66"/>
              <a:gd name="T99" fmla="*/ 34 h 49"/>
              <a:gd name="T100" fmla="*/ 57 w 66"/>
              <a:gd name="T101" fmla="*/ 34 h 49"/>
              <a:gd name="T102" fmla="*/ 57 w 66"/>
              <a:gd name="T103" fmla="*/ 33 h 49"/>
              <a:gd name="T104" fmla="*/ 57 w 66"/>
              <a:gd name="T105" fmla="*/ 33 h 49"/>
              <a:gd name="T106" fmla="*/ 58 w 66"/>
              <a:gd name="T107" fmla="*/ 33 h 49"/>
              <a:gd name="T108" fmla="*/ 62 w 66"/>
              <a:gd name="T109" fmla="*/ 33 h 49"/>
              <a:gd name="T110" fmla="*/ 64 w 66"/>
              <a:gd name="T111" fmla="*/ 33 h 49"/>
              <a:gd name="T112" fmla="*/ 65 w 66"/>
              <a:gd name="T113" fmla="*/ 33 h 49"/>
              <a:gd name="T114" fmla="*/ 65 w 66"/>
              <a:gd name="T115" fmla="*/ 33 h 49"/>
              <a:gd name="T116" fmla="*/ 65 w 66"/>
              <a:gd name="T117" fmla="*/ 31 h 49"/>
              <a:gd name="T118" fmla="*/ 66 w 66"/>
              <a:gd name="T119" fmla="*/ 27 h 49"/>
              <a:gd name="T120" fmla="*/ 66 w 66"/>
              <a:gd name="T121" fmla="*/ 1 h 49"/>
              <a:gd name="T122" fmla="*/ 33 w 66"/>
              <a:gd name="T123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" h="49">
                <a:moveTo>
                  <a:pt x="33" y="0"/>
                </a:moveTo>
                <a:cubicBezTo>
                  <a:pt x="33" y="2"/>
                  <a:pt x="33" y="2"/>
                  <a:pt x="33" y="2"/>
                </a:cubicBezTo>
                <a:cubicBezTo>
                  <a:pt x="31" y="2"/>
                  <a:pt x="31" y="2"/>
                  <a:pt x="31" y="2"/>
                </a:cubicBezTo>
                <a:cubicBezTo>
                  <a:pt x="31" y="0"/>
                  <a:pt x="31" y="0"/>
                  <a:pt x="31" y="0"/>
                </a:cubicBezTo>
                <a:cubicBezTo>
                  <a:pt x="8" y="0"/>
                  <a:pt x="8" y="0"/>
                  <a:pt x="8" y="0"/>
                </a:cubicBezTo>
                <a:cubicBezTo>
                  <a:pt x="7" y="19"/>
                  <a:pt x="7" y="19"/>
                  <a:pt x="7" y="19"/>
                </a:cubicBezTo>
                <a:cubicBezTo>
                  <a:pt x="6" y="34"/>
                  <a:pt x="6" y="34"/>
                  <a:pt x="6" y="34"/>
                </a:cubicBezTo>
                <a:cubicBezTo>
                  <a:pt x="6" y="34"/>
                  <a:pt x="7" y="36"/>
                  <a:pt x="7" y="36"/>
                </a:cubicBezTo>
                <a:cubicBezTo>
                  <a:pt x="7" y="36"/>
                  <a:pt x="8" y="39"/>
                  <a:pt x="8" y="39"/>
                </a:cubicBezTo>
                <a:cubicBezTo>
                  <a:pt x="2" y="42"/>
                  <a:pt x="2" y="42"/>
                  <a:pt x="2" y="42"/>
                </a:cubicBezTo>
                <a:cubicBezTo>
                  <a:pt x="2" y="42"/>
                  <a:pt x="0" y="44"/>
                  <a:pt x="0" y="44"/>
                </a:cubicBezTo>
                <a:cubicBezTo>
                  <a:pt x="0" y="45"/>
                  <a:pt x="0" y="46"/>
                  <a:pt x="0" y="46"/>
                </a:cubicBezTo>
                <a:cubicBezTo>
                  <a:pt x="3" y="49"/>
                  <a:pt x="3" y="49"/>
                  <a:pt x="3" y="49"/>
                </a:cubicBezTo>
                <a:cubicBezTo>
                  <a:pt x="3" y="48"/>
                  <a:pt x="3" y="48"/>
                  <a:pt x="3" y="48"/>
                </a:cubicBezTo>
                <a:cubicBezTo>
                  <a:pt x="4" y="48"/>
                  <a:pt x="4" y="48"/>
                  <a:pt x="5" y="48"/>
                </a:cubicBezTo>
                <a:cubicBezTo>
                  <a:pt x="6" y="47"/>
                  <a:pt x="7" y="47"/>
                  <a:pt x="8" y="47"/>
                </a:cubicBezTo>
                <a:cubicBezTo>
                  <a:pt x="9" y="46"/>
                  <a:pt x="9" y="46"/>
                  <a:pt x="9" y="46"/>
                </a:cubicBezTo>
                <a:cubicBezTo>
                  <a:pt x="10" y="46"/>
                  <a:pt x="10" y="45"/>
                  <a:pt x="10" y="45"/>
                </a:cubicBezTo>
                <a:cubicBezTo>
                  <a:pt x="11" y="45"/>
                  <a:pt x="11" y="45"/>
                  <a:pt x="11" y="44"/>
                </a:cubicBezTo>
                <a:cubicBezTo>
                  <a:pt x="12" y="44"/>
                  <a:pt x="12" y="44"/>
                  <a:pt x="12" y="44"/>
                </a:cubicBezTo>
                <a:cubicBezTo>
                  <a:pt x="13" y="43"/>
                  <a:pt x="14" y="44"/>
                  <a:pt x="14" y="43"/>
                </a:cubicBezTo>
                <a:cubicBezTo>
                  <a:pt x="15" y="43"/>
                  <a:pt x="16" y="43"/>
                  <a:pt x="16" y="42"/>
                </a:cubicBezTo>
                <a:cubicBezTo>
                  <a:pt x="16" y="42"/>
                  <a:pt x="17" y="42"/>
                  <a:pt x="17" y="42"/>
                </a:cubicBezTo>
                <a:cubicBezTo>
                  <a:pt x="18" y="41"/>
                  <a:pt x="19" y="42"/>
                  <a:pt x="19" y="42"/>
                </a:cubicBezTo>
                <a:cubicBezTo>
                  <a:pt x="20" y="42"/>
                  <a:pt x="20" y="42"/>
                  <a:pt x="20" y="41"/>
                </a:cubicBezTo>
                <a:cubicBezTo>
                  <a:pt x="20" y="41"/>
                  <a:pt x="21" y="41"/>
                  <a:pt x="21" y="41"/>
                </a:cubicBezTo>
                <a:cubicBezTo>
                  <a:pt x="21" y="41"/>
                  <a:pt x="22" y="41"/>
                  <a:pt x="22" y="40"/>
                </a:cubicBezTo>
                <a:cubicBezTo>
                  <a:pt x="23" y="40"/>
                  <a:pt x="23" y="40"/>
                  <a:pt x="24" y="39"/>
                </a:cubicBezTo>
                <a:cubicBezTo>
                  <a:pt x="24" y="39"/>
                  <a:pt x="24" y="39"/>
                  <a:pt x="25" y="38"/>
                </a:cubicBezTo>
                <a:cubicBezTo>
                  <a:pt x="25" y="38"/>
                  <a:pt x="25" y="38"/>
                  <a:pt x="26" y="37"/>
                </a:cubicBezTo>
                <a:cubicBezTo>
                  <a:pt x="26" y="37"/>
                  <a:pt x="27" y="37"/>
                  <a:pt x="27" y="37"/>
                </a:cubicBezTo>
                <a:cubicBezTo>
                  <a:pt x="27" y="37"/>
                  <a:pt x="27" y="36"/>
                  <a:pt x="27" y="36"/>
                </a:cubicBezTo>
                <a:cubicBezTo>
                  <a:pt x="28" y="36"/>
                  <a:pt x="28" y="35"/>
                  <a:pt x="28" y="35"/>
                </a:cubicBezTo>
                <a:cubicBezTo>
                  <a:pt x="29" y="35"/>
                  <a:pt x="29" y="36"/>
                  <a:pt x="29" y="36"/>
                </a:cubicBezTo>
                <a:cubicBezTo>
                  <a:pt x="29" y="36"/>
                  <a:pt x="30" y="36"/>
                  <a:pt x="30" y="37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37"/>
                  <a:pt x="30" y="37"/>
                  <a:pt x="31" y="37"/>
                </a:cubicBezTo>
                <a:cubicBezTo>
                  <a:pt x="31" y="36"/>
                  <a:pt x="32" y="36"/>
                  <a:pt x="33" y="36"/>
                </a:cubicBezTo>
                <a:cubicBezTo>
                  <a:pt x="34" y="36"/>
                  <a:pt x="35" y="36"/>
                  <a:pt x="37" y="36"/>
                </a:cubicBezTo>
                <a:cubicBezTo>
                  <a:pt x="39" y="36"/>
                  <a:pt x="41" y="36"/>
                  <a:pt x="44" y="36"/>
                </a:cubicBezTo>
                <a:cubicBezTo>
                  <a:pt x="44" y="36"/>
                  <a:pt x="45" y="36"/>
                  <a:pt x="45" y="36"/>
                </a:cubicBezTo>
                <a:cubicBezTo>
                  <a:pt x="45" y="36"/>
                  <a:pt x="45" y="36"/>
                  <a:pt x="46" y="36"/>
                </a:cubicBezTo>
                <a:cubicBezTo>
                  <a:pt x="46" y="35"/>
                  <a:pt x="47" y="35"/>
                  <a:pt x="47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1" y="35"/>
                  <a:pt x="51" y="35"/>
                </a:cubicBezTo>
                <a:cubicBezTo>
                  <a:pt x="52" y="35"/>
                  <a:pt x="52" y="35"/>
                  <a:pt x="53" y="35"/>
                </a:cubicBezTo>
                <a:cubicBezTo>
                  <a:pt x="53" y="35"/>
                  <a:pt x="54" y="35"/>
                  <a:pt x="54" y="35"/>
                </a:cubicBezTo>
                <a:cubicBezTo>
                  <a:pt x="55" y="35"/>
                  <a:pt x="55" y="35"/>
                  <a:pt x="55" y="34"/>
                </a:cubicBezTo>
                <a:cubicBezTo>
                  <a:pt x="56" y="34"/>
                  <a:pt x="56" y="34"/>
                  <a:pt x="57" y="34"/>
                </a:cubicBezTo>
                <a:cubicBezTo>
                  <a:pt x="57" y="34"/>
                  <a:pt x="57" y="34"/>
                  <a:pt x="57" y="33"/>
                </a:cubicBezTo>
                <a:cubicBezTo>
                  <a:pt x="57" y="33"/>
                  <a:pt x="57" y="33"/>
                  <a:pt x="57" y="33"/>
                </a:cubicBezTo>
                <a:cubicBezTo>
                  <a:pt x="58" y="33"/>
                  <a:pt x="58" y="33"/>
                  <a:pt x="58" y="33"/>
                </a:cubicBezTo>
                <a:cubicBezTo>
                  <a:pt x="59" y="33"/>
                  <a:pt x="61" y="33"/>
                  <a:pt x="62" y="33"/>
                </a:cubicBezTo>
                <a:cubicBezTo>
                  <a:pt x="62" y="33"/>
                  <a:pt x="63" y="33"/>
                  <a:pt x="64" y="33"/>
                </a:cubicBezTo>
                <a:cubicBezTo>
                  <a:pt x="64" y="33"/>
                  <a:pt x="64" y="33"/>
                  <a:pt x="65" y="33"/>
                </a:cubicBezTo>
                <a:cubicBezTo>
                  <a:pt x="65" y="33"/>
                  <a:pt x="65" y="33"/>
                  <a:pt x="65" y="33"/>
                </a:cubicBezTo>
                <a:cubicBezTo>
                  <a:pt x="65" y="31"/>
                  <a:pt x="65" y="31"/>
                  <a:pt x="65" y="31"/>
                </a:cubicBezTo>
                <a:cubicBezTo>
                  <a:pt x="66" y="27"/>
                  <a:pt x="66" y="27"/>
                  <a:pt x="66" y="27"/>
                </a:cubicBezTo>
                <a:cubicBezTo>
                  <a:pt x="66" y="1"/>
                  <a:pt x="66" y="1"/>
                  <a:pt x="66" y="1"/>
                </a:cubicBezTo>
                <a:lnTo>
                  <a:pt x="33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3" name="Freeform 51">
            <a:extLst>
              <a:ext uri="{FF2B5EF4-FFF2-40B4-BE49-F238E27FC236}">
                <a16:creationId xmlns:a16="http://schemas.microsoft.com/office/drawing/2014/main" id="{BE616193-01C7-4996-A7B2-34B7BC171411}"/>
              </a:ext>
            </a:extLst>
          </p:cNvPr>
          <p:cNvSpPr>
            <a:spLocks/>
          </p:cNvSpPr>
          <p:nvPr/>
        </p:nvSpPr>
        <p:spPr bwMode="auto">
          <a:xfrm>
            <a:off x="6139784" y="2812727"/>
            <a:ext cx="958278" cy="705491"/>
          </a:xfrm>
          <a:custGeom>
            <a:avLst/>
            <a:gdLst>
              <a:gd name="T0" fmla="*/ 580 w 580"/>
              <a:gd name="T1" fmla="*/ 0 h 427"/>
              <a:gd name="T2" fmla="*/ 0 w 580"/>
              <a:gd name="T3" fmla="*/ 0 h 427"/>
              <a:gd name="T4" fmla="*/ 2 w 580"/>
              <a:gd name="T5" fmla="*/ 427 h 427"/>
              <a:gd name="T6" fmla="*/ 580 w 580"/>
              <a:gd name="T7" fmla="*/ 427 h 427"/>
              <a:gd name="T8" fmla="*/ 580 w 580"/>
              <a:gd name="T9" fmla="*/ 108 h 427"/>
              <a:gd name="T10" fmla="*/ 580 w 580"/>
              <a:gd name="T11" fmla="*/ 0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0" h="427">
                <a:moveTo>
                  <a:pt x="580" y="0"/>
                </a:moveTo>
                <a:lnTo>
                  <a:pt x="0" y="0"/>
                </a:lnTo>
                <a:lnTo>
                  <a:pt x="2" y="427"/>
                </a:lnTo>
                <a:lnTo>
                  <a:pt x="580" y="427"/>
                </a:lnTo>
                <a:lnTo>
                  <a:pt x="580" y="108"/>
                </a:lnTo>
                <a:lnTo>
                  <a:pt x="58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4" name="Freeform 52">
            <a:extLst>
              <a:ext uri="{FF2B5EF4-FFF2-40B4-BE49-F238E27FC236}">
                <a16:creationId xmlns:a16="http://schemas.microsoft.com/office/drawing/2014/main" id="{75273034-D5F2-4400-BE5A-6665C3FE6688}"/>
              </a:ext>
            </a:extLst>
          </p:cNvPr>
          <p:cNvSpPr>
            <a:spLocks noEditPoints="1"/>
          </p:cNvSpPr>
          <p:nvPr/>
        </p:nvSpPr>
        <p:spPr bwMode="auto">
          <a:xfrm>
            <a:off x="4044789" y="2630985"/>
            <a:ext cx="1397764" cy="1632379"/>
          </a:xfrm>
          <a:custGeom>
            <a:avLst/>
            <a:gdLst>
              <a:gd name="T0" fmla="*/ 207 w 353"/>
              <a:gd name="T1" fmla="*/ 380 h 412"/>
              <a:gd name="T2" fmla="*/ 204 w 353"/>
              <a:gd name="T3" fmla="*/ 377 h 412"/>
              <a:gd name="T4" fmla="*/ 168 w 353"/>
              <a:gd name="T5" fmla="*/ 383 h 412"/>
              <a:gd name="T6" fmla="*/ 145 w 353"/>
              <a:gd name="T7" fmla="*/ 353 h 412"/>
              <a:gd name="T8" fmla="*/ 161 w 353"/>
              <a:gd name="T9" fmla="*/ 353 h 412"/>
              <a:gd name="T10" fmla="*/ 159 w 353"/>
              <a:gd name="T11" fmla="*/ 349 h 412"/>
              <a:gd name="T12" fmla="*/ 161 w 353"/>
              <a:gd name="T13" fmla="*/ 353 h 412"/>
              <a:gd name="T14" fmla="*/ 336 w 353"/>
              <a:gd name="T15" fmla="*/ 383 h 412"/>
              <a:gd name="T16" fmla="*/ 344 w 353"/>
              <a:gd name="T17" fmla="*/ 350 h 412"/>
              <a:gd name="T18" fmla="*/ 337 w 353"/>
              <a:gd name="T19" fmla="*/ 314 h 412"/>
              <a:gd name="T20" fmla="*/ 6 w 353"/>
              <a:gd name="T21" fmla="*/ 5 h 412"/>
              <a:gd name="T22" fmla="*/ 9 w 353"/>
              <a:gd name="T23" fmla="*/ 15 h 412"/>
              <a:gd name="T24" fmla="*/ 11 w 353"/>
              <a:gd name="T25" fmla="*/ 26 h 412"/>
              <a:gd name="T26" fmla="*/ 8 w 353"/>
              <a:gd name="T27" fmla="*/ 39 h 412"/>
              <a:gd name="T28" fmla="*/ 8 w 353"/>
              <a:gd name="T29" fmla="*/ 53 h 412"/>
              <a:gd name="T30" fmla="*/ 7 w 353"/>
              <a:gd name="T31" fmla="*/ 64 h 412"/>
              <a:gd name="T32" fmla="*/ 0 w 353"/>
              <a:gd name="T33" fmla="*/ 73 h 412"/>
              <a:gd name="T34" fmla="*/ 6 w 353"/>
              <a:gd name="T35" fmla="*/ 85 h 412"/>
              <a:gd name="T36" fmla="*/ 19 w 353"/>
              <a:gd name="T37" fmla="*/ 100 h 412"/>
              <a:gd name="T38" fmla="*/ 20 w 353"/>
              <a:gd name="T39" fmla="*/ 120 h 412"/>
              <a:gd name="T40" fmla="*/ 23 w 353"/>
              <a:gd name="T41" fmla="*/ 132 h 412"/>
              <a:gd name="T42" fmla="*/ 34 w 353"/>
              <a:gd name="T43" fmla="*/ 152 h 412"/>
              <a:gd name="T44" fmla="*/ 49 w 353"/>
              <a:gd name="T45" fmla="*/ 169 h 412"/>
              <a:gd name="T46" fmla="*/ 49 w 353"/>
              <a:gd name="T47" fmla="*/ 172 h 412"/>
              <a:gd name="T48" fmla="*/ 53 w 353"/>
              <a:gd name="T49" fmla="*/ 181 h 412"/>
              <a:gd name="T50" fmla="*/ 65 w 353"/>
              <a:gd name="T51" fmla="*/ 188 h 412"/>
              <a:gd name="T52" fmla="*/ 69 w 353"/>
              <a:gd name="T53" fmla="*/ 175 h 412"/>
              <a:gd name="T54" fmla="*/ 83 w 353"/>
              <a:gd name="T55" fmla="*/ 177 h 412"/>
              <a:gd name="T56" fmla="*/ 92 w 353"/>
              <a:gd name="T57" fmla="*/ 178 h 412"/>
              <a:gd name="T58" fmla="*/ 99 w 353"/>
              <a:gd name="T59" fmla="*/ 179 h 412"/>
              <a:gd name="T60" fmla="*/ 87 w 353"/>
              <a:gd name="T61" fmla="*/ 179 h 412"/>
              <a:gd name="T62" fmla="*/ 72 w 353"/>
              <a:gd name="T63" fmla="*/ 180 h 412"/>
              <a:gd name="T64" fmla="*/ 77 w 353"/>
              <a:gd name="T65" fmla="*/ 197 h 412"/>
              <a:gd name="T66" fmla="*/ 70 w 353"/>
              <a:gd name="T67" fmla="*/ 195 h 412"/>
              <a:gd name="T68" fmla="*/ 65 w 353"/>
              <a:gd name="T69" fmla="*/ 200 h 412"/>
              <a:gd name="T70" fmla="*/ 68 w 353"/>
              <a:gd name="T71" fmla="*/ 212 h 412"/>
              <a:gd name="T72" fmla="*/ 72 w 353"/>
              <a:gd name="T73" fmla="*/ 221 h 412"/>
              <a:gd name="T74" fmla="*/ 83 w 353"/>
              <a:gd name="T75" fmla="*/ 226 h 412"/>
              <a:gd name="T76" fmla="*/ 89 w 353"/>
              <a:gd name="T77" fmla="*/ 231 h 412"/>
              <a:gd name="T78" fmla="*/ 84 w 353"/>
              <a:gd name="T79" fmla="*/ 241 h 412"/>
              <a:gd name="T80" fmla="*/ 86 w 353"/>
              <a:gd name="T81" fmla="*/ 253 h 412"/>
              <a:gd name="T82" fmla="*/ 94 w 353"/>
              <a:gd name="T83" fmla="*/ 260 h 412"/>
              <a:gd name="T84" fmla="*/ 99 w 353"/>
              <a:gd name="T85" fmla="*/ 267 h 412"/>
              <a:gd name="T86" fmla="*/ 106 w 353"/>
              <a:gd name="T87" fmla="*/ 278 h 412"/>
              <a:gd name="T88" fmla="*/ 113 w 353"/>
              <a:gd name="T89" fmla="*/ 285 h 412"/>
              <a:gd name="T90" fmla="*/ 121 w 353"/>
              <a:gd name="T91" fmla="*/ 292 h 412"/>
              <a:gd name="T92" fmla="*/ 122 w 353"/>
              <a:gd name="T93" fmla="*/ 300 h 412"/>
              <a:gd name="T94" fmla="*/ 130 w 353"/>
              <a:gd name="T95" fmla="*/ 309 h 412"/>
              <a:gd name="T96" fmla="*/ 130 w 353"/>
              <a:gd name="T97" fmla="*/ 320 h 412"/>
              <a:gd name="T98" fmla="*/ 130 w 353"/>
              <a:gd name="T99" fmla="*/ 326 h 412"/>
              <a:gd name="T100" fmla="*/ 135 w 353"/>
              <a:gd name="T101" fmla="*/ 332 h 412"/>
              <a:gd name="T102" fmla="*/ 142 w 353"/>
              <a:gd name="T103" fmla="*/ 332 h 412"/>
              <a:gd name="T104" fmla="*/ 176 w 353"/>
              <a:gd name="T105" fmla="*/ 341 h 412"/>
              <a:gd name="T106" fmla="*/ 193 w 353"/>
              <a:gd name="T107" fmla="*/ 351 h 412"/>
              <a:gd name="T108" fmla="*/ 204 w 353"/>
              <a:gd name="T109" fmla="*/ 351 h 412"/>
              <a:gd name="T110" fmla="*/ 211 w 353"/>
              <a:gd name="T111" fmla="*/ 363 h 412"/>
              <a:gd name="T112" fmla="*/ 246 w 353"/>
              <a:gd name="T113" fmla="*/ 39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53" h="412">
                <a:moveTo>
                  <a:pt x="205" y="400"/>
                </a:moveTo>
                <a:cubicBezTo>
                  <a:pt x="204" y="399"/>
                  <a:pt x="203" y="398"/>
                  <a:pt x="202" y="397"/>
                </a:cubicBezTo>
                <a:cubicBezTo>
                  <a:pt x="202" y="396"/>
                  <a:pt x="201" y="395"/>
                  <a:pt x="201" y="394"/>
                </a:cubicBezTo>
                <a:cubicBezTo>
                  <a:pt x="201" y="393"/>
                  <a:pt x="201" y="393"/>
                  <a:pt x="202" y="393"/>
                </a:cubicBezTo>
                <a:cubicBezTo>
                  <a:pt x="202" y="394"/>
                  <a:pt x="202" y="394"/>
                  <a:pt x="203" y="394"/>
                </a:cubicBezTo>
                <a:cubicBezTo>
                  <a:pt x="203" y="395"/>
                  <a:pt x="203" y="395"/>
                  <a:pt x="204" y="395"/>
                </a:cubicBezTo>
                <a:cubicBezTo>
                  <a:pt x="205" y="396"/>
                  <a:pt x="206" y="397"/>
                  <a:pt x="207" y="399"/>
                </a:cubicBezTo>
                <a:cubicBezTo>
                  <a:pt x="207" y="399"/>
                  <a:pt x="208" y="400"/>
                  <a:pt x="208" y="400"/>
                </a:cubicBezTo>
                <a:cubicBezTo>
                  <a:pt x="208" y="401"/>
                  <a:pt x="206" y="400"/>
                  <a:pt x="205" y="400"/>
                </a:cubicBezTo>
                <a:close/>
                <a:moveTo>
                  <a:pt x="207" y="380"/>
                </a:moveTo>
                <a:cubicBezTo>
                  <a:pt x="207" y="380"/>
                  <a:pt x="208" y="380"/>
                  <a:pt x="209" y="380"/>
                </a:cubicBezTo>
                <a:cubicBezTo>
                  <a:pt x="211" y="380"/>
                  <a:pt x="209" y="378"/>
                  <a:pt x="209" y="378"/>
                </a:cubicBezTo>
                <a:cubicBezTo>
                  <a:pt x="208" y="377"/>
                  <a:pt x="208" y="376"/>
                  <a:pt x="208" y="376"/>
                </a:cubicBezTo>
                <a:cubicBezTo>
                  <a:pt x="207" y="376"/>
                  <a:pt x="207" y="375"/>
                  <a:pt x="207" y="375"/>
                </a:cubicBezTo>
                <a:cubicBezTo>
                  <a:pt x="206" y="375"/>
                  <a:pt x="206" y="375"/>
                  <a:pt x="205" y="375"/>
                </a:cubicBezTo>
                <a:cubicBezTo>
                  <a:pt x="205" y="375"/>
                  <a:pt x="204" y="374"/>
                  <a:pt x="204" y="374"/>
                </a:cubicBezTo>
                <a:cubicBezTo>
                  <a:pt x="203" y="373"/>
                  <a:pt x="202" y="373"/>
                  <a:pt x="202" y="374"/>
                </a:cubicBezTo>
                <a:cubicBezTo>
                  <a:pt x="202" y="374"/>
                  <a:pt x="202" y="375"/>
                  <a:pt x="202" y="375"/>
                </a:cubicBezTo>
                <a:cubicBezTo>
                  <a:pt x="202" y="375"/>
                  <a:pt x="202" y="376"/>
                  <a:pt x="202" y="376"/>
                </a:cubicBezTo>
                <a:cubicBezTo>
                  <a:pt x="203" y="376"/>
                  <a:pt x="204" y="376"/>
                  <a:pt x="204" y="377"/>
                </a:cubicBezTo>
                <a:cubicBezTo>
                  <a:pt x="204" y="377"/>
                  <a:pt x="204" y="377"/>
                  <a:pt x="204" y="377"/>
                </a:cubicBezTo>
                <a:cubicBezTo>
                  <a:pt x="204" y="378"/>
                  <a:pt x="204" y="378"/>
                  <a:pt x="204" y="378"/>
                </a:cubicBezTo>
                <a:cubicBezTo>
                  <a:pt x="205" y="378"/>
                  <a:pt x="205" y="379"/>
                  <a:pt x="205" y="380"/>
                </a:cubicBezTo>
                <a:cubicBezTo>
                  <a:pt x="205" y="380"/>
                  <a:pt x="206" y="380"/>
                  <a:pt x="207" y="380"/>
                </a:cubicBezTo>
                <a:close/>
                <a:moveTo>
                  <a:pt x="170" y="383"/>
                </a:moveTo>
                <a:cubicBezTo>
                  <a:pt x="170" y="382"/>
                  <a:pt x="170" y="382"/>
                  <a:pt x="170" y="382"/>
                </a:cubicBezTo>
                <a:cubicBezTo>
                  <a:pt x="170" y="382"/>
                  <a:pt x="169" y="382"/>
                  <a:pt x="169" y="382"/>
                </a:cubicBezTo>
                <a:cubicBezTo>
                  <a:pt x="169" y="382"/>
                  <a:pt x="169" y="381"/>
                  <a:pt x="168" y="381"/>
                </a:cubicBezTo>
                <a:cubicBezTo>
                  <a:pt x="168" y="381"/>
                  <a:pt x="167" y="382"/>
                  <a:pt x="167" y="382"/>
                </a:cubicBezTo>
                <a:cubicBezTo>
                  <a:pt x="167" y="383"/>
                  <a:pt x="168" y="383"/>
                  <a:pt x="168" y="383"/>
                </a:cubicBezTo>
                <a:cubicBezTo>
                  <a:pt x="169" y="383"/>
                  <a:pt x="171" y="384"/>
                  <a:pt x="170" y="383"/>
                </a:cubicBezTo>
                <a:close/>
                <a:moveTo>
                  <a:pt x="152" y="353"/>
                </a:moveTo>
                <a:cubicBezTo>
                  <a:pt x="152" y="352"/>
                  <a:pt x="151" y="352"/>
                  <a:pt x="150" y="352"/>
                </a:cubicBezTo>
                <a:cubicBezTo>
                  <a:pt x="150" y="351"/>
                  <a:pt x="149" y="351"/>
                  <a:pt x="149" y="351"/>
                </a:cubicBezTo>
                <a:cubicBezTo>
                  <a:pt x="149" y="350"/>
                  <a:pt x="148" y="350"/>
                  <a:pt x="148" y="350"/>
                </a:cubicBezTo>
                <a:cubicBezTo>
                  <a:pt x="147" y="350"/>
                  <a:pt x="147" y="350"/>
                  <a:pt x="146" y="351"/>
                </a:cubicBezTo>
                <a:cubicBezTo>
                  <a:pt x="146" y="351"/>
                  <a:pt x="146" y="351"/>
                  <a:pt x="146" y="351"/>
                </a:cubicBezTo>
                <a:cubicBezTo>
                  <a:pt x="145" y="351"/>
                  <a:pt x="144" y="351"/>
                  <a:pt x="144" y="352"/>
                </a:cubicBezTo>
                <a:cubicBezTo>
                  <a:pt x="144" y="352"/>
                  <a:pt x="145" y="353"/>
                  <a:pt x="145" y="353"/>
                </a:cubicBezTo>
                <a:cubicBezTo>
                  <a:pt x="145" y="353"/>
                  <a:pt x="145" y="353"/>
                  <a:pt x="145" y="353"/>
                </a:cubicBezTo>
                <a:cubicBezTo>
                  <a:pt x="145" y="354"/>
                  <a:pt x="145" y="354"/>
                  <a:pt x="146" y="354"/>
                </a:cubicBezTo>
                <a:cubicBezTo>
                  <a:pt x="146" y="354"/>
                  <a:pt x="146" y="355"/>
                  <a:pt x="146" y="355"/>
                </a:cubicBezTo>
                <a:cubicBezTo>
                  <a:pt x="146" y="355"/>
                  <a:pt x="147" y="355"/>
                  <a:pt x="147" y="355"/>
                </a:cubicBezTo>
                <a:cubicBezTo>
                  <a:pt x="147" y="355"/>
                  <a:pt x="147" y="356"/>
                  <a:pt x="147" y="356"/>
                </a:cubicBezTo>
                <a:cubicBezTo>
                  <a:pt x="148" y="356"/>
                  <a:pt x="148" y="356"/>
                  <a:pt x="148" y="356"/>
                </a:cubicBezTo>
                <a:cubicBezTo>
                  <a:pt x="149" y="355"/>
                  <a:pt x="149" y="355"/>
                  <a:pt x="149" y="355"/>
                </a:cubicBezTo>
                <a:cubicBezTo>
                  <a:pt x="150" y="355"/>
                  <a:pt x="150" y="354"/>
                  <a:pt x="150" y="354"/>
                </a:cubicBezTo>
                <a:cubicBezTo>
                  <a:pt x="151" y="354"/>
                  <a:pt x="151" y="354"/>
                  <a:pt x="152" y="354"/>
                </a:cubicBezTo>
                <a:cubicBezTo>
                  <a:pt x="152" y="353"/>
                  <a:pt x="152" y="353"/>
                  <a:pt x="152" y="353"/>
                </a:cubicBezTo>
                <a:close/>
                <a:moveTo>
                  <a:pt x="161" y="353"/>
                </a:moveTo>
                <a:cubicBezTo>
                  <a:pt x="162" y="353"/>
                  <a:pt x="162" y="353"/>
                  <a:pt x="163" y="353"/>
                </a:cubicBezTo>
                <a:cubicBezTo>
                  <a:pt x="164" y="353"/>
                  <a:pt x="165" y="352"/>
                  <a:pt x="166" y="352"/>
                </a:cubicBezTo>
                <a:cubicBezTo>
                  <a:pt x="166" y="352"/>
                  <a:pt x="166" y="352"/>
                  <a:pt x="167" y="352"/>
                </a:cubicBezTo>
                <a:cubicBezTo>
                  <a:pt x="167" y="352"/>
                  <a:pt x="167" y="351"/>
                  <a:pt x="167" y="351"/>
                </a:cubicBezTo>
                <a:cubicBezTo>
                  <a:pt x="167" y="351"/>
                  <a:pt x="168" y="350"/>
                  <a:pt x="167" y="350"/>
                </a:cubicBezTo>
                <a:cubicBezTo>
                  <a:pt x="167" y="349"/>
                  <a:pt x="166" y="350"/>
                  <a:pt x="166" y="350"/>
                </a:cubicBezTo>
                <a:cubicBezTo>
                  <a:pt x="165" y="350"/>
                  <a:pt x="165" y="350"/>
                  <a:pt x="164" y="350"/>
                </a:cubicBezTo>
                <a:cubicBezTo>
                  <a:pt x="163" y="350"/>
                  <a:pt x="162" y="350"/>
                  <a:pt x="162" y="350"/>
                </a:cubicBezTo>
                <a:cubicBezTo>
                  <a:pt x="161" y="350"/>
                  <a:pt x="161" y="350"/>
                  <a:pt x="161" y="350"/>
                </a:cubicBezTo>
                <a:cubicBezTo>
                  <a:pt x="160" y="349"/>
                  <a:pt x="160" y="349"/>
                  <a:pt x="159" y="349"/>
                </a:cubicBezTo>
                <a:cubicBezTo>
                  <a:pt x="159" y="349"/>
                  <a:pt x="158" y="349"/>
                  <a:pt x="158" y="349"/>
                </a:cubicBezTo>
                <a:cubicBezTo>
                  <a:pt x="157" y="349"/>
                  <a:pt x="157" y="349"/>
                  <a:pt x="156" y="349"/>
                </a:cubicBezTo>
                <a:cubicBezTo>
                  <a:pt x="156" y="349"/>
                  <a:pt x="156" y="348"/>
                  <a:pt x="156" y="348"/>
                </a:cubicBezTo>
                <a:cubicBezTo>
                  <a:pt x="155" y="348"/>
                  <a:pt x="155" y="348"/>
                  <a:pt x="154" y="349"/>
                </a:cubicBezTo>
                <a:cubicBezTo>
                  <a:pt x="154" y="349"/>
                  <a:pt x="155" y="349"/>
                  <a:pt x="155" y="350"/>
                </a:cubicBezTo>
                <a:cubicBezTo>
                  <a:pt x="155" y="350"/>
                  <a:pt x="155" y="350"/>
                  <a:pt x="155" y="351"/>
                </a:cubicBezTo>
                <a:cubicBezTo>
                  <a:pt x="156" y="351"/>
                  <a:pt x="155" y="351"/>
                  <a:pt x="156" y="352"/>
                </a:cubicBezTo>
                <a:cubicBezTo>
                  <a:pt x="156" y="352"/>
                  <a:pt x="156" y="353"/>
                  <a:pt x="157" y="353"/>
                </a:cubicBezTo>
                <a:cubicBezTo>
                  <a:pt x="158" y="353"/>
                  <a:pt x="158" y="353"/>
                  <a:pt x="158" y="353"/>
                </a:cubicBezTo>
                <a:cubicBezTo>
                  <a:pt x="159" y="353"/>
                  <a:pt x="160" y="353"/>
                  <a:pt x="161" y="353"/>
                </a:cubicBezTo>
                <a:close/>
                <a:moveTo>
                  <a:pt x="340" y="403"/>
                </a:moveTo>
                <a:cubicBezTo>
                  <a:pt x="340" y="400"/>
                  <a:pt x="340" y="400"/>
                  <a:pt x="340" y="400"/>
                </a:cubicBezTo>
                <a:cubicBezTo>
                  <a:pt x="340" y="400"/>
                  <a:pt x="342" y="399"/>
                  <a:pt x="342" y="399"/>
                </a:cubicBezTo>
                <a:cubicBezTo>
                  <a:pt x="342" y="399"/>
                  <a:pt x="343" y="394"/>
                  <a:pt x="343" y="394"/>
                </a:cubicBezTo>
                <a:cubicBezTo>
                  <a:pt x="341" y="393"/>
                  <a:pt x="341" y="393"/>
                  <a:pt x="341" y="393"/>
                </a:cubicBezTo>
                <a:cubicBezTo>
                  <a:pt x="341" y="393"/>
                  <a:pt x="341" y="392"/>
                  <a:pt x="341" y="392"/>
                </a:cubicBezTo>
                <a:cubicBezTo>
                  <a:pt x="341" y="391"/>
                  <a:pt x="335" y="392"/>
                  <a:pt x="335" y="392"/>
                </a:cubicBezTo>
                <a:cubicBezTo>
                  <a:pt x="335" y="392"/>
                  <a:pt x="335" y="390"/>
                  <a:pt x="335" y="390"/>
                </a:cubicBezTo>
                <a:cubicBezTo>
                  <a:pt x="334" y="390"/>
                  <a:pt x="334" y="388"/>
                  <a:pt x="334" y="388"/>
                </a:cubicBezTo>
                <a:cubicBezTo>
                  <a:pt x="334" y="387"/>
                  <a:pt x="336" y="383"/>
                  <a:pt x="336" y="383"/>
                </a:cubicBezTo>
                <a:cubicBezTo>
                  <a:pt x="336" y="383"/>
                  <a:pt x="336" y="382"/>
                  <a:pt x="335" y="382"/>
                </a:cubicBezTo>
                <a:cubicBezTo>
                  <a:pt x="335" y="381"/>
                  <a:pt x="333" y="381"/>
                  <a:pt x="333" y="380"/>
                </a:cubicBezTo>
                <a:cubicBezTo>
                  <a:pt x="333" y="380"/>
                  <a:pt x="334" y="379"/>
                  <a:pt x="334" y="379"/>
                </a:cubicBezTo>
                <a:cubicBezTo>
                  <a:pt x="334" y="376"/>
                  <a:pt x="334" y="376"/>
                  <a:pt x="334" y="376"/>
                </a:cubicBezTo>
                <a:cubicBezTo>
                  <a:pt x="337" y="375"/>
                  <a:pt x="337" y="375"/>
                  <a:pt x="337" y="375"/>
                </a:cubicBezTo>
                <a:cubicBezTo>
                  <a:pt x="341" y="370"/>
                  <a:pt x="341" y="370"/>
                  <a:pt x="341" y="370"/>
                </a:cubicBezTo>
                <a:cubicBezTo>
                  <a:pt x="340" y="366"/>
                  <a:pt x="340" y="366"/>
                  <a:pt x="340" y="366"/>
                </a:cubicBezTo>
                <a:cubicBezTo>
                  <a:pt x="342" y="363"/>
                  <a:pt x="342" y="363"/>
                  <a:pt x="342" y="363"/>
                </a:cubicBezTo>
                <a:cubicBezTo>
                  <a:pt x="340" y="353"/>
                  <a:pt x="340" y="353"/>
                  <a:pt x="340" y="353"/>
                </a:cubicBezTo>
                <a:cubicBezTo>
                  <a:pt x="344" y="350"/>
                  <a:pt x="344" y="350"/>
                  <a:pt x="344" y="350"/>
                </a:cubicBezTo>
                <a:cubicBezTo>
                  <a:pt x="344" y="347"/>
                  <a:pt x="344" y="347"/>
                  <a:pt x="344" y="347"/>
                </a:cubicBezTo>
                <a:cubicBezTo>
                  <a:pt x="348" y="345"/>
                  <a:pt x="348" y="345"/>
                  <a:pt x="348" y="345"/>
                </a:cubicBezTo>
                <a:cubicBezTo>
                  <a:pt x="353" y="341"/>
                  <a:pt x="353" y="341"/>
                  <a:pt x="353" y="341"/>
                </a:cubicBezTo>
                <a:cubicBezTo>
                  <a:pt x="353" y="341"/>
                  <a:pt x="353" y="339"/>
                  <a:pt x="353" y="339"/>
                </a:cubicBezTo>
                <a:cubicBezTo>
                  <a:pt x="353" y="339"/>
                  <a:pt x="353" y="337"/>
                  <a:pt x="353" y="337"/>
                </a:cubicBezTo>
                <a:cubicBezTo>
                  <a:pt x="353" y="336"/>
                  <a:pt x="348" y="332"/>
                  <a:pt x="348" y="332"/>
                </a:cubicBezTo>
                <a:cubicBezTo>
                  <a:pt x="347" y="332"/>
                  <a:pt x="346" y="333"/>
                  <a:pt x="345" y="332"/>
                </a:cubicBezTo>
                <a:cubicBezTo>
                  <a:pt x="345" y="332"/>
                  <a:pt x="345" y="328"/>
                  <a:pt x="345" y="328"/>
                </a:cubicBezTo>
                <a:cubicBezTo>
                  <a:pt x="341" y="320"/>
                  <a:pt x="341" y="320"/>
                  <a:pt x="341" y="320"/>
                </a:cubicBezTo>
                <a:cubicBezTo>
                  <a:pt x="341" y="320"/>
                  <a:pt x="337" y="315"/>
                  <a:pt x="337" y="314"/>
                </a:cubicBezTo>
                <a:cubicBezTo>
                  <a:pt x="336" y="314"/>
                  <a:pt x="337" y="309"/>
                  <a:pt x="337" y="309"/>
                </a:cubicBezTo>
                <a:cubicBezTo>
                  <a:pt x="191" y="171"/>
                  <a:pt x="191" y="171"/>
                  <a:pt x="191" y="171"/>
                </a:cubicBezTo>
                <a:cubicBezTo>
                  <a:pt x="151" y="137"/>
                  <a:pt x="151" y="137"/>
                  <a:pt x="151" y="137"/>
                </a:cubicBezTo>
                <a:cubicBezTo>
                  <a:pt x="151" y="0"/>
                  <a:pt x="151" y="0"/>
                  <a:pt x="151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1"/>
                  <a:pt x="6" y="1"/>
                  <a:pt x="6" y="1"/>
                </a:cubicBezTo>
                <a:cubicBezTo>
                  <a:pt x="6" y="1"/>
                  <a:pt x="6" y="2"/>
                  <a:pt x="6" y="2"/>
                </a:cubicBezTo>
                <a:cubicBezTo>
                  <a:pt x="6" y="3"/>
                  <a:pt x="6" y="3"/>
                  <a:pt x="6" y="4"/>
                </a:cubicBezTo>
                <a:cubicBezTo>
                  <a:pt x="6" y="4"/>
                  <a:pt x="6" y="4"/>
                  <a:pt x="6" y="5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6" y="6"/>
                  <a:pt x="6" y="6"/>
                </a:cubicBezTo>
                <a:cubicBezTo>
                  <a:pt x="6" y="6"/>
                  <a:pt x="6" y="6"/>
                  <a:pt x="6" y="6"/>
                </a:cubicBezTo>
                <a:cubicBezTo>
                  <a:pt x="6" y="7"/>
                  <a:pt x="6" y="8"/>
                  <a:pt x="6" y="8"/>
                </a:cubicBezTo>
                <a:cubicBezTo>
                  <a:pt x="6" y="8"/>
                  <a:pt x="6" y="9"/>
                  <a:pt x="6" y="9"/>
                </a:cubicBezTo>
                <a:cubicBezTo>
                  <a:pt x="5" y="9"/>
                  <a:pt x="5" y="9"/>
                  <a:pt x="5" y="10"/>
                </a:cubicBezTo>
                <a:cubicBezTo>
                  <a:pt x="5" y="10"/>
                  <a:pt x="5" y="11"/>
                  <a:pt x="5" y="11"/>
                </a:cubicBezTo>
                <a:cubicBezTo>
                  <a:pt x="5" y="11"/>
                  <a:pt x="6" y="11"/>
                  <a:pt x="7" y="11"/>
                </a:cubicBezTo>
                <a:cubicBezTo>
                  <a:pt x="7" y="12"/>
                  <a:pt x="7" y="12"/>
                  <a:pt x="8" y="13"/>
                </a:cubicBezTo>
                <a:cubicBezTo>
                  <a:pt x="8" y="13"/>
                  <a:pt x="8" y="13"/>
                  <a:pt x="8" y="14"/>
                </a:cubicBezTo>
                <a:cubicBezTo>
                  <a:pt x="8" y="14"/>
                  <a:pt x="9" y="14"/>
                  <a:pt x="9" y="15"/>
                </a:cubicBezTo>
                <a:cubicBezTo>
                  <a:pt x="9" y="15"/>
                  <a:pt x="9" y="15"/>
                  <a:pt x="9" y="16"/>
                </a:cubicBezTo>
                <a:cubicBezTo>
                  <a:pt x="9" y="16"/>
                  <a:pt x="9" y="17"/>
                  <a:pt x="9" y="17"/>
                </a:cubicBezTo>
                <a:cubicBezTo>
                  <a:pt x="9" y="18"/>
                  <a:pt x="9" y="18"/>
                  <a:pt x="9" y="19"/>
                </a:cubicBezTo>
                <a:cubicBezTo>
                  <a:pt x="9" y="19"/>
                  <a:pt x="9" y="20"/>
                  <a:pt x="10" y="20"/>
                </a:cubicBezTo>
                <a:cubicBezTo>
                  <a:pt x="10" y="20"/>
                  <a:pt x="10" y="20"/>
                  <a:pt x="10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22"/>
                  <a:pt x="12" y="22"/>
                  <a:pt x="12" y="22"/>
                </a:cubicBezTo>
                <a:cubicBezTo>
                  <a:pt x="12" y="23"/>
                  <a:pt x="12" y="24"/>
                  <a:pt x="12" y="24"/>
                </a:cubicBezTo>
                <a:cubicBezTo>
                  <a:pt x="11" y="24"/>
                  <a:pt x="11" y="24"/>
                  <a:pt x="11" y="24"/>
                </a:cubicBezTo>
                <a:cubicBezTo>
                  <a:pt x="11" y="25"/>
                  <a:pt x="11" y="25"/>
                  <a:pt x="11" y="26"/>
                </a:cubicBezTo>
                <a:cubicBezTo>
                  <a:pt x="11" y="26"/>
                  <a:pt x="11" y="27"/>
                  <a:pt x="11" y="27"/>
                </a:cubicBezTo>
                <a:cubicBezTo>
                  <a:pt x="11" y="28"/>
                  <a:pt x="11" y="28"/>
                  <a:pt x="11" y="29"/>
                </a:cubicBezTo>
                <a:cubicBezTo>
                  <a:pt x="11" y="29"/>
                  <a:pt x="11" y="29"/>
                  <a:pt x="11" y="30"/>
                </a:cubicBezTo>
                <a:cubicBezTo>
                  <a:pt x="10" y="31"/>
                  <a:pt x="11" y="32"/>
                  <a:pt x="11" y="32"/>
                </a:cubicBezTo>
                <a:cubicBezTo>
                  <a:pt x="11" y="33"/>
                  <a:pt x="11" y="33"/>
                  <a:pt x="10" y="34"/>
                </a:cubicBezTo>
                <a:cubicBezTo>
                  <a:pt x="10" y="34"/>
                  <a:pt x="10" y="34"/>
                  <a:pt x="10" y="34"/>
                </a:cubicBezTo>
                <a:cubicBezTo>
                  <a:pt x="10" y="35"/>
                  <a:pt x="10" y="35"/>
                  <a:pt x="10" y="35"/>
                </a:cubicBezTo>
                <a:cubicBezTo>
                  <a:pt x="10" y="35"/>
                  <a:pt x="10" y="36"/>
                  <a:pt x="10" y="36"/>
                </a:cubicBezTo>
                <a:cubicBezTo>
                  <a:pt x="10" y="37"/>
                  <a:pt x="10" y="37"/>
                  <a:pt x="9" y="38"/>
                </a:cubicBezTo>
                <a:cubicBezTo>
                  <a:pt x="9" y="39"/>
                  <a:pt x="8" y="39"/>
                  <a:pt x="8" y="39"/>
                </a:cubicBezTo>
                <a:cubicBezTo>
                  <a:pt x="8" y="40"/>
                  <a:pt x="8" y="40"/>
                  <a:pt x="8" y="41"/>
                </a:cubicBezTo>
                <a:cubicBezTo>
                  <a:pt x="8" y="42"/>
                  <a:pt x="9" y="42"/>
                  <a:pt x="9" y="42"/>
                </a:cubicBezTo>
                <a:cubicBezTo>
                  <a:pt x="9" y="43"/>
                  <a:pt x="9" y="43"/>
                  <a:pt x="9" y="44"/>
                </a:cubicBezTo>
                <a:cubicBezTo>
                  <a:pt x="9" y="44"/>
                  <a:pt x="9" y="45"/>
                  <a:pt x="9" y="45"/>
                </a:cubicBezTo>
                <a:cubicBezTo>
                  <a:pt x="10" y="46"/>
                  <a:pt x="10" y="47"/>
                  <a:pt x="9" y="47"/>
                </a:cubicBezTo>
                <a:cubicBezTo>
                  <a:pt x="9" y="48"/>
                  <a:pt x="9" y="48"/>
                  <a:pt x="9" y="48"/>
                </a:cubicBezTo>
                <a:cubicBezTo>
                  <a:pt x="9" y="49"/>
                  <a:pt x="9" y="49"/>
                  <a:pt x="9" y="49"/>
                </a:cubicBezTo>
                <a:cubicBezTo>
                  <a:pt x="9" y="50"/>
                  <a:pt x="8" y="51"/>
                  <a:pt x="8" y="52"/>
                </a:cubicBezTo>
                <a:cubicBezTo>
                  <a:pt x="8" y="52"/>
                  <a:pt x="8" y="52"/>
                  <a:pt x="8" y="53"/>
                </a:cubicBezTo>
                <a:cubicBezTo>
                  <a:pt x="8" y="53"/>
                  <a:pt x="8" y="53"/>
                  <a:pt x="8" y="53"/>
                </a:cubicBezTo>
                <a:cubicBezTo>
                  <a:pt x="7" y="54"/>
                  <a:pt x="7" y="55"/>
                  <a:pt x="7" y="55"/>
                </a:cubicBezTo>
                <a:cubicBezTo>
                  <a:pt x="7" y="55"/>
                  <a:pt x="7" y="56"/>
                  <a:pt x="7" y="56"/>
                </a:cubicBezTo>
                <a:cubicBezTo>
                  <a:pt x="7" y="56"/>
                  <a:pt x="7" y="57"/>
                  <a:pt x="7" y="58"/>
                </a:cubicBezTo>
                <a:cubicBezTo>
                  <a:pt x="6" y="58"/>
                  <a:pt x="6" y="58"/>
                  <a:pt x="6" y="59"/>
                </a:cubicBezTo>
                <a:cubicBezTo>
                  <a:pt x="6" y="59"/>
                  <a:pt x="6" y="60"/>
                  <a:pt x="6" y="60"/>
                </a:cubicBezTo>
                <a:cubicBezTo>
                  <a:pt x="6" y="61"/>
                  <a:pt x="4" y="61"/>
                  <a:pt x="3" y="62"/>
                </a:cubicBezTo>
                <a:cubicBezTo>
                  <a:pt x="3" y="62"/>
                  <a:pt x="3" y="63"/>
                  <a:pt x="3" y="63"/>
                </a:cubicBezTo>
                <a:cubicBezTo>
                  <a:pt x="4" y="63"/>
                  <a:pt x="4" y="63"/>
                  <a:pt x="5" y="63"/>
                </a:cubicBezTo>
                <a:cubicBezTo>
                  <a:pt x="5" y="64"/>
                  <a:pt x="6" y="64"/>
                  <a:pt x="6" y="64"/>
                </a:cubicBezTo>
                <a:cubicBezTo>
                  <a:pt x="7" y="64"/>
                  <a:pt x="7" y="64"/>
                  <a:pt x="7" y="64"/>
                </a:cubicBezTo>
                <a:cubicBezTo>
                  <a:pt x="7" y="64"/>
                  <a:pt x="9" y="64"/>
                  <a:pt x="8" y="65"/>
                </a:cubicBezTo>
                <a:cubicBezTo>
                  <a:pt x="8" y="65"/>
                  <a:pt x="7" y="65"/>
                  <a:pt x="7" y="65"/>
                </a:cubicBezTo>
                <a:cubicBezTo>
                  <a:pt x="7" y="65"/>
                  <a:pt x="6" y="64"/>
                  <a:pt x="6" y="64"/>
                </a:cubicBezTo>
                <a:cubicBezTo>
                  <a:pt x="6" y="64"/>
                  <a:pt x="5" y="64"/>
                  <a:pt x="5" y="64"/>
                </a:cubicBezTo>
                <a:cubicBezTo>
                  <a:pt x="4" y="64"/>
                  <a:pt x="3" y="64"/>
                  <a:pt x="3" y="64"/>
                </a:cubicBezTo>
                <a:cubicBezTo>
                  <a:pt x="2" y="65"/>
                  <a:pt x="2" y="65"/>
                  <a:pt x="2" y="65"/>
                </a:cubicBezTo>
                <a:cubicBezTo>
                  <a:pt x="2" y="67"/>
                  <a:pt x="2" y="67"/>
                  <a:pt x="1" y="68"/>
                </a:cubicBezTo>
                <a:cubicBezTo>
                  <a:pt x="1" y="69"/>
                  <a:pt x="0" y="69"/>
                  <a:pt x="0" y="70"/>
                </a:cubicBezTo>
                <a:cubicBezTo>
                  <a:pt x="0" y="70"/>
                  <a:pt x="0" y="71"/>
                  <a:pt x="0" y="72"/>
                </a:cubicBezTo>
                <a:cubicBezTo>
                  <a:pt x="0" y="72"/>
                  <a:pt x="0" y="73"/>
                  <a:pt x="0" y="73"/>
                </a:cubicBezTo>
                <a:cubicBezTo>
                  <a:pt x="0" y="73"/>
                  <a:pt x="0" y="74"/>
                  <a:pt x="0" y="74"/>
                </a:cubicBezTo>
                <a:cubicBezTo>
                  <a:pt x="1" y="74"/>
                  <a:pt x="1" y="75"/>
                  <a:pt x="1" y="76"/>
                </a:cubicBezTo>
                <a:cubicBezTo>
                  <a:pt x="1" y="76"/>
                  <a:pt x="1" y="77"/>
                  <a:pt x="1" y="77"/>
                </a:cubicBezTo>
                <a:cubicBezTo>
                  <a:pt x="1" y="78"/>
                  <a:pt x="1" y="79"/>
                  <a:pt x="1" y="80"/>
                </a:cubicBezTo>
                <a:cubicBezTo>
                  <a:pt x="1" y="80"/>
                  <a:pt x="1" y="80"/>
                  <a:pt x="1" y="81"/>
                </a:cubicBezTo>
                <a:cubicBezTo>
                  <a:pt x="1" y="81"/>
                  <a:pt x="2" y="81"/>
                  <a:pt x="2" y="82"/>
                </a:cubicBezTo>
                <a:cubicBezTo>
                  <a:pt x="2" y="82"/>
                  <a:pt x="3" y="83"/>
                  <a:pt x="3" y="83"/>
                </a:cubicBezTo>
                <a:cubicBezTo>
                  <a:pt x="4" y="83"/>
                  <a:pt x="4" y="83"/>
                  <a:pt x="5" y="84"/>
                </a:cubicBezTo>
                <a:cubicBezTo>
                  <a:pt x="5" y="84"/>
                  <a:pt x="5" y="84"/>
                  <a:pt x="5" y="84"/>
                </a:cubicBezTo>
                <a:cubicBezTo>
                  <a:pt x="5" y="84"/>
                  <a:pt x="6" y="84"/>
                  <a:pt x="6" y="85"/>
                </a:cubicBezTo>
                <a:cubicBezTo>
                  <a:pt x="6" y="85"/>
                  <a:pt x="6" y="85"/>
                  <a:pt x="7" y="86"/>
                </a:cubicBezTo>
                <a:cubicBezTo>
                  <a:pt x="7" y="87"/>
                  <a:pt x="8" y="86"/>
                  <a:pt x="9" y="87"/>
                </a:cubicBezTo>
                <a:cubicBezTo>
                  <a:pt x="9" y="87"/>
                  <a:pt x="10" y="88"/>
                  <a:pt x="10" y="88"/>
                </a:cubicBezTo>
                <a:cubicBezTo>
                  <a:pt x="10" y="89"/>
                  <a:pt x="10" y="90"/>
                  <a:pt x="11" y="91"/>
                </a:cubicBezTo>
                <a:cubicBezTo>
                  <a:pt x="12" y="92"/>
                  <a:pt x="14" y="93"/>
                  <a:pt x="14" y="94"/>
                </a:cubicBezTo>
                <a:cubicBezTo>
                  <a:pt x="14" y="94"/>
                  <a:pt x="15" y="95"/>
                  <a:pt x="15" y="95"/>
                </a:cubicBezTo>
                <a:cubicBezTo>
                  <a:pt x="15" y="95"/>
                  <a:pt x="15" y="96"/>
                  <a:pt x="16" y="96"/>
                </a:cubicBezTo>
                <a:cubicBezTo>
                  <a:pt x="16" y="96"/>
                  <a:pt x="16" y="96"/>
                  <a:pt x="16" y="97"/>
                </a:cubicBezTo>
                <a:cubicBezTo>
                  <a:pt x="16" y="97"/>
                  <a:pt x="16" y="97"/>
                  <a:pt x="16" y="97"/>
                </a:cubicBezTo>
                <a:cubicBezTo>
                  <a:pt x="17" y="98"/>
                  <a:pt x="18" y="99"/>
                  <a:pt x="19" y="100"/>
                </a:cubicBezTo>
                <a:cubicBezTo>
                  <a:pt x="19" y="100"/>
                  <a:pt x="19" y="101"/>
                  <a:pt x="19" y="101"/>
                </a:cubicBezTo>
                <a:cubicBezTo>
                  <a:pt x="19" y="101"/>
                  <a:pt x="19" y="101"/>
                  <a:pt x="19" y="102"/>
                </a:cubicBezTo>
                <a:cubicBezTo>
                  <a:pt x="20" y="102"/>
                  <a:pt x="19" y="103"/>
                  <a:pt x="19" y="103"/>
                </a:cubicBezTo>
                <a:cubicBezTo>
                  <a:pt x="20" y="104"/>
                  <a:pt x="20" y="105"/>
                  <a:pt x="20" y="106"/>
                </a:cubicBezTo>
                <a:cubicBezTo>
                  <a:pt x="20" y="106"/>
                  <a:pt x="20" y="107"/>
                  <a:pt x="20" y="107"/>
                </a:cubicBezTo>
                <a:cubicBezTo>
                  <a:pt x="20" y="108"/>
                  <a:pt x="21" y="108"/>
                  <a:pt x="21" y="108"/>
                </a:cubicBezTo>
                <a:cubicBezTo>
                  <a:pt x="21" y="109"/>
                  <a:pt x="21" y="110"/>
                  <a:pt x="21" y="110"/>
                </a:cubicBezTo>
                <a:cubicBezTo>
                  <a:pt x="21" y="111"/>
                  <a:pt x="21" y="112"/>
                  <a:pt x="21" y="113"/>
                </a:cubicBezTo>
                <a:cubicBezTo>
                  <a:pt x="21" y="113"/>
                  <a:pt x="20" y="113"/>
                  <a:pt x="20" y="113"/>
                </a:cubicBezTo>
                <a:cubicBezTo>
                  <a:pt x="20" y="120"/>
                  <a:pt x="20" y="120"/>
                  <a:pt x="20" y="120"/>
                </a:cubicBezTo>
                <a:cubicBezTo>
                  <a:pt x="20" y="121"/>
                  <a:pt x="20" y="121"/>
                  <a:pt x="20" y="122"/>
                </a:cubicBezTo>
                <a:cubicBezTo>
                  <a:pt x="20" y="122"/>
                  <a:pt x="21" y="122"/>
                  <a:pt x="21" y="123"/>
                </a:cubicBezTo>
                <a:cubicBezTo>
                  <a:pt x="21" y="123"/>
                  <a:pt x="21" y="123"/>
                  <a:pt x="21" y="123"/>
                </a:cubicBezTo>
                <a:cubicBezTo>
                  <a:pt x="21" y="125"/>
                  <a:pt x="21" y="125"/>
                  <a:pt x="21" y="125"/>
                </a:cubicBezTo>
                <a:cubicBezTo>
                  <a:pt x="21" y="125"/>
                  <a:pt x="21" y="125"/>
                  <a:pt x="21" y="125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1" y="127"/>
                  <a:pt x="21" y="128"/>
                  <a:pt x="22" y="129"/>
                </a:cubicBezTo>
                <a:cubicBezTo>
                  <a:pt x="22" y="129"/>
                  <a:pt x="22" y="129"/>
                  <a:pt x="22" y="130"/>
                </a:cubicBezTo>
                <a:cubicBezTo>
                  <a:pt x="22" y="130"/>
                  <a:pt x="22" y="130"/>
                  <a:pt x="23" y="131"/>
                </a:cubicBezTo>
                <a:cubicBezTo>
                  <a:pt x="23" y="131"/>
                  <a:pt x="23" y="132"/>
                  <a:pt x="23" y="132"/>
                </a:cubicBezTo>
                <a:cubicBezTo>
                  <a:pt x="23" y="133"/>
                  <a:pt x="23" y="133"/>
                  <a:pt x="23" y="133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4" y="135"/>
                  <a:pt x="24" y="136"/>
                  <a:pt x="24" y="137"/>
                </a:cubicBezTo>
                <a:cubicBezTo>
                  <a:pt x="24" y="138"/>
                  <a:pt x="23" y="139"/>
                  <a:pt x="23" y="140"/>
                </a:cubicBezTo>
                <a:cubicBezTo>
                  <a:pt x="24" y="141"/>
                  <a:pt x="24" y="141"/>
                  <a:pt x="24" y="142"/>
                </a:cubicBezTo>
                <a:cubicBezTo>
                  <a:pt x="25" y="143"/>
                  <a:pt x="26" y="144"/>
                  <a:pt x="27" y="145"/>
                </a:cubicBezTo>
                <a:cubicBezTo>
                  <a:pt x="28" y="146"/>
                  <a:pt x="29" y="147"/>
                  <a:pt x="30" y="148"/>
                </a:cubicBezTo>
                <a:cubicBezTo>
                  <a:pt x="31" y="148"/>
                  <a:pt x="31" y="149"/>
                  <a:pt x="32" y="149"/>
                </a:cubicBezTo>
                <a:cubicBezTo>
                  <a:pt x="32" y="150"/>
                  <a:pt x="33" y="150"/>
                  <a:pt x="33" y="151"/>
                </a:cubicBezTo>
                <a:cubicBezTo>
                  <a:pt x="34" y="151"/>
                  <a:pt x="34" y="152"/>
                  <a:pt x="34" y="152"/>
                </a:cubicBezTo>
                <a:cubicBezTo>
                  <a:pt x="34" y="153"/>
                  <a:pt x="35" y="153"/>
                  <a:pt x="35" y="154"/>
                </a:cubicBezTo>
                <a:cubicBezTo>
                  <a:pt x="36" y="154"/>
                  <a:pt x="36" y="155"/>
                  <a:pt x="36" y="155"/>
                </a:cubicBezTo>
                <a:cubicBezTo>
                  <a:pt x="36" y="155"/>
                  <a:pt x="37" y="156"/>
                  <a:pt x="37" y="156"/>
                </a:cubicBezTo>
                <a:cubicBezTo>
                  <a:pt x="38" y="157"/>
                  <a:pt x="38" y="158"/>
                  <a:pt x="39" y="158"/>
                </a:cubicBezTo>
                <a:cubicBezTo>
                  <a:pt x="41" y="159"/>
                  <a:pt x="42" y="160"/>
                  <a:pt x="43" y="161"/>
                </a:cubicBezTo>
                <a:cubicBezTo>
                  <a:pt x="44" y="162"/>
                  <a:pt x="44" y="163"/>
                  <a:pt x="44" y="164"/>
                </a:cubicBezTo>
                <a:cubicBezTo>
                  <a:pt x="45" y="164"/>
                  <a:pt x="45" y="165"/>
                  <a:pt x="45" y="166"/>
                </a:cubicBezTo>
                <a:cubicBezTo>
                  <a:pt x="45" y="166"/>
                  <a:pt x="45" y="167"/>
                  <a:pt x="45" y="167"/>
                </a:cubicBezTo>
                <a:cubicBezTo>
                  <a:pt x="46" y="167"/>
                  <a:pt x="47" y="167"/>
                  <a:pt x="47" y="168"/>
                </a:cubicBezTo>
                <a:cubicBezTo>
                  <a:pt x="48" y="168"/>
                  <a:pt x="48" y="168"/>
                  <a:pt x="49" y="169"/>
                </a:cubicBezTo>
                <a:cubicBezTo>
                  <a:pt x="49" y="169"/>
                  <a:pt x="49" y="170"/>
                  <a:pt x="50" y="170"/>
                </a:cubicBezTo>
                <a:cubicBezTo>
                  <a:pt x="50" y="171"/>
                  <a:pt x="51" y="172"/>
                  <a:pt x="52" y="173"/>
                </a:cubicBezTo>
                <a:cubicBezTo>
                  <a:pt x="52" y="174"/>
                  <a:pt x="53" y="174"/>
                  <a:pt x="53" y="174"/>
                </a:cubicBezTo>
                <a:cubicBezTo>
                  <a:pt x="53" y="175"/>
                  <a:pt x="53" y="175"/>
                  <a:pt x="53" y="175"/>
                </a:cubicBezTo>
                <a:cubicBezTo>
                  <a:pt x="53" y="176"/>
                  <a:pt x="53" y="176"/>
                  <a:pt x="53" y="176"/>
                </a:cubicBezTo>
                <a:cubicBezTo>
                  <a:pt x="52" y="175"/>
                  <a:pt x="52" y="175"/>
                  <a:pt x="51" y="174"/>
                </a:cubicBezTo>
                <a:cubicBezTo>
                  <a:pt x="51" y="174"/>
                  <a:pt x="50" y="173"/>
                  <a:pt x="50" y="172"/>
                </a:cubicBezTo>
                <a:cubicBezTo>
                  <a:pt x="50" y="172"/>
                  <a:pt x="49" y="172"/>
                  <a:pt x="49" y="171"/>
                </a:cubicBezTo>
                <a:cubicBezTo>
                  <a:pt x="49" y="171"/>
                  <a:pt x="49" y="171"/>
                  <a:pt x="49" y="171"/>
                </a:cubicBezTo>
                <a:cubicBezTo>
                  <a:pt x="48" y="171"/>
                  <a:pt x="49" y="172"/>
                  <a:pt x="49" y="172"/>
                </a:cubicBezTo>
                <a:cubicBezTo>
                  <a:pt x="49" y="173"/>
                  <a:pt x="50" y="173"/>
                  <a:pt x="50" y="174"/>
                </a:cubicBezTo>
                <a:cubicBezTo>
                  <a:pt x="50" y="174"/>
                  <a:pt x="50" y="175"/>
                  <a:pt x="50" y="175"/>
                </a:cubicBezTo>
                <a:cubicBezTo>
                  <a:pt x="50" y="175"/>
                  <a:pt x="49" y="175"/>
                  <a:pt x="49" y="175"/>
                </a:cubicBezTo>
                <a:cubicBezTo>
                  <a:pt x="49" y="176"/>
                  <a:pt x="49" y="177"/>
                  <a:pt x="49" y="178"/>
                </a:cubicBezTo>
                <a:cubicBezTo>
                  <a:pt x="49" y="178"/>
                  <a:pt x="49" y="179"/>
                  <a:pt x="48" y="179"/>
                </a:cubicBezTo>
                <a:cubicBezTo>
                  <a:pt x="48" y="179"/>
                  <a:pt x="48" y="180"/>
                  <a:pt x="48" y="180"/>
                </a:cubicBezTo>
                <a:cubicBezTo>
                  <a:pt x="48" y="181"/>
                  <a:pt x="49" y="181"/>
                  <a:pt x="50" y="181"/>
                </a:cubicBezTo>
                <a:cubicBezTo>
                  <a:pt x="50" y="180"/>
                  <a:pt x="50" y="180"/>
                  <a:pt x="51" y="180"/>
                </a:cubicBezTo>
                <a:cubicBezTo>
                  <a:pt x="51" y="180"/>
                  <a:pt x="51" y="180"/>
                  <a:pt x="52" y="180"/>
                </a:cubicBezTo>
                <a:cubicBezTo>
                  <a:pt x="52" y="180"/>
                  <a:pt x="53" y="180"/>
                  <a:pt x="53" y="181"/>
                </a:cubicBezTo>
                <a:cubicBezTo>
                  <a:pt x="53" y="181"/>
                  <a:pt x="54" y="181"/>
                  <a:pt x="54" y="182"/>
                </a:cubicBezTo>
                <a:cubicBezTo>
                  <a:pt x="55" y="182"/>
                  <a:pt x="55" y="183"/>
                  <a:pt x="55" y="183"/>
                </a:cubicBezTo>
                <a:cubicBezTo>
                  <a:pt x="56" y="184"/>
                  <a:pt x="57" y="184"/>
                  <a:pt x="57" y="185"/>
                </a:cubicBezTo>
                <a:cubicBezTo>
                  <a:pt x="58" y="185"/>
                  <a:pt x="58" y="185"/>
                  <a:pt x="58" y="185"/>
                </a:cubicBezTo>
                <a:cubicBezTo>
                  <a:pt x="58" y="185"/>
                  <a:pt x="59" y="185"/>
                  <a:pt x="59" y="185"/>
                </a:cubicBezTo>
                <a:cubicBezTo>
                  <a:pt x="60" y="185"/>
                  <a:pt x="60" y="185"/>
                  <a:pt x="61" y="185"/>
                </a:cubicBezTo>
                <a:cubicBezTo>
                  <a:pt x="61" y="185"/>
                  <a:pt x="61" y="186"/>
                  <a:pt x="62" y="186"/>
                </a:cubicBezTo>
                <a:cubicBezTo>
                  <a:pt x="62" y="186"/>
                  <a:pt x="63" y="187"/>
                  <a:pt x="63" y="187"/>
                </a:cubicBezTo>
                <a:cubicBezTo>
                  <a:pt x="64" y="188"/>
                  <a:pt x="64" y="188"/>
                  <a:pt x="64" y="188"/>
                </a:cubicBezTo>
                <a:cubicBezTo>
                  <a:pt x="65" y="188"/>
                  <a:pt x="65" y="188"/>
                  <a:pt x="65" y="188"/>
                </a:cubicBezTo>
                <a:cubicBezTo>
                  <a:pt x="66" y="187"/>
                  <a:pt x="67" y="187"/>
                  <a:pt x="67" y="186"/>
                </a:cubicBezTo>
                <a:cubicBezTo>
                  <a:pt x="67" y="185"/>
                  <a:pt x="66" y="184"/>
                  <a:pt x="66" y="184"/>
                </a:cubicBezTo>
                <a:cubicBezTo>
                  <a:pt x="65" y="183"/>
                  <a:pt x="65" y="182"/>
                  <a:pt x="65" y="181"/>
                </a:cubicBezTo>
                <a:cubicBezTo>
                  <a:pt x="65" y="181"/>
                  <a:pt x="65" y="180"/>
                  <a:pt x="65" y="180"/>
                </a:cubicBezTo>
                <a:cubicBezTo>
                  <a:pt x="66" y="179"/>
                  <a:pt x="66" y="179"/>
                  <a:pt x="66" y="178"/>
                </a:cubicBezTo>
                <a:cubicBezTo>
                  <a:pt x="65" y="178"/>
                  <a:pt x="65" y="177"/>
                  <a:pt x="65" y="177"/>
                </a:cubicBezTo>
                <a:cubicBezTo>
                  <a:pt x="65" y="177"/>
                  <a:pt x="65" y="177"/>
                  <a:pt x="65" y="177"/>
                </a:cubicBezTo>
                <a:cubicBezTo>
                  <a:pt x="65" y="176"/>
                  <a:pt x="65" y="176"/>
                  <a:pt x="65" y="176"/>
                </a:cubicBezTo>
                <a:cubicBezTo>
                  <a:pt x="66" y="175"/>
                  <a:pt x="67" y="175"/>
                  <a:pt x="67" y="176"/>
                </a:cubicBezTo>
                <a:cubicBezTo>
                  <a:pt x="68" y="176"/>
                  <a:pt x="68" y="176"/>
                  <a:pt x="69" y="175"/>
                </a:cubicBezTo>
                <a:cubicBezTo>
                  <a:pt x="69" y="175"/>
                  <a:pt x="70" y="176"/>
                  <a:pt x="70" y="176"/>
                </a:cubicBezTo>
                <a:cubicBezTo>
                  <a:pt x="71" y="176"/>
                  <a:pt x="71" y="177"/>
                  <a:pt x="72" y="177"/>
                </a:cubicBezTo>
                <a:cubicBezTo>
                  <a:pt x="72" y="177"/>
                  <a:pt x="73" y="177"/>
                  <a:pt x="73" y="177"/>
                </a:cubicBezTo>
                <a:cubicBezTo>
                  <a:pt x="73" y="177"/>
                  <a:pt x="74" y="177"/>
                  <a:pt x="74" y="177"/>
                </a:cubicBezTo>
                <a:cubicBezTo>
                  <a:pt x="75" y="177"/>
                  <a:pt x="75" y="177"/>
                  <a:pt x="76" y="177"/>
                </a:cubicBezTo>
                <a:cubicBezTo>
                  <a:pt x="77" y="177"/>
                  <a:pt x="78" y="177"/>
                  <a:pt x="79" y="176"/>
                </a:cubicBezTo>
                <a:cubicBezTo>
                  <a:pt x="79" y="176"/>
                  <a:pt x="81" y="174"/>
                  <a:pt x="81" y="175"/>
                </a:cubicBezTo>
                <a:cubicBezTo>
                  <a:pt x="81" y="176"/>
                  <a:pt x="81" y="176"/>
                  <a:pt x="82" y="176"/>
                </a:cubicBezTo>
                <a:cubicBezTo>
                  <a:pt x="82" y="177"/>
                  <a:pt x="82" y="177"/>
                  <a:pt x="83" y="177"/>
                </a:cubicBezTo>
                <a:cubicBezTo>
                  <a:pt x="83" y="177"/>
                  <a:pt x="83" y="177"/>
                  <a:pt x="83" y="177"/>
                </a:cubicBezTo>
                <a:cubicBezTo>
                  <a:pt x="83" y="177"/>
                  <a:pt x="83" y="177"/>
                  <a:pt x="84" y="177"/>
                </a:cubicBezTo>
                <a:cubicBezTo>
                  <a:pt x="84" y="178"/>
                  <a:pt x="84" y="178"/>
                  <a:pt x="85" y="178"/>
                </a:cubicBezTo>
                <a:cubicBezTo>
                  <a:pt x="85" y="178"/>
                  <a:pt x="86" y="178"/>
                  <a:pt x="87" y="178"/>
                </a:cubicBezTo>
                <a:cubicBezTo>
                  <a:pt x="88" y="178"/>
                  <a:pt x="88" y="178"/>
                  <a:pt x="89" y="177"/>
                </a:cubicBezTo>
                <a:cubicBezTo>
                  <a:pt x="89" y="177"/>
                  <a:pt x="90" y="177"/>
                  <a:pt x="91" y="177"/>
                </a:cubicBezTo>
                <a:cubicBezTo>
                  <a:pt x="91" y="176"/>
                  <a:pt x="92" y="176"/>
                  <a:pt x="92" y="176"/>
                </a:cubicBezTo>
                <a:cubicBezTo>
                  <a:pt x="92" y="177"/>
                  <a:pt x="92" y="177"/>
                  <a:pt x="92" y="177"/>
                </a:cubicBezTo>
                <a:cubicBezTo>
                  <a:pt x="92" y="177"/>
                  <a:pt x="92" y="177"/>
                  <a:pt x="92" y="178"/>
                </a:cubicBezTo>
                <a:cubicBezTo>
                  <a:pt x="91" y="178"/>
                  <a:pt x="91" y="178"/>
                  <a:pt x="91" y="178"/>
                </a:cubicBezTo>
                <a:cubicBezTo>
                  <a:pt x="91" y="179"/>
                  <a:pt x="92" y="179"/>
                  <a:pt x="92" y="178"/>
                </a:cubicBezTo>
                <a:cubicBezTo>
                  <a:pt x="93" y="178"/>
                  <a:pt x="93" y="177"/>
                  <a:pt x="94" y="176"/>
                </a:cubicBezTo>
                <a:cubicBezTo>
                  <a:pt x="94" y="176"/>
                  <a:pt x="95" y="176"/>
                  <a:pt x="95" y="176"/>
                </a:cubicBezTo>
                <a:cubicBezTo>
                  <a:pt x="96" y="176"/>
                  <a:pt x="97" y="176"/>
                  <a:pt x="97" y="176"/>
                </a:cubicBezTo>
                <a:cubicBezTo>
                  <a:pt x="98" y="176"/>
                  <a:pt x="98" y="176"/>
                  <a:pt x="99" y="177"/>
                </a:cubicBezTo>
                <a:cubicBezTo>
                  <a:pt x="100" y="178"/>
                  <a:pt x="101" y="178"/>
                  <a:pt x="103" y="179"/>
                </a:cubicBezTo>
                <a:cubicBezTo>
                  <a:pt x="103" y="179"/>
                  <a:pt x="105" y="181"/>
                  <a:pt x="103" y="181"/>
                </a:cubicBezTo>
                <a:cubicBezTo>
                  <a:pt x="103" y="181"/>
                  <a:pt x="103" y="181"/>
                  <a:pt x="102" y="181"/>
                </a:cubicBezTo>
                <a:cubicBezTo>
                  <a:pt x="102" y="181"/>
                  <a:pt x="102" y="181"/>
                  <a:pt x="101" y="181"/>
                </a:cubicBezTo>
                <a:cubicBezTo>
                  <a:pt x="101" y="180"/>
                  <a:pt x="101" y="180"/>
                  <a:pt x="100" y="180"/>
                </a:cubicBezTo>
                <a:cubicBezTo>
                  <a:pt x="100" y="180"/>
                  <a:pt x="99" y="179"/>
                  <a:pt x="99" y="179"/>
                </a:cubicBezTo>
                <a:cubicBezTo>
                  <a:pt x="98" y="179"/>
                  <a:pt x="98" y="178"/>
                  <a:pt x="97" y="178"/>
                </a:cubicBezTo>
                <a:cubicBezTo>
                  <a:pt x="97" y="178"/>
                  <a:pt x="96" y="178"/>
                  <a:pt x="96" y="177"/>
                </a:cubicBezTo>
                <a:cubicBezTo>
                  <a:pt x="95" y="177"/>
                  <a:pt x="95" y="177"/>
                  <a:pt x="95" y="177"/>
                </a:cubicBezTo>
                <a:cubicBezTo>
                  <a:pt x="94" y="176"/>
                  <a:pt x="94" y="178"/>
                  <a:pt x="94" y="178"/>
                </a:cubicBezTo>
                <a:cubicBezTo>
                  <a:pt x="94" y="179"/>
                  <a:pt x="94" y="179"/>
                  <a:pt x="94" y="180"/>
                </a:cubicBezTo>
                <a:cubicBezTo>
                  <a:pt x="94" y="180"/>
                  <a:pt x="93" y="180"/>
                  <a:pt x="93" y="180"/>
                </a:cubicBezTo>
                <a:cubicBezTo>
                  <a:pt x="92" y="180"/>
                  <a:pt x="92" y="180"/>
                  <a:pt x="92" y="180"/>
                </a:cubicBezTo>
                <a:cubicBezTo>
                  <a:pt x="91" y="180"/>
                  <a:pt x="91" y="180"/>
                  <a:pt x="91" y="180"/>
                </a:cubicBezTo>
                <a:cubicBezTo>
                  <a:pt x="90" y="180"/>
                  <a:pt x="89" y="180"/>
                  <a:pt x="89" y="180"/>
                </a:cubicBezTo>
                <a:cubicBezTo>
                  <a:pt x="88" y="180"/>
                  <a:pt x="87" y="179"/>
                  <a:pt x="87" y="179"/>
                </a:cubicBezTo>
                <a:cubicBezTo>
                  <a:pt x="86" y="179"/>
                  <a:pt x="86" y="179"/>
                  <a:pt x="85" y="179"/>
                </a:cubicBezTo>
                <a:cubicBezTo>
                  <a:pt x="84" y="179"/>
                  <a:pt x="84" y="179"/>
                  <a:pt x="83" y="179"/>
                </a:cubicBezTo>
                <a:cubicBezTo>
                  <a:pt x="83" y="178"/>
                  <a:pt x="83" y="178"/>
                  <a:pt x="82" y="178"/>
                </a:cubicBezTo>
                <a:cubicBezTo>
                  <a:pt x="82" y="178"/>
                  <a:pt x="82" y="178"/>
                  <a:pt x="81" y="178"/>
                </a:cubicBezTo>
                <a:cubicBezTo>
                  <a:pt x="81" y="178"/>
                  <a:pt x="80" y="179"/>
                  <a:pt x="80" y="179"/>
                </a:cubicBezTo>
                <a:cubicBezTo>
                  <a:pt x="79" y="179"/>
                  <a:pt x="79" y="179"/>
                  <a:pt x="78" y="179"/>
                </a:cubicBezTo>
                <a:cubicBezTo>
                  <a:pt x="78" y="180"/>
                  <a:pt x="77" y="180"/>
                  <a:pt x="77" y="179"/>
                </a:cubicBezTo>
                <a:cubicBezTo>
                  <a:pt x="76" y="179"/>
                  <a:pt x="76" y="179"/>
                  <a:pt x="75" y="179"/>
                </a:cubicBezTo>
                <a:cubicBezTo>
                  <a:pt x="75" y="179"/>
                  <a:pt x="74" y="179"/>
                  <a:pt x="74" y="179"/>
                </a:cubicBezTo>
                <a:cubicBezTo>
                  <a:pt x="73" y="180"/>
                  <a:pt x="73" y="180"/>
                  <a:pt x="72" y="180"/>
                </a:cubicBezTo>
                <a:cubicBezTo>
                  <a:pt x="72" y="180"/>
                  <a:pt x="71" y="181"/>
                  <a:pt x="71" y="181"/>
                </a:cubicBezTo>
                <a:cubicBezTo>
                  <a:pt x="70" y="181"/>
                  <a:pt x="69" y="181"/>
                  <a:pt x="69" y="182"/>
                </a:cubicBezTo>
                <a:cubicBezTo>
                  <a:pt x="68" y="183"/>
                  <a:pt x="69" y="183"/>
                  <a:pt x="70" y="184"/>
                </a:cubicBezTo>
                <a:cubicBezTo>
                  <a:pt x="70" y="184"/>
                  <a:pt x="70" y="184"/>
                  <a:pt x="70" y="185"/>
                </a:cubicBezTo>
                <a:cubicBezTo>
                  <a:pt x="71" y="186"/>
                  <a:pt x="71" y="187"/>
                  <a:pt x="71" y="188"/>
                </a:cubicBezTo>
                <a:cubicBezTo>
                  <a:pt x="71" y="189"/>
                  <a:pt x="72" y="190"/>
                  <a:pt x="73" y="191"/>
                </a:cubicBezTo>
                <a:cubicBezTo>
                  <a:pt x="73" y="192"/>
                  <a:pt x="74" y="192"/>
                  <a:pt x="75" y="193"/>
                </a:cubicBezTo>
                <a:cubicBezTo>
                  <a:pt x="75" y="193"/>
                  <a:pt x="76" y="194"/>
                  <a:pt x="76" y="194"/>
                </a:cubicBezTo>
                <a:cubicBezTo>
                  <a:pt x="77" y="195"/>
                  <a:pt x="76" y="196"/>
                  <a:pt x="77" y="196"/>
                </a:cubicBezTo>
                <a:cubicBezTo>
                  <a:pt x="77" y="196"/>
                  <a:pt x="77" y="197"/>
                  <a:pt x="77" y="197"/>
                </a:cubicBezTo>
                <a:cubicBezTo>
                  <a:pt x="77" y="197"/>
                  <a:pt x="77" y="198"/>
                  <a:pt x="77" y="198"/>
                </a:cubicBezTo>
                <a:cubicBezTo>
                  <a:pt x="77" y="198"/>
                  <a:pt x="78" y="199"/>
                  <a:pt x="78" y="199"/>
                </a:cubicBezTo>
                <a:cubicBezTo>
                  <a:pt x="78" y="200"/>
                  <a:pt x="78" y="200"/>
                  <a:pt x="78" y="201"/>
                </a:cubicBezTo>
                <a:cubicBezTo>
                  <a:pt x="79" y="201"/>
                  <a:pt x="79" y="202"/>
                  <a:pt x="79" y="202"/>
                </a:cubicBezTo>
                <a:cubicBezTo>
                  <a:pt x="79" y="203"/>
                  <a:pt x="79" y="203"/>
                  <a:pt x="78" y="203"/>
                </a:cubicBezTo>
                <a:cubicBezTo>
                  <a:pt x="78" y="203"/>
                  <a:pt x="77" y="203"/>
                  <a:pt x="77" y="203"/>
                </a:cubicBezTo>
                <a:cubicBezTo>
                  <a:pt x="77" y="203"/>
                  <a:pt x="76" y="202"/>
                  <a:pt x="76" y="202"/>
                </a:cubicBezTo>
                <a:cubicBezTo>
                  <a:pt x="76" y="202"/>
                  <a:pt x="75" y="201"/>
                  <a:pt x="75" y="201"/>
                </a:cubicBezTo>
                <a:cubicBezTo>
                  <a:pt x="74" y="200"/>
                  <a:pt x="73" y="200"/>
                  <a:pt x="72" y="199"/>
                </a:cubicBezTo>
                <a:cubicBezTo>
                  <a:pt x="70" y="199"/>
                  <a:pt x="70" y="196"/>
                  <a:pt x="70" y="195"/>
                </a:cubicBezTo>
                <a:cubicBezTo>
                  <a:pt x="70" y="194"/>
                  <a:pt x="70" y="193"/>
                  <a:pt x="70" y="193"/>
                </a:cubicBezTo>
                <a:cubicBezTo>
                  <a:pt x="70" y="192"/>
                  <a:pt x="70" y="191"/>
                  <a:pt x="70" y="191"/>
                </a:cubicBezTo>
                <a:cubicBezTo>
                  <a:pt x="70" y="190"/>
                  <a:pt x="70" y="190"/>
                  <a:pt x="69" y="190"/>
                </a:cubicBezTo>
                <a:cubicBezTo>
                  <a:pt x="69" y="190"/>
                  <a:pt x="69" y="190"/>
                  <a:pt x="68" y="190"/>
                </a:cubicBezTo>
                <a:cubicBezTo>
                  <a:pt x="68" y="190"/>
                  <a:pt x="67" y="189"/>
                  <a:pt x="67" y="189"/>
                </a:cubicBezTo>
                <a:cubicBezTo>
                  <a:pt x="66" y="189"/>
                  <a:pt x="66" y="190"/>
                  <a:pt x="66" y="191"/>
                </a:cubicBezTo>
                <a:cubicBezTo>
                  <a:pt x="66" y="191"/>
                  <a:pt x="66" y="191"/>
                  <a:pt x="66" y="192"/>
                </a:cubicBezTo>
                <a:cubicBezTo>
                  <a:pt x="66" y="192"/>
                  <a:pt x="65" y="192"/>
                  <a:pt x="65" y="193"/>
                </a:cubicBezTo>
                <a:cubicBezTo>
                  <a:pt x="65" y="193"/>
                  <a:pt x="65" y="193"/>
                  <a:pt x="65" y="193"/>
                </a:cubicBezTo>
                <a:cubicBezTo>
                  <a:pt x="65" y="200"/>
                  <a:pt x="65" y="200"/>
                  <a:pt x="65" y="200"/>
                </a:cubicBezTo>
                <a:cubicBezTo>
                  <a:pt x="65" y="201"/>
                  <a:pt x="65" y="201"/>
                  <a:pt x="65" y="201"/>
                </a:cubicBezTo>
                <a:cubicBezTo>
                  <a:pt x="65" y="202"/>
                  <a:pt x="66" y="202"/>
                  <a:pt x="66" y="203"/>
                </a:cubicBezTo>
                <a:cubicBezTo>
                  <a:pt x="66" y="203"/>
                  <a:pt x="66" y="204"/>
                  <a:pt x="67" y="204"/>
                </a:cubicBezTo>
                <a:cubicBezTo>
                  <a:pt x="67" y="204"/>
                  <a:pt x="67" y="205"/>
                  <a:pt x="67" y="205"/>
                </a:cubicBezTo>
                <a:cubicBezTo>
                  <a:pt x="67" y="205"/>
                  <a:pt x="67" y="206"/>
                  <a:pt x="68" y="206"/>
                </a:cubicBezTo>
                <a:cubicBezTo>
                  <a:pt x="68" y="206"/>
                  <a:pt x="68" y="206"/>
                  <a:pt x="68" y="206"/>
                </a:cubicBezTo>
                <a:cubicBezTo>
                  <a:pt x="68" y="207"/>
                  <a:pt x="68" y="207"/>
                  <a:pt x="68" y="208"/>
                </a:cubicBezTo>
                <a:cubicBezTo>
                  <a:pt x="68" y="208"/>
                  <a:pt x="68" y="209"/>
                  <a:pt x="69" y="209"/>
                </a:cubicBezTo>
                <a:cubicBezTo>
                  <a:pt x="69" y="210"/>
                  <a:pt x="69" y="210"/>
                  <a:pt x="69" y="210"/>
                </a:cubicBezTo>
                <a:cubicBezTo>
                  <a:pt x="69" y="211"/>
                  <a:pt x="69" y="211"/>
                  <a:pt x="68" y="212"/>
                </a:cubicBezTo>
                <a:cubicBezTo>
                  <a:pt x="68" y="212"/>
                  <a:pt x="68" y="212"/>
                  <a:pt x="68" y="213"/>
                </a:cubicBezTo>
                <a:cubicBezTo>
                  <a:pt x="68" y="213"/>
                  <a:pt x="68" y="213"/>
                  <a:pt x="68" y="214"/>
                </a:cubicBezTo>
                <a:cubicBezTo>
                  <a:pt x="68" y="214"/>
                  <a:pt x="68" y="214"/>
                  <a:pt x="68" y="215"/>
                </a:cubicBezTo>
                <a:cubicBezTo>
                  <a:pt x="69" y="215"/>
                  <a:pt x="69" y="215"/>
                  <a:pt x="69" y="215"/>
                </a:cubicBezTo>
                <a:cubicBezTo>
                  <a:pt x="69" y="215"/>
                  <a:pt x="69" y="215"/>
                  <a:pt x="69" y="216"/>
                </a:cubicBezTo>
                <a:cubicBezTo>
                  <a:pt x="69" y="216"/>
                  <a:pt x="69" y="216"/>
                  <a:pt x="69" y="217"/>
                </a:cubicBezTo>
                <a:cubicBezTo>
                  <a:pt x="70" y="217"/>
                  <a:pt x="69" y="217"/>
                  <a:pt x="70" y="217"/>
                </a:cubicBezTo>
                <a:cubicBezTo>
                  <a:pt x="70" y="218"/>
                  <a:pt x="70" y="218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ubicBezTo>
                  <a:pt x="71" y="220"/>
                  <a:pt x="72" y="220"/>
                  <a:pt x="72" y="221"/>
                </a:cubicBezTo>
                <a:cubicBezTo>
                  <a:pt x="72" y="221"/>
                  <a:pt x="73" y="221"/>
                  <a:pt x="73" y="222"/>
                </a:cubicBezTo>
                <a:cubicBezTo>
                  <a:pt x="74" y="222"/>
                  <a:pt x="74" y="222"/>
                  <a:pt x="74" y="223"/>
                </a:cubicBezTo>
                <a:cubicBezTo>
                  <a:pt x="74" y="223"/>
                  <a:pt x="75" y="223"/>
                  <a:pt x="75" y="223"/>
                </a:cubicBezTo>
                <a:cubicBezTo>
                  <a:pt x="75" y="223"/>
                  <a:pt x="76" y="223"/>
                  <a:pt x="76" y="224"/>
                </a:cubicBezTo>
                <a:cubicBezTo>
                  <a:pt x="76" y="224"/>
                  <a:pt x="76" y="224"/>
                  <a:pt x="77" y="225"/>
                </a:cubicBezTo>
                <a:cubicBezTo>
                  <a:pt x="77" y="225"/>
                  <a:pt x="78" y="225"/>
                  <a:pt x="78" y="225"/>
                </a:cubicBezTo>
                <a:cubicBezTo>
                  <a:pt x="78" y="225"/>
                  <a:pt x="78" y="226"/>
                  <a:pt x="78" y="226"/>
                </a:cubicBezTo>
                <a:cubicBezTo>
                  <a:pt x="79" y="226"/>
                  <a:pt x="79" y="226"/>
                  <a:pt x="79" y="226"/>
                </a:cubicBezTo>
                <a:cubicBezTo>
                  <a:pt x="80" y="226"/>
                  <a:pt x="81" y="226"/>
                  <a:pt x="82" y="226"/>
                </a:cubicBezTo>
                <a:cubicBezTo>
                  <a:pt x="82" y="226"/>
                  <a:pt x="83" y="226"/>
                  <a:pt x="83" y="226"/>
                </a:cubicBezTo>
                <a:cubicBezTo>
                  <a:pt x="84" y="226"/>
                  <a:pt x="84" y="226"/>
                  <a:pt x="84" y="226"/>
                </a:cubicBezTo>
                <a:cubicBezTo>
                  <a:pt x="85" y="225"/>
                  <a:pt x="85" y="226"/>
                  <a:pt x="86" y="226"/>
                </a:cubicBezTo>
                <a:cubicBezTo>
                  <a:pt x="86" y="226"/>
                  <a:pt x="86" y="226"/>
                  <a:pt x="86" y="226"/>
                </a:cubicBezTo>
                <a:cubicBezTo>
                  <a:pt x="86" y="227"/>
                  <a:pt x="87" y="227"/>
                  <a:pt x="87" y="227"/>
                </a:cubicBezTo>
                <a:cubicBezTo>
                  <a:pt x="87" y="227"/>
                  <a:pt x="88" y="227"/>
                  <a:pt x="88" y="227"/>
                </a:cubicBezTo>
                <a:cubicBezTo>
                  <a:pt x="88" y="228"/>
                  <a:pt x="88" y="228"/>
                  <a:pt x="88" y="228"/>
                </a:cubicBezTo>
                <a:cubicBezTo>
                  <a:pt x="88" y="228"/>
                  <a:pt x="89" y="229"/>
                  <a:pt x="89" y="229"/>
                </a:cubicBezTo>
                <a:cubicBezTo>
                  <a:pt x="89" y="229"/>
                  <a:pt x="89" y="229"/>
                  <a:pt x="89" y="229"/>
                </a:cubicBezTo>
                <a:cubicBezTo>
                  <a:pt x="89" y="230"/>
                  <a:pt x="89" y="230"/>
                  <a:pt x="89" y="230"/>
                </a:cubicBezTo>
                <a:cubicBezTo>
                  <a:pt x="89" y="231"/>
                  <a:pt x="89" y="231"/>
                  <a:pt x="89" y="231"/>
                </a:cubicBezTo>
                <a:cubicBezTo>
                  <a:pt x="89" y="231"/>
                  <a:pt x="90" y="231"/>
                  <a:pt x="90" y="232"/>
                </a:cubicBezTo>
                <a:cubicBezTo>
                  <a:pt x="90" y="232"/>
                  <a:pt x="90" y="232"/>
                  <a:pt x="90" y="233"/>
                </a:cubicBezTo>
                <a:cubicBezTo>
                  <a:pt x="90" y="233"/>
                  <a:pt x="90" y="233"/>
                  <a:pt x="90" y="234"/>
                </a:cubicBezTo>
                <a:cubicBezTo>
                  <a:pt x="90" y="234"/>
                  <a:pt x="90" y="234"/>
                  <a:pt x="89" y="234"/>
                </a:cubicBezTo>
                <a:cubicBezTo>
                  <a:pt x="89" y="237"/>
                  <a:pt x="89" y="237"/>
                  <a:pt x="89" y="237"/>
                </a:cubicBezTo>
                <a:cubicBezTo>
                  <a:pt x="89" y="237"/>
                  <a:pt x="89" y="237"/>
                  <a:pt x="89" y="238"/>
                </a:cubicBezTo>
                <a:cubicBezTo>
                  <a:pt x="89" y="238"/>
                  <a:pt x="89" y="238"/>
                  <a:pt x="89" y="239"/>
                </a:cubicBezTo>
                <a:cubicBezTo>
                  <a:pt x="88" y="239"/>
                  <a:pt x="88" y="240"/>
                  <a:pt x="88" y="241"/>
                </a:cubicBezTo>
                <a:cubicBezTo>
                  <a:pt x="88" y="241"/>
                  <a:pt x="88" y="241"/>
                  <a:pt x="88" y="241"/>
                </a:cubicBezTo>
                <a:cubicBezTo>
                  <a:pt x="84" y="241"/>
                  <a:pt x="84" y="241"/>
                  <a:pt x="84" y="241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3"/>
                  <a:pt x="84" y="243"/>
                  <a:pt x="84" y="244"/>
                </a:cubicBezTo>
                <a:cubicBezTo>
                  <a:pt x="84" y="244"/>
                  <a:pt x="84" y="244"/>
                  <a:pt x="84" y="245"/>
                </a:cubicBezTo>
                <a:cubicBezTo>
                  <a:pt x="84" y="245"/>
                  <a:pt x="85" y="245"/>
                  <a:pt x="85" y="245"/>
                </a:cubicBezTo>
                <a:cubicBezTo>
                  <a:pt x="85" y="246"/>
                  <a:pt x="85" y="247"/>
                  <a:pt x="85" y="247"/>
                </a:cubicBezTo>
                <a:cubicBezTo>
                  <a:pt x="85" y="248"/>
                  <a:pt x="85" y="248"/>
                  <a:pt x="85" y="248"/>
                </a:cubicBezTo>
                <a:cubicBezTo>
                  <a:pt x="85" y="249"/>
                  <a:pt x="85" y="249"/>
                  <a:pt x="85" y="249"/>
                </a:cubicBezTo>
                <a:cubicBezTo>
                  <a:pt x="85" y="249"/>
                  <a:pt x="85" y="250"/>
                  <a:pt x="86" y="251"/>
                </a:cubicBezTo>
                <a:cubicBezTo>
                  <a:pt x="86" y="253"/>
                  <a:pt x="86" y="253"/>
                  <a:pt x="86" y="253"/>
                </a:cubicBezTo>
                <a:cubicBezTo>
                  <a:pt x="86" y="253"/>
                  <a:pt x="86" y="253"/>
                  <a:pt x="86" y="253"/>
                </a:cubicBezTo>
                <a:cubicBezTo>
                  <a:pt x="86" y="253"/>
                  <a:pt x="86" y="253"/>
                  <a:pt x="86" y="254"/>
                </a:cubicBezTo>
                <a:cubicBezTo>
                  <a:pt x="86" y="254"/>
                  <a:pt x="86" y="255"/>
                  <a:pt x="87" y="255"/>
                </a:cubicBezTo>
                <a:cubicBezTo>
                  <a:pt x="87" y="255"/>
                  <a:pt x="87" y="255"/>
                  <a:pt x="87" y="255"/>
                </a:cubicBezTo>
                <a:cubicBezTo>
                  <a:pt x="88" y="255"/>
                  <a:pt x="88" y="255"/>
                  <a:pt x="88" y="256"/>
                </a:cubicBezTo>
                <a:cubicBezTo>
                  <a:pt x="88" y="256"/>
                  <a:pt x="89" y="256"/>
                  <a:pt x="89" y="257"/>
                </a:cubicBezTo>
                <a:cubicBezTo>
                  <a:pt x="90" y="257"/>
                  <a:pt x="90" y="258"/>
                  <a:pt x="90" y="258"/>
                </a:cubicBezTo>
                <a:cubicBezTo>
                  <a:pt x="91" y="258"/>
                  <a:pt x="91" y="259"/>
                  <a:pt x="91" y="259"/>
                </a:cubicBezTo>
                <a:cubicBezTo>
                  <a:pt x="91" y="259"/>
                  <a:pt x="92" y="259"/>
                  <a:pt x="92" y="259"/>
                </a:cubicBezTo>
                <a:cubicBezTo>
                  <a:pt x="92" y="260"/>
                  <a:pt x="93" y="260"/>
                  <a:pt x="93" y="260"/>
                </a:cubicBezTo>
                <a:cubicBezTo>
                  <a:pt x="93" y="260"/>
                  <a:pt x="93" y="260"/>
                  <a:pt x="94" y="260"/>
                </a:cubicBezTo>
                <a:cubicBezTo>
                  <a:pt x="94" y="261"/>
                  <a:pt x="95" y="262"/>
                  <a:pt x="95" y="262"/>
                </a:cubicBezTo>
                <a:cubicBezTo>
                  <a:pt x="95" y="263"/>
                  <a:pt x="96" y="263"/>
                  <a:pt x="96" y="263"/>
                </a:cubicBezTo>
                <a:cubicBezTo>
                  <a:pt x="96" y="264"/>
                  <a:pt x="96" y="264"/>
                  <a:pt x="96" y="264"/>
                </a:cubicBezTo>
                <a:cubicBezTo>
                  <a:pt x="96" y="264"/>
                  <a:pt x="96" y="265"/>
                  <a:pt x="97" y="265"/>
                </a:cubicBezTo>
                <a:cubicBezTo>
                  <a:pt x="97" y="265"/>
                  <a:pt x="97" y="265"/>
                  <a:pt x="97" y="266"/>
                </a:cubicBezTo>
                <a:cubicBezTo>
                  <a:pt x="97" y="266"/>
                  <a:pt x="97" y="266"/>
                  <a:pt x="97" y="266"/>
                </a:cubicBezTo>
                <a:cubicBezTo>
                  <a:pt x="97" y="266"/>
                  <a:pt x="97" y="266"/>
                  <a:pt x="97" y="266"/>
                </a:cubicBezTo>
                <a:cubicBezTo>
                  <a:pt x="97" y="266"/>
                  <a:pt x="98" y="266"/>
                  <a:pt x="98" y="267"/>
                </a:cubicBezTo>
                <a:cubicBezTo>
                  <a:pt x="98" y="267"/>
                  <a:pt x="98" y="267"/>
                  <a:pt x="99" y="267"/>
                </a:cubicBezTo>
                <a:cubicBezTo>
                  <a:pt x="99" y="267"/>
                  <a:pt x="99" y="267"/>
                  <a:pt x="99" y="267"/>
                </a:cubicBezTo>
                <a:cubicBezTo>
                  <a:pt x="99" y="267"/>
                  <a:pt x="99" y="267"/>
                  <a:pt x="100" y="267"/>
                </a:cubicBezTo>
                <a:cubicBezTo>
                  <a:pt x="100" y="268"/>
                  <a:pt x="100" y="268"/>
                  <a:pt x="100" y="268"/>
                </a:cubicBezTo>
                <a:cubicBezTo>
                  <a:pt x="100" y="268"/>
                  <a:pt x="100" y="268"/>
                  <a:pt x="100" y="269"/>
                </a:cubicBezTo>
                <a:cubicBezTo>
                  <a:pt x="101" y="269"/>
                  <a:pt x="101" y="270"/>
                  <a:pt x="101" y="270"/>
                </a:cubicBezTo>
                <a:cubicBezTo>
                  <a:pt x="101" y="271"/>
                  <a:pt x="101" y="271"/>
                  <a:pt x="101" y="271"/>
                </a:cubicBezTo>
                <a:cubicBezTo>
                  <a:pt x="101" y="272"/>
                  <a:pt x="101" y="272"/>
                  <a:pt x="101" y="273"/>
                </a:cubicBezTo>
                <a:cubicBezTo>
                  <a:pt x="102" y="273"/>
                  <a:pt x="102" y="273"/>
                  <a:pt x="102" y="274"/>
                </a:cubicBezTo>
                <a:cubicBezTo>
                  <a:pt x="103" y="274"/>
                  <a:pt x="103" y="275"/>
                  <a:pt x="103" y="275"/>
                </a:cubicBezTo>
                <a:cubicBezTo>
                  <a:pt x="104" y="275"/>
                  <a:pt x="104" y="276"/>
                  <a:pt x="105" y="276"/>
                </a:cubicBezTo>
                <a:cubicBezTo>
                  <a:pt x="105" y="276"/>
                  <a:pt x="106" y="277"/>
                  <a:pt x="106" y="278"/>
                </a:cubicBezTo>
                <a:cubicBezTo>
                  <a:pt x="106" y="278"/>
                  <a:pt x="106" y="278"/>
                  <a:pt x="106" y="278"/>
                </a:cubicBezTo>
                <a:cubicBezTo>
                  <a:pt x="106" y="279"/>
                  <a:pt x="106" y="279"/>
                  <a:pt x="106" y="279"/>
                </a:cubicBezTo>
                <a:cubicBezTo>
                  <a:pt x="107" y="279"/>
                  <a:pt x="107" y="280"/>
                  <a:pt x="107" y="280"/>
                </a:cubicBezTo>
                <a:cubicBezTo>
                  <a:pt x="107" y="281"/>
                  <a:pt x="107" y="281"/>
                  <a:pt x="107" y="281"/>
                </a:cubicBezTo>
                <a:cubicBezTo>
                  <a:pt x="108" y="282"/>
                  <a:pt x="108" y="282"/>
                  <a:pt x="109" y="282"/>
                </a:cubicBezTo>
                <a:cubicBezTo>
                  <a:pt x="109" y="283"/>
                  <a:pt x="110" y="282"/>
                  <a:pt x="110" y="283"/>
                </a:cubicBezTo>
                <a:cubicBezTo>
                  <a:pt x="111" y="283"/>
                  <a:pt x="111" y="283"/>
                  <a:pt x="111" y="283"/>
                </a:cubicBezTo>
                <a:cubicBezTo>
                  <a:pt x="111" y="283"/>
                  <a:pt x="111" y="283"/>
                  <a:pt x="112" y="283"/>
                </a:cubicBezTo>
                <a:cubicBezTo>
                  <a:pt x="112" y="284"/>
                  <a:pt x="112" y="284"/>
                  <a:pt x="113" y="284"/>
                </a:cubicBezTo>
                <a:cubicBezTo>
                  <a:pt x="113" y="285"/>
                  <a:pt x="113" y="285"/>
                  <a:pt x="113" y="285"/>
                </a:cubicBezTo>
                <a:cubicBezTo>
                  <a:pt x="113" y="286"/>
                  <a:pt x="114" y="286"/>
                  <a:pt x="114" y="286"/>
                </a:cubicBezTo>
                <a:cubicBezTo>
                  <a:pt x="114" y="287"/>
                  <a:pt x="114" y="287"/>
                  <a:pt x="114" y="287"/>
                </a:cubicBezTo>
                <a:cubicBezTo>
                  <a:pt x="115" y="288"/>
                  <a:pt x="115" y="288"/>
                  <a:pt x="115" y="288"/>
                </a:cubicBezTo>
                <a:cubicBezTo>
                  <a:pt x="116" y="288"/>
                  <a:pt x="116" y="288"/>
                  <a:pt x="116" y="289"/>
                </a:cubicBezTo>
                <a:cubicBezTo>
                  <a:pt x="117" y="289"/>
                  <a:pt x="117" y="289"/>
                  <a:pt x="117" y="289"/>
                </a:cubicBezTo>
                <a:cubicBezTo>
                  <a:pt x="117" y="289"/>
                  <a:pt x="117" y="289"/>
                  <a:pt x="117" y="290"/>
                </a:cubicBezTo>
                <a:cubicBezTo>
                  <a:pt x="118" y="290"/>
                  <a:pt x="118" y="290"/>
                  <a:pt x="118" y="290"/>
                </a:cubicBezTo>
                <a:cubicBezTo>
                  <a:pt x="119" y="290"/>
                  <a:pt x="119" y="290"/>
                  <a:pt x="119" y="290"/>
                </a:cubicBezTo>
                <a:cubicBezTo>
                  <a:pt x="119" y="291"/>
                  <a:pt x="120" y="291"/>
                  <a:pt x="120" y="291"/>
                </a:cubicBezTo>
                <a:cubicBezTo>
                  <a:pt x="121" y="291"/>
                  <a:pt x="121" y="291"/>
                  <a:pt x="121" y="292"/>
                </a:cubicBezTo>
                <a:cubicBezTo>
                  <a:pt x="121" y="292"/>
                  <a:pt x="121" y="292"/>
                  <a:pt x="121" y="292"/>
                </a:cubicBezTo>
                <a:cubicBezTo>
                  <a:pt x="121" y="292"/>
                  <a:pt x="121" y="293"/>
                  <a:pt x="121" y="293"/>
                </a:cubicBezTo>
                <a:cubicBezTo>
                  <a:pt x="122" y="293"/>
                  <a:pt x="122" y="293"/>
                  <a:pt x="122" y="293"/>
                </a:cubicBezTo>
                <a:cubicBezTo>
                  <a:pt x="122" y="295"/>
                  <a:pt x="122" y="295"/>
                  <a:pt x="122" y="295"/>
                </a:cubicBezTo>
                <a:cubicBezTo>
                  <a:pt x="122" y="296"/>
                  <a:pt x="121" y="296"/>
                  <a:pt x="121" y="296"/>
                </a:cubicBezTo>
                <a:cubicBezTo>
                  <a:pt x="121" y="296"/>
                  <a:pt x="121" y="297"/>
                  <a:pt x="121" y="297"/>
                </a:cubicBezTo>
                <a:cubicBezTo>
                  <a:pt x="121" y="298"/>
                  <a:pt x="121" y="298"/>
                  <a:pt x="121" y="299"/>
                </a:cubicBezTo>
                <a:cubicBezTo>
                  <a:pt x="121" y="299"/>
                  <a:pt x="121" y="299"/>
                  <a:pt x="121" y="299"/>
                </a:cubicBezTo>
                <a:cubicBezTo>
                  <a:pt x="121" y="299"/>
                  <a:pt x="121" y="300"/>
                  <a:pt x="121" y="300"/>
                </a:cubicBezTo>
                <a:cubicBezTo>
                  <a:pt x="121" y="300"/>
                  <a:pt x="122" y="300"/>
                  <a:pt x="122" y="300"/>
                </a:cubicBezTo>
                <a:cubicBezTo>
                  <a:pt x="122" y="300"/>
                  <a:pt x="122" y="300"/>
                  <a:pt x="122" y="300"/>
                </a:cubicBezTo>
                <a:cubicBezTo>
                  <a:pt x="123" y="300"/>
                  <a:pt x="123" y="301"/>
                  <a:pt x="123" y="301"/>
                </a:cubicBezTo>
                <a:cubicBezTo>
                  <a:pt x="123" y="301"/>
                  <a:pt x="123" y="301"/>
                  <a:pt x="124" y="301"/>
                </a:cubicBezTo>
                <a:cubicBezTo>
                  <a:pt x="124" y="301"/>
                  <a:pt x="124" y="302"/>
                  <a:pt x="124" y="302"/>
                </a:cubicBezTo>
                <a:cubicBezTo>
                  <a:pt x="124" y="302"/>
                  <a:pt x="125" y="302"/>
                  <a:pt x="125" y="302"/>
                </a:cubicBezTo>
                <a:cubicBezTo>
                  <a:pt x="125" y="302"/>
                  <a:pt x="126" y="303"/>
                  <a:pt x="126" y="303"/>
                </a:cubicBezTo>
                <a:cubicBezTo>
                  <a:pt x="127" y="303"/>
                  <a:pt x="127" y="303"/>
                  <a:pt x="128" y="304"/>
                </a:cubicBezTo>
                <a:cubicBezTo>
                  <a:pt x="128" y="304"/>
                  <a:pt x="129" y="304"/>
                  <a:pt x="129" y="304"/>
                </a:cubicBezTo>
                <a:cubicBezTo>
                  <a:pt x="129" y="309"/>
                  <a:pt x="129" y="309"/>
                  <a:pt x="129" y="309"/>
                </a:cubicBezTo>
                <a:cubicBezTo>
                  <a:pt x="129" y="309"/>
                  <a:pt x="129" y="309"/>
                  <a:pt x="130" y="309"/>
                </a:cubicBezTo>
                <a:cubicBezTo>
                  <a:pt x="129" y="310"/>
                  <a:pt x="129" y="310"/>
                  <a:pt x="129" y="310"/>
                </a:cubicBezTo>
                <a:cubicBezTo>
                  <a:pt x="129" y="312"/>
                  <a:pt x="129" y="312"/>
                  <a:pt x="129" y="312"/>
                </a:cubicBezTo>
                <a:cubicBezTo>
                  <a:pt x="129" y="313"/>
                  <a:pt x="129" y="313"/>
                  <a:pt x="129" y="313"/>
                </a:cubicBezTo>
                <a:cubicBezTo>
                  <a:pt x="129" y="313"/>
                  <a:pt x="129" y="314"/>
                  <a:pt x="129" y="314"/>
                </a:cubicBezTo>
                <a:cubicBezTo>
                  <a:pt x="129" y="314"/>
                  <a:pt x="130" y="314"/>
                  <a:pt x="130" y="315"/>
                </a:cubicBezTo>
                <a:cubicBezTo>
                  <a:pt x="130" y="315"/>
                  <a:pt x="130" y="316"/>
                  <a:pt x="130" y="317"/>
                </a:cubicBezTo>
                <a:cubicBezTo>
                  <a:pt x="131" y="317"/>
                  <a:pt x="131" y="318"/>
                  <a:pt x="130" y="318"/>
                </a:cubicBezTo>
                <a:cubicBezTo>
                  <a:pt x="130" y="319"/>
                  <a:pt x="129" y="319"/>
                  <a:pt x="130" y="319"/>
                </a:cubicBezTo>
                <a:cubicBezTo>
                  <a:pt x="130" y="319"/>
                  <a:pt x="130" y="319"/>
                  <a:pt x="130" y="319"/>
                </a:cubicBezTo>
                <a:cubicBezTo>
                  <a:pt x="130" y="320"/>
                  <a:pt x="130" y="320"/>
                  <a:pt x="130" y="320"/>
                </a:cubicBezTo>
                <a:cubicBezTo>
                  <a:pt x="130" y="320"/>
                  <a:pt x="130" y="321"/>
                  <a:pt x="130" y="321"/>
                </a:cubicBezTo>
                <a:cubicBezTo>
                  <a:pt x="131" y="321"/>
                  <a:pt x="131" y="321"/>
                  <a:pt x="131" y="322"/>
                </a:cubicBezTo>
                <a:cubicBezTo>
                  <a:pt x="131" y="322"/>
                  <a:pt x="131" y="322"/>
                  <a:pt x="131" y="322"/>
                </a:cubicBezTo>
                <a:cubicBezTo>
                  <a:pt x="131" y="323"/>
                  <a:pt x="130" y="322"/>
                  <a:pt x="130" y="323"/>
                </a:cubicBezTo>
                <a:cubicBezTo>
                  <a:pt x="130" y="323"/>
                  <a:pt x="130" y="324"/>
                  <a:pt x="130" y="324"/>
                </a:cubicBezTo>
                <a:cubicBezTo>
                  <a:pt x="130" y="324"/>
                  <a:pt x="131" y="325"/>
                  <a:pt x="130" y="325"/>
                </a:cubicBezTo>
                <a:cubicBezTo>
                  <a:pt x="130" y="325"/>
                  <a:pt x="130" y="326"/>
                  <a:pt x="130" y="326"/>
                </a:cubicBezTo>
                <a:cubicBezTo>
                  <a:pt x="130" y="326"/>
                  <a:pt x="130" y="326"/>
                  <a:pt x="130" y="326"/>
                </a:cubicBezTo>
                <a:cubicBezTo>
                  <a:pt x="130" y="326"/>
                  <a:pt x="130" y="326"/>
                  <a:pt x="130" y="326"/>
                </a:cubicBezTo>
                <a:cubicBezTo>
                  <a:pt x="130" y="326"/>
                  <a:pt x="130" y="326"/>
                  <a:pt x="130" y="326"/>
                </a:cubicBezTo>
                <a:cubicBezTo>
                  <a:pt x="129" y="327"/>
                  <a:pt x="129" y="327"/>
                  <a:pt x="129" y="327"/>
                </a:cubicBezTo>
                <a:cubicBezTo>
                  <a:pt x="129" y="328"/>
                  <a:pt x="129" y="328"/>
                  <a:pt x="130" y="328"/>
                </a:cubicBezTo>
                <a:cubicBezTo>
                  <a:pt x="130" y="328"/>
                  <a:pt x="131" y="328"/>
                  <a:pt x="131" y="328"/>
                </a:cubicBezTo>
                <a:cubicBezTo>
                  <a:pt x="131" y="329"/>
                  <a:pt x="131" y="329"/>
                  <a:pt x="131" y="329"/>
                </a:cubicBezTo>
                <a:cubicBezTo>
                  <a:pt x="131" y="329"/>
                  <a:pt x="132" y="329"/>
                  <a:pt x="132" y="329"/>
                </a:cubicBezTo>
                <a:cubicBezTo>
                  <a:pt x="132" y="329"/>
                  <a:pt x="132" y="329"/>
                  <a:pt x="132" y="329"/>
                </a:cubicBezTo>
                <a:cubicBezTo>
                  <a:pt x="132" y="329"/>
                  <a:pt x="132" y="329"/>
                  <a:pt x="132" y="329"/>
                </a:cubicBezTo>
                <a:cubicBezTo>
                  <a:pt x="133" y="329"/>
                  <a:pt x="133" y="329"/>
                  <a:pt x="133" y="329"/>
                </a:cubicBezTo>
                <a:cubicBezTo>
                  <a:pt x="134" y="330"/>
                  <a:pt x="134" y="330"/>
                  <a:pt x="134" y="331"/>
                </a:cubicBezTo>
                <a:cubicBezTo>
                  <a:pt x="134" y="331"/>
                  <a:pt x="135" y="331"/>
                  <a:pt x="135" y="332"/>
                </a:cubicBezTo>
                <a:cubicBezTo>
                  <a:pt x="134" y="332"/>
                  <a:pt x="134" y="332"/>
                  <a:pt x="134" y="332"/>
                </a:cubicBezTo>
                <a:cubicBezTo>
                  <a:pt x="135" y="332"/>
                  <a:pt x="135" y="332"/>
                  <a:pt x="135" y="332"/>
                </a:cubicBezTo>
                <a:cubicBezTo>
                  <a:pt x="135" y="332"/>
                  <a:pt x="135" y="332"/>
                  <a:pt x="135" y="333"/>
                </a:cubicBezTo>
                <a:cubicBezTo>
                  <a:pt x="135" y="333"/>
                  <a:pt x="136" y="333"/>
                  <a:pt x="136" y="333"/>
                </a:cubicBezTo>
                <a:cubicBezTo>
                  <a:pt x="136" y="333"/>
                  <a:pt x="136" y="333"/>
                  <a:pt x="136" y="332"/>
                </a:cubicBezTo>
                <a:cubicBezTo>
                  <a:pt x="137" y="332"/>
                  <a:pt x="137" y="332"/>
                  <a:pt x="138" y="332"/>
                </a:cubicBezTo>
                <a:cubicBezTo>
                  <a:pt x="138" y="332"/>
                  <a:pt x="139" y="332"/>
                  <a:pt x="139" y="332"/>
                </a:cubicBezTo>
                <a:cubicBezTo>
                  <a:pt x="140" y="332"/>
                  <a:pt x="140" y="332"/>
                  <a:pt x="140" y="332"/>
                </a:cubicBezTo>
                <a:cubicBezTo>
                  <a:pt x="141" y="332"/>
                  <a:pt x="141" y="332"/>
                  <a:pt x="141" y="332"/>
                </a:cubicBezTo>
                <a:cubicBezTo>
                  <a:pt x="141" y="332"/>
                  <a:pt x="142" y="332"/>
                  <a:pt x="142" y="332"/>
                </a:cubicBezTo>
                <a:cubicBezTo>
                  <a:pt x="151" y="332"/>
                  <a:pt x="151" y="332"/>
                  <a:pt x="151" y="332"/>
                </a:cubicBezTo>
                <a:cubicBezTo>
                  <a:pt x="151" y="332"/>
                  <a:pt x="152" y="332"/>
                  <a:pt x="152" y="332"/>
                </a:cubicBezTo>
                <a:cubicBezTo>
                  <a:pt x="152" y="333"/>
                  <a:pt x="152" y="333"/>
                  <a:pt x="152" y="333"/>
                </a:cubicBezTo>
                <a:cubicBezTo>
                  <a:pt x="153" y="334"/>
                  <a:pt x="154" y="334"/>
                  <a:pt x="155" y="334"/>
                </a:cubicBezTo>
                <a:cubicBezTo>
                  <a:pt x="155" y="334"/>
                  <a:pt x="156" y="335"/>
                  <a:pt x="157" y="334"/>
                </a:cubicBezTo>
                <a:cubicBezTo>
                  <a:pt x="159" y="334"/>
                  <a:pt x="162" y="334"/>
                  <a:pt x="164" y="334"/>
                </a:cubicBezTo>
                <a:cubicBezTo>
                  <a:pt x="165" y="334"/>
                  <a:pt x="167" y="334"/>
                  <a:pt x="169" y="335"/>
                </a:cubicBezTo>
                <a:cubicBezTo>
                  <a:pt x="169" y="336"/>
                  <a:pt x="170" y="336"/>
                  <a:pt x="171" y="337"/>
                </a:cubicBezTo>
                <a:cubicBezTo>
                  <a:pt x="171" y="337"/>
                  <a:pt x="172" y="337"/>
                  <a:pt x="173" y="338"/>
                </a:cubicBezTo>
                <a:cubicBezTo>
                  <a:pt x="174" y="338"/>
                  <a:pt x="175" y="339"/>
                  <a:pt x="176" y="341"/>
                </a:cubicBezTo>
                <a:cubicBezTo>
                  <a:pt x="177" y="342"/>
                  <a:pt x="177" y="343"/>
                  <a:pt x="177" y="343"/>
                </a:cubicBezTo>
                <a:cubicBezTo>
                  <a:pt x="178" y="344"/>
                  <a:pt x="178" y="345"/>
                  <a:pt x="179" y="345"/>
                </a:cubicBezTo>
                <a:cubicBezTo>
                  <a:pt x="180" y="346"/>
                  <a:pt x="181" y="347"/>
                  <a:pt x="182" y="347"/>
                </a:cubicBezTo>
                <a:cubicBezTo>
                  <a:pt x="183" y="348"/>
                  <a:pt x="184" y="348"/>
                  <a:pt x="185" y="348"/>
                </a:cubicBezTo>
                <a:cubicBezTo>
                  <a:pt x="186" y="349"/>
                  <a:pt x="187" y="349"/>
                  <a:pt x="188" y="350"/>
                </a:cubicBezTo>
                <a:cubicBezTo>
                  <a:pt x="188" y="350"/>
                  <a:pt x="188" y="350"/>
                  <a:pt x="188" y="350"/>
                </a:cubicBezTo>
                <a:cubicBezTo>
                  <a:pt x="189" y="350"/>
                  <a:pt x="189" y="350"/>
                  <a:pt x="189" y="350"/>
                </a:cubicBezTo>
                <a:cubicBezTo>
                  <a:pt x="190" y="351"/>
                  <a:pt x="190" y="351"/>
                  <a:pt x="191" y="351"/>
                </a:cubicBezTo>
                <a:cubicBezTo>
                  <a:pt x="191" y="351"/>
                  <a:pt x="192" y="351"/>
                  <a:pt x="192" y="351"/>
                </a:cubicBezTo>
                <a:cubicBezTo>
                  <a:pt x="193" y="351"/>
                  <a:pt x="193" y="351"/>
                  <a:pt x="193" y="351"/>
                </a:cubicBezTo>
                <a:cubicBezTo>
                  <a:pt x="193" y="351"/>
                  <a:pt x="193" y="351"/>
                  <a:pt x="194" y="351"/>
                </a:cubicBezTo>
                <a:cubicBezTo>
                  <a:pt x="194" y="350"/>
                  <a:pt x="195" y="351"/>
                  <a:pt x="195" y="351"/>
                </a:cubicBezTo>
                <a:cubicBezTo>
                  <a:pt x="195" y="351"/>
                  <a:pt x="196" y="351"/>
                  <a:pt x="196" y="351"/>
                </a:cubicBezTo>
                <a:cubicBezTo>
                  <a:pt x="196" y="351"/>
                  <a:pt x="197" y="351"/>
                  <a:pt x="197" y="351"/>
                </a:cubicBezTo>
                <a:cubicBezTo>
                  <a:pt x="197" y="350"/>
                  <a:pt x="198" y="350"/>
                  <a:pt x="198" y="350"/>
                </a:cubicBezTo>
                <a:cubicBezTo>
                  <a:pt x="199" y="350"/>
                  <a:pt x="199" y="350"/>
                  <a:pt x="199" y="350"/>
                </a:cubicBezTo>
                <a:cubicBezTo>
                  <a:pt x="199" y="349"/>
                  <a:pt x="200" y="350"/>
                  <a:pt x="200" y="350"/>
                </a:cubicBezTo>
                <a:cubicBezTo>
                  <a:pt x="201" y="350"/>
                  <a:pt x="201" y="350"/>
                  <a:pt x="202" y="350"/>
                </a:cubicBezTo>
                <a:cubicBezTo>
                  <a:pt x="202" y="350"/>
                  <a:pt x="202" y="350"/>
                  <a:pt x="203" y="350"/>
                </a:cubicBezTo>
                <a:cubicBezTo>
                  <a:pt x="203" y="351"/>
                  <a:pt x="203" y="351"/>
                  <a:pt x="204" y="351"/>
                </a:cubicBezTo>
                <a:cubicBezTo>
                  <a:pt x="204" y="352"/>
                  <a:pt x="204" y="352"/>
                  <a:pt x="205" y="352"/>
                </a:cubicBezTo>
                <a:cubicBezTo>
                  <a:pt x="205" y="353"/>
                  <a:pt x="205" y="354"/>
                  <a:pt x="205" y="354"/>
                </a:cubicBezTo>
                <a:cubicBezTo>
                  <a:pt x="206" y="355"/>
                  <a:pt x="206" y="355"/>
                  <a:pt x="206" y="355"/>
                </a:cubicBezTo>
                <a:cubicBezTo>
                  <a:pt x="206" y="355"/>
                  <a:pt x="206" y="356"/>
                  <a:pt x="206" y="356"/>
                </a:cubicBezTo>
                <a:cubicBezTo>
                  <a:pt x="206" y="357"/>
                  <a:pt x="207" y="357"/>
                  <a:pt x="207" y="357"/>
                </a:cubicBezTo>
                <a:cubicBezTo>
                  <a:pt x="207" y="359"/>
                  <a:pt x="206" y="360"/>
                  <a:pt x="207" y="361"/>
                </a:cubicBezTo>
                <a:cubicBezTo>
                  <a:pt x="207" y="362"/>
                  <a:pt x="207" y="362"/>
                  <a:pt x="207" y="362"/>
                </a:cubicBezTo>
                <a:cubicBezTo>
                  <a:pt x="208" y="363"/>
                  <a:pt x="208" y="362"/>
                  <a:pt x="209" y="363"/>
                </a:cubicBezTo>
                <a:cubicBezTo>
                  <a:pt x="209" y="363"/>
                  <a:pt x="209" y="363"/>
                  <a:pt x="210" y="363"/>
                </a:cubicBezTo>
                <a:cubicBezTo>
                  <a:pt x="210" y="363"/>
                  <a:pt x="211" y="363"/>
                  <a:pt x="211" y="363"/>
                </a:cubicBezTo>
                <a:cubicBezTo>
                  <a:pt x="212" y="363"/>
                  <a:pt x="212" y="362"/>
                  <a:pt x="213" y="362"/>
                </a:cubicBezTo>
                <a:cubicBezTo>
                  <a:pt x="214" y="362"/>
                  <a:pt x="215" y="362"/>
                  <a:pt x="216" y="362"/>
                </a:cubicBezTo>
                <a:cubicBezTo>
                  <a:pt x="216" y="363"/>
                  <a:pt x="217" y="363"/>
                  <a:pt x="217" y="363"/>
                </a:cubicBezTo>
                <a:cubicBezTo>
                  <a:pt x="218" y="363"/>
                  <a:pt x="218" y="363"/>
                  <a:pt x="219" y="363"/>
                </a:cubicBezTo>
                <a:cubicBezTo>
                  <a:pt x="219" y="363"/>
                  <a:pt x="220" y="365"/>
                  <a:pt x="220" y="366"/>
                </a:cubicBezTo>
                <a:cubicBezTo>
                  <a:pt x="221" y="366"/>
                  <a:pt x="225" y="369"/>
                  <a:pt x="226" y="370"/>
                </a:cubicBezTo>
                <a:cubicBezTo>
                  <a:pt x="228" y="371"/>
                  <a:pt x="239" y="381"/>
                  <a:pt x="239" y="381"/>
                </a:cubicBezTo>
                <a:cubicBezTo>
                  <a:pt x="241" y="383"/>
                  <a:pt x="243" y="387"/>
                  <a:pt x="244" y="388"/>
                </a:cubicBezTo>
                <a:cubicBezTo>
                  <a:pt x="244" y="390"/>
                  <a:pt x="245" y="392"/>
                  <a:pt x="245" y="393"/>
                </a:cubicBezTo>
                <a:cubicBezTo>
                  <a:pt x="246" y="395"/>
                  <a:pt x="246" y="397"/>
                  <a:pt x="246" y="397"/>
                </a:cubicBezTo>
                <a:cubicBezTo>
                  <a:pt x="246" y="398"/>
                  <a:pt x="246" y="401"/>
                  <a:pt x="246" y="402"/>
                </a:cubicBezTo>
                <a:cubicBezTo>
                  <a:pt x="246" y="402"/>
                  <a:pt x="246" y="404"/>
                  <a:pt x="246" y="404"/>
                </a:cubicBezTo>
                <a:cubicBezTo>
                  <a:pt x="247" y="405"/>
                  <a:pt x="248" y="404"/>
                  <a:pt x="249" y="405"/>
                </a:cubicBezTo>
                <a:cubicBezTo>
                  <a:pt x="250" y="405"/>
                  <a:pt x="250" y="406"/>
                  <a:pt x="250" y="406"/>
                </a:cubicBezTo>
                <a:cubicBezTo>
                  <a:pt x="251" y="406"/>
                  <a:pt x="251" y="408"/>
                  <a:pt x="251" y="409"/>
                </a:cubicBezTo>
                <a:cubicBezTo>
                  <a:pt x="251" y="410"/>
                  <a:pt x="251" y="412"/>
                  <a:pt x="251" y="412"/>
                </a:cubicBezTo>
                <a:cubicBezTo>
                  <a:pt x="334" y="404"/>
                  <a:pt x="334" y="404"/>
                  <a:pt x="334" y="404"/>
                </a:cubicBezTo>
                <a:cubicBezTo>
                  <a:pt x="339" y="404"/>
                  <a:pt x="339" y="404"/>
                  <a:pt x="339" y="404"/>
                </a:cubicBezTo>
                <a:lnTo>
                  <a:pt x="340" y="403"/>
                </a:ln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5" name="Freeform 53">
            <a:extLst>
              <a:ext uri="{FF2B5EF4-FFF2-40B4-BE49-F238E27FC236}">
                <a16:creationId xmlns:a16="http://schemas.microsoft.com/office/drawing/2014/main" id="{53B75DFC-370F-477C-B7EE-35808BA0F145}"/>
              </a:ext>
            </a:extLst>
          </p:cNvPr>
          <p:cNvSpPr>
            <a:spLocks/>
          </p:cNvSpPr>
          <p:nvPr/>
        </p:nvSpPr>
        <p:spPr bwMode="auto">
          <a:xfrm>
            <a:off x="8115819" y="3605786"/>
            <a:ext cx="682361" cy="578272"/>
          </a:xfrm>
          <a:custGeom>
            <a:avLst/>
            <a:gdLst>
              <a:gd name="T0" fmla="*/ 118 w 172"/>
              <a:gd name="T1" fmla="*/ 142 h 146"/>
              <a:gd name="T2" fmla="*/ 121 w 172"/>
              <a:gd name="T3" fmla="*/ 139 h 146"/>
              <a:gd name="T4" fmla="*/ 121 w 172"/>
              <a:gd name="T5" fmla="*/ 135 h 146"/>
              <a:gd name="T6" fmla="*/ 120 w 172"/>
              <a:gd name="T7" fmla="*/ 132 h 146"/>
              <a:gd name="T8" fmla="*/ 121 w 172"/>
              <a:gd name="T9" fmla="*/ 130 h 146"/>
              <a:gd name="T10" fmla="*/ 119 w 172"/>
              <a:gd name="T11" fmla="*/ 129 h 146"/>
              <a:gd name="T12" fmla="*/ 118 w 172"/>
              <a:gd name="T13" fmla="*/ 127 h 146"/>
              <a:gd name="T14" fmla="*/ 117 w 172"/>
              <a:gd name="T15" fmla="*/ 123 h 146"/>
              <a:gd name="T16" fmla="*/ 118 w 172"/>
              <a:gd name="T17" fmla="*/ 119 h 146"/>
              <a:gd name="T18" fmla="*/ 122 w 172"/>
              <a:gd name="T19" fmla="*/ 119 h 146"/>
              <a:gd name="T20" fmla="*/ 120 w 172"/>
              <a:gd name="T21" fmla="*/ 117 h 146"/>
              <a:gd name="T22" fmla="*/ 124 w 172"/>
              <a:gd name="T23" fmla="*/ 115 h 146"/>
              <a:gd name="T24" fmla="*/ 123 w 172"/>
              <a:gd name="T25" fmla="*/ 113 h 146"/>
              <a:gd name="T26" fmla="*/ 124 w 172"/>
              <a:gd name="T27" fmla="*/ 109 h 146"/>
              <a:gd name="T28" fmla="*/ 122 w 172"/>
              <a:gd name="T29" fmla="*/ 107 h 146"/>
              <a:gd name="T30" fmla="*/ 125 w 172"/>
              <a:gd name="T31" fmla="*/ 106 h 146"/>
              <a:gd name="T32" fmla="*/ 126 w 172"/>
              <a:gd name="T33" fmla="*/ 105 h 146"/>
              <a:gd name="T34" fmla="*/ 127 w 172"/>
              <a:gd name="T35" fmla="*/ 99 h 146"/>
              <a:gd name="T36" fmla="*/ 129 w 172"/>
              <a:gd name="T37" fmla="*/ 98 h 146"/>
              <a:gd name="T38" fmla="*/ 131 w 172"/>
              <a:gd name="T39" fmla="*/ 95 h 146"/>
              <a:gd name="T40" fmla="*/ 133 w 172"/>
              <a:gd name="T41" fmla="*/ 91 h 146"/>
              <a:gd name="T42" fmla="*/ 137 w 172"/>
              <a:gd name="T43" fmla="*/ 91 h 146"/>
              <a:gd name="T44" fmla="*/ 139 w 172"/>
              <a:gd name="T45" fmla="*/ 84 h 146"/>
              <a:gd name="T46" fmla="*/ 139 w 172"/>
              <a:gd name="T47" fmla="*/ 78 h 146"/>
              <a:gd name="T48" fmla="*/ 142 w 172"/>
              <a:gd name="T49" fmla="*/ 79 h 146"/>
              <a:gd name="T50" fmla="*/ 140 w 172"/>
              <a:gd name="T51" fmla="*/ 73 h 146"/>
              <a:gd name="T52" fmla="*/ 144 w 172"/>
              <a:gd name="T53" fmla="*/ 74 h 146"/>
              <a:gd name="T54" fmla="*/ 144 w 172"/>
              <a:gd name="T55" fmla="*/ 70 h 146"/>
              <a:gd name="T56" fmla="*/ 150 w 172"/>
              <a:gd name="T57" fmla="*/ 67 h 146"/>
              <a:gd name="T58" fmla="*/ 154 w 172"/>
              <a:gd name="T59" fmla="*/ 58 h 146"/>
              <a:gd name="T60" fmla="*/ 156 w 172"/>
              <a:gd name="T61" fmla="*/ 55 h 146"/>
              <a:gd name="T62" fmla="*/ 154 w 172"/>
              <a:gd name="T63" fmla="*/ 51 h 146"/>
              <a:gd name="T64" fmla="*/ 157 w 172"/>
              <a:gd name="T65" fmla="*/ 48 h 146"/>
              <a:gd name="T66" fmla="*/ 153 w 172"/>
              <a:gd name="T67" fmla="*/ 47 h 146"/>
              <a:gd name="T68" fmla="*/ 157 w 172"/>
              <a:gd name="T69" fmla="*/ 45 h 146"/>
              <a:gd name="T70" fmla="*/ 158 w 172"/>
              <a:gd name="T71" fmla="*/ 41 h 146"/>
              <a:gd name="T72" fmla="*/ 162 w 172"/>
              <a:gd name="T73" fmla="*/ 40 h 146"/>
              <a:gd name="T74" fmla="*/ 164 w 172"/>
              <a:gd name="T75" fmla="*/ 35 h 146"/>
              <a:gd name="T76" fmla="*/ 163 w 172"/>
              <a:gd name="T77" fmla="*/ 32 h 146"/>
              <a:gd name="T78" fmla="*/ 168 w 172"/>
              <a:gd name="T79" fmla="*/ 29 h 146"/>
              <a:gd name="T80" fmla="*/ 169 w 172"/>
              <a:gd name="T81" fmla="*/ 25 h 146"/>
              <a:gd name="T82" fmla="*/ 169 w 172"/>
              <a:gd name="T83" fmla="*/ 21 h 146"/>
              <a:gd name="T84" fmla="*/ 153 w 172"/>
              <a:gd name="T85" fmla="*/ 12 h 146"/>
              <a:gd name="T86" fmla="*/ 154 w 172"/>
              <a:gd name="T87" fmla="*/ 0 h 146"/>
              <a:gd name="T88" fmla="*/ 5 w 172"/>
              <a:gd name="T89" fmla="*/ 120 h 146"/>
              <a:gd name="T90" fmla="*/ 8 w 172"/>
              <a:gd name="T91" fmla="*/ 123 h 146"/>
              <a:gd name="T92" fmla="*/ 9 w 172"/>
              <a:gd name="T93" fmla="*/ 124 h 146"/>
              <a:gd name="T94" fmla="*/ 12 w 172"/>
              <a:gd name="T95" fmla="*/ 123 h 146"/>
              <a:gd name="T96" fmla="*/ 16 w 172"/>
              <a:gd name="T97" fmla="*/ 123 h 146"/>
              <a:gd name="T98" fmla="*/ 19 w 172"/>
              <a:gd name="T99" fmla="*/ 124 h 146"/>
              <a:gd name="T100" fmla="*/ 120 w 172"/>
              <a:gd name="T101" fmla="*/ 14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2" h="146">
                <a:moveTo>
                  <a:pt x="120" y="144"/>
                </a:moveTo>
                <a:cubicBezTo>
                  <a:pt x="120" y="144"/>
                  <a:pt x="119" y="144"/>
                  <a:pt x="119" y="144"/>
                </a:cubicBezTo>
                <a:cubicBezTo>
                  <a:pt x="119" y="143"/>
                  <a:pt x="119" y="143"/>
                  <a:pt x="118" y="143"/>
                </a:cubicBezTo>
                <a:cubicBezTo>
                  <a:pt x="118" y="143"/>
                  <a:pt x="118" y="142"/>
                  <a:pt x="118" y="142"/>
                </a:cubicBezTo>
                <a:cubicBezTo>
                  <a:pt x="118" y="142"/>
                  <a:pt x="119" y="141"/>
                  <a:pt x="120" y="141"/>
                </a:cubicBezTo>
                <a:cubicBezTo>
                  <a:pt x="120" y="141"/>
                  <a:pt x="121" y="141"/>
                  <a:pt x="122" y="141"/>
                </a:cubicBezTo>
                <a:cubicBezTo>
                  <a:pt x="122" y="141"/>
                  <a:pt x="122" y="140"/>
                  <a:pt x="122" y="140"/>
                </a:cubicBezTo>
                <a:cubicBezTo>
                  <a:pt x="122" y="140"/>
                  <a:pt x="122" y="139"/>
                  <a:pt x="121" y="139"/>
                </a:cubicBezTo>
                <a:cubicBezTo>
                  <a:pt x="121" y="138"/>
                  <a:pt x="121" y="138"/>
                  <a:pt x="122" y="137"/>
                </a:cubicBezTo>
                <a:cubicBezTo>
                  <a:pt x="122" y="137"/>
                  <a:pt x="123" y="137"/>
                  <a:pt x="123" y="136"/>
                </a:cubicBezTo>
                <a:cubicBezTo>
                  <a:pt x="123" y="136"/>
                  <a:pt x="123" y="136"/>
                  <a:pt x="122" y="135"/>
                </a:cubicBezTo>
                <a:cubicBezTo>
                  <a:pt x="122" y="135"/>
                  <a:pt x="122" y="135"/>
                  <a:pt x="121" y="135"/>
                </a:cubicBezTo>
                <a:cubicBezTo>
                  <a:pt x="121" y="135"/>
                  <a:pt x="121" y="136"/>
                  <a:pt x="121" y="136"/>
                </a:cubicBezTo>
                <a:cubicBezTo>
                  <a:pt x="121" y="136"/>
                  <a:pt x="120" y="136"/>
                  <a:pt x="120" y="136"/>
                </a:cubicBezTo>
                <a:cubicBezTo>
                  <a:pt x="120" y="135"/>
                  <a:pt x="120" y="134"/>
                  <a:pt x="120" y="133"/>
                </a:cubicBezTo>
                <a:cubicBezTo>
                  <a:pt x="120" y="132"/>
                  <a:pt x="120" y="132"/>
                  <a:pt x="120" y="132"/>
                </a:cubicBezTo>
                <a:cubicBezTo>
                  <a:pt x="121" y="131"/>
                  <a:pt x="122" y="130"/>
                  <a:pt x="122" y="129"/>
                </a:cubicBezTo>
                <a:cubicBezTo>
                  <a:pt x="122" y="129"/>
                  <a:pt x="122" y="128"/>
                  <a:pt x="122" y="128"/>
                </a:cubicBezTo>
                <a:cubicBezTo>
                  <a:pt x="122" y="128"/>
                  <a:pt x="121" y="128"/>
                  <a:pt x="121" y="129"/>
                </a:cubicBezTo>
                <a:cubicBezTo>
                  <a:pt x="121" y="129"/>
                  <a:pt x="121" y="129"/>
                  <a:pt x="121" y="130"/>
                </a:cubicBezTo>
                <a:cubicBezTo>
                  <a:pt x="121" y="130"/>
                  <a:pt x="120" y="130"/>
                  <a:pt x="120" y="131"/>
                </a:cubicBezTo>
                <a:cubicBezTo>
                  <a:pt x="120" y="131"/>
                  <a:pt x="120" y="131"/>
                  <a:pt x="119" y="131"/>
                </a:cubicBezTo>
                <a:cubicBezTo>
                  <a:pt x="119" y="131"/>
                  <a:pt x="118" y="131"/>
                  <a:pt x="118" y="130"/>
                </a:cubicBezTo>
                <a:cubicBezTo>
                  <a:pt x="118" y="130"/>
                  <a:pt x="119" y="130"/>
                  <a:pt x="119" y="129"/>
                </a:cubicBezTo>
                <a:cubicBezTo>
                  <a:pt x="119" y="129"/>
                  <a:pt x="120" y="129"/>
                  <a:pt x="120" y="128"/>
                </a:cubicBezTo>
                <a:cubicBezTo>
                  <a:pt x="120" y="128"/>
                  <a:pt x="119" y="128"/>
                  <a:pt x="119" y="128"/>
                </a:cubicBezTo>
                <a:cubicBezTo>
                  <a:pt x="118" y="128"/>
                  <a:pt x="117" y="129"/>
                  <a:pt x="117" y="128"/>
                </a:cubicBezTo>
                <a:cubicBezTo>
                  <a:pt x="116" y="128"/>
                  <a:pt x="117" y="127"/>
                  <a:pt x="118" y="127"/>
                </a:cubicBezTo>
                <a:cubicBezTo>
                  <a:pt x="118" y="127"/>
                  <a:pt x="119" y="127"/>
                  <a:pt x="118" y="126"/>
                </a:cubicBezTo>
                <a:cubicBezTo>
                  <a:pt x="118" y="126"/>
                  <a:pt x="118" y="126"/>
                  <a:pt x="118" y="125"/>
                </a:cubicBezTo>
                <a:cubicBezTo>
                  <a:pt x="118" y="125"/>
                  <a:pt x="117" y="125"/>
                  <a:pt x="117" y="125"/>
                </a:cubicBezTo>
                <a:cubicBezTo>
                  <a:pt x="117" y="124"/>
                  <a:pt x="117" y="124"/>
                  <a:pt x="117" y="123"/>
                </a:cubicBezTo>
                <a:cubicBezTo>
                  <a:pt x="118" y="123"/>
                  <a:pt x="118" y="123"/>
                  <a:pt x="119" y="123"/>
                </a:cubicBezTo>
                <a:cubicBezTo>
                  <a:pt x="119" y="122"/>
                  <a:pt x="120" y="122"/>
                  <a:pt x="120" y="122"/>
                </a:cubicBezTo>
                <a:cubicBezTo>
                  <a:pt x="120" y="121"/>
                  <a:pt x="119" y="121"/>
                  <a:pt x="119" y="121"/>
                </a:cubicBezTo>
                <a:cubicBezTo>
                  <a:pt x="119" y="120"/>
                  <a:pt x="118" y="120"/>
                  <a:pt x="118" y="119"/>
                </a:cubicBezTo>
                <a:cubicBezTo>
                  <a:pt x="117" y="119"/>
                  <a:pt x="118" y="117"/>
                  <a:pt x="119" y="117"/>
                </a:cubicBezTo>
                <a:cubicBezTo>
                  <a:pt x="120" y="117"/>
                  <a:pt x="120" y="118"/>
                  <a:pt x="120" y="118"/>
                </a:cubicBezTo>
                <a:cubicBezTo>
                  <a:pt x="121" y="119"/>
                  <a:pt x="121" y="119"/>
                  <a:pt x="121" y="119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3" y="120"/>
                  <a:pt x="124" y="119"/>
                  <a:pt x="124" y="119"/>
                </a:cubicBezTo>
                <a:cubicBezTo>
                  <a:pt x="124" y="118"/>
                  <a:pt x="123" y="118"/>
                  <a:pt x="123" y="118"/>
                </a:cubicBezTo>
                <a:cubicBezTo>
                  <a:pt x="122" y="117"/>
                  <a:pt x="122" y="117"/>
                  <a:pt x="121" y="117"/>
                </a:cubicBezTo>
                <a:cubicBezTo>
                  <a:pt x="121" y="117"/>
                  <a:pt x="121" y="117"/>
                  <a:pt x="120" y="117"/>
                </a:cubicBezTo>
                <a:cubicBezTo>
                  <a:pt x="120" y="117"/>
                  <a:pt x="120" y="116"/>
                  <a:pt x="120" y="116"/>
                </a:cubicBezTo>
                <a:cubicBezTo>
                  <a:pt x="120" y="116"/>
                  <a:pt x="120" y="115"/>
                  <a:pt x="120" y="115"/>
                </a:cubicBezTo>
                <a:cubicBezTo>
                  <a:pt x="121" y="115"/>
                  <a:pt x="122" y="114"/>
                  <a:pt x="123" y="115"/>
                </a:cubicBezTo>
                <a:cubicBezTo>
                  <a:pt x="123" y="115"/>
                  <a:pt x="123" y="115"/>
                  <a:pt x="124" y="115"/>
                </a:cubicBezTo>
                <a:cubicBezTo>
                  <a:pt x="124" y="115"/>
                  <a:pt x="124" y="115"/>
                  <a:pt x="125" y="115"/>
                </a:cubicBezTo>
                <a:cubicBezTo>
                  <a:pt x="125" y="115"/>
                  <a:pt x="125" y="115"/>
                  <a:pt x="125" y="114"/>
                </a:cubicBezTo>
                <a:cubicBezTo>
                  <a:pt x="124" y="114"/>
                  <a:pt x="124" y="114"/>
                  <a:pt x="124" y="113"/>
                </a:cubicBezTo>
                <a:cubicBezTo>
                  <a:pt x="124" y="113"/>
                  <a:pt x="123" y="113"/>
                  <a:pt x="123" y="113"/>
                </a:cubicBezTo>
                <a:cubicBezTo>
                  <a:pt x="123" y="112"/>
                  <a:pt x="123" y="112"/>
                  <a:pt x="123" y="112"/>
                </a:cubicBezTo>
                <a:cubicBezTo>
                  <a:pt x="123" y="111"/>
                  <a:pt x="123" y="111"/>
                  <a:pt x="123" y="111"/>
                </a:cubicBezTo>
                <a:cubicBezTo>
                  <a:pt x="123" y="110"/>
                  <a:pt x="124" y="110"/>
                  <a:pt x="124" y="110"/>
                </a:cubicBezTo>
                <a:cubicBezTo>
                  <a:pt x="124" y="109"/>
                  <a:pt x="124" y="109"/>
                  <a:pt x="124" y="109"/>
                </a:cubicBezTo>
                <a:cubicBezTo>
                  <a:pt x="124" y="108"/>
                  <a:pt x="124" y="108"/>
                  <a:pt x="124" y="108"/>
                </a:cubicBezTo>
                <a:cubicBezTo>
                  <a:pt x="124" y="108"/>
                  <a:pt x="124" y="108"/>
                  <a:pt x="123" y="108"/>
                </a:cubicBezTo>
                <a:cubicBezTo>
                  <a:pt x="123" y="108"/>
                  <a:pt x="123" y="108"/>
                  <a:pt x="123" y="108"/>
                </a:cubicBezTo>
                <a:cubicBezTo>
                  <a:pt x="122" y="107"/>
                  <a:pt x="122" y="107"/>
                  <a:pt x="122" y="107"/>
                </a:cubicBezTo>
                <a:cubicBezTo>
                  <a:pt x="122" y="107"/>
                  <a:pt x="122" y="107"/>
                  <a:pt x="122" y="106"/>
                </a:cubicBezTo>
                <a:cubicBezTo>
                  <a:pt x="122" y="106"/>
                  <a:pt x="122" y="106"/>
                  <a:pt x="122" y="105"/>
                </a:cubicBezTo>
                <a:cubicBezTo>
                  <a:pt x="123" y="105"/>
                  <a:pt x="124" y="106"/>
                  <a:pt x="125" y="106"/>
                </a:cubicBezTo>
                <a:cubicBezTo>
                  <a:pt x="125" y="106"/>
                  <a:pt x="125" y="106"/>
                  <a:pt x="125" y="106"/>
                </a:cubicBezTo>
                <a:cubicBezTo>
                  <a:pt x="125" y="106"/>
                  <a:pt x="125" y="106"/>
                  <a:pt x="125" y="106"/>
                </a:cubicBezTo>
                <a:cubicBezTo>
                  <a:pt x="126" y="107"/>
                  <a:pt x="126" y="107"/>
                  <a:pt x="126" y="106"/>
                </a:cubicBezTo>
                <a:cubicBezTo>
                  <a:pt x="126" y="106"/>
                  <a:pt x="126" y="106"/>
                  <a:pt x="126" y="105"/>
                </a:cubicBezTo>
                <a:cubicBezTo>
                  <a:pt x="125" y="105"/>
                  <a:pt x="126" y="105"/>
                  <a:pt x="126" y="105"/>
                </a:cubicBezTo>
                <a:cubicBezTo>
                  <a:pt x="127" y="104"/>
                  <a:pt x="128" y="105"/>
                  <a:pt x="129" y="104"/>
                </a:cubicBezTo>
                <a:cubicBezTo>
                  <a:pt x="129" y="104"/>
                  <a:pt x="129" y="102"/>
                  <a:pt x="129" y="102"/>
                </a:cubicBezTo>
                <a:cubicBezTo>
                  <a:pt x="128" y="101"/>
                  <a:pt x="127" y="101"/>
                  <a:pt x="127" y="100"/>
                </a:cubicBezTo>
                <a:cubicBezTo>
                  <a:pt x="126" y="100"/>
                  <a:pt x="127" y="99"/>
                  <a:pt x="127" y="99"/>
                </a:cubicBezTo>
                <a:cubicBezTo>
                  <a:pt x="128" y="99"/>
                  <a:pt x="128" y="99"/>
                  <a:pt x="129" y="99"/>
                </a:cubicBezTo>
                <a:cubicBezTo>
                  <a:pt x="129" y="99"/>
                  <a:pt x="130" y="99"/>
                  <a:pt x="130" y="99"/>
                </a:cubicBezTo>
                <a:cubicBezTo>
                  <a:pt x="131" y="99"/>
                  <a:pt x="131" y="99"/>
                  <a:pt x="131" y="98"/>
                </a:cubicBezTo>
                <a:cubicBezTo>
                  <a:pt x="131" y="98"/>
                  <a:pt x="130" y="98"/>
                  <a:pt x="129" y="98"/>
                </a:cubicBezTo>
                <a:cubicBezTo>
                  <a:pt x="129" y="98"/>
                  <a:pt x="127" y="97"/>
                  <a:pt x="127" y="96"/>
                </a:cubicBezTo>
                <a:cubicBezTo>
                  <a:pt x="127" y="96"/>
                  <a:pt x="127" y="96"/>
                  <a:pt x="127" y="95"/>
                </a:cubicBezTo>
                <a:cubicBezTo>
                  <a:pt x="128" y="95"/>
                  <a:pt x="128" y="96"/>
                  <a:pt x="129" y="96"/>
                </a:cubicBezTo>
                <a:cubicBezTo>
                  <a:pt x="130" y="96"/>
                  <a:pt x="131" y="97"/>
                  <a:pt x="131" y="95"/>
                </a:cubicBezTo>
                <a:cubicBezTo>
                  <a:pt x="131" y="95"/>
                  <a:pt x="131" y="95"/>
                  <a:pt x="131" y="94"/>
                </a:cubicBezTo>
                <a:cubicBezTo>
                  <a:pt x="131" y="94"/>
                  <a:pt x="132" y="93"/>
                  <a:pt x="132" y="93"/>
                </a:cubicBezTo>
                <a:cubicBezTo>
                  <a:pt x="132" y="93"/>
                  <a:pt x="133" y="93"/>
                  <a:pt x="133" y="93"/>
                </a:cubicBezTo>
                <a:cubicBezTo>
                  <a:pt x="134" y="92"/>
                  <a:pt x="133" y="92"/>
                  <a:pt x="133" y="91"/>
                </a:cubicBezTo>
                <a:cubicBezTo>
                  <a:pt x="133" y="90"/>
                  <a:pt x="135" y="90"/>
                  <a:pt x="135" y="90"/>
                </a:cubicBezTo>
                <a:cubicBezTo>
                  <a:pt x="136" y="90"/>
                  <a:pt x="135" y="91"/>
                  <a:pt x="136" y="92"/>
                </a:cubicBezTo>
                <a:cubicBezTo>
                  <a:pt x="136" y="92"/>
                  <a:pt x="136" y="93"/>
                  <a:pt x="137" y="92"/>
                </a:cubicBezTo>
                <a:cubicBezTo>
                  <a:pt x="137" y="92"/>
                  <a:pt x="137" y="91"/>
                  <a:pt x="137" y="91"/>
                </a:cubicBezTo>
                <a:cubicBezTo>
                  <a:pt x="137" y="91"/>
                  <a:pt x="137" y="90"/>
                  <a:pt x="137" y="90"/>
                </a:cubicBezTo>
                <a:cubicBezTo>
                  <a:pt x="137" y="90"/>
                  <a:pt x="138" y="89"/>
                  <a:pt x="138" y="89"/>
                </a:cubicBezTo>
                <a:cubicBezTo>
                  <a:pt x="139" y="88"/>
                  <a:pt x="140" y="88"/>
                  <a:pt x="139" y="87"/>
                </a:cubicBezTo>
                <a:cubicBezTo>
                  <a:pt x="139" y="86"/>
                  <a:pt x="139" y="85"/>
                  <a:pt x="139" y="84"/>
                </a:cubicBezTo>
                <a:cubicBezTo>
                  <a:pt x="140" y="84"/>
                  <a:pt x="140" y="83"/>
                  <a:pt x="140" y="83"/>
                </a:cubicBezTo>
                <a:cubicBezTo>
                  <a:pt x="140" y="83"/>
                  <a:pt x="140" y="82"/>
                  <a:pt x="140" y="82"/>
                </a:cubicBezTo>
                <a:cubicBezTo>
                  <a:pt x="140" y="81"/>
                  <a:pt x="140" y="81"/>
                  <a:pt x="140" y="80"/>
                </a:cubicBezTo>
                <a:cubicBezTo>
                  <a:pt x="139" y="79"/>
                  <a:pt x="139" y="79"/>
                  <a:pt x="139" y="78"/>
                </a:cubicBezTo>
                <a:cubicBezTo>
                  <a:pt x="139" y="78"/>
                  <a:pt x="139" y="77"/>
                  <a:pt x="140" y="77"/>
                </a:cubicBezTo>
                <a:cubicBezTo>
                  <a:pt x="140" y="77"/>
                  <a:pt x="140" y="78"/>
                  <a:pt x="140" y="78"/>
                </a:cubicBezTo>
                <a:cubicBezTo>
                  <a:pt x="140" y="79"/>
                  <a:pt x="141" y="79"/>
                  <a:pt x="141" y="79"/>
                </a:cubicBezTo>
                <a:cubicBezTo>
                  <a:pt x="142" y="79"/>
                  <a:pt x="142" y="79"/>
                  <a:pt x="142" y="79"/>
                </a:cubicBezTo>
                <a:cubicBezTo>
                  <a:pt x="143" y="78"/>
                  <a:pt x="143" y="78"/>
                  <a:pt x="143" y="78"/>
                </a:cubicBezTo>
                <a:cubicBezTo>
                  <a:pt x="143" y="78"/>
                  <a:pt x="143" y="77"/>
                  <a:pt x="143" y="77"/>
                </a:cubicBezTo>
                <a:cubicBezTo>
                  <a:pt x="142" y="76"/>
                  <a:pt x="141" y="76"/>
                  <a:pt x="140" y="75"/>
                </a:cubicBezTo>
                <a:cubicBezTo>
                  <a:pt x="140" y="74"/>
                  <a:pt x="140" y="73"/>
                  <a:pt x="140" y="73"/>
                </a:cubicBezTo>
                <a:cubicBezTo>
                  <a:pt x="140" y="72"/>
                  <a:pt x="140" y="72"/>
                  <a:pt x="141" y="71"/>
                </a:cubicBezTo>
                <a:cubicBezTo>
                  <a:pt x="141" y="72"/>
                  <a:pt x="141" y="73"/>
                  <a:pt x="141" y="73"/>
                </a:cubicBezTo>
                <a:cubicBezTo>
                  <a:pt x="141" y="73"/>
                  <a:pt x="141" y="74"/>
                  <a:pt x="142" y="74"/>
                </a:cubicBezTo>
                <a:cubicBezTo>
                  <a:pt x="142" y="75"/>
                  <a:pt x="143" y="75"/>
                  <a:pt x="144" y="74"/>
                </a:cubicBezTo>
                <a:cubicBezTo>
                  <a:pt x="144" y="72"/>
                  <a:pt x="143" y="71"/>
                  <a:pt x="143" y="70"/>
                </a:cubicBezTo>
                <a:cubicBezTo>
                  <a:pt x="143" y="70"/>
                  <a:pt x="143" y="69"/>
                  <a:pt x="143" y="69"/>
                </a:cubicBezTo>
                <a:cubicBezTo>
                  <a:pt x="143" y="69"/>
                  <a:pt x="143" y="68"/>
                  <a:pt x="144" y="68"/>
                </a:cubicBezTo>
                <a:cubicBezTo>
                  <a:pt x="144" y="69"/>
                  <a:pt x="144" y="69"/>
                  <a:pt x="144" y="70"/>
                </a:cubicBezTo>
                <a:cubicBezTo>
                  <a:pt x="145" y="70"/>
                  <a:pt x="145" y="70"/>
                  <a:pt x="146" y="70"/>
                </a:cubicBezTo>
                <a:cubicBezTo>
                  <a:pt x="147" y="70"/>
                  <a:pt x="148" y="70"/>
                  <a:pt x="149" y="69"/>
                </a:cubicBezTo>
                <a:cubicBezTo>
                  <a:pt x="149" y="69"/>
                  <a:pt x="149" y="69"/>
                  <a:pt x="150" y="69"/>
                </a:cubicBezTo>
                <a:cubicBezTo>
                  <a:pt x="150" y="68"/>
                  <a:pt x="150" y="68"/>
                  <a:pt x="150" y="67"/>
                </a:cubicBezTo>
                <a:cubicBezTo>
                  <a:pt x="151" y="66"/>
                  <a:pt x="151" y="66"/>
                  <a:pt x="150" y="65"/>
                </a:cubicBezTo>
                <a:cubicBezTo>
                  <a:pt x="150" y="64"/>
                  <a:pt x="149" y="63"/>
                  <a:pt x="149" y="62"/>
                </a:cubicBezTo>
                <a:cubicBezTo>
                  <a:pt x="150" y="61"/>
                  <a:pt x="152" y="62"/>
                  <a:pt x="153" y="61"/>
                </a:cubicBezTo>
                <a:cubicBezTo>
                  <a:pt x="153" y="61"/>
                  <a:pt x="153" y="59"/>
                  <a:pt x="154" y="58"/>
                </a:cubicBezTo>
                <a:cubicBezTo>
                  <a:pt x="154" y="58"/>
                  <a:pt x="155" y="58"/>
                  <a:pt x="156" y="58"/>
                </a:cubicBezTo>
                <a:cubicBezTo>
                  <a:pt x="156" y="58"/>
                  <a:pt x="156" y="57"/>
                  <a:pt x="156" y="57"/>
                </a:cubicBezTo>
                <a:cubicBezTo>
                  <a:pt x="156" y="57"/>
                  <a:pt x="156" y="56"/>
                  <a:pt x="156" y="56"/>
                </a:cubicBezTo>
                <a:cubicBezTo>
                  <a:pt x="156" y="56"/>
                  <a:pt x="156" y="56"/>
                  <a:pt x="156" y="55"/>
                </a:cubicBezTo>
                <a:cubicBezTo>
                  <a:pt x="156" y="55"/>
                  <a:pt x="156" y="55"/>
                  <a:pt x="156" y="54"/>
                </a:cubicBezTo>
                <a:cubicBezTo>
                  <a:pt x="156" y="54"/>
                  <a:pt x="156" y="54"/>
                  <a:pt x="155" y="54"/>
                </a:cubicBezTo>
                <a:cubicBezTo>
                  <a:pt x="155" y="53"/>
                  <a:pt x="154" y="53"/>
                  <a:pt x="154" y="52"/>
                </a:cubicBezTo>
                <a:cubicBezTo>
                  <a:pt x="154" y="52"/>
                  <a:pt x="154" y="52"/>
                  <a:pt x="154" y="51"/>
                </a:cubicBezTo>
                <a:cubicBezTo>
                  <a:pt x="154" y="51"/>
                  <a:pt x="155" y="51"/>
                  <a:pt x="155" y="51"/>
                </a:cubicBezTo>
                <a:cubicBezTo>
                  <a:pt x="155" y="51"/>
                  <a:pt x="156" y="50"/>
                  <a:pt x="156" y="50"/>
                </a:cubicBezTo>
                <a:cubicBezTo>
                  <a:pt x="156" y="50"/>
                  <a:pt x="156" y="49"/>
                  <a:pt x="156" y="49"/>
                </a:cubicBezTo>
                <a:cubicBezTo>
                  <a:pt x="156" y="49"/>
                  <a:pt x="157" y="48"/>
                  <a:pt x="157" y="48"/>
                </a:cubicBezTo>
                <a:cubicBezTo>
                  <a:pt x="156" y="47"/>
                  <a:pt x="156" y="47"/>
                  <a:pt x="156" y="47"/>
                </a:cubicBezTo>
                <a:cubicBezTo>
                  <a:pt x="156" y="47"/>
                  <a:pt x="156" y="47"/>
                  <a:pt x="156" y="46"/>
                </a:cubicBezTo>
                <a:cubicBezTo>
                  <a:pt x="155" y="46"/>
                  <a:pt x="155" y="47"/>
                  <a:pt x="155" y="47"/>
                </a:cubicBezTo>
                <a:cubicBezTo>
                  <a:pt x="154" y="47"/>
                  <a:pt x="154" y="47"/>
                  <a:pt x="153" y="47"/>
                </a:cubicBezTo>
                <a:cubicBezTo>
                  <a:pt x="153" y="46"/>
                  <a:pt x="154" y="46"/>
                  <a:pt x="155" y="45"/>
                </a:cubicBezTo>
                <a:cubicBezTo>
                  <a:pt x="155" y="44"/>
                  <a:pt x="155" y="43"/>
                  <a:pt x="157" y="43"/>
                </a:cubicBezTo>
                <a:cubicBezTo>
                  <a:pt x="157" y="44"/>
                  <a:pt x="157" y="44"/>
                  <a:pt x="157" y="44"/>
                </a:cubicBezTo>
                <a:cubicBezTo>
                  <a:pt x="157" y="45"/>
                  <a:pt x="157" y="45"/>
                  <a:pt x="157" y="45"/>
                </a:cubicBezTo>
                <a:cubicBezTo>
                  <a:pt x="157" y="46"/>
                  <a:pt x="157" y="46"/>
                  <a:pt x="157" y="46"/>
                </a:cubicBezTo>
                <a:cubicBezTo>
                  <a:pt x="157" y="46"/>
                  <a:pt x="158" y="45"/>
                  <a:pt x="158" y="45"/>
                </a:cubicBezTo>
                <a:cubicBezTo>
                  <a:pt x="159" y="44"/>
                  <a:pt x="159" y="44"/>
                  <a:pt x="158" y="43"/>
                </a:cubicBezTo>
                <a:cubicBezTo>
                  <a:pt x="158" y="42"/>
                  <a:pt x="158" y="41"/>
                  <a:pt x="158" y="41"/>
                </a:cubicBezTo>
                <a:cubicBezTo>
                  <a:pt x="159" y="40"/>
                  <a:pt x="159" y="40"/>
                  <a:pt x="160" y="40"/>
                </a:cubicBezTo>
                <a:cubicBezTo>
                  <a:pt x="160" y="40"/>
                  <a:pt x="161" y="41"/>
                  <a:pt x="161" y="41"/>
                </a:cubicBezTo>
                <a:cubicBezTo>
                  <a:pt x="161" y="41"/>
                  <a:pt x="162" y="41"/>
                  <a:pt x="162" y="41"/>
                </a:cubicBezTo>
                <a:cubicBezTo>
                  <a:pt x="162" y="41"/>
                  <a:pt x="162" y="40"/>
                  <a:pt x="162" y="40"/>
                </a:cubicBezTo>
                <a:cubicBezTo>
                  <a:pt x="162" y="40"/>
                  <a:pt x="161" y="40"/>
                  <a:pt x="161" y="39"/>
                </a:cubicBezTo>
                <a:cubicBezTo>
                  <a:pt x="161" y="38"/>
                  <a:pt x="162" y="38"/>
                  <a:pt x="163" y="38"/>
                </a:cubicBezTo>
                <a:cubicBezTo>
                  <a:pt x="163" y="37"/>
                  <a:pt x="164" y="37"/>
                  <a:pt x="164" y="37"/>
                </a:cubicBezTo>
                <a:cubicBezTo>
                  <a:pt x="164" y="36"/>
                  <a:pt x="164" y="36"/>
                  <a:pt x="164" y="35"/>
                </a:cubicBezTo>
                <a:cubicBezTo>
                  <a:pt x="163" y="35"/>
                  <a:pt x="163" y="35"/>
                  <a:pt x="162" y="35"/>
                </a:cubicBezTo>
                <a:cubicBezTo>
                  <a:pt x="162" y="35"/>
                  <a:pt x="162" y="35"/>
                  <a:pt x="161" y="34"/>
                </a:cubicBezTo>
                <a:cubicBezTo>
                  <a:pt x="161" y="34"/>
                  <a:pt x="161" y="33"/>
                  <a:pt x="161" y="32"/>
                </a:cubicBezTo>
                <a:cubicBezTo>
                  <a:pt x="162" y="31"/>
                  <a:pt x="162" y="32"/>
                  <a:pt x="163" y="32"/>
                </a:cubicBezTo>
                <a:cubicBezTo>
                  <a:pt x="163" y="32"/>
                  <a:pt x="164" y="32"/>
                  <a:pt x="164" y="32"/>
                </a:cubicBezTo>
                <a:cubicBezTo>
                  <a:pt x="165" y="32"/>
                  <a:pt x="165" y="31"/>
                  <a:pt x="165" y="31"/>
                </a:cubicBezTo>
                <a:cubicBezTo>
                  <a:pt x="166" y="30"/>
                  <a:pt x="166" y="30"/>
                  <a:pt x="166" y="30"/>
                </a:cubicBezTo>
                <a:cubicBezTo>
                  <a:pt x="167" y="29"/>
                  <a:pt x="167" y="29"/>
                  <a:pt x="168" y="29"/>
                </a:cubicBezTo>
                <a:cubicBezTo>
                  <a:pt x="168" y="29"/>
                  <a:pt x="169" y="29"/>
                  <a:pt x="169" y="28"/>
                </a:cubicBezTo>
                <a:cubicBezTo>
                  <a:pt x="169" y="28"/>
                  <a:pt x="168" y="28"/>
                  <a:pt x="168" y="28"/>
                </a:cubicBezTo>
                <a:cubicBezTo>
                  <a:pt x="167" y="27"/>
                  <a:pt x="167" y="26"/>
                  <a:pt x="167" y="26"/>
                </a:cubicBezTo>
                <a:cubicBezTo>
                  <a:pt x="168" y="25"/>
                  <a:pt x="169" y="25"/>
                  <a:pt x="169" y="25"/>
                </a:cubicBezTo>
                <a:cubicBezTo>
                  <a:pt x="170" y="25"/>
                  <a:pt x="170" y="25"/>
                  <a:pt x="170" y="26"/>
                </a:cubicBezTo>
                <a:cubicBezTo>
                  <a:pt x="171" y="26"/>
                  <a:pt x="171" y="26"/>
                  <a:pt x="171" y="26"/>
                </a:cubicBezTo>
                <a:cubicBezTo>
                  <a:pt x="172" y="25"/>
                  <a:pt x="171" y="25"/>
                  <a:pt x="171" y="25"/>
                </a:cubicBezTo>
                <a:cubicBezTo>
                  <a:pt x="171" y="24"/>
                  <a:pt x="169" y="21"/>
                  <a:pt x="169" y="21"/>
                </a:cubicBezTo>
                <a:cubicBezTo>
                  <a:pt x="147" y="21"/>
                  <a:pt x="147" y="21"/>
                  <a:pt x="147" y="21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7" y="20"/>
                  <a:pt x="150" y="16"/>
                  <a:pt x="150" y="15"/>
                </a:cubicBezTo>
                <a:cubicBezTo>
                  <a:pt x="150" y="15"/>
                  <a:pt x="153" y="12"/>
                  <a:pt x="153" y="12"/>
                </a:cubicBezTo>
                <a:cubicBezTo>
                  <a:pt x="153" y="12"/>
                  <a:pt x="157" y="9"/>
                  <a:pt x="157" y="9"/>
                </a:cubicBezTo>
                <a:cubicBezTo>
                  <a:pt x="157" y="4"/>
                  <a:pt x="157" y="4"/>
                  <a:pt x="157" y="4"/>
                </a:cubicBezTo>
                <a:cubicBezTo>
                  <a:pt x="154" y="2"/>
                  <a:pt x="154" y="2"/>
                  <a:pt x="154" y="2"/>
                </a:cubicBezTo>
                <a:cubicBezTo>
                  <a:pt x="154" y="0"/>
                  <a:pt x="154" y="0"/>
                  <a:pt x="154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50"/>
                  <a:pt x="6" y="50"/>
                  <a:pt x="6" y="50"/>
                </a:cubicBezTo>
                <a:cubicBezTo>
                  <a:pt x="5" y="120"/>
                  <a:pt x="5" y="120"/>
                  <a:pt x="5" y="120"/>
                </a:cubicBezTo>
                <a:cubicBezTo>
                  <a:pt x="5" y="120"/>
                  <a:pt x="6" y="121"/>
                  <a:pt x="6" y="121"/>
                </a:cubicBezTo>
                <a:cubicBezTo>
                  <a:pt x="5" y="122"/>
                  <a:pt x="5" y="122"/>
                  <a:pt x="5" y="122"/>
                </a:cubicBezTo>
                <a:cubicBezTo>
                  <a:pt x="5" y="122"/>
                  <a:pt x="6" y="123"/>
                  <a:pt x="6" y="123"/>
                </a:cubicBezTo>
                <a:cubicBezTo>
                  <a:pt x="7" y="123"/>
                  <a:pt x="8" y="122"/>
                  <a:pt x="8" y="123"/>
                </a:cubicBezTo>
                <a:cubicBezTo>
                  <a:pt x="8" y="124"/>
                  <a:pt x="7" y="124"/>
                  <a:pt x="8" y="124"/>
                </a:cubicBezTo>
                <a:cubicBezTo>
                  <a:pt x="8" y="124"/>
                  <a:pt x="8" y="125"/>
                  <a:pt x="9" y="124"/>
                </a:cubicBezTo>
                <a:cubicBezTo>
                  <a:pt x="9" y="124"/>
                  <a:pt x="9" y="124"/>
                  <a:pt x="9" y="124"/>
                </a:cubicBezTo>
                <a:cubicBezTo>
                  <a:pt x="9" y="124"/>
                  <a:pt x="9" y="124"/>
                  <a:pt x="9" y="124"/>
                </a:cubicBezTo>
                <a:cubicBezTo>
                  <a:pt x="10" y="124"/>
                  <a:pt x="10" y="123"/>
                  <a:pt x="10" y="124"/>
                </a:cubicBezTo>
                <a:cubicBezTo>
                  <a:pt x="11" y="123"/>
                  <a:pt x="11" y="123"/>
                  <a:pt x="11" y="123"/>
                </a:cubicBezTo>
                <a:cubicBezTo>
                  <a:pt x="11" y="124"/>
                  <a:pt x="12" y="124"/>
                  <a:pt x="12" y="124"/>
                </a:cubicBezTo>
                <a:cubicBezTo>
                  <a:pt x="12" y="124"/>
                  <a:pt x="12" y="123"/>
                  <a:pt x="12" y="123"/>
                </a:cubicBezTo>
                <a:cubicBezTo>
                  <a:pt x="13" y="123"/>
                  <a:pt x="13" y="123"/>
                  <a:pt x="13" y="124"/>
                </a:cubicBezTo>
                <a:cubicBezTo>
                  <a:pt x="13" y="124"/>
                  <a:pt x="14" y="124"/>
                  <a:pt x="14" y="124"/>
                </a:cubicBezTo>
                <a:cubicBezTo>
                  <a:pt x="14" y="123"/>
                  <a:pt x="14" y="122"/>
                  <a:pt x="15" y="123"/>
                </a:cubicBezTo>
                <a:cubicBezTo>
                  <a:pt x="16" y="123"/>
                  <a:pt x="16" y="123"/>
                  <a:pt x="16" y="123"/>
                </a:cubicBezTo>
                <a:cubicBezTo>
                  <a:pt x="16" y="123"/>
                  <a:pt x="16" y="123"/>
                  <a:pt x="16" y="124"/>
                </a:cubicBezTo>
                <a:cubicBezTo>
                  <a:pt x="17" y="124"/>
                  <a:pt x="17" y="124"/>
                  <a:pt x="18" y="123"/>
                </a:cubicBezTo>
                <a:cubicBezTo>
                  <a:pt x="18" y="123"/>
                  <a:pt x="19" y="122"/>
                  <a:pt x="19" y="123"/>
                </a:cubicBezTo>
                <a:cubicBezTo>
                  <a:pt x="19" y="123"/>
                  <a:pt x="19" y="124"/>
                  <a:pt x="19" y="124"/>
                </a:cubicBezTo>
                <a:cubicBezTo>
                  <a:pt x="19" y="125"/>
                  <a:pt x="20" y="125"/>
                  <a:pt x="20" y="126"/>
                </a:cubicBezTo>
                <a:cubicBezTo>
                  <a:pt x="20" y="146"/>
                  <a:pt x="20" y="146"/>
                  <a:pt x="20" y="146"/>
                </a:cubicBezTo>
                <a:cubicBezTo>
                  <a:pt x="119" y="146"/>
                  <a:pt x="119" y="146"/>
                  <a:pt x="119" y="146"/>
                </a:cubicBezTo>
                <a:cubicBezTo>
                  <a:pt x="120" y="146"/>
                  <a:pt x="121" y="145"/>
                  <a:pt x="120" y="144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6" name="Freeform 54">
            <a:extLst>
              <a:ext uri="{FF2B5EF4-FFF2-40B4-BE49-F238E27FC236}">
                <a16:creationId xmlns:a16="http://schemas.microsoft.com/office/drawing/2014/main" id="{53A8AAC5-7AB2-4D6A-BB59-1305DCE3A0C4}"/>
              </a:ext>
            </a:extLst>
          </p:cNvPr>
          <p:cNvSpPr>
            <a:spLocks/>
          </p:cNvSpPr>
          <p:nvPr/>
        </p:nvSpPr>
        <p:spPr bwMode="auto">
          <a:xfrm>
            <a:off x="5351682" y="3518220"/>
            <a:ext cx="791406" cy="935148"/>
          </a:xfrm>
          <a:custGeom>
            <a:avLst/>
            <a:gdLst>
              <a:gd name="T0" fmla="*/ 27 w 200"/>
              <a:gd name="T1" fmla="*/ 35 h 236"/>
              <a:gd name="T2" fmla="*/ 24 w 200"/>
              <a:gd name="T3" fmla="*/ 38 h 236"/>
              <a:gd name="T4" fmla="*/ 22 w 200"/>
              <a:gd name="T5" fmla="*/ 42 h 236"/>
              <a:gd name="T6" fmla="*/ 16 w 200"/>
              <a:gd name="T7" fmla="*/ 39 h 236"/>
              <a:gd name="T8" fmla="*/ 12 w 200"/>
              <a:gd name="T9" fmla="*/ 38 h 236"/>
              <a:gd name="T10" fmla="*/ 9 w 200"/>
              <a:gd name="T11" fmla="*/ 37 h 236"/>
              <a:gd name="T12" fmla="*/ 4 w 200"/>
              <a:gd name="T13" fmla="*/ 38 h 236"/>
              <a:gd name="T14" fmla="*/ 4 w 200"/>
              <a:gd name="T15" fmla="*/ 41 h 236"/>
              <a:gd name="T16" fmla="*/ 4 w 200"/>
              <a:gd name="T17" fmla="*/ 47 h 236"/>
              <a:gd name="T18" fmla="*/ 4 w 200"/>
              <a:gd name="T19" fmla="*/ 50 h 236"/>
              <a:gd name="T20" fmla="*/ 4 w 200"/>
              <a:gd name="T21" fmla="*/ 55 h 236"/>
              <a:gd name="T22" fmla="*/ 5 w 200"/>
              <a:gd name="T23" fmla="*/ 62 h 236"/>
              <a:gd name="T24" fmla="*/ 7 w 200"/>
              <a:gd name="T25" fmla="*/ 68 h 236"/>
              <a:gd name="T26" fmla="*/ 8 w 200"/>
              <a:gd name="T27" fmla="*/ 74 h 236"/>
              <a:gd name="T28" fmla="*/ 8 w 200"/>
              <a:gd name="T29" fmla="*/ 80 h 236"/>
              <a:gd name="T30" fmla="*/ 7 w 200"/>
              <a:gd name="T31" fmla="*/ 81 h 236"/>
              <a:gd name="T32" fmla="*/ 7 w 200"/>
              <a:gd name="T33" fmla="*/ 85 h 236"/>
              <a:gd name="T34" fmla="*/ 11 w 200"/>
              <a:gd name="T35" fmla="*/ 96 h 236"/>
              <a:gd name="T36" fmla="*/ 15 w 200"/>
              <a:gd name="T37" fmla="*/ 108 h 236"/>
              <a:gd name="T38" fmla="*/ 23 w 200"/>
              <a:gd name="T39" fmla="*/ 113 h 236"/>
              <a:gd name="T40" fmla="*/ 23 w 200"/>
              <a:gd name="T41" fmla="*/ 117 h 236"/>
              <a:gd name="T42" fmla="*/ 14 w 200"/>
              <a:gd name="T43" fmla="*/ 123 h 236"/>
              <a:gd name="T44" fmla="*/ 10 w 200"/>
              <a:gd name="T45" fmla="*/ 129 h 236"/>
              <a:gd name="T46" fmla="*/ 10 w 200"/>
              <a:gd name="T47" fmla="*/ 142 h 236"/>
              <a:gd name="T48" fmla="*/ 7 w 200"/>
              <a:gd name="T49" fmla="*/ 151 h 236"/>
              <a:gd name="T50" fmla="*/ 4 w 200"/>
              <a:gd name="T51" fmla="*/ 155 h 236"/>
              <a:gd name="T52" fmla="*/ 5 w 200"/>
              <a:gd name="T53" fmla="*/ 158 h 236"/>
              <a:gd name="T54" fmla="*/ 4 w 200"/>
              <a:gd name="T55" fmla="*/ 164 h 236"/>
              <a:gd name="T56" fmla="*/ 5 w 200"/>
              <a:gd name="T57" fmla="*/ 168 h 236"/>
              <a:gd name="T58" fmla="*/ 11 w 200"/>
              <a:gd name="T59" fmla="*/ 169 h 236"/>
              <a:gd name="T60" fmla="*/ 12 w 200"/>
              <a:gd name="T61" fmla="*/ 175 h 236"/>
              <a:gd name="T62" fmla="*/ 10 w 200"/>
              <a:gd name="T63" fmla="*/ 179 h 236"/>
              <a:gd name="T64" fmla="*/ 4 w 200"/>
              <a:gd name="T65" fmla="*/ 180 h 236"/>
              <a:gd name="T66" fmla="*/ 0 w 200"/>
              <a:gd name="T67" fmla="*/ 189 h 236"/>
              <a:gd name="T68" fmla="*/ 199 w 200"/>
              <a:gd name="T69" fmla="*/ 236 h 236"/>
              <a:gd name="T70" fmla="*/ 27 w 200"/>
              <a:gd name="T71" fmla="*/ 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00" h="236">
                <a:moveTo>
                  <a:pt x="27" y="0"/>
                </a:moveTo>
                <a:cubicBezTo>
                  <a:pt x="27" y="35"/>
                  <a:pt x="27" y="35"/>
                  <a:pt x="27" y="35"/>
                </a:cubicBezTo>
                <a:cubicBezTo>
                  <a:pt x="27" y="35"/>
                  <a:pt x="26" y="35"/>
                  <a:pt x="25" y="36"/>
                </a:cubicBezTo>
                <a:cubicBezTo>
                  <a:pt x="25" y="37"/>
                  <a:pt x="25" y="38"/>
                  <a:pt x="24" y="38"/>
                </a:cubicBezTo>
                <a:cubicBezTo>
                  <a:pt x="24" y="39"/>
                  <a:pt x="24" y="40"/>
                  <a:pt x="24" y="41"/>
                </a:cubicBezTo>
                <a:cubicBezTo>
                  <a:pt x="23" y="42"/>
                  <a:pt x="23" y="42"/>
                  <a:pt x="22" y="42"/>
                </a:cubicBezTo>
                <a:cubicBezTo>
                  <a:pt x="21" y="43"/>
                  <a:pt x="20" y="42"/>
                  <a:pt x="19" y="41"/>
                </a:cubicBezTo>
                <a:cubicBezTo>
                  <a:pt x="18" y="41"/>
                  <a:pt x="17" y="39"/>
                  <a:pt x="16" y="39"/>
                </a:cubicBezTo>
                <a:cubicBezTo>
                  <a:pt x="16" y="38"/>
                  <a:pt x="14" y="37"/>
                  <a:pt x="14" y="37"/>
                </a:cubicBezTo>
                <a:cubicBezTo>
                  <a:pt x="14" y="37"/>
                  <a:pt x="13" y="38"/>
                  <a:pt x="12" y="38"/>
                </a:cubicBezTo>
                <a:cubicBezTo>
                  <a:pt x="11" y="38"/>
                  <a:pt x="11" y="37"/>
                  <a:pt x="11" y="37"/>
                </a:cubicBezTo>
                <a:cubicBezTo>
                  <a:pt x="10" y="36"/>
                  <a:pt x="9" y="37"/>
                  <a:pt x="9" y="37"/>
                </a:cubicBezTo>
                <a:cubicBezTo>
                  <a:pt x="8" y="37"/>
                  <a:pt x="7" y="37"/>
                  <a:pt x="6" y="38"/>
                </a:cubicBezTo>
                <a:cubicBezTo>
                  <a:pt x="6" y="38"/>
                  <a:pt x="5" y="38"/>
                  <a:pt x="4" y="38"/>
                </a:cubicBezTo>
                <a:cubicBezTo>
                  <a:pt x="3" y="39"/>
                  <a:pt x="3" y="39"/>
                  <a:pt x="3" y="39"/>
                </a:cubicBezTo>
                <a:cubicBezTo>
                  <a:pt x="3" y="39"/>
                  <a:pt x="3" y="40"/>
                  <a:pt x="4" y="41"/>
                </a:cubicBezTo>
                <a:cubicBezTo>
                  <a:pt x="4" y="42"/>
                  <a:pt x="4" y="44"/>
                  <a:pt x="4" y="45"/>
                </a:cubicBezTo>
                <a:cubicBezTo>
                  <a:pt x="4" y="46"/>
                  <a:pt x="4" y="46"/>
                  <a:pt x="4" y="47"/>
                </a:cubicBezTo>
                <a:cubicBezTo>
                  <a:pt x="4" y="47"/>
                  <a:pt x="6" y="48"/>
                  <a:pt x="6" y="48"/>
                </a:cubicBezTo>
                <a:cubicBezTo>
                  <a:pt x="6" y="48"/>
                  <a:pt x="4" y="50"/>
                  <a:pt x="4" y="50"/>
                </a:cubicBezTo>
                <a:cubicBezTo>
                  <a:pt x="3" y="51"/>
                  <a:pt x="4" y="52"/>
                  <a:pt x="4" y="53"/>
                </a:cubicBezTo>
                <a:cubicBezTo>
                  <a:pt x="4" y="54"/>
                  <a:pt x="4" y="54"/>
                  <a:pt x="4" y="55"/>
                </a:cubicBezTo>
                <a:cubicBezTo>
                  <a:pt x="4" y="56"/>
                  <a:pt x="5" y="59"/>
                  <a:pt x="6" y="59"/>
                </a:cubicBezTo>
                <a:cubicBezTo>
                  <a:pt x="6" y="60"/>
                  <a:pt x="6" y="61"/>
                  <a:pt x="5" y="62"/>
                </a:cubicBezTo>
                <a:cubicBezTo>
                  <a:pt x="5" y="63"/>
                  <a:pt x="5" y="64"/>
                  <a:pt x="5" y="65"/>
                </a:cubicBezTo>
                <a:cubicBezTo>
                  <a:pt x="5" y="66"/>
                  <a:pt x="6" y="67"/>
                  <a:pt x="7" y="68"/>
                </a:cubicBezTo>
                <a:cubicBezTo>
                  <a:pt x="7" y="69"/>
                  <a:pt x="8" y="71"/>
                  <a:pt x="8" y="71"/>
                </a:cubicBezTo>
                <a:cubicBezTo>
                  <a:pt x="8" y="72"/>
                  <a:pt x="9" y="74"/>
                  <a:pt x="8" y="74"/>
                </a:cubicBezTo>
                <a:cubicBezTo>
                  <a:pt x="8" y="75"/>
                  <a:pt x="9" y="77"/>
                  <a:pt x="9" y="78"/>
                </a:cubicBezTo>
                <a:cubicBezTo>
                  <a:pt x="10" y="78"/>
                  <a:pt x="8" y="80"/>
                  <a:pt x="8" y="80"/>
                </a:cubicBezTo>
                <a:cubicBezTo>
                  <a:pt x="8" y="80"/>
                  <a:pt x="7" y="81"/>
                  <a:pt x="6" y="81"/>
                </a:cubicBezTo>
                <a:cubicBezTo>
                  <a:pt x="6" y="81"/>
                  <a:pt x="7" y="81"/>
                  <a:pt x="7" y="81"/>
                </a:cubicBezTo>
                <a:cubicBezTo>
                  <a:pt x="8" y="82"/>
                  <a:pt x="7" y="83"/>
                  <a:pt x="7" y="83"/>
                </a:cubicBezTo>
                <a:cubicBezTo>
                  <a:pt x="7" y="83"/>
                  <a:pt x="7" y="85"/>
                  <a:pt x="7" y="85"/>
                </a:cubicBezTo>
                <a:cubicBezTo>
                  <a:pt x="7" y="85"/>
                  <a:pt x="6" y="90"/>
                  <a:pt x="7" y="90"/>
                </a:cubicBezTo>
                <a:cubicBezTo>
                  <a:pt x="7" y="91"/>
                  <a:pt x="11" y="96"/>
                  <a:pt x="11" y="96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4"/>
                  <a:pt x="15" y="108"/>
                  <a:pt x="15" y="108"/>
                </a:cubicBezTo>
                <a:cubicBezTo>
                  <a:pt x="16" y="109"/>
                  <a:pt x="17" y="108"/>
                  <a:pt x="18" y="108"/>
                </a:cubicBezTo>
                <a:cubicBezTo>
                  <a:pt x="18" y="108"/>
                  <a:pt x="23" y="112"/>
                  <a:pt x="23" y="113"/>
                </a:cubicBezTo>
                <a:cubicBezTo>
                  <a:pt x="23" y="113"/>
                  <a:pt x="23" y="115"/>
                  <a:pt x="23" y="115"/>
                </a:cubicBezTo>
                <a:cubicBezTo>
                  <a:pt x="23" y="115"/>
                  <a:pt x="23" y="117"/>
                  <a:pt x="23" y="117"/>
                </a:cubicBezTo>
                <a:cubicBezTo>
                  <a:pt x="18" y="121"/>
                  <a:pt x="18" y="121"/>
                  <a:pt x="18" y="121"/>
                </a:cubicBezTo>
                <a:cubicBezTo>
                  <a:pt x="14" y="123"/>
                  <a:pt x="14" y="123"/>
                  <a:pt x="14" y="123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0" y="129"/>
                  <a:pt x="10" y="129"/>
                  <a:pt x="10" y="129"/>
                </a:cubicBezTo>
                <a:cubicBezTo>
                  <a:pt x="12" y="139"/>
                  <a:pt x="12" y="139"/>
                  <a:pt x="12" y="139"/>
                </a:cubicBezTo>
                <a:cubicBezTo>
                  <a:pt x="10" y="142"/>
                  <a:pt x="10" y="142"/>
                  <a:pt x="10" y="142"/>
                </a:cubicBezTo>
                <a:cubicBezTo>
                  <a:pt x="11" y="146"/>
                  <a:pt x="11" y="146"/>
                  <a:pt x="11" y="146"/>
                </a:cubicBezTo>
                <a:cubicBezTo>
                  <a:pt x="7" y="151"/>
                  <a:pt x="7" y="151"/>
                  <a:pt x="7" y="151"/>
                </a:cubicBezTo>
                <a:cubicBezTo>
                  <a:pt x="4" y="152"/>
                  <a:pt x="4" y="152"/>
                  <a:pt x="4" y="152"/>
                </a:cubicBezTo>
                <a:cubicBezTo>
                  <a:pt x="4" y="155"/>
                  <a:pt x="4" y="155"/>
                  <a:pt x="4" y="155"/>
                </a:cubicBezTo>
                <a:cubicBezTo>
                  <a:pt x="4" y="155"/>
                  <a:pt x="3" y="156"/>
                  <a:pt x="3" y="156"/>
                </a:cubicBezTo>
                <a:cubicBezTo>
                  <a:pt x="3" y="157"/>
                  <a:pt x="5" y="157"/>
                  <a:pt x="5" y="158"/>
                </a:cubicBezTo>
                <a:cubicBezTo>
                  <a:pt x="6" y="158"/>
                  <a:pt x="6" y="159"/>
                  <a:pt x="6" y="159"/>
                </a:cubicBezTo>
                <a:cubicBezTo>
                  <a:pt x="6" y="159"/>
                  <a:pt x="4" y="163"/>
                  <a:pt x="4" y="164"/>
                </a:cubicBezTo>
                <a:cubicBezTo>
                  <a:pt x="4" y="164"/>
                  <a:pt x="4" y="166"/>
                  <a:pt x="5" y="166"/>
                </a:cubicBezTo>
                <a:cubicBezTo>
                  <a:pt x="5" y="166"/>
                  <a:pt x="5" y="168"/>
                  <a:pt x="5" y="168"/>
                </a:cubicBezTo>
                <a:cubicBezTo>
                  <a:pt x="5" y="168"/>
                  <a:pt x="11" y="167"/>
                  <a:pt x="11" y="168"/>
                </a:cubicBezTo>
                <a:cubicBezTo>
                  <a:pt x="11" y="168"/>
                  <a:pt x="11" y="169"/>
                  <a:pt x="11" y="169"/>
                </a:cubicBezTo>
                <a:cubicBezTo>
                  <a:pt x="13" y="170"/>
                  <a:pt x="13" y="170"/>
                  <a:pt x="13" y="170"/>
                </a:cubicBezTo>
                <a:cubicBezTo>
                  <a:pt x="13" y="170"/>
                  <a:pt x="12" y="175"/>
                  <a:pt x="12" y="175"/>
                </a:cubicBezTo>
                <a:cubicBezTo>
                  <a:pt x="12" y="175"/>
                  <a:pt x="10" y="176"/>
                  <a:pt x="10" y="176"/>
                </a:cubicBezTo>
                <a:cubicBezTo>
                  <a:pt x="10" y="179"/>
                  <a:pt x="10" y="179"/>
                  <a:pt x="10" y="179"/>
                </a:cubicBezTo>
                <a:cubicBezTo>
                  <a:pt x="9" y="180"/>
                  <a:pt x="9" y="180"/>
                  <a:pt x="9" y="180"/>
                </a:cubicBezTo>
                <a:cubicBezTo>
                  <a:pt x="4" y="180"/>
                  <a:pt x="4" y="180"/>
                  <a:pt x="4" y="180"/>
                </a:cubicBezTo>
                <a:cubicBezTo>
                  <a:pt x="0" y="184"/>
                  <a:pt x="0" y="184"/>
                  <a:pt x="0" y="184"/>
                </a:cubicBezTo>
                <a:cubicBezTo>
                  <a:pt x="0" y="189"/>
                  <a:pt x="0" y="189"/>
                  <a:pt x="0" y="189"/>
                </a:cubicBezTo>
                <a:cubicBezTo>
                  <a:pt x="129" y="236"/>
                  <a:pt x="129" y="236"/>
                  <a:pt x="129" y="236"/>
                </a:cubicBezTo>
                <a:cubicBezTo>
                  <a:pt x="199" y="236"/>
                  <a:pt x="199" y="236"/>
                  <a:pt x="199" y="236"/>
                </a:cubicBezTo>
                <a:cubicBezTo>
                  <a:pt x="200" y="0"/>
                  <a:pt x="200" y="0"/>
                  <a:pt x="200" y="0"/>
                </a:cubicBezTo>
                <a:lnTo>
                  <a:pt x="27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7" name="Freeform 55">
            <a:extLst>
              <a:ext uri="{FF2B5EF4-FFF2-40B4-BE49-F238E27FC236}">
                <a16:creationId xmlns:a16="http://schemas.microsoft.com/office/drawing/2014/main" id="{D4E0C57B-BE74-455A-ABA7-19294A4561A7}"/>
              </a:ext>
            </a:extLst>
          </p:cNvPr>
          <p:cNvSpPr>
            <a:spLocks/>
          </p:cNvSpPr>
          <p:nvPr/>
        </p:nvSpPr>
        <p:spPr bwMode="auto">
          <a:xfrm>
            <a:off x="8956790" y="3858574"/>
            <a:ext cx="485748" cy="773232"/>
          </a:xfrm>
          <a:custGeom>
            <a:avLst/>
            <a:gdLst>
              <a:gd name="T0" fmla="*/ 37 w 123"/>
              <a:gd name="T1" fmla="*/ 179 h 195"/>
              <a:gd name="T2" fmla="*/ 34 w 123"/>
              <a:gd name="T3" fmla="*/ 176 h 195"/>
              <a:gd name="T4" fmla="*/ 31 w 123"/>
              <a:gd name="T5" fmla="*/ 172 h 195"/>
              <a:gd name="T6" fmla="*/ 30 w 123"/>
              <a:gd name="T7" fmla="*/ 167 h 195"/>
              <a:gd name="T8" fmla="*/ 120 w 123"/>
              <a:gd name="T9" fmla="*/ 164 h 195"/>
              <a:gd name="T10" fmla="*/ 117 w 123"/>
              <a:gd name="T11" fmla="*/ 158 h 195"/>
              <a:gd name="T12" fmla="*/ 116 w 123"/>
              <a:gd name="T13" fmla="*/ 152 h 195"/>
              <a:gd name="T14" fmla="*/ 118 w 123"/>
              <a:gd name="T15" fmla="*/ 144 h 195"/>
              <a:gd name="T16" fmla="*/ 115 w 123"/>
              <a:gd name="T17" fmla="*/ 133 h 195"/>
              <a:gd name="T18" fmla="*/ 117 w 123"/>
              <a:gd name="T19" fmla="*/ 125 h 195"/>
              <a:gd name="T20" fmla="*/ 118 w 123"/>
              <a:gd name="T21" fmla="*/ 119 h 195"/>
              <a:gd name="T22" fmla="*/ 123 w 123"/>
              <a:gd name="T23" fmla="*/ 113 h 195"/>
              <a:gd name="T24" fmla="*/ 120 w 123"/>
              <a:gd name="T25" fmla="*/ 110 h 195"/>
              <a:gd name="T26" fmla="*/ 120 w 123"/>
              <a:gd name="T27" fmla="*/ 105 h 195"/>
              <a:gd name="T28" fmla="*/ 116 w 123"/>
              <a:gd name="T29" fmla="*/ 96 h 195"/>
              <a:gd name="T30" fmla="*/ 115 w 123"/>
              <a:gd name="T31" fmla="*/ 92 h 195"/>
              <a:gd name="T32" fmla="*/ 99 w 123"/>
              <a:gd name="T33" fmla="*/ 0 h 195"/>
              <a:gd name="T34" fmla="*/ 11 w 123"/>
              <a:gd name="T35" fmla="*/ 3 h 195"/>
              <a:gd name="T36" fmla="*/ 0 w 123"/>
              <a:gd name="T37" fmla="*/ 126 h 195"/>
              <a:gd name="T38" fmla="*/ 4 w 123"/>
              <a:gd name="T39" fmla="*/ 189 h 195"/>
              <a:gd name="T40" fmla="*/ 11 w 123"/>
              <a:gd name="T41" fmla="*/ 189 h 195"/>
              <a:gd name="T42" fmla="*/ 13 w 123"/>
              <a:gd name="T43" fmla="*/ 187 h 195"/>
              <a:gd name="T44" fmla="*/ 14 w 123"/>
              <a:gd name="T45" fmla="*/ 181 h 195"/>
              <a:gd name="T46" fmla="*/ 15 w 123"/>
              <a:gd name="T47" fmla="*/ 179 h 195"/>
              <a:gd name="T48" fmla="*/ 17 w 123"/>
              <a:gd name="T49" fmla="*/ 177 h 195"/>
              <a:gd name="T50" fmla="*/ 19 w 123"/>
              <a:gd name="T51" fmla="*/ 180 h 195"/>
              <a:gd name="T52" fmla="*/ 20 w 123"/>
              <a:gd name="T53" fmla="*/ 188 h 195"/>
              <a:gd name="T54" fmla="*/ 22 w 123"/>
              <a:gd name="T55" fmla="*/ 190 h 195"/>
              <a:gd name="T56" fmla="*/ 25 w 123"/>
              <a:gd name="T57" fmla="*/ 194 h 195"/>
              <a:gd name="T58" fmla="*/ 20 w 123"/>
              <a:gd name="T59" fmla="*/ 195 h 195"/>
              <a:gd name="T60" fmla="*/ 25 w 123"/>
              <a:gd name="T61" fmla="*/ 195 h 195"/>
              <a:gd name="T62" fmla="*/ 28 w 123"/>
              <a:gd name="T63" fmla="*/ 195 h 195"/>
              <a:gd name="T64" fmla="*/ 31 w 123"/>
              <a:gd name="T65" fmla="*/ 193 h 195"/>
              <a:gd name="T66" fmla="*/ 36 w 123"/>
              <a:gd name="T67" fmla="*/ 189 h 195"/>
              <a:gd name="T68" fmla="*/ 36 w 123"/>
              <a:gd name="T69" fmla="*/ 185 h 195"/>
              <a:gd name="T70" fmla="*/ 36 w 123"/>
              <a:gd name="T71" fmla="*/ 181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3" h="195">
                <a:moveTo>
                  <a:pt x="36" y="181"/>
                </a:moveTo>
                <a:cubicBezTo>
                  <a:pt x="36" y="181"/>
                  <a:pt x="37" y="179"/>
                  <a:pt x="37" y="179"/>
                </a:cubicBezTo>
                <a:cubicBezTo>
                  <a:pt x="37" y="179"/>
                  <a:pt x="37" y="177"/>
                  <a:pt x="37" y="177"/>
                </a:cubicBezTo>
                <a:cubicBezTo>
                  <a:pt x="37" y="177"/>
                  <a:pt x="34" y="176"/>
                  <a:pt x="34" y="176"/>
                </a:cubicBezTo>
                <a:cubicBezTo>
                  <a:pt x="33" y="176"/>
                  <a:pt x="33" y="175"/>
                  <a:pt x="33" y="174"/>
                </a:cubicBezTo>
                <a:cubicBezTo>
                  <a:pt x="33" y="174"/>
                  <a:pt x="31" y="173"/>
                  <a:pt x="31" y="172"/>
                </a:cubicBezTo>
                <a:cubicBezTo>
                  <a:pt x="31" y="172"/>
                  <a:pt x="29" y="170"/>
                  <a:pt x="29" y="170"/>
                </a:cubicBezTo>
                <a:cubicBezTo>
                  <a:pt x="30" y="167"/>
                  <a:pt x="30" y="167"/>
                  <a:pt x="30" y="167"/>
                </a:cubicBezTo>
                <a:cubicBezTo>
                  <a:pt x="31" y="164"/>
                  <a:pt x="31" y="164"/>
                  <a:pt x="31" y="164"/>
                </a:cubicBezTo>
                <a:cubicBezTo>
                  <a:pt x="120" y="164"/>
                  <a:pt x="120" y="164"/>
                  <a:pt x="120" y="164"/>
                </a:cubicBezTo>
                <a:cubicBezTo>
                  <a:pt x="120" y="164"/>
                  <a:pt x="119" y="161"/>
                  <a:pt x="119" y="160"/>
                </a:cubicBezTo>
                <a:cubicBezTo>
                  <a:pt x="119" y="160"/>
                  <a:pt x="118" y="159"/>
                  <a:pt x="117" y="158"/>
                </a:cubicBezTo>
                <a:cubicBezTo>
                  <a:pt x="117" y="157"/>
                  <a:pt x="116" y="156"/>
                  <a:pt x="116" y="156"/>
                </a:cubicBezTo>
                <a:cubicBezTo>
                  <a:pt x="116" y="155"/>
                  <a:pt x="116" y="152"/>
                  <a:pt x="116" y="152"/>
                </a:cubicBezTo>
                <a:cubicBezTo>
                  <a:pt x="116" y="152"/>
                  <a:pt x="117" y="149"/>
                  <a:pt x="117" y="149"/>
                </a:cubicBezTo>
                <a:cubicBezTo>
                  <a:pt x="118" y="148"/>
                  <a:pt x="118" y="144"/>
                  <a:pt x="118" y="144"/>
                </a:cubicBezTo>
                <a:cubicBezTo>
                  <a:pt x="118" y="143"/>
                  <a:pt x="117" y="138"/>
                  <a:pt x="117" y="137"/>
                </a:cubicBezTo>
                <a:cubicBezTo>
                  <a:pt x="116" y="137"/>
                  <a:pt x="115" y="134"/>
                  <a:pt x="115" y="133"/>
                </a:cubicBezTo>
                <a:cubicBezTo>
                  <a:pt x="115" y="132"/>
                  <a:pt x="115" y="129"/>
                  <a:pt x="115" y="129"/>
                </a:cubicBezTo>
                <a:cubicBezTo>
                  <a:pt x="115" y="128"/>
                  <a:pt x="116" y="126"/>
                  <a:pt x="117" y="125"/>
                </a:cubicBezTo>
                <a:cubicBezTo>
                  <a:pt x="117" y="124"/>
                  <a:pt x="118" y="123"/>
                  <a:pt x="118" y="122"/>
                </a:cubicBezTo>
                <a:cubicBezTo>
                  <a:pt x="118" y="121"/>
                  <a:pt x="118" y="120"/>
                  <a:pt x="118" y="119"/>
                </a:cubicBezTo>
                <a:cubicBezTo>
                  <a:pt x="118" y="118"/>
                  <a:pt x="121" y="116"/>
                  <a:pt x="121" y="115"/>
                </a:cubicBezTo>
                <a:cubicBezTo>
                  <a:pt x="121" y="115"/>
                  <a:pt x="123" y="113"/>
                  <a:pt x="123" y="113"/>
                </a:cubicBezTo>
                <a:cubicBezTo>
                  <a:pt x="123" y="113"/>
                  <a:pt x="122" y="112"/>
                  <a:pt x="122" y="112"/>
                </a:cubicBezTo>
                <a:cubicBezTo>
                  <a:pt x="121" y="111"/>
                  <a:pt x="120" y="111"/>
                  <a:pt x="120" y="110"/>
                </a:cubicBezTo>
                <a:cubicBezTo>
                  <a:pt x="120" y="109"/>
                  <a:pt x="120" y="108"/>
                  <a:pt x="120" y="108"/>
                </a:cubicBezTo>
                <a:cubicBezTo>
                  <a:pt x="121" y="107"/>
                  <a:pt x="121" y="105"/>
                  <a:pt x="120" y="105"/>
                </a:cubicBezTo>
                <a:cubicBezTo>
                  <a:pt x="120" y="105"/>
                  <a:pt x="117" y="100"/>
                  <a:pt x="117" y="99"/>
                </a:cubicBezTo>
                <a:cubicBezTo>
                  <a:pt x="117" y="98"/>
                  <a:pt x="116" y="97"/>
                  <a:pt x="116" y="96"/>
                </a:cubicBezTo>
                <a:cubicBezTo>
                  <a:pt x="116" y="95"/>
                  <a:pt x="116" y="94"/>
                  <a:pt x="115" y="93"/>
                </a:cubicBezTo>
                <a:cubicBezTo>
                  <a:pt x="115" y="93"/>
                  <a:pt x="115" y="92"/>
                  <a:pt x="115" y="92"/>
                </a:cubicBezTo>
                <a:cubicBezTo>
                  <a:pt x="115" y="91"/>
                  <a:pt x="114" y="89"/>
                  <a:pt x="114" y="89"/>
                </a:cubicBezTo>
                <a:cubicBezTo>
                  <a:pt x="114" y="88"/>
                  <a:pt x="99" y="0"/>
                  <a:pt x="99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1" y="3"/>
                  <a:pt x="11" y="3"/>
                  <a:pt x="11" y="3"/>
                </a:cubicBezTo>
                <a:cubicBezTo>
                  <a:pt x="13" y="4"/>
                  <a:pt x="13" y="4"/>
                  <a:pt x="13" y="4"/>
                </a:cubicBezTo>
                <a:cubicBezTo>
                  <a:pt x="0" y="126"/>
                  <a:pt x="0" y="126"/>
                  <a:pt x="0" y="126"/>
                </a:cubicBezTo>
                <a:cubicBezTo>
                  <a:pt x="3" y="189"/>
                  <a:pt x="3" y="189"/>
                  <a:pt x="3" y="189"/>
                </a:cubicBezTo>
                <a:cubicBezTo>
                  <a:pt x="3" y="189"/>
                  <a:pt x="3" y="189"/>
                  <a:pt x="4" y="189"/>
                </a:cubicBezTo>
                <a:cubicBezTo>
                  <a:pt x="5" y="189"/>
                  <a:pt x="6" y="189"/>
                  <a:pt x="6" y="189"/>
                </a:cubicBezTo>
                <a:cubicBezTo>
                  <a:pt x="8" y="189"/>
                  <a:pt x="10" y="189"/>
                  <a:pt x="11" y="189"/>
                </a:cubicBezTo>
                <a:cubicBezTo>
                  <a:pt x="12" y="189"/>
                  <a:pt x="13" y="189"/>
                  <a:pt x="13" y="189"/>
                </a:cubicBezTo>
                <a:cubicBezTo>
                  <a:pt x="13" y="189"/>
                  <a:pt x="13" y="188"/>
                  <a:pt x="13" y="187"/>
                </a:cubicBezTo>
                <a:cubicBezTo>
                  <a:pt x="13" y="186"/>
                  <a:pt x="13" y="185"/>
                  <a:pt x="13" y="184"/>
                </a:cubicBezTo>
                <a:cubicBezTo>
                  <a:pt x="14" y="183"/>
                  <a:pt x="14" y="182"/>
                  <a:pt x="14" y="181"/>
                </a:cubicBezTo>
                <a:cubicBezTo>
                  <a:pt x="14" y="181"/>
                  <a:pt x="14" y="181"/>
                  <a:pt x="14" y="180"/>
                </a:cubicBezTo>
                <a:cubicBezTo>
                  <a:pt x="14" y="180"/>
                  <a:pt x="15" y="179"/>
                  <a:pt x="15" y="179"/>
                </a:cubicBezTo>
                <a:cubicBezTo>
                  <a:pt x="15" y="178"/>
                  <a:pt x="15" y="177"/>
                  <a:pt x="16" y="177"/>
                </a:cubicBezTo>
                <a:cubicBezTo>
                  <a:pt x="17" y="177"/>
                  <a:pt x="17" y="177"/>
                  <a:pt x="17" y="177"/>
                </a:cubicBezTo>
                <a:cubicBezTo>
                  <a:pt x="18" y="177"/>
                  <a:pt x="18" y="177"/>
                  <a:pt x="19" y="178"/>
                </a:cubicBezTo>
                <a:cubicBezTo>
                  <a:pt x="19" y="178"/>
                  <a:pt x="19" y="179"/>
                  <a:pt x="19" y="180"/>
                </a:cubicBezTo>
                <a:cubicBezTo>
                  <a:pt x="19" y="180"/>
                  <a:pt x="19" y="181"/>
                  <a:pt x="19" y="182"/>
                </a:cubicBezTo>
                <a:cubicBezTo>
                  <a:pt x="19" y="184"/>
                  <a:pt x="19" y="186"/>
                  <a:pt x="20" y="188"/>
                </a:cubicBezTo>
                <a:cubicBezTo>
                  <a:pt x="20" y="189"/>
                  <a:pt x="20" y="189"/>
                  <a:pt x="21" y="189"/>
                </a:cubicBezTo>
                <a:cubicBezTo>
                  <a:pt x="21" y="190"/>
                  <a:pt x="21" y="190"/>
                  <a:pt x="22" y="190"/>
                </a:cubicBezTo>
                <a:cubicBezTo>
                  <a:pt x="22" y="191"/>
                  <a:pt x="23" y="191"/>
                  <a:pt x="24" y="192"/>
                </a:cubicBezTo>
                <a:cubicBezTo>
                  <a:pt x="24" y="192"/>
                  <a:pt x="25" y="193"/>
                  <a:pt x="25" y="194"/>
                </a:cubicBezTo>
                <a:cubicBezTo>
                  <a:pt x="25" y="195"/>
                  <a:pt x="23" y="194"/>
                  <a:pt x="22" y="194"/>
                </a:cubicBezTo>
                <a:cubicBezTo>
                  <a:pt x="22" y="194"/>
                  <a:pt x="20" y="194"/>
                  <a:pt x="20" y="195"/>
                </a:cubicBezTo>
                <a:cubicBezTo>
                  <a:pt x="21" y="195"/>
                  <a:pt x="22" y="195"/>
                  <a:pt x="23" y="195"/>
                </a:cubicBezTo>
                <a:cubicBezTo>
                  <a:pt x="23" y="195"/>
                  <a:pt x="24" y="195"/>
                  <a:pt x="25" y="195"/>
                </a:cubicBezTo>
                <a:cubicBezTo>
                  <a:pt x="25" y="195"/>
                  <a:pt x="26" y="195"/>
                  <a:pt x="27" y="195"/>
                </a:cubicBezTo>
                <a:cubicBezTo>
                  <a:pt x="27" y="195"/>
                  <a:pt x="28" y="195"/>
                  <a:pt x="28" y="195"/>
                </a:cubicBezTo>
                <a:cubicBezTo>
                  <a:pt x="29" y="195"/>
                  <a:pt x="29" y="194"/>
                  <a:pt x="30" y="194"/>
                </a:cubicBezTo>
                <a:cubicBezTo>
                  <a:pt x="30" y="194"/>
                  <a:pt x="31" y="194"/>
                  <a:pt x="31" y="193"/>
                </a:cubicBezTo>
                <a:cubicBezTo>
                  <a:pt x="32" y="193"/>
                  <a:pt x="32" y="192"/>
                  <a:pt x="32" y="192"/>
                </a:cubicBezTo>
                <a:cubicBezTo>
                  <a:pt x="33" y="191"/>
                  <a:pt x="34" y="190"/>
                  <a:pt x="36" y="189"/>
                </a:cubicBezTo>
                <a:cubicBezTo>
                  <a:pt x="36" y="189"/>
                  <a:pt x="37" y="188"/>
                  <a:pt x="37" y="187"/>
                </a:cubicBezTo>
                <a:cubicBezTo>
                  <a:pt x="37" y="187"/>
                  <a:pt x="35" y="185"/>
                  <a:pt x="36" y="185"/>
                </a:cubicBezTo>
                <a:cubicBezTo>
                  <a:pt x="36" y="184"/>
                  <a:pt x="36" y="183"/>
                  <a:pt x="36" y="183"/>
                </a:cubicBezTo>
                <a:cubicBezTo>
                  <a:pt x="36" y="183"/>
                  <a:pt x="36" y="182"/>
                  <a:pt x="36" y="181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7B453F-EC87-8384-F312-9D81208E82B6}"/>
              </a:ext>
            </a:extLst>
          </p:cNvPr>
          <p:cNvSpPr txBox="1"/>
          <p:nvPr/>
        </p:nvSpPr>
        <p:spPr>
          <a:xfrm flipH="1">
            <a:off x="2306420" y="243708"/>
            <a:ext cx="40398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/>
              <a:t>UNGROUPED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102542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98AE82-3F92-4767-A59E-F4831887E9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98AE82-3F92-4767-A59E-F4831887E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Hawaii">
            <a:extLst>
              <a:ext uri="{FF2B5EF4-FFF2-40B4-BE49-F238E27FC236}">
                <a16:creationId xmlns:a16="http://schemas.microsoft.com/office/drawing/2014/main" id="{39B0AFE4-1228-4405-A201-19EFAC1EB04E}"/>
              </a:ext>
            </a:extLst>
          </p:cNvPr>
          <p:cNvSpPr>
            <a:spLocks noEditPoints="1"/>
          </p:cNvSpPr>
          <p:nvPr/>
        </p:nvSpPr>
        <p:spPr bwMode="auto">
          <a:xfrm>
            <a:off x="2409108" y="4849897"/>
            <a:ext cx="1650552" cy="829407"/>
          </a:xfrm>
          <a:custGeom>
            <a:avLst/>
            <a:gdLst>
              <a:gd name="T0" fmla="*/ 371 w 417"/>
              <a:gd name="T1" fmla="*/ 181 h 209"/>
              <a:gd name="T2" fmla="*/ 360 w 417"/>
              <a:gd name="T3" fmla="*/ 165 h 209"/>
              <a:gd name="T4" fmla="*/ 367 w 417"/>
              <a:gd name="T5" fmla="*/ 158 h 209"/>
              <a:gd name="T6" fmla="*/ 107 w 417"/>
              <a:gd name="T7" fmla="*/ 12 h 209"/>
              <a:gd name="T8" fmla="*/ 101 w 417"/>
              <a:gd name="T9" fmla="*/ 34 h 209"/>
              <a:gd name="T10" fmla="*/ 97 w 417"/>
              <a:gd name="T11" fmla="*/ 38 h 209"/>
              <a:gd name="T12" fmla="*/ 85 w 417"/>
              <a:gd name="T13" fmla="*/ 42 h 209"/>
              <a:gd name="T14" fmla="*/ 61 w 417"/>
              <a:gd name="T15" fmla="*/ 33 h 209"/>
              <a:gd name="T16" fmla="*/ 57 w 417"/>
              <a:gd name="T17" fmla="*/ 16 h 209"/>
              <a:gd name="T18" fmla="*/ 61 w 417"/>
              <a:gd name="T19" fmla="*/ 10 h 209"/>
              <a:gd name="T20" fmla="*/ 71 w 417"/>
              <a:gd name="T21" fmla="*/ 4 h 209"/>
              <a:gd name="T22" fmla="*/ 84 w 417"/>
              <a:gd name="T23" fmla="*/ 3 h 209"/>
              <a:gd name="T24" fmla="*/ 92 w 417"/>
              <a:gd name="T25" fmla="*/ 2 h 209"/>
              <a:gd name="T26" fmla="*/ 103 w 417"/>
              <a:gd name="T27" fmla="*/ 4 h 209"/>
              <a:gd name="T28" fmla="*/ 397 w 417"/>
              <a:gd name="T29" fmla="*/ 131 h 209"/>
              <a:gd name="T30" fmla="*/ 381 w 417"/>
              <a:gd name="T31" fmla="*/ 142 h 209"/>
              <a:gd name="T32" fmla="*/ 349 w 417"/>
              <a:gd name="T33" fmla="*/ 137 h 209"/>
              <a:gd name="T34" fmla="*/ 335 w 417"/>
              <a:gd name="T35" fmla="*/ 129 h 209"/>
              <a:gd name="T36" fmla="*/ 344 w 417"/>
              <a:gd name="T37" fmla="*/ 124 h 209"/>
              <a:gd name="T38" fmla="*/ 362 w 417"/>
              <a:gd name="T39" fmla="*/ 127 h 209"/>
              <a:gd name="T40" fmla="*/ 371 w 417"/>
              <a:gd name="T41" fmla="*/ 128 h 209"/>
              <a:gd name="T42" fmla="*/ 375 w 417"/>
              <a:gd name="T43" fmla="*/ 129 h 209"/>
              <a:gd name="T44" fmla="*/ 394 w 417"/>
              <a:gd name="T45" fmla="*/ 129 h 209"/>
              <a:gd name="T46" fmla="*/ 11 w 417"/>
              <a:gd name="T47" fmla="*/ 35 h 209"/>
              <a:gd name="T48" fmla="*/ 4 w 417"/>
              <a:gd name="T49" fmla="*/ 55 h 209"/>
              <a:gd name="T50" fmla="*/ 19 w 417"/>
              <a:gd name="T51" fmla="*/ 39 h 209"/>
              <a:gd name="T52" fmla="*/ 416 w 417"/>
              <a:gd name="T53" fmla="*/ 199 h 209"/>
              <a:gd name="T54" fmla="*/ 400 w 417"/>
              <a:gd name="T55" fmla="*/ 208 h 209"/>
              <a:gd name="T56" fmla="*/ 415 w 417"/>
              <a:gd name="T57" fmla="*/ 207 h 209"/>
              <a:gd name="T58" fmla="*/ 291 w 417"/>
              <a:gd name="T59" fmla="*/ 113 h 209"/>
              <a:gd name="T60" fmla="*/ 279 w 417"/>
              <a:gd name="T61" fmla="*/ 116 h 209"/>
              <a:gd name="T62" fmla="*/ 274 w 417"/>
              <a:gd name="T63" fmla="*/ 118 h 209"/>
              <a:gd name="T64" fmla="*/ 271 w 417"/>
              <a:gd name="T65" fmla="*/ 116 h 209"/>
              <a:gd name="T66" fmla="*/ 265 w 417"/>
              <a:gd name="T67" fmla="*/ 111 h 209"/>
              <a:gd name="T68" fmla="*/ 264 w 417"/>
              <a:gd name="T69" fmla="*/ 111 h 209"/>
              <a:gd name="T70" fmla="*/ 259 w 417"/>
              <a:gd name="T71" fmla="*/ 112 h 209"/>
              <a:gd name="T72" fmla="*/ 259 w 417"/>
              <a:gd name="T73" fmla="*/ 104 h 209"/>
              <a:gd name="T74" fmla="*/ 259 w 417"/>
              <a:gd name="T75" fmla="*/ 104 h 209"/>
              <a:gd name="T76" fmla="*/ 255 w 417"/>
              <a:gd name="T77" fmla="*/ 104 h 209"/>
              <a:gd name="T78" fmla="*/ 250 w 417"/>
              <a:gd name="T79" fmla="*/ 104 h 209"/>
              <a:gd name="T80" fmla="*/ 253 w 417"/>
              <a:gd name="T81" fmla="*/ 111 h 209"/>
              <a:gd name="T82" fmla="*/ 239 w 417"/>
              <a:gd name="T83" fmla="*/ 110 h 209"/>
              <a:gd name="T84" fmla="*/ 233 w 417"/>
              <a:gd name="T85" fmla="*/ 100 h 209"/>
              <a:gd name="T86" fmla="*/ 229 w 417"/>
              <a:gd name="T87" fmla="*/ 94 h 209"/>
              <a:gd name="T88" fmla="*/ 221 w 417"/>
              <a:gd name="T89" fmla="*/ 80 h 209"/>
              <a:gd name="T90" fmla="*/ 231 w 417"/>
              <a:gd name="T91" fmla="*/ 79 h 209"/>
              <a:gd name="T92" fmla="*/ 236 w 417"/>
              <a:gd name="T93" fmla="*/ 79 h 209"/>
              <a:gd name="T94" fmla="*/ 251 w 417"/>
              <a:gd name="T95" fmla="*/ 64 h 209"/>
              <a:gd name="T96" fmla="*/ 267 w 417"/>
              <a:gd name="T97" fmla="*/ 82 h 209"/>
              <a:gd name="T98" fmla="*/ 273 w 417"/>
              <a:gd name="T99" fmla="*/ 94 h 209"/>
              <a:gd name="T100" fmla="*/ 279 w 417"/>
              <a:gd name="T101" fmla="*/ 96 h 209"/>
              <a:gd name="T102" fmla="*/ 281 w 417"/>
              <a:gd name="T103" fmla="*/ 99 h 209"/>
              <a:gd name="T104" fmla="*/ 285 w 417"/>
              <a:gd name="T105" fmla="*/ 103 h 209"/>
              <a:gd name="T106" fmla="*/ 18 w 417"/>
              <a:gd name="T107" fmla="*/ 26 h 209"/>
              <a:gd name="T108" fmla="*/ 257 w 417"/>
              <a:gd name="T109" fmla="*/ 105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17" h="209">
                <a:moveTo>
                  <a:pt x="386" y="170"/>
                </a:moveTo>
                <a:cubicBezTo>
                  <a:pt x="386" y="171"/>
                  <a:pt x="386" y="172"/>
                  <a:pt x="386" y="173"/>
                </a:cubicBezTo>
                <a:cubicBezTo>
                  <a:pt x="385" y="174"/>
                  <a:pt x="384" y="174"/>
                  <a:pt x="384" y="175"/>
                </a:cubicBezTo>
                <a:cubicBezTo>
                  <a:pt x="384" y="176"/>
                  <a:pt x="383" y="177"/>
                  <a:pt x="382" y="178"/>
                </a:cubicBezTo>
                <a:cubicBezTo>
                  <a:pt x="380" y="178"/>
                  <a:pt x="379" y="179"/>
                  <a:pt x="377" y="180"/>
                </a:cubicBezTo>
                <a:cubicBezTo>
                  <a:pt x="375" y="181"/>
                  <a:pt x="373" y="181"/>
                  <a:pt x="371" y="181"/>
                </a:cubicBezTo>
                <a:cubicBezTo>
                  <a:pt x="371" y="181"/>
                  <a:pt x="371" y="180"/>
                  <a:pt x="370" y="181"/>
                </a:cubicBezTo>
                <a:cubicBezTo>
                  <a:pt x="369" y="181"/>
                  <a:pt x="368" y="181"/>
                  <a:pt x="368" y="180"/>
                </a:cubicBezTo>
                <a:cubicBezTo>
                  <a:pt x="367" y="179"/>
                  <a:pt x="366" y="178"/>
                  <a:pt x="366" y="177"/>
                </a:cubicBezTo>
                <a:cubicBezTo>
                  <a:pt x="365" y="175"/>
                  <a:pt x="365" y="173"/>
                  <a:pt x="366" y="172"/>
                </a:cubicBezTo>
                <a:cubicBezTo>
                  <a:pt x="366" y="170"/>
                  <a:pt x="364" y="167"/>
                  <a:pt x="362" y="166"/>
                </a:cubicBezTo>
                <a:cubicBezTo>
                  <a:pt x="362" y="166"/>
                  <a:pt x="361" y="165"/>
                  <a:pt x="360" y="165"/>
                </a:cubicBezTo>
                <a:cubicBezTo>
                  <a:pt x="358" y="164"/>
                  <a:pt x="357" y="162"/>
                  <a:pt x="358" y="160"/>
                </a:cubicBezTo>
                <a:cubicBezTo>
                  <a:pt x="358" y="160"/>
                  <a:pt x="358" y="159"/>
                  <a:pt x="358" y="159"/>
                </a:cubicBezTo>
                <a:cubicBezTo>
                  <a:pt x="359" y="159"/>
                  <a:pt x="360" y="158"/>
                  <a:pt x="361" y="158"/>
                </a:cubicBezTo>
                <a:cubicBezTo>
                  <a:pt x="361" y="158"/>
                  <a:pt x="361" y="158"/>
                  <a:pt x="361" y="158"/>
                </a:cubicBezTo>
                <a:cubicBezTo>
                  <a:pt x="363" y="157"/>
                  <a:pt x="364" y="158"/>
                  <a:pt x="365" y="157"/>
                </a:cubicBezTo>
                <a:cubicBezTo>
                  <a:pt x="366" y="157"/>
                  <a:pt x="366" y="158"/>
                  <a:pt x="367" y="158"/>
                </a:cubicBezTo>
                <a:cubicBezTo>
                  <a:pt x="367" y="158"/>
                  <a:pt x="367" y="158"/>
                  <a:pt x="367" y="158"/>
                </a:cubicBezTo>
                <a:cubicBezTo>
                  <a:pt x="368" y="158"/>
                  <a:pt x="370" y="157"/>
                  <a:pt x="372" y="158"/>
                </a:cubicBezTo>
                <a:cubicBezTo>
                  <a:pt x="372" y="158"/>
                  <a:pt x="372" y="158"/>
                  <a:pt x="373" y="158"/>
                </a:cubicBezTo>
                <a:cubicBezTo>
                  <a:pt x="375" y="159"/>
                  <a:pt x="377" y="160"/>
                  <a:pt x="379" y="162"/>
                </a:cubicBezTo>
                <a:cubicBezTo>
                  <a:pt x="381" y="164"/>
                  <a:pt x="384" y="166"/>
                  <a:pt x="386" y="170"/>
                </a:cubicBezTo>
                <a:close/>
                <a:moveTo>
                  <a:pt x="107" y="12"/>
                </a:moveTo>
                <a:cubicBezTo>
                  <a:pt x="107" y="13"/>
                  <a:pt x="108" y="16"/>
                  <a:pt x="106" y="17"/>
                </a:cubicBezTo>
                <a:cubicBezTo>
                  <a:pt x="106" y="17"/>
                  <a:pt x="106" y="17"/>
                  <a:pt x="106" y="17"/>
                </a:cubicBezTo>
                <a:cubicBezTo>
                  <a:pt x="105" y="18"/>
                  <a:pt x="104" y="20"/>
                  <a:pt x="104" y="21"/>
                </a:cubicBezTo>
                <a:cubicBezTo>
                  <a:pt x="104" y="22"/>
                  <a:pt x="103" y="22"/>
                  <a:pt x="102" y="23"/>
                </a:cubicBezTo>
                <a:cubicBezTo>
                  <a:pt x="102" y="26"/>
                  <a:pt x="103" y="29"/>
                  <a:pt x="103" y="32"/>
                </a:cubicBezTo>
                <a:cubicBezTo>
                  <a:pt x="103" y="33"/>
                  <a:pt x="103" y="34"/>
                  <a:pt x="101" y="34"/>
                </a:cubicBezTo>
                <a:cubicBezTo>
                  <a:pt x="101" y="34"/>
                  <a:pt x="100" y="34"/>
                  <a:pt x="100" y="34"/>
                </a:cubicBezTo>
                <a:cubicBezTo>
                  <a:pt x="101" y="36"/>
                  <a:pt x="101" y="36"/>
                  <a:pt x="99" y="37"/>
                </a:cubicBezTo>
                <a:cubicBezTo>
                  <a:pt x="99" y="37"/>
                  <a:pt x="99" y="37"/>
                  <a:pt x="99" y="37"/>
                </a:cubicBezTo>
                <a:cubicBezTo>
                  <a:pt x="99" y="37"/>
                  <a:pt x="99" y="37"/>
                  <a:pt x="99" y="37"/>
                </a:cubicBezTo>
                <a:cubicBezTo>
                  <a:pt x="98" y="37"/>
                  <a:pt x="98" y="37"/>
                  <a:pt x="98" y="38"/>
                </a:cubicBezTo>
                <a:cubicBezTo>
                  <a:pt x="97" y="38"/>
                  <a:pt x="97" y="38"/>
                  <a:pt x="97" y="38"/>
                </a:cubicBezTo>
                <a:cubicBezTo>
                  <a:pt x="95" y="41"/>
                  <a:pt x="93" y="43"/>
                  <a:pt x="90" y="44"/>
                </a:cubicBezTo>
                <a:cubicBezTo>
                  <a:pt x="90" y="44"/>
                  <a:pt x="90" y="44"/>
                  <a:pt x="90" y="44"/>
                </a:cubicBezTo>
                <a:cubicBezTo>
                  <a:pt x="90" y="44"/>
                  <a:pt x="90" y="44"/>
                  <a:pt x="90" y="44"/>
                </a:cubicBezTo>
                <a:cubicBezTo>
                  <a:pt x="90" y="44"/>
                  <a:pt x="90" y="44"/>
                  <a:pt x="90" y="44"/>
                </a:cubicBezTo>
                <a:cubicBezTo>
                  <a:pt x="88" y="43"/>
                  <a:pt x="87" y="43"/>
                  <a:pt x="85" y="42"/>
                </a:cubicBezTo>
                <a:cubicBezTo>
                  <a:pt x="85" y="42"/>
                  <a:pt x="85" y="42"/>
                  <a:pt x="85" y="42"/>
                </a:cubicBezTo>
                <a:cubicBezTo>
                  <a:pt x="85" y="42"/>
                  <a:pt x="85" y="42"/>
                  <a:pt x="85" y="42"/>
                </a:cubicBezTo>
                <a:cubicBezTo>
                  <a:pt x="81" y="42"/>
                  <a:pt x="77" y="42"/>
                  <a:pt x="74" y="40"/>
                </a:cubicBezTo>
                <a:cubicBezTo>
                  <a:pt x="74" y="40"/>
                  <a:pt x="73" y="40"/>
                  <a:pt x="73" y="40"/>
                </a:cubicBezTo>
                <a:cubicBezTo>
                  <a:pt x="71" y="40"/>
                  <a:pt x="69" y="40"/>
                  <a:pt x="68" y="37"/>
                </a:cubicBezTo>
                <a:cubicBezTo>
                  <a:pt x="68" y="37"/>
                  <a:pt x="67" y="37"/>
                  <a:pt x="67" y="36"/>
                </a:cubicBezTo>
                <a:cubicBezTo>
                  <a:pt x="66" y="34"/>
                  <a:pt x="63" y="34"/>
                  <a:pt x="61" y="33"/>
                </a:cubicBezTo>
                <a:cubicBezTo>
                  <a:pt x="59" y="32"/>
                  <a:pt x="57" y="31"/>
                  <a:pt x="55" y="31"/>
                </a:cubicBezTo>
                <a:cubicBezTo>
                  <a:pt x="55" y="31"/>
                  <a:pt x="55" y="31"/>
                  <a:pt x="55" y="31"/>
                </a:cubicBezTo>
                <a:cubicBezTo>
                  <a:pt x="53" y="28"/>
                  <a:pt x="51" y="25"/>
                  <a:pt x="52" y="22"/>
                </a:cubicBezTo>
                <a:cubicBezTo>
                  <a:pt x="52" y="20"/>
                  <a:pt x="53" y="19"/>
                  <a:pt x="54" y="18"/>
                </a:cubicBezTo>
                <a:cubicBezTo>
                  <a:pt x="55" y="18"/>
                  <a:pt x="56" y="17"/>
                  <a:pt x="57" y="16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15"/>
                  <a:pt x="57" y="14"/>
                  <a:pt x="58" y="13"/>
                </a:cubicBezTo>
                <a:cubicBezTo>
                  <a:pt x="58" y="13"/>
                  <a:pt x="58" y="13"/>
                  <a:pt x="58" y="13"/>
                </a:cubicBezTo>
                <a:cubicBezTo>
                  <a:pt x="58" y="12"/>
                  <a:pt x="58" y="12"/>
                  <a:pt x="58" y="12"/>
                </a:cubicBezTo>
                <a:cubicBezTo>
                  <a:pt x="59" y="11"/>
                  <a:pt x="59" y="10"/>
                  <a:pt x="60" y="10"/>
                </a:cubicBezTo>
                <a:cubicBezTo>
                  <a:pt x="60" y="10"/>
                  <a:pt x="60" y="10"/>
                  <a:pt x="61" y="10"/>
                </a:cubicBezTo>
                <a:cubicBezTo>
                  <a:pt x="61" y="9"/>
                  <a:pt x="61" y="9"/>
                  <a:pt x="61" y="9"/>
                </a:cubicBezTo>
                <a:cubicBezTo>
                  <a:pt x="64" y="9"/>
                  <a:pt x="67" y="7"/>
                  <a:pt x="69" y="5"/>
                </a:cubicBezTo>
                <a:cubicBezTo>
                  <a:pt x="70" y="5"/>
                  <a:pt x="70" y="5"/>
                  <a:pt x="71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2" y="4"/>
                  <a:pt x="73" y="3"/>
                  <a:pt x="73" y="3"/>
                </a:cubicBezTo>
                <a:cubicBezTo>
                  <a:pt x="75" y="1"/>
                  <a:pt x="76" y="1"/>
                  <a:pt x="78" y="1"/>
                </a:cubicBezTo>
                <a:cubicBezTo>
                  <a:pt x="78" y="1"/>
                  <a:pt x="79" y="1"/>
                  <a:pt x="79" y="2"/>
                </a:cubicBezTo>
                <a:cubicBezTo>
                  <a:pt x="79" y="2"/>
                  <a:pt x="80" y="2"/>
                  <a:pt x="80" y="2"/>
                </a:cubicBezTo>
                <a:cubicBezTo>
                  <a:pt x="81" y="2"/>
                  <a:pt x="82" y="2"/>
                  <a:pt x="82" y="3"/>
                </a:cubicBezTo>
                <a:cubicBezTo>
                  <a:pt x="83" y="4"/>
                  <a:pt x="83" y="3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5" y="0"/>
                  <a:pt x="85" y="0"/>
                  <a:pt x="87" y="1"/>
                </a:cubicBezTo>
                <a:cubicBezTo>
                  <a:pt x="88" y="1"/>
                  <a:pt x="89" y="1"/>
                  <a:pt x="90" y="1"/>
                </a:cubicBezTo>
                <a:cubicBezTo>
                  <a:pt x="91" y="1"/>
                  <a:pt x="91" y="1"/>
                  <a:pt x="92" y="2"/>
                </a:cubicBezTo>
                <a:cubicBezTo>
                  <a:pt x="92" y="2"/>
                  <a:pt x="92" y="2"/>
                  <a:pt x="92" y="2"/>
                </a:cubicBezTo>
                <a:cubicBezTo>
                  <a:pt x="92" y="2"/>
                  <a:pt x="92" y="2"/>
                  <a:pt x="92" y="2"/>
                </a:cubicBezTo>
                <a:cubicBezTo>
                  <a:pt x="92" y="2"/>
                  <a:pt x="92" y="2"/>
                  <a:pt x="92" y="2"/>
                </a:cubicBezTo>
                <a:cubicBezTo>
                  <a:pt x="93" y="1"/>
                  <a:pt x="94" y="1"/>
                  <a:pt x="95" y="1"/>
                </a:cubicBezTo>
                <a:cubicBezTo>
                  <a:pt x="97" y="0"/>
                  <a:pt x="97" y="2"/>
                  <a:pt x="98" y="2"/>
                </a:cubicBezTo>
                <a:cubicBezTo>
                  <a:pt x="98" y="2"/>
                  <a:pt x="99" y="3"/>
                  <a:pt x="100" y="3"/>
                </a:cubicBezTo>
                <a:cubicBezTo>
                  <a:pt x="101" y="2"/>
                  <a:pt x="102" y="3"/>
                  <a:pt x="103" y="4"/>
                </a:cubicBezTo>
                <a:cubicBezTo>
                  <a:pt x="103" y="4"/>
                  <a:pt x="103" y="5"/>
                  <a:pt x="103" y="5"/>
                </a:cubicBezTo>
                <a:cubicBezTo>
                  <a:pt x="106" y="6"/>
                  <a:pt x="105" y="8"/>
                  <a:pt x="106" y="10"/>
                </a:cubicBezTo>
                <a:cubicBezTo>
                  <a:pt x="106" y="10"/>
                  <a:pt x="106" y="10"/>
                  <a:pt x="106" y="11"/>
                </a:cubicBezTo>
                <a:cubicBezTo>
                  <a:pt x="106" y="11"/>
                  <a:pt x="107" y="11"/>
                  <a:pt x="107" y="12"/>
                </a:cubicBezTo>
                <a:close/>
                <a:moveTo>
                  <a:pt x="397" y="130"/>
                </a:moveTo>
                <a:cubicBezTo>
                  <a:pt x="397" y="130"/>
                  <a:pt x="397" y="131"/>
                  <a:pt x="397" y="131"/>
                </a:cubicBezTo>
                <a:cubicBezTo>
                  <a:pt x="395" y="133"/>
                  <a:pt x="395" y="134"/>
                  <a:pt x="393" y="136"/>
                </a:cubicBezTo>
                <a:cubicBezTo>
                  <a:pt x="393" y="136"/>
                  <a:pt x="393" y="136"/>
                  <a:pt x="393" y="136"/>
                </a:cubicBezTo>
                <a:cubicBezTo>
                  <a:pt x="393" y="136"/>
                  <a:pt x="393" y="136"/>
                  <a:pt x="393" y="136"/>
                </a:cubicBezTo>
                <a:cubicBezTo>
                  <a:pt x="391" y="138"/>
                  <a:pt x="389" y="139"/>
                  <a:pt x="387" y="141"/>
                </a:cubicBezTo>
                <a:cubicBezTo>
                  <a:pt x="385" y="140"/>
                  <a:pt x="383" y="143"/>
                  <a:pt x="381" y="142"/>
                </a:cubicBezTo>
                <a:cubicBezTo>
                  <a:pt x="381" y="142"/>
                  <a:pt x="381" y="142"/>
                  <a:pt x="381" y="142"/>
                </a:cubicBezTo>
                <a:cubicBezTo>
                  <a:pt x="378" y="144"/>
                  <a:pt x="375" y="142"/>
                  <a:pt x="373" y="142"/>
                </a:cubicBezTo>
                <a:cubicBezTo>
                  <a:pt x="371" y="141"/>
                  <a:pt x="368" y="141"/>
                  <a:pt x="366" y="140"/>
                </a:cubicBezTo>
                <a:cubicBezTo>
                  <a:pt x="364" y="139"/>
                  <a:pt x="362" y="139"/>
                  <a:pt x="360" y="137"/>
                </a:cubicBezTo>
                <a:cubicBezTo>
                  <a:pt x="360" y="137"/>
                  <a:pt x="360" y="137"/>
                  <a:pt x="360" y="137"/>
                </a:cubicBezTo>
                <a:cubicBezTo>
                  <a:pt x="359" y="137"/>
                  <a:pt x="357" y="137"/>
                  <a:pt x="355" y="137"/>
                </a:cubicBezTo>
                <a:cubicBezTo>
                  <a:pt x="353" y="136"/>
                  <a:pt x="351" y="137"/>
                  <a:pt x="349" y="137"/>
                </a:cubicBezTo>
                <a:cubicBezTo>
                  <a:pt x="347" y="138"/>
                  <a:pt x="345" y="138"/>
                  <a:pt x="343" y="138"/>
                </a:cubicBezTo>
                <a:cubicBezTo>
                  <a:pt x="341" y="138"/>
                  <a:pt x="339" y="138"/>
                  <a:pt x="337" y="138"/>
                </a:cubicBezTo>
                <a:cubicBezTo>
                  <a:pt x="335" y="138"/>
                  <a:pt x="333" y="138"/>
                  <a:pt x="331" y="137"/>
                </a:cubicBezTo>
                <a:cubicBezTo>
                  <a:pt x="330" y="137"/>
                  <a:pt x="329" y="137"/>
                  <a:pt x="330" y="136"/>
                </a:cubicBezTo>
                <a:cubicBezTo>
                  <a:pt x="331" y="135"/>
                  <a:pt x="331" y="134"/>
                  <a:pt x="331" y="133"/>
                </a:cubicBezTo>
                <a:cubicBezTo>
                  <a:pt x="332" y="131"/>
                  <a:pt x="334" y="130"/>
                  <a:pt x="335" y="129"/>
                </a:cubicBezTo>
                <a:cubicBezTo>
                  <a:pt x="336" y="128"/>
                  <a:pt x="337" y="126"/>
                  <a:pt x="336" y="125"/>
                </a:cubicBezTo>
                <a:cubicBezTo>
                  <a:pt x="336" y="124"/>
                  <a:pt x="336" y="124"/>
                  <a:pt x="336" y="123"/>
                </a:cubicBezTo>
                <a:cubicBezTo>
                  <a:pt x="336" y="123"/>
                  <a:pt x="335" y="123"/>
                  <a:pt x="336" y="122"/>
                </a:cubicBezTo>
                <a:cubicBezTo>
                  <a:pt x="336" y="122"/>
                  <a:pt x="336" y="122"/>
                  <a:pt x="337" y="122"/>
                </a:cubicBezTo>
                <a:cubicBezTo>
                  <a:pt x="337" y="123"/>
                  <a:pt x="338" y="123"/>
                  <a:pt x="339" y="123"/>
                </a:cubicBezTo>
                <a:cubicBezTo>
                  <a:pt x="341" y="123"/>
                  <a:pt x="342" y="124"/>
                  <a:pt x="344" y="124"/>
                </a:cubicBezTo>
                <a:cubicBezTo>
                  <a:pt x="346" y="125"/>
                  <a:pt x="349" y="125"/>
                  <a:pt x="352" y="125"/>
                </a:cubicBezTo>
                <a:cubicBezTo>
                  <a:pt x="352" y="125"/>
                  <a:pt x="353" y="125"/>
                  <a:pt x="354" y="126"/>
                </a:cubicBezTo>
                <a:cubicBezTo>
                  <a:pt x="354" y="126"/>
                  <a:pt x="354" y="126"/>
                  <a:pt x="354" y="126"/>
                </a:cubicBezTo>
                <a:cubicBezTo>
                  <a:pt x="356" y="126"/>
                  <a:pt x="359" y="126"/>
                  <a:pt x="362" y="127"/>
                </a:cubicBezTo>
                <a:cubicBezTo>
                  <a:pt x="362" y="127"/>
                  <a:pt x="362" y="127"/>
                  <a:pt x="362" y="127"/>
                </a:cubicBezTo>
                <a:cubicBezTo>
                  <a:pt x="362" y="127"/>
                  <a:pt x="362" y="127"/>
                  <a:pt x="362" y="127"/>
                </a:cubicBezTo>
                <a:cubicBezTo>
                  <a:pt x="363" y="127"/>
                  <a:pt x="364" y="127"/>
                  <a:pt x="364" y="127"/>
                </a:cubicBezTo>
                <a:cubicBezTo>
                  <a:pt x="365" y="127"/>
                  <a:pt x="365" y="127"/>
                  <a:pt x="365" y="126"/>
                </a:cubicBezTo>
                <a:cubicBezTo>
                  <a:pt x="366" y="126"/>
                  <a:pt x="366" y="125"/>
                  <a:pt x="366" y="125"/>
                </a:cubicBezTo>
                <a:cubicBezTo>
                  <a:pt x="366" y="124"/>
                  <a:pt x="366" y="123"/>
                  <a:pt x="367" y="123"/>
                </a:cubicBezTo>
                <a:cubicBezTo>
                  <a:pt x="368" y="123"/>
                  <a:pt x="369" y="124"/>
                  <a:pt x="369" y="125"/>
                </a:cubicBezTo>
                <a:cubicBezTo>
                  <a:pt x="370" y="126"/>
                  <a:pt x="370" y="127"/>
                  <a:pt x="371" y="128"/>
                </a:cubicBezTo>
                <a:cubicBezTo>
                  <a:pt x="371" y="128"/>
                  <a:pt x="371" y="128"/>
                  <a:pt x="371" y="128"/>
                </a:cubicBezTo>
                <a:cubicBezTo>
                  <a:pt x="372" y="128"/>
                  <a:pt x="372" y="128"/>
                  <a:pt x="373" y="128"/>
                </a:cubicBezTo>
                <a:cubicBezTo>
                  <a:pt x="373" y="129"/>
                  <a:pt x="373" y="129"/>
                  <a:pt x="373" y="129"/>
                </a:cubicBezTo>
                <a:cubicBezTo>
                  <a:pt x="373" y="129"/>
                  <a:pt x="373" y="129"/>
                  <a:pt x="373" y="129"/>
                </a:cubicBezTo>
                <a:cubicBezTo>
                  <a:pt x="374" y="129"/>
                  <a:pt x="375" y="129"/>
                  <a:pt x="375" y="129"/>
                </a:cubicBezTo>
                <a:cubicBezTo>
                  <a:pt x="375" y="129"/>
                  <a:pt x="375" y="129"/>
                  <a:pt x="375" y="129"/>
                </a:cubicBezTo>
                <a:cubicBezTo>
                  <a:pt x="376" y="129"/>
                  <a:pt x="377" y="128"/>
                  <a:pt x="378" y="130"/>
                </a:cubicBezTo>
                <a:cubicBezTo>
                  <a:pt x="378" y="130"/>
                  <a:pt x="378" y="130"/>
                  <a:pt x="379" y="130"/>
                </a:cubicBezTo>
                <a:cubicBezTo>
                  <a:pt x="381" y="129"/>
                  <a:pt x="383" y="129"/>
                  <a:pt x="386" y="128"/>
                </a:cubicBezTo>
                <a:cubicBezTo>
                  <a:pt x="387" y="128"/>
                  <a:pt x="388" y="129"/>
                  <a:pt x="389" y="128"/>
                </a:cubicBezTo>
                <a:cubicBezTo>
                  <a:pt x="390" y="128"/>
                  <a:pt x="391" y="128"/>
                  <a:pt x="392" y="128"/>
                </a:cubicBezTo>
                <a:cubicBezTo>
                  <a:pt x="393" y="128"/>
                  <a:pt x="394" y="128"/>
                  <a:pt x="394" y="129"/>
                </a:cubicBezTo>
                <a:cubicBezTo>
                  <a:pt x="394" y="130"/>
                  <a:pt x="395" y="130"/>
                  <a:pt x="396" y="130"/>
                </a:cubicBezTo>
                <a:cubicBezTo>
                  <a:pt x="396" y="130"/>
                  <a:pt x="396" y="130"/>
                  <a:pt x="397" y="130"/>
                </a:cubicBezTo>
                <a:close/>
                <a:moveTo>
                  <a:pt x="21" y="29"/>
                </a:moveTo>
                <a:cubicBezTo>
                  <a:pt x="20" y="28"/>
                  <a:pt x="19" y="28"/>
                  <a:pt x="18" y="28"/>
                </a:cubicBezTo>
                <a:cubicBezTo>
                  <a:pt x="16" y="29"/>
                  <a:pt x="15" y="29"/>
                  <a:pt x="15" y="31"/>
                </a:cubicBezTo>
                <a:cubicBezTo>
                  <a:pt x="15" y="33"/>
                  <a:pt x="14" y="35"/>
                  <a:pt x="11" y="35"/>
                </a:cubicBezTo>
                <a:cubicBezTo>
                  <a:pt x="10" y="36"/>
                  <a:pt x="8" y="37"/>
                  <a:pt x="7" y="38"/>
                </a:cubicBezTo>
                <a:cubicBezTo>
                  <a:pt x="5" y="40"/>
                  <a:pt x="2" y="41"/>
                  <a:pt x="2" y="45"/>
                </a:cubicBezTo>
                <a:cubicBezTo>
                  <a:pt x="2" y="45"/>
                  <a:pt x="2" y="45"/>
                  <a:pt x="2" y="45"/>
                </a:cubicBezTo>
                <a:cubicBezTo>
                  <a:pt x="1" y="46"/>
                  <a:pt x="0" y="47"/>
                  <a:pt x="1" y="49"/>
                </a:cubicBezTo>
                <a:cubicBezTo>
                  <a:pt x="1" y="50"/>
                  <a:pt x="0" y="50"/>
                  <a:pt x="1" y="51"/>
                </a:cubicBezTo>
                <a:cubicBezTo>
                  <a:pt x="2" y="52"/>
                  <a:pt x="3" y="54"/>
                  <a:pt x="4" y="55"/>
                </a:cubicBezTo>
                <a:cubicBezTo>
                  <a:pt x="4" y="55"/>
                  <a:pt x="5" y="55"/>
                  <a:pt x="5" y="54"/>
                </a:cubicBezTo>
                <a:cubicBezTo>
                  <a:pt x="5" y="53"/>
                  <a:pt x="6" y="52"/>
                  <a:pt x="7" y="51"/>
                </a:cubicBezTo>
                <a:cubicBezTo>
                  <a:pt x="7" y="49"/>
                  <a:pt x="9" y="47"/>
                  <a:pt x="10" y="45"/>
                </a:cubicBezTo>
                <a:cubicBezTo>
                  <a:pt x="10" y="44"/>
                  <a:pt x="12" y="44"/>
                  <a:pt x="13" y="44"/>
                </a:cubicBezTo>
                <a:cubicBezTo>
                  <a:pt x="15" y="43"/>
                  <a:pt x="17" y="42"/>
                  <a:pt x="18" y="41"/>
                </a:cubicBezTo>
                <a:cubicBezTo>
                  <a:pt x="19" y="41"/>
                  <a:pt x="20" y="40"/>
                  <a:pt x="19" y="39"/>
                </a:cubicBezTo>
                <a:cubicBezTo>
                  <a:pt x="18" y="36"/>
                  <a:pt x="19" y="33"/>
                  <a:pt x="21" y="31"/>
                </a:cubicBezTo>
                <a:cubicBezTo>
                  <a:pt x="22" y="30"/>
                  <a:pt x="22" y="29"/>
                  <a:pt x="21" y="29"/>
                </a:cubicBezTo>
                <a:close/>
                <a:moveTo>
                  <a:pt x="415" y="205"/>
                </a:moveTo>
                <a:cubicBezTo>
                  <a:pt x="414" y="204"/>
                  <a:pt x="414" y="204"/>
                  <a:pt x="415" y="203"/>
                </a:cubicBezTo>
                <a:cubicBezTo>
                  <a:pt x="415" y="202"/>
                  <a:pt x="415" y="201"/>
                  <a:pt x="416" y="200"/>
                </a:cubicBezTo>
                <a:cubicBezTo>
                  <a:pt x="416" y="200"/>
                  <a:pt x="416" y="199"/>
                  <a:pt x="416" y="199"/>
                </a:cubicBezTo>
                <a:cubicBezTo>
                  <a:pt x="415" y="197"/>
                  <a:pt x="412" y="196"/>
                  <a:pt x="410" y="197"/>
                </a:cubicBezTo>
                <a:cubicBezTo>
                  <a:pt x="409" y="197"/>
                  <a:pt x="408" y="198"/>
                  <a:pt x="408" y="198"/>
                </a:cubicBezTo>
                <a:cubicBezTo>
                  <a:pt x="406" y="200"/>
                  <a:pt x="404" y="202"/>
                  <a:pt x="401" y="202"/>
                </a:cubicBezTo>
                <a:cubicBezTo>
                  <a:pt x="399" y="202"/>
                  <a:pt x="399" y="204"/>
                  <a:pt x="398" y="205"/>
                </a:cubicBezTo>
                <a:cubicBezTo>
                  <a:pt x="398" y="206"/>
                  <a:pt x="399" y="206"/>
                  <a:pt x="399" y="207"/>
                </a:cubicBezTo>
                <a:cubicBezTo>
                  <a:pt x="400" y="207"/>
                  <a:pt x="400" y="207"/>
                  <a:pt x="400" y="208"/>
                </a:cubicBezTo>
                <a:cubicBezTo>
                  <a:pt x="401" y="209"/>
                  <a:pt x="401" y="209"/>
                  <a:pt x="402" y="208"/>
                </a:cubicBezTo>
                <a:cubicBezTo>
                  <a:pt x="403" y="208"/>
                  <a:pt x="403" y="207"/>
                  <a:pt x="404" y="207"/>
                </a:cubicBezTo>
                <a:cubicBezTo>
                  <a:pt x="406" y="208"/>
                  <a:pt x="407" y="207"/>
                  <a:pt x="408" y="206"/>
                </a:cubicBezTo>
                <a:cubicBezTo>
                  <a:pt x="409" y="206"/>
                  <a:pt x="409" y="206"/>
                  <a:pt x="410" y="207"/>
                </a:cubicBezTo>
                <a:cubicBezTo>
                  <a:pt x="410" y="208"/>
                  <a:pt x="411" y="208"/>
                  <a:pt x="412" y="207"/>
                </a:cubicBezTo>
                <a:cubicBezTo>
                  <a:pt x="413" y="207"/>
                  <a:pt x="414" y="206"/>
                  <a:pt x="415" y="207"/>
                </a:cubicBezTo>
                <a:cubicBezTo>
                  <a:pt x="415" y="207"/>
                  <a:pt x="416" y="206"/>
                  <a:pt x="416" y="205"/>
                </a:cubicBezTo>
                <a:cubicBezTo>
                  <a:pt x="417" y="205"/>
                  <a:pt x="416" y="205"/>
                  <a:pt x="415" y="205"/>
                </a:cubicBezTo>
                <a:close/>
                <a:moveTo>
                  <a:pt x="259" y="104"/>
                </a:move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lose/>
                <a:moveTo>
                  <a:pt x="291" y="113"/>
                </a:moveTo>
                <a:cubicBezTo>
                  <a:pt x="290" y="114"/>
                  <a:pt x="288" y="116"/>
                  <a:pt x="286" y="116"/>
                </a:cubicBezTo>
                <a:cubicBezTo>
                  <a:pt x="286" y="116"/>
                  <a:pt x="286" y="116"/>
                  <a:pt x="286" y="116"/>
                </a:cubicBezTo>
                <a:cubicBezTo>
                  <a:pt x="287" y="117"/>
                  <a:pt x="286" y="117"/>
                  <a:pt x="286" y="117"/>
                </a:cubicBezTo>
                <a:cubicBezTo>
                  <a:pt x="284" y="117"/>
                  <a:pt x="285" y="116"/>
                  <a:pt x="285" y="116"/>
                </a:cubicBezTo>
                <a:cubicBezTo>
                  <a:pt x="284" y="114"/>
                  <a:pt x="282" y="115"/>
                  <a:pt x="281" y="115"/>
                </a:cubicBezTo>
                <a:cubicBezTo>
                  <a:pt x="281" y="115"/>
                  <a:pt x="280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9" y="116"/>
                  <a:pt x="279" y="116"/>
                  <a:pt x="279" y="116"/>
                </a:cubicBezTo>
                <a:cubicBezTo>
                  <a:pt x="278" y="116"/>
                  <a:pt x="277" y="116"/>
                  <a:pt x="276" y="118"/>
                </a:cubicBezTo>
                <a:cubicBezTo>
                  <a:pt x="276" y="118"/>
                  <a:pt x="275" y="118"/>
                  <a:pt x="274" y="118"/>
                </a:cubicBezTo>
                <a:cubicBezTo>
                  <a:pt x="274" y="118"/>
                  <a:pt x="274" y="118"/>
                  <a:pt x="274" y="118"/>
                </a:cubicBezTo>
                <a:cubicBezTo>
                  <a:pt x="274" y="118"/>
                  <a:pt x="274" y="118"/>
                  <a:pt x="274" y="118"/>
                </a:cubicBezTo>
                <a:cubicBezTo>
                  <a:pt x="273" y="118"/>
                  <a:pt x="273" y="118"/>
                  <a:pt x="273" y="117"/>
                </a:cubicBezTo>
                <a:cubicBezTo>
                  <a:pt x="273" y="117"/>
                  <a:pt x="272" y="117"/>
                  <a:pt x="272" y="116"/>
                </a:cubicBezTo>
                <a:cubicBezTo>
                  <a:pt x="272" y="116"/>
                  <a:pt x="272" y="116"/>
                  <a:pt x="272" y="116"/>
                </a:cubicBezTo>
                <a:cubicBezTo>
                  <a:pt x="272" y="116"/>
                  <a:pt x="272" y="116"/>
                  <a:pt x="271" y="116"/>
                </a:cubicBezTo>
                <a:cubicBezTo>
                  <a:pt x="270" y="115"/>
                  <a:pt x="269" y="114"/>
                  <a:pt x="268" y="114"/>
                </a:cubicBezTo>
                <a:cubicBezTo>
                  <a:pt x="267" y="113"/>
                  <a:pt x="267" y="113"/>
                  <a:pt x="267" y="112"/>
                </a:cubicBezTo>
                <a:cubicBezTo>
                  <a:pt x="267" y="111"/>
                  <a:pt x="267" y="111"/>
                  <a:pt x="266" y="111"/>
                </a:cubicBezTo>
                <a:cubicBezTo>
                  <a:pt x="266" y="111"/>
                  <a:pt x="266" y="111"/>
                  <a:pt x="266" y="111"/>
                </a:cubicBezTo>
                <a:cubicBezTo>
                  <a:pt x="266" y="111"/>
                  <a:pt x="266" y="111"/>
                  <a:pt x="266" y="111"/>
                </a:cubicBezTo>
                <a:cubicBezTo>
                  <a:pt x="266" y="111"/>
                  <a:pt x="265" y="111"/>
                  <a:pt x="265" y="111"/>
                </a:cubicBezTo>
                <a:cubicBezTo>
                  <a:pt x="265" y="111"/>
                  <a:pt x="266" y="111"/>
                  <a:pt x="266" y="112"/>
                </a:cubicBezTo>
                <a:cubicBezTo>
                  <a:pt x="266" y="112"/>
                  <a:pt x="266" y="112"/>
                  <a:pt x="266" y="112"/>
                </a:cubicBezTo>
                <a:cubicBezTo>
                  <a:pt x="266" y="112"/>
                  <a:pt x="266" y="113"/>
                  <a:pt x="266" y="113"/>
                </a:cubicBezTo>
                <a:cubicBezTo>
                  <a:pt x="265" y="113"/>
                  <a:pt x="265" y="112"/>
                  <a:pt x="265" y="112"/>
                </a:cubicBezTo>
                <a:cubicBezTo>
                  <a:pt x="265" y="112"/>
                  <a:pt x="264" y="111"/>
                  <a:pt x="264" y="111"/>
                </a:cubicBezTo>
                <a:cubicBezTo>
                  <a:pt x="264" y="111"/>
                  <a:pt x="264" y="111"/>
                  <a:pt x="264" y="111"/>
                </a:cubicBezTo>
                <a:cubicBezTo>
                  <a:pt x="264" y="111"/>
                  <a:pt x="264" y="111"/>
                  <a:pt x="264" y="111"/>
                </a:cubicBezTo>
                <a:cubicBezTo>
                  <a:pt x="264" y="111"/>
                  <a:pt x="264" y="111"/>
                  <a:pt x="264" y="111"/>
                </a:cubicBezTo>
                <a:cubicBezTo>
                  <a:pt x="264" y="109"/>
                  <a:pt x="263" y="109"/>
                  <a:pt x="262" y="111"/>
                </a:cubicBezTo>
                <a:cubicBezTo>
                  <a:pt x="262" y="111"/>
                  <a:pt x="262" y="111"/>
                  <a:pt x="262" y="111"/>
                </a:cubicBezTo>
                <a:cubicBezTo>
                  <a:pt x="263" y="113"/>
                  <a:pt x="262" y="112"/>
                  <a:pt x="261" y="112"/>
                </a:cubicBezTo>
                <a:cubicBezTo>
                  <a:pt x="261" y="112"/>
                  <a:pt x="260" y="112"/>
                  <a:pt x="259" y="112"/>
                </a:cubicBezTo>
                <a:cubicBezTo>
                  <a:pt x="258" y="112"/>
                  <a:pt x="258" y="112"/>
                  <a:pt x="258" y="112"/>
                </a:cubicBezTo>
                <a:cubicBezTo>
                  <a:pt x="258" y="112"/>
                  <a:pt x="258" y="112"/>
                  <a:pt x="258" y="112"/>
                </a:cubicBezTo>
                <a:cubicBezTo>
                  <a:pt x="258" y="111"/>
                  <a:pt x="257" y="110"/>
                  <a:pt x="257" y="110"/>
                </a:cubicBezTo>
                <a:cubicBezTo>
                  <a:pt x="256" y="109"/>
                  <a:pt x="256" y="107"/>
                  <a:pt x="257" y="106"/>
                </a:cubicBezTo>
                <a:cubicBezTo>
                  <a:pt x="258" y="105"/>
                  <a:pt x="259" y="105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4"/>
                  <a:pt x="259" y="104"/>
                </a:cubicBezTo>
                <a:cubicBezTo>
                  <a:pt x="259" y="104"/>
                  <a:pt x="259" y="103"/>
                  <a:pt x="259" y="103"/>
                </a:cubicBezTo>
                <a:cubicBezTo>
                  <a:pt x="258" y="102"/>
                  <a:pt x="257" y="102"/>
                  <a:pt x="256" y="102"/>
                </a:cubicBezTo>
                <a:cubicBezTo>
                  <a:pt x="256" y="102"/>
                  <a:pt x="256" y="102"/>
                  <a:pt x="256" y="102"/>
                </a:cubicBezTo>
                <a:cubicBezTo>
                  <a:pt x="256" y="102"/>
                  <a:pt x="256" y="102"/>
                  <a:pt x="256" y="102"/>
                </a:cubicBezTo>
                <a:cubicBezTo>
                  <a:pt x="256" y="103"/>
                  <a:pt x="256" y="103"/>
                  <a:pt x="256" y="103"/>
                </a:cubicBezTo>
                <a:cubicBezTo>
                  <a:pt x="256" y="104"/>
                  <a:pt x="256" y="104"/>
                  <a:pt x="255" y="104"/>
                </a:cubicBezTo>
                <a:cubicBezTo>
                  <a:pt x="255" y="104"/>
                  <a:pt x="255" y="104"/>
                  <a:pt x="255" y="104"/>
                </a:cubicBezTo>
                <a:cubicBezTo>
                  <a:pt x="255" y="103"/>
                  <a:pt x="254" y="102"/>
                  <a:pt x="254" y="103"/>
                </a:cubicBezTo>
                <a:cubicBezTo>
                  <a:pt x="253" y="104"/>
                  <a:pt x="254" y="105"/>
                  <a:pt x="254" y="105"/>
                </a:cubicBezTo>
                <a:cubicBezTo>
                  <a:pt x="255" y="105"/>
                  <a:pt x="255" y="106"/>
                  <a:pt x="255" y="107"/>
                </a:cubicBezTo>
                <a:cubicBezTo>
                  <a:pt x="254" y="106"/>
                  <a:pt x="252" y="106"/>
                  <a:pt x="252" y="105"/>
                </a:cubicBezTo>
                <a:cubicBezTo>
                  <a:pt x="252" y="104"/>
                  <a:pt x="251" y="104"/>
                  <a:pt x="250" y="104"/>
                </a:cubicBezTo>
                <a:cubicBezTo>
                  <a:pt x="250" y="104"/>
                  <a:pt x="250" y="105"/>
                  <a:pt x="250" y="105"/>
                </a:cubicBezTo>
                <a:cubicBezTo>
                  <a:pt x="250" y="106"/>
                  <a:pt x="250" y="106"/>
                  <a:pt x="251" y="106"/>
                </a:cubicBezTo>
                <a:cubicBezTo>
                  <a:pt x="252" y="106"/>
                  <a:pt x="252" y="106"/>
                  <a:pt x="253" y="107"/>
                </a:cubicBezTo>
                <a:cubicBezTo>
                  <a:pt x="255" y="107"/>
                  <a:pt x="255" y="108"/>
                  <a:pt x="255" y="109"/>
                </a:cubicBezTo>
                <a:cubicBezTo>
                  <a:pt x="255" y="111"/>
                  <a:pt x="254" y="111"/>
                  <a:pt x="253" y="111"/>
                </a:cubicBezTo>
                <a:cubicBezTo>
                  <a:pt x="253" y="111"/>
                  <a:pt x="253" y="111"/>
                  <a:pt x="253" y="111"/>
                </a:cubicBezTo>
                <a:cubicBezTo>
                  <a:pt x="252" y="112"/>
                  <a:pt x="250" y="112"/>
                  <a:pt x="249" y="112"/>
                </a:cubicBezTo>
                <a:cubicBezTo>
                  <a:pt x="249" y="112"/>
                  <a:pt x="249" y="112"/>
                  <a:pt x="249" y="112"/>
                </a:cubicBezTo>
                <a:cubicBezTo>
                  <a:pt x="247" y="113"/>
                  <a:pt x="245" y="113"/>
                  <a:pt x="243" y="113"/>
                </a:cubicBezTo>
                <a:cubicBezTo>
                  <a:pt x="243" y="113"/>
                  <a:pt x="243" y="113"/>
                  <a:pt x="243" y="113"/>
                </a:cubicBezTo>
                <a:cubicBezTo>
                  <a:pt x="242" y="113"/>
                  <a:pt x="241" y="114"/>
                  <a:pt x="240" y="113"/>
                </a:cubicBezTo>
                <a:cubicBezTo>
                  <a:pt x="239" y="112"/>
                  <a:pt x="239" y="111"/>
                  <a:pt x="239" y="110"/>
                </a:cubicBezTo>
                <a:cubicBezTo>
                  <a:pt x="238" y="107"/>
                  <a:pt x="237" y="105"/>
                  <a:pt x="235" y="103"/>
                </a:cubicBezTo>
                <a:cubicBezTo>
                  <a:pt x="235" y="103"/>
                  <a:pt x="235" y="103"/>
                  <a:pt x="235" y="103"/>
                </a:cubicBezTo>
                <a:cubicBezTo>
                  <a:pt x="235" y="103"/>
                  <a:pt x="235" y="103"/>
                  <a:pt x="235" y="102"/>
                </a:cubicBezTo>
                <a:cubicBezTo>
                  <a:pt x="235" y="102"/>
                  <a:pt x="234" y="102"/>
                  <a:pt x="234" y="101"/>
                </a:cubicBezTo>
                <a:cubicBezTo>
                  <a:pt x="234" y="101"/>
                  <a:pt x="234" y="101"/>
                  <a:pt x="233" y="101"/>
                </a:cubicBezTo>
                <a:cubicBezTo>
                  <a:pt x="233" y="101"/>
                  <a:pt x="233" y="101"/>
                  <a:pt x="233" y="100"/>
                </a:cubicBezTo>
                <a:cubicBezTo>
                  <a:pt x="233" y="100"/>
                  <a:pt x="233" y="100"/>
                  <a:pt x="233" y="100"/>
                </a:cubicBezTo>
                <a:cubicBezTo>
                  <a:pt x="233" y="100"/>
                  <a:pt x="233" y="100"/>
                  <a:pt x="233" y="100"/>
                </a:cubicBezTo>
                <a:cubicBezTo>
                  <a:pt x="233" y="100"/>
                  <a:pt x="233" y="99"/>
                  <a:pt x="233" y="99"/>
                </a:cubicBezTo>
                <a:cubicBezTo>
                  <a:pt x="233" y="99"/>
                  <a:pt x="232" y="99"/>
                  <a:pt x="232" y="99"/>
                </a:cubicBezTo>
                <a:cubicBezTo>
                  <a:pt x="232" y="98"/>
                  <a:pt x="232" y="98"/>
                  <a:pt x="232" y="97"/>
                </a:cubicBezTo>
                <a:cubicBezTo>
                  <a:pt x="231" y="96"/>
                  <a:pt x="231" y="95"/>
                  <a:pt x="229" y="94"/>
                </a:cubicBezTo>
                <a:cubicBezTo>
                  <a:pt x="228" y="93"/>
                  <a:pt x="228" y="92"/>
                  <a:pt x="227" y="91"/>
                </a:cubicBezTo>
                <a:cubicBezTo>
                  <a:pt x="226" y="91"/>
                  <a:pt x="226" y="90"/>
                  <a:pt x="226" y="90"/>
                </a:cubicBezTo>
                <a:cubicBezTo>
                  <a:pt x="226" y="89"/>
                  <a:pt x="226" y="88"/>
                  <a:pt x="226" y="87"/>
                </a:cubicBezTo>
                <a:cubicBezTo>
                  <a:pt x="227" y="85"/>
                  <a:pt x="226" y="83"/>
                  <a:pt x="224" y="82"/>
                </a:cubicBezTo>
                <a:cubicBezTo>
                  <a:pt x="223" y="81"/>
                  <a:pt x="223" y="81"/>
                  <a:pt x="222" y="81"/>
                </a:cubicBezTo>
                <a:cubicBezTo>
                  <a:pt x="222" y="80"/>
                  <a:pt x="221" y="80"/>
                  <a:pt x="221" y="80"/>
                </a:cubicBezTo>
                <a:cubicBezTo>
                  <a:pt x="222" y="79"/>
                  <a:pt x="222" y="80"/>
                  <a:pt x="222" y="79"/>
                </a:cubicBezTo>
                <a:cubicBezTo>
                  <a:pt x="222" y="79"/>
                  <a:pt x="223" y="79"/>
                  <a:pt x="223" y="79"/>
                </a:cubicBezTo>
                <a:cubicBezTo>
                  <a:pt x="223" y="79"/>
                  <a:pt x="223" y="79"/>
                  <a:pt x="223" y="79"/>
                </a:cubicBezTo>
                <a:cubicBezTo>
                  <a:pt x="224" y="79"/>
                  <a:pt x="224" y="79"/>
                  <a:pt x="225" y="79"/>
                </a:cubicBezTo>
                <a:cubicBezTo>
                  <a:pt x="225" y="79"/>
                  <a:pt x="225" y="79"/>
                  <a:pt x="225" y="79"/>
                </a:cubicBezTo>
                <a:cubicBezTo>
                  <a:pt x="227" y="78"/>
                  <a:pt x="229" y="79"/>
                  <a:pt x="231" y="79"/>
                </a:cubicBezTo>
                <a:cubicBezTo>
                  <a:pt x="231" y="79"/>
                  <a:pt x="231" y="79"/>
                  <a:pt x="231" y="79"/>
                </a:cubicBezTo>
                <a:cubicBezTo>
                  <a:pt x="231" y="79"/>
                  <a:pt x="231" y="79"/>
                  <a:pt x="231" y="79"/>
                </a:cubicBezTo>
                <a:cubicBezTo>
                  <a:pt x="232" y="79"/>
                  <a:pt x="232" y="79"/>
                  <a:pt x="232" y="79"/>
                </a:cubicBezTo>
                <a:cubicBezTo>
                  <a:pt x="232" y="79"/>
                  <a:pt x="232" y="79"/>
                  <a:pt x="232" y="79"/>
                </a:cubicBezTo>
                <a:cubicBezTo>
                  <a:pt x="233" y="79"/>
                  <a:pt x="234" y="79"/>
                  <a:pt x="235" y="79"/>
                </a:cubicBezTo>
                <a:cubicBezTo>
                  <a:pt x="235" y="79"/>
                  <a:pt x="235" y="79"/>
                  <a:pt x="236" y="79"/>
                </a:cubicBezTo>
                <a:cubicBezTo>
                  <a:pt x="238" y="79"/>
                  <a:pt x="239" y="79"/>
                  <a:pt x="240" y="77"/>
                </a:cubicBezTo>
                <a:cubicBezTo>
                  <a:pt x="240" y="76"/>
                  <a:pt x="241" y="75"/>
                  <a:pt x="241" y="75"/>
                </a:cubicBezTo>
                <a:cubicBezTo>
                  <a:pt x="243" y="73"/>
                  <a:pt x="244" y="71"/>
                  <a:pt x="245" y="70"/>
                </a:cubicBezTo>
                <a:cubicBezTo>
                  <a:pt x="247" y="67"/>
                  <a:pt x="248" y="65"/>
                  <a:pt x="251" y="64"/>
                </a:cubicBezTo>
                <a:cubicBezTo>
                  <a:pt x="251" y="64"/>
                  <a:pt x="251" y="64"/>
                  <a:pt x="251" y="64"/>
                </a:cubicBezTo>
                <a:cubicBezTo>
                  <a:pt x="251" y="64"/>
                  <a:pt x="251" y="64"/>
                  <a:pt x="251" y="64"/>
                </a:cubicBezTo>
                <a:cubicBezTo>
                  <a:pt x="254" y="63"/>
                  <a:pt x="256" y="63"/>
                  <a:pt x="258" y="66"/>
                </a:cubicBezTo>
                <a:cubicBezTo>
                  <a:pt x="259" y="67"/>
                  <a:pt x="260" y="69"/>
                  <a:pt x="261" y="71"/>
                </a:cubicBezTo>
                <a:cubicBezTo>
                  <a:pt x="261" y="71"/>
                  <a:pt x="261" y="72"/>
                  <a:pt x="261" y="72"/>
                </a:cubicBezTo>
                <a:cubicBezTo>
                  <a:pt x="262" y="74"/>
                  <a:pt x="262" y="75"/>
                  <a:pt x="263" y="76"/>
                </a:cubicBezTo>
                <a:cubicBezTo>
                  <a:pt x="264" y="76"/>
                  <a:pt x="264" y="77"/>
                  <a:pt x="264" y="77"/>
                </a:cubicBezTo>
                <a:cubicBezTo>
                  <a:pt x="265" y="79"/>
                  <a:pt x="266" y="80"/>
                  <a:pt x="267" y="82"/>
                </a:cubicBezTo>
                <a:cubicBezTo>
                  <a:pt x="267" y="81"/>
                  <a:pt x="268" y="81"/>
                  <a:pt x="268" y="82"/>
                </a:cubicBezTo>
                <a:cubicBezTo>
                  <a:pt x="270" y="82"/>
                  <a:pt x="271" y="86"/>
                  <a:pt x="271" y="87"/>
                </a:cubicBezTo>
                <a:cubicBezTo>
                  <a:pt x="271" y="87"/>
                  <a:pt x="270" y="88"/>
                  <a:pt x="270" y="88"/>
                </a:cubicBezTo>
                <a:cubicBezTo>
                  <a:pt x="269" y="88"/>
                  <a:pt x="269" y="88"/>
                  <a:pt x="269" y="89"/>
                </a:cubicBezTo>
                <a:cubicBezTo>
                  <a:pt x="269" y="91"/>
                  <a:pt x="271" y="93"/>
                  <a:pt x="273" y="94"/>
                </a:cubicBezTo>
                <a:cubicBezTo>
                  <a:pt x="273" y="94"/>
                  <a:pt x="273" y="94"/>
                  <a:pt x="273" y="94"/>
                </a:cubicBezTo>
                <a:cubicBezTo>
                  <a:pt x="273" y="94"/>
                  <a:pt x="273" y="94"/>
                  <a:pt x="273" y="94"/>
                </a:cubicBezTo>
                <a:cubicBezTo>
                  <a:pt x="274" y="95"/>
                  <a:pt x="274" y="97"/>
                  <a:pt x="274" y="98"/>
                </a:cubicBezTo>
                <a:cubicBezTo>
                  <a:pt x="275" y="98"/>
                  <a:pt x="276" y="98"/>
                  <a:pt x="276" y="99"/>
                </a:cubicBezTo>
                <a:cubicBezTo>
                  <a:pt x="277" y="99"/>
                  <a:pt x="277" y="99"/>
                  <a:pt x="278" y="99"/>
                </a:cubicBezTo>
                <a:cubicBezTo>
                  <a:pt x="278" y="99"/>
                  <a:pt x="278" y="99"/>
                  <a:pt x="278" y="99"/>
                </a:cubicBezTo>
                <a:cubicBezTo>
                  <a:pt x="278" y="98"/>
                  <a:pt x="278" y="97"/>
                  <a:pt x="279" y="96"/>
                </a:cubicBezTo>
                <a:cubicBezTo>
                  <a:pt x="279" y="96"/>
                  <a:pt x="279" y="96"/>
                  <a:pt x="279" y="96"/>
                </a:cubicBezTo>
                <a:cubicBezTo>
                  <a:pt x="279" y="96"/>
                  <a:pt x="279" y="96"/>
                  <a:pt x="279" y="96"/>
                </a:cubicBezTo>
                <a:cubicBezTo>
                  <a:pt x="278" y="96"/>
                  <a:pt x="277" y="96"/>
                  <a:pt x="277" y="94"/>
                </a:cubicBezTo>
                <a:cubicBezTo>
                  <a:pt x="278" y="94"/>
                  <a:pt x="279" y="93"/>
                  <a:pt x="279" y="94"/>
                </a:cubicBezTo>
                <a:cubicBezTo>
                  <a:pt x="281" y="94"/>
                  <a:pt x="282" y="94"/>
                  <a:pt x="283" y="94"/>
                </a:cubicBezTo>
                <a:cubicBezTo>
                  <a:pt x="282" y="95"/>
                  <a:pt x="281" y="97"/>
                  <a:pt x="281" y="99"/>
                </a:cubicBezTo>
                <a:cubicBezTo>
                  <a:pt x="281" y="99"/>
                  <a:pt x="281" y="99"/>
                  <a:pt x="281" y="99"/>
                </a:cubicBezTo>
                <a:cubicBezTo>
                  <a:pt x="282" y="100"/>
                  <a:pt x="282" y="101"/>
                  <a:pt x="283" y="101"/>
                </a:cubicBezTo>
                <a:cubicBezTo>
                  <a:pt x="283" y="101"/>
                  <a:pt x="283" y="101"/>
                  <a:pt x="283" y="101"/>
                </a:cubicBezTo>
                <a:cubicBezTo>
                  <a:pt x="283" y="101"/>
                  <a:pt x="283" y="101"/>
                  <a:pt x="283" y="101"/>
                </a:cubicBezTo>
                <a:cubicBezTo>
                  <a:pt x="284" y="102"/>
                  <a:pt x="285" y="102"/>
                  <a:pt x="285" y="103"/>
                </a:cubicBezTo>
                <a:cubicBezTo>
                  <a:pt x="285" y="103"/>
                  <a:pt x="285" y="103"/>
                  <a:pt x="285" y="103"/>
                </a:cubicBezTo>
                <a:cubicBezTo>
                  <a:pt x="285" y="105"/>
                  <a:pt x="285" y="106"/>
                  <a:pt x="286" y="108"/>
                </a:cubicBezTo>
                <a:cubicBezTo>
                  <a:pt x="286" y="108"/>
                  <a:pt x="286" y="108"/>
                  <a:pt x="286" y="108"/>
                </a:cubicBezTo>
                <a:cubicBezTo>
                  <a:pt x="287" y="109"/>
                  <a:pt x="289" y="110"/>
                  <a:pt x="290" y="111"/>
                </a:cubicBezTo>
                <a:cubicBezTo>
                  <a:pt x="291" y="111"/>
                  <a:pt x="291" y="112"/>
                  <a:pt x="291" y="113"/>
                </a:cubicBezTo>
                <a:close/>
                <a:moveTo>
                  <a:pt x="17" y="26"/>
                </a:moveTo>
                <a:cubicBezTo>
                  <a:pt x="17" y="26"/>
                  <a:pt x="18" y="26"/>
                  <a:pt x="18" y="26"/>
                </a:cubicBezTo>
                <a:cubicBezTo>
                  <a:pt x="18" y="25"/>
                  <a:pt x="17" y="25"/>
                  <a:pt x="17" y="25"/>
                </a:cubicBezTo>
                <a:cubicBezTo>
                  <a:pt x="17" y="25"/>
                  <a:pt x="17" y="25"/>
                  <a:pt x="17" y="26"/>
                </a:cubicBezTo>
                <a:cubicBezTo>
                  <a:pt x="17" y="26"/>
                  <a:pt x="17" y="26"/>
                  <a:pt x="17" y="26"/>
                </a:cubicBezTo>
                <a:close/>
                <a:moveTo>
                  <a:pt x="257" y="105"/>
                </a:moveTo>
                <a:cubicBezTo>
                  <a:pt x="256" y="105"/>
                  <a:pt x="256" y="105"/>
                  <a:pt x="256" y="106"/>
                </a:cubicBezTo>
                <a:cubicBezTo>
                  <a:pt x="257" y="106"/>
                  <a:pt x="257" y="105"/>
                  <a:pt x="257" y="105"/>
                </a:cubicBezTo>
                <a:close/>
              </a:path>
            </a:pathLst>
          </a:custGeom>
          <a:solidFill>
            <a:schemeClr val="accent3"/>
          </a:solidFill>
          <a:ln w="7938" cap="rnd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Alaska">
            <a:extLst>
              <a:ext uri="{FF2B5EF4-FFF2-40B4-BE49-F238E27FC236}">
                <a16:creationId xmlns:a16="http://schemas.microsoft.com/office/drawing/2014/main" id="{4B37EAC8-F013-4853-B2F5-0940DF48F96C}"/>
              </a:ext>
            </a:extLst>
          </p:cNvPr>
          <p:cNvSpPr>
            <a:spLocks noEditPoints="1"/>
          </p:cNvSpPr>
          <p:nvPr/>
        </p:nvSpPr>
        <p:spPr bwMode="auto">
          <a:xfrm>
            <a:off x="347158" y="2228672"/>
            <a:ext cx="2931009" cy="2223868"/>
          </a:xfrm>
          <a:custGeom>
            <a:avLst/>
            <a:gdLst>
              <a:gd name="T0" fmla="*/ 425 w 740"/>
              <a:gd name="T1" fmla="*/ 445 h 561"/>
              <a:gd name="T2" fmla="*/ 442 w 740"/>
              <a:gd name="T3" fmla="*/ 430 h 561"/>
              <a:gd name="T4" fmla="*/ 433 w 740"/>
              <a:gd name="T5" fmla="*/ 438 h 561"/>
              <a:gd name="T6" fmla="*/ 425 w 740"/>
              <a:gd name="T7" fmla="*/ 434 h 561"/>
              <a:gd name="T8" fmla="*/ 435 w 740"/>
              <a:gd name="T9" fmla="*/ 413 h 561"/>
              <a:gd name="T10" fmla="*/ 452 w 740"/>
              <a:gd name="T11" fmla="*/ 413 h 561"/>
              <a:gd name="T12" fmla="*/ 448 w 740"/>
              <a:gd name="T13" fmla="*/ 409 h 561"/>
              <a:gd name="T14" fmla="*/ 456 w 740"/>
              <a:gd name="T15" fmla="*/ 403 h 561"/>
              <a:gd name="T16" fmla="*/ 433 w 740"/>
              <a:gd name="T17" fmla="*/ 422 h 561"/>
              <a:gd name="T18" fmla="*/ 309 w 740"/>
              <a:gd name="T19" fmla="*/ 488 h 561"/>
              <a:gd name="T20" fmla="*/ 267 w 740"/>
              <a:gd name="T21" fmla="*/ 513 h 561"/>
              <a:gd name="T22" fmla="*/ 269 w 740"/>
              <a:gd name="T23" fmla="*/ 506 h 561"/>
              <a:gd name="T24" fmla="*/ 168 w 740"/>
              <a:gd name="T25" fmla="*/ 544 h 561"/>
              <a:gd name="T26" fmla="*/ 4 w 740"/>
              <a:gd name="T27" fmla="*/ 527 h 561"/>
              <a:gd name="T28" fmla="*/ 229 w 740"/>
              <a:gd name="T29" fmla="*/ 529 h 561"/>
              <a:gd name="T30" fmla="*/ 273 w 740"/>
              <a:gd name="T31" fmla="*/ 507 h 561"/>
              <a:gd name="T32" fmla="*/ 45 w 740"/>
              <a:gd name="T33" fmla="*/ 538 h 561"/>
              <a:gd name="T34" fmla="*/ 86 w 740"/>
              <a:gd name="T35" fmla="*/ 556 h 561"/>
              <a:gd name="T36" fmla="*/ 346 w 740"/>
              <a:gd name="T37" fmla="*/ 472 h 561"/>
              <a:gd name="T38" fmla="*/ 274 w 740"/>
              <a:gd name="T39" fmla="*/ 364 h 561"/>
              <a:gd name="T40" fmla="*/ 532 w 740"/>
              <a:gd name="T41" fmla="*/ 349 h 561"/>
              <a:gd name="T42" fmla="*/ 702 w 740"/>
              <a:gd name="T43" fmla="*/ 445 h 561"/>
              <a:gd name="T44" fmla="*/ 685 w 740"/>
              <a:gd name="T45" fmla="*/ 442 h 561"/>
              <a:gd name="T46" fmla="*/ 699 w 740"/>
              <a:gd name="T47" fmla="*/ 476 h 561"/>
              <a:gd name="T48" fmla="*/ 679 w 740"/>
              <a:gd name="T49" fmla="*/ 452 h 561"/>
              <a:gd name="T50" fmla="*/ 669 w 740"/>
              <a:gd name="T51" fmla="*/ 426 h 561"/>
              <a:gd name="T52" fmla="*/ 667 w 740"/>
              <a:gd name="T53" fmla="*/ 409 h 561"/>
              <a:gd name="T54" fmla="*/ 666 w 740"/>
              <a:gd name="T55" fmla="*/ 417 h 561"/>
              <a:gd name="T56" fmla="*/ 694 w 740"/>
              <a:gd name="T57" fmla="*/ 471 h 561"/>
              <a:gd name="T58" fmla="*/ 702 w 740"/>
              <a:gd name="T59" fmla="*/ 456 h 561"/>
              <a:gd name="T60" fmla="*/ 707 w 740"/>
              <a:gd name="T61" fmla="*/ 460 h 561"/>
              <a:gd name="T62" fmla="*/ 700 w 740"/>
              <a:gd name="T63" fmla="*/ 469 h 561"/>
              <a:gd name="T64" fmla="*/ 702 w 740"/>
              <a:gd name="T65" fmla="*/ 452 h 561"/>
              <a:gd name="T66" fmla="*/ 685 w 740"/>
              <a:gd name="T67" fmla="*/ 414 h 561"/>
              <a:gd name="T68" fmla="*/ 680 w 740"/>
              <a:gd name="T69" fmla="*/ 406 h 561"/>
              <a:gd name="T70" fmla="*/ 720 w 740"/>
              <a:gd name="T71" fmla="*/ 443 h 561"/>
              <a:gd name="T72" fmla="*/ 564 w 740"/>
              <a:gd name="T73" fmla="*/ 48 h 561"/>
              <a:gd name="T74" fmla="*/ 483 w 740"/>
              <a:gd name="T75" fmla="*/ 34 h 561"/>
              <a:gd name="T76" fmla="*/ 406 w 740"/>
              <a:gd name="T77" fmla="*/ 20 h 561"/>
              <a:gd name="T78" fmla="*/ 331 w 740"/>
              <a:gd name="T79" fmla="*/ 44 h 561"/>
              <a:gd name="T80" fmla="*/ 323 w 740"/>
              <a:gd name="T81" fmla="*/ 153 h 561"/>
              <a:gd name="T82" fmla="*/ 336 w 740"/>
              <a:gd name="T83" fmla="*/ 181 h 561"/>
              <a:gd name="T84" fmla="*/ 269 w 740"/>
              <a:gd name="T85" fmla="*/ 210 h 561"/>
              <a:gd name="T86" fmla="*/ 335 w 740"/>
              <a:gd name="T87" fmla="*/ 236 h 561"/>
              <a:gd name="T88" fmla="*/ 292 w 740"/>
              <a:gd name="T89" fmla="*/ 282 h 561"/>
              <a:gd name="T90" fmla="*/ 294 w 740"/>
              <a:gd name="T91" fmla="*/ 336 h 561"/>
              <a:gd name="T92" fmla="*/ 324 w 740"/>
              <a:gd name="T93" fmla="*/ 345 h 561"/>
              <a:gd name="T94" fmla="*/ 357 w 740"/>
              <a:gd name="T95" fmla="*/ 388 h 561"/>
              <a:gd name="T96" fmla="*/ 371 w 740"/>
              <a:gd name="T97" fmla="*/ 439 h 561"/>
              <a:gd name="T98" fmla="*/ 337 w 740"/>
              <a:gd name="T99" fmla="*/ 466 h 561"/>
              <a:gd name="T100" fmla="*/ 401 w 740"/>
              <a:gd name="T101" fmla="*/ 428 h 561"/>
              <a:gd name="T102" fmla="*/ 429 w 740"/>
              <a:gd name="T103" fmla="*/ 382 h 561"/>
              <a:gd name="T104" fmla="*/ 489 w 740"/>
              <a:gd name="T105" fmla="*/ 321 h 561"/>
              <a:gd name="T106" fmla="*/ 471 w 740"/>
              <a:gd name="T107" fmla="*/ 378 h 561"/>
              <a:gd name="T108" fmla="*/ 509 w 740"/>
              <a:gd name="T109" fmla="*/ 357 h 561"/>
              <a:gd name="T110" fmla="*/ 509 w 740"/>
              <a:gd name="T111" fmla="*/ 336 h 561"/>
              <a:gd name="T112" fmla="*/ 552 w 740"/>
              <a:gd name="T113" fmla="*/ 355 h 561"/>
              <a:gd name="T114" fmla="*/ 627 w 740"/>
              <a:gd name="T115" fmla="*/ 381 h 561"/>
              <a:gd name="T116" fmla="*/ 672 w 740"/>
              <a:gd name="T117" fmla="*/ 386 h 561"/>
              <a:gd name="T118" fmla="*/ 700 w 740"/>
              <a:gd name="T119" fmla="*/ 420 h 561"/>
              <a:gd name="T120" fmla="*/ 711 w 740"/>
              <a:gd name="T121" fmla="*/ 452 h 561"/>
              <a:gd name="T122" fmla="*/ 718 w 740"/>
              <a:gd name="T123" fmla="*/ 468 h 561"/>
              <a:gd name="T124" fmla="*/ 449 w 740"/>
              <a:gd name="T125" fmla="*/ 357 h 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40" h="561">
                <a:moveTo>
                  <a:pt x="203" y="259"/>
                </a:moveTo>
                <a:cubicBezTo>
                  <a:pt x="203" y="259"/>
                  <a:pt x="203" y="258"/>
                  <a:pt x="203" y="258"/>
                </a:cubicBezTo>
                <a:cubicBezTo>
                  <a:pt x="203" y="257"/>
                  <a:pt x="204" y="257"/>
                  <a:pt x="204" y="257"/>
                </a:cubicBezTo>
                <a:cubicBezTo>
                  <a:pt x="205" y="257"/>
                  <a:pt x="204" y="259"/>
                  <a:pt x="205" y="260"/>
                </a:cubicBezTo>
                <a:cubicBezTo>
                  <a:pt x="205" y="260"/>
                  <a:pt x="205" y="260"/>
                  <a:pt x="206" y="260"/>
                </a:cubicBezTo>
                <a:cubicBezTo>
                  <a:pt x="208" y="261"/>
                  <a:pt x="210" y="262"/>
                  <a:pt x="212" y="262"/>
                </a:cubicBezTo>
                <a:cubicBezTo>
                  <a:pt x="212" y="262"/>
                  <a:pt x="213" y="262"/>
                  <a:pt x="213" y="262"/>
                </a:cubicBezTo>
                <a:cubicBezTo>
                  <a:pt x="214" y="262"/>
                  <a:pt x="215" y="262"/>
                  <a:pt x="216" y="261"/>
                </a:cubicBezTo>
                <a:cubicBezTo>
                  <a:pt x="217" y="260"/>
                  <a:pt x="218" y="260"/>
                  <a:pt x="219" y="260"/>
                </a:cubicBezTo>
                <a:cubicBezTo>
                  <a:pt x="220" y="259"/>
                  <a:pt x="221" y="259"/>
                  <a:pt x="221" y="259"/>
                </a:cubicBezTo>
                <a:cubicBezTo>
                  <a:pt x="222" y="260"/>
                  <a:pt x="222" y="260"/>
                  <a:pt x="222" y="260"/>
                </a:cubicBezTo>
                <a:cubicBezTo>
                  <a:pt x="224" y="261"/>
                  <a:pt x="225" y="262"/>
                  <a:pt x="225" y="264"/>
                </a:cubicBezTo>
                <a:cubicBezTo>
                  <a:pt x="225" y="264"/>
                  <a:pt x="226" y="265"/>
                  <a:pt x="226" y="266"/>
                </a:cubicBezTo>
                <a:cubicBezTo>
                  <a:pt x="227" y="267"/>
                  <a:pt x="228" y="266"/>
                  <a:pt x="230" y="267"/>
                </a:cubicBezTo>
                <a:cubicBezTo>
                  <a:pt x="230" y="267"/>
                  <a:pt x="231" y="268"/>
                  <a:pt x="232" y="268"/>
                </a:cubicBezTo>
                <a:cubicBezTo>
                  <a:pt x="234" y="270"/>
                  <a:pt x="238" y="269"/>
                  <a:pt x="241" y="270"/>
                </a:cubicBezTo>
                <a:cubicBezTo>
                  <a:pt x="242" y="270"/>
                  <a:pt x="242" y="270"/>
                  <a:pt x="242" y="271"/>
                </a:cubicBezTo>
                <a:cubicBezTo>
                  <a:pt x="242" y="271"/>
                  <a:pt x="242" y="271"/>
                  <a:pt x="242" y="271"/>
                </a:cubicBezTo>
                <a:cubicBezTo>
                  <a:pt x="242" y="272"/>
                  <a:pt x="242" y="273"/>
                  <a:pt x="242" y="274"/>
                </a:cubicBezTo>
                <a:cubicBezTo>
                  <a:pt x="241" y="275"/>
                  <a:pt x="240" y="275"/>
                  <a:pt x="239" y="275"/>
                </a:cubicBezTo>
                <a:cubicBezTo>
                  <a:pt x="239" y="275"/>
                  <a:pt x="239" y="275"/>
                  <a:pt x="238" y="275"/>
                </a:cubicBezTo>
                <a:cubicBezTo>
                  <a:pt x="237" y="274"/>
                  <a:pt x="235" y="274"/>
                  <a:pt x="234" y="275"/>
                </a:cubicBezTo>
                <a:cubicBezTo>
                  <a:pt x="233" y="275"/>
                  <a:pt x="232" y="277"/>
                  <a:pt x="231" y="278"/>
                </a:cubicBezTo>
                <a:cubicBezTo>
                  <a:pt x="231" y="279"/>
                  <a:pt x="231" y="279"/>
                  <a:pt x="231" y="280"/>
                </a:cubicBezTo>
                <a:cubicBezTo>
                  <a:pt x="231" y="280"/>
                  <a:pt x="231" y="281"/>
                  <a:pt x="230" y="281"/>
                </a:cubicBezTo>
                <a:cubicBezTo>
                  <a:pt x="230" y="281"/>
                  <a:pt x="230" y="281"/>
                  <a:pt x="229" y="280"/>
                </a:cubicBezTo>
                <a:cubicBezTo>
                  <a:pt x="229" y="280"/>
                  <a:pt x="228" y="280"/>
                  <a:pt x="228" y="279"/>
                </a:cubicBezTo>
                <a:cubicBezTo>
                  <a:pt x="228" y="278"/>
                  <a:pt x="228" y="278"/>
                  <a:pt x="228" y="277"/>
                </a:cubicBezTo>
                <a:cubicBezTo>
                  <a:pt x="227" y="276"/>
                  <a:pt x="226" y="276"/>
                  <a:pt x="225" y="275"/>
                </a:cubicBezTo>
                <a:cubicBezTo>
                  <a:pt x="224" y="275"/>
                  <a:pt x="223" y="274"/>
                  <a:pt x="222" y="274"/>
                </a:cubicBezTo>
                <a:cubicBezTo>
                  <a:pt x="222" y="273"/>
                  <a:pt x="221" y="272"/>
                  <a:pt x="221" y="272"/>
                </a:cubicBezTo>
                <a:cubicBezTo>
                  <a:pt x="220" y="271"/>
                  <a:pt x="219" y="270"/>
                  <a:pt x="218" y="269"/>
                </a:cubicBezTo>
                <a:cubicBezTo>
                  <a:pt x="217" y="268"/>
                  <a:pt x="216" y="268"/>
                  <a:pt x="214" y="267"/>
                </a:cubicBezTo>
                <a:cubicBezTo>
                  <a:pt x="212" y="267"/>
                  <a:pt x="211" y="267"/>
                  <a:pt x="209" y="268"/>
                </a:cubicBezTo>
                <a:cubicBezTo>
                  <a:pt x="209" y="269"/>
                  <a:pt x="209" y="269"/>
                  <a:pt x="208" y="270"/>
                </a:cubicBezTo>
                <a:cubicBezTo>
                  <a:pt x="208" y="270"/>
                  <a:pt x="207" y="270"/>
                  <a:pt x="207" y="270"/>
                </a:cubicBezTo>
                <a:cubicBezTo>
                  <a:pt x="206" y="270"/>
                  <a:pt x="206" y="270"/>
                  <a:pt x="206" y="270"/>
                </a:cubicBezTo>
                <a:cubicBezTo>
                  <a:pt x="205" y="269"/>
                  <a:pt x="203" y="268"/>
                  <a:pt x="202" y="267"/>
                </a:cubicBezTo>
                <a:cubicBezTo>
                  <a:pt x="202" y="266"/>
                  <a:pt x="202" y="265"/>
                  <a:pt x="202" y="263"/>
                </a:cubicBezTo>
                <a:cubicBezTo>
                  <a:pt x="202" y="262"/>
                  <a:pt x="203" y="261"/>
                  <a:pt x="203" y="259"/>
                </a:cubicBezTo>
                <a:close/>
                <a:moveTo>
                  <a:pt x="427" y="436"/>
                </a:moveTo>
                <a:cubicBezTo>
                  <a:pt x="427" y="436"/>
                  <a:pt x="427" y="436"/>
                  <a:pt x="427" y="436"/>
                </a:cubicBezTo>
                <a:cubicBezTo>
                  <a:pt x="427" y="436"/>
                  <a:pt x="427" y="436"/>
                  <a:pt x="427" y="436"/>
                </a:cubicBezTo>
                <a:close/>
                <a:moveTo>
                  <a:pt x="449" y="397"/>
                </a:moveTo>
                <a:cubicBezTo>
                  <a:pt x="449" y="398"/>
                  <a:pt x="449" y="398"/>
                  <a:pt x="450" y="398"/>
                </a:cubicBezTo>
                <a:cubicBezTo>
                  <a:pt x="450" y="399"/>
                  <a:pt x="451" y="398"/>
                  <a:pt x="451" y="399"/>
                </a:cubicBezTo>
                <a:cubicBezTo>
                  <a:pt x="451" y="399"/>
                  <a:pt x="451" y="399"/>
                  <a:pt x="451" y="399"/>
                </a:cubicBezTo>
                <a:cubicBezTo>
                  <a:pt x="451" y="398"/>
                  <a:pt x="452" y="398"/>
                  <a:pt x="452" y="398"/>
                </a:cubicBezTo>
                <a:cubicBezTo>
                  <a:pt x="452" y="398"/>
                  <a:pt x="452" y="398"/>
                  <a:pt x="452" y="398"/>
                </a:cubicBezTo>
                <a:cubicBezTo>
                  <a:pt x="452" y="398"/>
                  <a:pt x="452" y="397"/>
                  <a:pt x="452" y="397"/>
                </a:cubicBezTo>
                <a:cubicBezTo>
                  <a:pt x="452" y="397"/>
                  <a:pt x="452" y="397"/>
                  <a:pt x="452" y="397"/>
                </a:cubicBezTo>
                <a:cubicBezTo>
                  <a:pt x="452" y="397"/>
                  <a:pt x="452" y="397"/>
                  <a:pt x="453" y="396"/>
                </a:cubicBezTo>
                <a:cubicBezTo>
                  <a:pt x="453" y="396"/>
                  <a:pt x="453" y="396"/>
                  <a:pt x="453" y="395"/>
                </a:cubicBezTo>
                <a:cubicBezTo>
                  <a:pt x="453" y="395"/>
                  <a:pt x="453" y="395"/>
                  <a:pt x="453" y="395"/>
                </a:cubicBezTo>
                <a:cubicBezTo>
                  <a:pt x="452" y="395"/>
                  <a:pt x="452" y="395"/>
                  <a:pt x="452" y="395"/>
                </a:cubicBezTo>
                <a:cubicBezTo>
                  <a:pt x="452" y="395"/>
                  <a:pt x="452" y="395"/>
                  <a:pt x="452" y="395"/>
                </a:cubicBezTo>
                <a:cubicBezTo>
                  <a:pt x="452" y="395"/>
                  <a:pt x="451" y="395"/>
                  <a:pt x="451" y="395"/>
                </a:cubicBezTo>
                <a:cubicBezTo>
                  <a:pt x="451" y="395"/>
                  <a:pt x="451" y="395"/>
                  <a:pt x="451" y="396"/>
                </a:cubicBezTo>
                <a:cubicBezTo>
                  <a:pt x="451" y="396"/>
                  <a:pt x="451" y="396"/>
                  <a:pt x="450" y="396"/>
                </a:cubicBezTo>
                <a:cubicBezTo>
                  <a:pt x="450" y="396"/>
                  <a:pt x="450" y="396"/>
                  <a:pt x="450" y="395"/>
                </a:cubicBezTo>
                <a:cubicBezTo>
                  <a:pt x="450" y="395"/>
                  <a:pt x="450" y="395"/>
                  <a:pt x="450" y="395"/>
                </a:cubicBezTo>
                <a:cubicBezTo>
                  <a:pt x="450" y="396"/>
                  <a:pt x="449" y="396"/>
                  <a:pt x="449" y="396"/>
                </a:cubicBezTo>
                <a:cubicBezTo>
                  <a:pt x="449" y="396"/>
                  <a:pt x="449" y="396"/>
                  <a:pt x="449" y="396"/>
                </a:cubicBezTo>
                <a:cubicBezTo>
                  <a:pt x="449" y="396"/>
                  <a:pt x="449" y="396"/>
                  <a:pt x="449" y="396"/>
                </a:cubicBezTo>
                <a:cubicBezTo>
                  <a:pt x="449" y="396"/>
                  <a:pt x="450" y="396"/>
                  <a:pt x="450" y="396"/>
                </a:cubicBezTo>
                <a:cubicBezTo>
                  <a:pt x="450" y="396"/>
                  <a:pt x="450" y="396"/>
                  <a:pt x="450" y="397"/>
                </a:cubicBezTo>
                <a:cubicBezTo>
                  <a:pt x="450" y="397"/>
                  <a:pt x="450" y="397"/>
                  <a:pt x="449" y="397"/>
                </a:cubicBezTo>
                <a:cubicBezTo>
                  <a:pt x="449" y="396"/>
                  <a:pt x="449" y="397"/>
                  <a:pt x="449" y="397"/>
                </a:cubicBezTo>
                <a:cubicBezTo>
                  <a:pt x="449" y="397"/>
                  <a:pt x="449" y="397"/>
                  <a:pt x="449" y="397"/>
                </a:cubicBezTo>
                <a:cubicBezTo>
                  <a:pt x="449" y="397"/>
                  <a:pt x="449" y="397"/>
                  <a:pt x="449" y="397"/>
                </a:cubicBezTo>
                <a:close/>
                <a:moveTo>
                  <a:pt x="430" y="444"/>
                </a:moveTo>
                <a:cubicBezTo>
                  <a:pt x="430" y="444"/>
                  <a:pt x="430" y="444"/>
                  <a:pt x="430" y="444"/>
                </a:cubicBezTo>
                <a:cubicBezTo>
                  <a:pt x="431" y="444"/>
                  <a:pt x="431" y="444"/>
                  <a:pt x="430" y="443"/>
                </a:cubicBezTo>
                <a:cubicBezTo>
                  <a:pt x="430" y="443"/>
                  <a:pt x="430" y="443"/>
                  <a:pt x="430" y="443"/>
                </a:cubicBezTo>
                <a:cubicBezTo>
                  <a:pt x="429" y="443"/>
                  <a:pt x="429" y="443"/>
                  <a:pt x="429" y="443"/>
                </a:cubicBezTo>
                <a:cubicBezTo>
                  <a:pt x="429" y="443"/>
                  <a:pt x="428" y="443"/>
                  <a:pt x="428" y="443"/>
                </a:cubicBezTo>
                <a:cubicBezTo>
                  <a:pt x="428" y="444"/>
                  <a:pt x="427" y="444"/>
                  <a:pt x="427" y="444"/>
                </a:cubicBezTo>
                <a:cubicBezTo>
                  <a:pt x="427" y="444"/>
                  <a:pt x="427" y="445"/>
                  <a:pt x="427" y="445"/>
                </a:cubicBezTo>
                <a:cubicBezTo>
                  <a:pt x="427" y="445"/>
                  <a:pt x="427" y="445"/>
                  <a:pt x="427" y="445"/>
                </a:cubicBezTo>
                <a:cubicBezTo>
                  <a:pt x="427" y="446"/>
                  <a:pt x="428" y="446"/>
                  <a:pt x="429" y="446"/>
                </a:cubicBezTo>
                <a:cubicBezTo>
                  <a:pt x="429" y="446"/>
                  <a:pt x="430" y="445"/>
                  <a:pt x="430" y="445"/>
                </a:cubicBezTo>
                <a:cubicBezTo>
                  <a:pt x="430" y="445"/>
                  <a:pt x="430" y="445"/>
                  <a:pt x="430" y="444"/>
                </a:cubicBezTo>
                <a:close/>
                <a:moveTo>
                  <a:pt x="425" y="445"/>
                </a:moveTo>
                <a:cubicBezTo>
                  <a:pt x="425" y="445"/>
                  <a:pt x="425" y="445"/>
                  <a:pt x="425" y="445"/>
                </a:cubicBez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4"/>
                  <a:pt x="425" y="444"/>
                </a:cubicBezTo>
                <a:cubicBezTo>
                  <a:pt x="424" y="444"/>
                  <a:pt x="423" y="445"/>
                  <a:pt x="422" y="446"/>
                </a:cubicBezTo>
                <a:cubicBezTo>
                  <a:pt x="422" y="446"/>
                  <a:pt x="422" y="447"/>
                  <a:pt x="421" y="447"/>
                </a:cubicBezTo>
                <a:cubicBezTo>
                  <a:pt x="421" y="448"/>
                  <a:pt x="421" y="448"/>
                  <a:pt x="422" y="448"/>
                </a:cubicBezTo>
                <a:cubicBezTo>
                  <a:pt x="422" y="448"/>
                  <a:pt x="422" y="448"/>
                  <a:pt x="422" y="448"/>
                </a:cubicBezTo>
                <a:cubicBezTo>
                  <a:pt x="422" y="448"/>
                  <a:pt x="423" y="447"/>
                  <a:pt x="423" y="447"/>
                </a:cubicBezTo>
                <a:cubicBezTo>
                  <a:pt x="423" y="447"/>
                  <a:pt x="423" y="447"/>
                  <a:pt x="424" y="446"/>
                </a:cubicBezTo>
                <a:cubicBezTo>
                  <a:pt x="424" y="446"/>
                  <a:pt x="424" y="446"/>
                  <a:pt x="425" y="446"/>
                </a:cubicBezTo>
                <a:cubicBezTo>
                  <a:pt x="425" y="446"/>
                  <a:pt x="425" y="446"/>
                  <a:pt x="425" y="446"/>
                </a:cubicBezTo>
                <a:cubicBezTo>
                  <a:pt x="425" y="445"/>
                  <a:pt x="425" y="445"/>
                  <a:pt x="425" y="445"/>
                </a:cubicBezTo>
                <a:close/>
                <a:moveTo>
                  <a:pt x="425" y="444"/>
                </a:move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4"/>
                  <a:pt x="425" y="444"/>
                </a:cubicBezTo>
                <a:close/>
                <a:moveTo>
                  <a:pt x="455" y="419"/>
                </a:moveTo>
                <a:cubicBezTo>
                  <a:pt x="455" y="420"/>
                  <a:pt x="455" y="420"/>
                  <a:pt x="455" y="420"/>
                </a:cubicBezTo>
                <a:cubicBezTo>
                  <a:pt x="455" y="421"/>
                  <a:pt x="454" y="421"/>
                  <a:pt x="454" y="422"/>
                </a:cubicBezTo>
                <a:cubicBezTo>
                  <a:pt x="453" y="422"/>
                  <a:pt x="453" y="423"/>
                  <a:pt x="453" y="424"/>
                </a:cubicBezTo>
                <a:cubicBezTo>
                  <a:pt x="453" y="424"/>
                  <a:pt x="453" y="424"/>
                  <a:pt x="453" y="424"/>
                </a:cubicBezTo>
                <a:cubicBezTo>
                  <a:pt x="452" y="424"/>
                  <a:pt x="452" y="424"/>
                  <a:pt x="451" y="424"/>
                </a:cubicBezTo>
                <a:cubicBezTo>
                  <a:pt x="451" y="424"/>
                  <a:pt x="451" y="424"/>
                  <a:pt x="451" y="424"/>
                </a:cubicBezTo>
                <a:cubicBezTo>
                  <a:pt x="451" y="423"/>
                  <a:pt x="452" y="423"/>
                  <a:pt x="451" y="423"/>
                </a:cubicBezTo>
                <a:cubicBezTo>
                  <a:pt x="451" y="423"/>
                  <a:pt x="451" y="423"/>
                  <a:pt x="451" y="423"/>
                </a:cubicBezTo>
                <a:cubicBezTo>
                  <a:pt x="451" y="423"/>
                  <a:pt x="450" y="423"/>
                  <a:pt x="450" y="423"/>
                </a:cubicBezTo>
                <a:cubicBezTo>
                  <a:pt x="450" y="423"/>
                  <a:pt x="450" y="423"/>
                  <a:pt x="450" y="423"/>
                </a:cubicBezTo>
                <a:cubicBezTo>
                  <a:pt x="450" y="423"/>
                  <a:pt x="449" y="423"/>
                  <a:pt x="449" y="423"/>
                </a:cubicBezTo>
                <a:cubicBezTo>
                  <a:pt x="449" y="423"/>
                  <a:pt x="448" y="423"/>
                  <a:pt x="448" y="422"/>
                </a:cubicBezTo>
                <a:cubicBezTo>
                  <a:pt x="448" y="422"/>
                  <a:pt x="448" y="422"/>
                  <a:pt x="447" y="422"/>
                </a:cubicBezTo>
                <a:cubicBezTo>
                  <a:pt x="447" y="422"/>
                  <a:pt x="447" y="422"/>
                  <a:pt x="446" y="422"/>
                </a:cubicBezTo>
                <a:cubicBezTo>
                  <a:pt x="446" y="422"/>
                  <a:pt x="446" y="422"/>
                  <a:pt x="446" y="422"/>
                </a:cubicBezTo>
                <a:cubicBezTo>
                  <a:pt x="446" y="422"/>
                  <a:pt x="446" y="422"/>
                  <a:pt x="445" y="422"/>
                </a:cubicBezTo>
                <a:cubicBezTo>
                  <a:pt x="445" y="422"/>
                  <a:pt x="446" y="422"/>
                  <a:pt x="446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4" y="423"/>
                  <a:pt x="444" y="423"/>
                  <a:pt x="444" y="423"/>
                </a:cubicBezTo>
                <a:cubicBezTo>
                  <a:pt x="444" y="423"/>
                  <a:pt x="444" y="423"/>
                  <a:pt x="445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5" y="423"/>
                  <a:pt x="445" y="423"/>
                  <a:pt x="445" y="423"/>
                </a:cubicBezTo>
                <a:cubicBezTo>
                  <a:pt x="445" y="423"/>
                  <a:pt x="445" y="423"/>
                  <a:pt x="446" y="423"/>
                </a:cubicBezTo>
                <a:cubicBezTo>
                  <a:pt x="446" y="423"/>
                  <a:pt x="447" y="423"/>
                  <a:pt x="448" y="423"/>
                </a:cubicBezTo>
                <a:cubicBezTo>
                  <a:pt x="448" y="423"/>
                  <a:pt x="448" y="424"/>
                  <a:pt x="448" y="424"/>
                </a:cubicBezTo>
                <a:cubicBezTo>
                  <a:pt x="448" y="424"/>
                  <a:pt x="448" y="424"/>
                  <a:pt x="448" y="424"/>
                </a:cubicBezTo>
                <a:cubicBezTo>
                  <a:pt x="448" y="424"/>
                  <a:pt x="449" y="425"/>
                  <a:pt x="449" y="424"/>
                </a:cubicBezTo>
                <a:cubicBezTo>
                  <a:pt x="449" y="424"/>
                  <a:pt x="449" y="425"/>
                  <a:pt x="449" y="425"/>
                </a:cubicBezTo>
                <a:cubicBezTo>
                  <a:pt x="449" y="425"/>
                  <a:pt x="449" y="425"/>
                  <a:pt x="449" y="425"/>
                </a:cubicBezTo>
                <a:cubicBezTo>
                  <a:pt x="449" y="426"/>
                  <a:pt x="449" y="427"/>
                  <a:pt x="449" y="427"/>
                </a:cubicBezTo>
                <a:cubicBezTo>
                  <a:pt x="448" y="427"/>
                  <a:pt x="448" y="427"/>
                  <a:pt x="448" y="427"/>
                </a:cubicBezTo>
                <a:cubicBezTo>
                  <a:pt x="448" y="427"/>
                  <a:pt x="448" y="427"/>
                  <a:pt x="448" y="427"/>
                </a:cubicBezTo>
                <a:cubicBezTo>
                  <a:pt x="447" y="427"/>
                  <a:pt x="447" y="427"/>
                  <a:pt x="447" y="427"/>
                </a:cubicBezTo>
                <a:cubicBezTo>
                  <a:pt x="447" y="427"/>
                  <a:pt x="447" y="427"/>
                  <a:pt x="447" y="427"/>
                </a:cubicBezTo>
                <a:cubicBezTo>
                  <a:pt x="447" y="427"/>
                  <a:pt x="447" y="427"/>
                  <a:pt x="447" y="427"/>
                </a:cubicBezTo>
                <a:cubicBezTo>
                  <a:pt x="447" y="428"/>
                  <a:pt x="447" y="428"/>
                  <a:pt x="446" y="428"/>
                </a:cubicBezTo>
                <a:cubicBezTo>
                  <a:pt x="446" y="428"/>
                  <a:pt x="446" y="428"/>
                  <a:pt x="446" y="427"/>
                </a:cubicBezTo>
                <a:cubicBezTo>
                  <a:pt x="446" y="427"/>
                  <a:pt x="446" y="427"/>
                  <a:pt x="446" y="427"/>
                </a:cubicBezTo>
                <a:cubicBezTo>
                  <a:pt x="446" y="427"/>
                  <a:pt x="446" y="427"/>
                  <a:pt x="446" y="427"/>
                </a:cubicBezTo>
                <a:cubicBezTo>
                  <a:pt x="446" y="427"/>
                  <a:pt x="446" y="426"/>
                  <a:pt x="446" y="426"/>
                </a:cubicBezTo>
                <a:cubicBezTo>
                  <a:pt x="446" y="426"/>
                  <a:pt x="446" y="426"/>
                  <a:pt x="446" y="426"/>
                </a:cubicBezTo>
                <a:cubicBezTo>
                  <a:pt x="446" y="426"/>
                  <a:pt x="446" y="426"/>
                  <a:pt x="445" y="426"/>
                </a:cubicBezTo>
                <a:cubicBezTo>
                  <a:pt x="445" y="426"/>
                  <a:pt x="445" y="426"/>
                  <a:pt x="445" y="426"/>
                </a:cubicBezTo>
                <a:cubicBezTo>
                  <a:pt x="445" y="426"/>
                  <a:pt x="444" y="426"/>
                  <a:pt x="444" y="426"/>
                </a:cubicBezTo>
                <a:cubicBezTo>
                  <a:pt x="444" y="426"/>
                  <a:pt x="444" y="426"/>
                  <a:pt x="444" y="426"/>
                </a:cubicBezTo>
                <a:cubicBezTo>
                  <a:pt x="443" y="426"/>
                  <a:pt x="443" y="427"/>
                  <a:pt x="443" y="427"/>
                </a:cubicBezTo>
                <a:cubicBezTo>
                  <a:pt x="443" y="426"/>
                  <a:pt x="442" y="426"/>
                  <a:pt x="442" y="426"/>
                </a:cubicBezTo>
                <a:cubicBezTo>
                  <a:pt x="442" y="426"/>
                  <a:pt x="442" y="426"/>
                  <a:pt x="442" y="426"/>
                </a:cubicBezTo>
                <a:cubicBezTo>
                  <a:pt x="442" y="426"/>
                  <a:pt x="442" y="426"/>
                  <a:pt x="442" y="426"/>
                </a:cubicBezTo>
                <a:cubicBezTo>
                  <a:pt x="442" y="426"/>
                  <a:pt x="442" y="426"/>
                  <a:pt x="442" y="427"/>
                </a:cubicBezTo>
                <a:cubicBezTo>
                  <a:pt x="442" y="427"/>
                  <a:pt x="442" y="427"/>
                  <a:pt x="442" y="427"/>
                </a:cubicBezTo>
                <a:cubicBezTo>
                  <a:pt x="442" y="427"/>
                  <a:pt x="443" y="427"/>
                  <a:pt x="443" y="427"/>
                </a:cubicBezTo>
                <a:cubicBezTo>
                  <a:pt x="443" y="427"/>
                  <a:pt x="443" y="427"/>
                  <a:pt x="444" y="427"/>
                </a:cubicBezTo>
                <a:cubicBezTo>
                  <a:pt x="444" y="427"/>
                  <a:pt x="445" y="427"/>
                  <a:pt x="445" y="428"/>
                </a:cubicBezTo>
                <a:cubicBezTo>
                  <a:pt x="445" y="428"/>
                  <a:pt x="445" y="428"/>
                  <a:pt x="445" y="428"/>
                </a:cubicBezTo>
                <a:cubicBezTo>
                  <a:pt x="445" y="428"/>
                  <a:pt x="444" y="429"/>
                  <a:pt x="444" y="429"/>
                </a:cubicBezTo>
                <a:cubicBezTo>
                  <a:pt x="444" y="429"/>
                  <a:pt x="444" y="429"/>
                  <a:pt x="443" y="429"/>
                </a:cubicBezTo>
                <a:cubicBezTo>
                  <a:pt x="443" y="429"/>
                  <a:pt x="442" y="429"/>
                  <a:pt x="442" y="429"/>
                </a:cubicBezTo>
                <a:cubicBezTo>
                  <a:pt x="442" y="429"/>
                  <a:pt x="442" y="429"/>
                  <a:pt x="442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2" y="429"/>
                  <a:pt x="442" y="429"/>
                  <a:pt x="442" y="430"/>
                </a:cubicBezTo>
                <a:cubicBezTo>
                  <a:pt x="442" y="430"/>
                  <a:pt x="442" y="430"/>
                  <a:pt x="442" y="429"/>
                </a:cubicBezTo>
                <a:cubicBezTo>
                  <a:pt x="442" y="429"/>
                  <a:pt x="442" y="430"/>
                  <a:pt x="442" y="430"/>
                </a:cubicBezTo>
                <a:cubicBezTo>
                  <a:pt x="442" y="430"/>
                  <a:pt x="442" y="430"/>
                  <a:pt x="442" y="430"/>
                </a:cubicBezTo>
                <a:cubicBezTo>
                  <a:pt x="442" y="430"/>
                  <a:pt x="442" y="430"/>
                  <a:pt x="442" y="431"/>
                </a:cubicBezTo>
                <a:cubicBezTo>
                  <a:pt x="442" y="431"/>
                  <a:pt x="442" y="431"/>
                  <a:pt x="442" y="431"/>
                </a:cubicBezTo>
                <a:cubicBezTo>
                  <a:pt x="442" y="430"/>
                  <a:pt x="443" y="430"/>
                  <a:pt x="443" y="430"/>
                </a:cubicBezTo>
                <a:cubicBezTo>
                  <a:pt x="443" y="430"/>
                  <a:pt x="444" y="430"/>
                  <a:pt x="443" y="430"/>
                </a:cubicBezTo>
                <a:cubicBezTo>
                  <a:pt x="443" y="430"/>
                  <a:pt x="443" y="430"/>
                  <a:pt x="443" y="430"/>
                </a:cubicBezTo>
                <a:cubicBezTo>
                  <a:pt x="443" y="430"/>
                  <a:pt x="443" y="431"/>
                  <a:pt x="443" y="431"/>
                </a:cubicBezTo>
                <a:cubicBezTo>
                  <a:pt x="443" y="430"/>
                  <a:pt x="444" y="430"/>
                  <a:pt x="444" y="430"/>
                </a:cubicBezTo>
                <a:cubicBezTo>
                  <a:pt x="444" y="430"/>
                  <a:pt x="444" y="430"/>
                  <a:pt x="444" y="430"/>
                </a:cubicBezTo>
                <a:cubicBezTo>
                  <a:pt x="445" y="430"/>
                  <a:pt x="445" y="430"/>
                  <a:pt x="445" y="430"/>
                </a:cubicBezTo>
                <a:cubicBezTo>
                  <a:pt x="445" y="430"/>
                  <a:pt x="446" y="430"/>
                  <a:pt x="446" y="430"/>
                </a:cubicBezTo>
                <a:cubicBezTo>
                  <a:pt x="446" y="430"/>
                  <a:pt x="446" y="430"/>
                  <a:pt x="446" y="431"/>
                </a:cubicBezTo>
                <a:cubicBezTo>
                  <a:pt x="446" y="431"/>
                  <a:pt x="446" y="431"/>
                  <a:pt x="445" y="431"/>
                </a:cubicBezTo>
                <a:cubicBezTo>
                  <a:pt x="445" y="431"/>
                  <a:pt x="445" y="431"/>
                  <a:pt x="445" y="431"/>
                </a:cubicBezTo>
                <a:cubicBezTo>
                  <a:pt x="444" y="431"/>
                  <a:pt x="444" y="431"/>
                  <a:pt x="444" y="432"/>
                </a:cubicBezTo>
                <a:cubicBezTo>
                  <a:pt x="443" y="432"/>
                  <a:pt x="443" y="432"/>
                  <a:pt x="443" y="432"/>
                </a:cubicBezTo>
                <a:cubicBezTo>
                  <a:pt x="443" y="432"/>
                  <a:pt x="442" y="432"/>
                  <a:pt x="442" y="432"/>
                </a:cubicBezTo>
                <a:cubicBezTo>
                  <a:pt x="442" y="432"/>
                  <a:pt x="441" y="433"/>
                  <a:pt x="442" y="433"/>
                </a:cubicBezTo>
                <a:cubicBezTo>
                  <a:pt x="442" y="433"/>
                  <a:pt x="442" y="433"/>
                  <a:pt x="442" y="433"/>
                </a:cubicBezTo>
                <a:cubicBezTo>
                  <a:pt x="442" y="434"/>
                  <a:pt x="441" y="434"/>
                  <a:pt x="440" y="434"/>
                </a:cubicBezTo>
                <a:cubicBezTo>
                  <a:pt x="440" y="434"/>
                  <a:pt x="440" y="434"/>
                  <a:pt x="440" y="434"/>
                </a:cubicBezTo>
                <a:cubicBezTo>
                  <a:pt x="440" y="433"/>
                  <a:pt x="440" y="433"/>
                  <a:pt x="440" y="433"/>
                </a:cubicBezTo>
                <a:cubicBezTo>
                  <a:pt x="440" y="433"/>
                  <a:pt x="440" y="433"/>
                  <a:pt x="440" y="433"/>
                </a:cubicBezTo>
                <a:cubicBezTo>
                  <a:pt x="440" y="432"/>
                  <a:pt x="441" y="432"/>
                  <a:pt x="441" y="432"/>
                </a:cubicBezTo>
                <a:cubicBezTo>
                  <a:pt x="440" y="432"/>
                  <a:pt x="440" y="432"/>
                  <a:pt x="440" y="432"/>
                </a:cubicBezTo>
                <a:cubicBezTo>
                  <a:pt x="440" y="432"/>
                  <a:pt x="440" y="432"/>
                  <a:pt x="440" y="432"/>
                </a:cubicBezTo>
                <a:cubicBezTo>
                  <a:pt x="440" y="432"/>
                  <a:pt x="440" y="432"/>
                  <a:pt x="439" y="433"/>
                </a:cubicBezTo>
                <a:cubicBezTo>
                  <a:pt x="439" y="433"/>
                  <a:pt x="439" y="432"/>
                  <a:pt x="439" y="432"/>
                </a:cubicBezTo>
                <a:cubicBezTo>
                  <a:pt x="439" y="432"/>
                  <a:pt x="439" y="432"/>
                  <a:pt x="439" y="432"/>
                </a:cubicBezTo>
                <a:cubicBezTo>
                  <a:pt x="440" y="432"/>
                  <a:pt x="440" y="432"/>
                  <a:pt x="440" y="431"/>
                </a:cubicBezTo>
                <a:cubicBezTo>
                  <a:pt x="440" y="431"/>
                  <a:pt x="440" y="431"/>
                  <a:pt x="440" y="431"/>
                </a:cubicBezTo>
                <a:cubicBezTo>
                  <a:pt x="440" y="431"/>
                  <a:pt x="440" y="431"/>
                  <a:pt x="440" y="431"/>
                </a:cubicBezTo>
                <a:cubicBezTo>
                  <a:pt x="439" y="431"/>
                  <a:pt x="440" y="431"/>
                  <a:pt x="440" y="431"/>
                </a:cubicBezTo>
                <a:cubicBezTo>
                  <a:pt x="440" y="431"/>
                  <a:pt x="441" y="430"/>
                  <a:pt x="441" y="430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1" y="429"/>
                </a:cubicBezTo>
                <a:cubicBezTo>
                  <a:pt x="441" y="429"/>
                  <a:pt x="441" y="429"/>
                  <a:pt x="440" y="429"/>
                </a:cubicBezTo>
                <a:cubicBezTo>
                  <a:pt x="440" y="430"/>
                  <a:pt x="440" y="430"/>
                  <a:pt x="440" y="429"/>
                </a:cubicBezTo>
                <a:cubicBezTo>
                  <a:pt x="440" y="429"/>
                  <a:pt x="439" y="429"/>
                  <a:pt x="439" y="429"/>
                </a:cubicBezTo>
                <a:cubicBezTo>
                  <a:pt x="439" y="429"/>
                  <a:pt x="439" y="430"/>
                  <a:pt x="439" y="430"/>
                </a:cubicBezTo>
                <a:cubicBezTo>
                  <a:pt x="439" y="430"/>
                  <a:pt x="440" y="430"/>
                  <a:pt x="440" y="430"/>
                </a:cubicBezTo>
                <a:cubicBezTo>
                  <a:pt x="439" y="430"/>
                  <a:pt x="439" y="430"/>
                  <a:pt x="439" y="431"/>
                </a:cubicBezTo>
                <a:cubicBezTo>
                  <a:pt x="439" y="431"/>
                  <a:pt x="439" y="431"/>
                  <a:pt x="439" y="431"/>
                </a:cubicBezTo>
                <a:cubicBezTo>
                  <a:pt x="439" y="431"/>
                  <a:pt x="439" y="431"/>
                  <a:pt x="439" y="431"/>
                </a:cubicBezTo>
                <a:cubicBezTo>
                  <a:pt x="438" y="431"/>
                  <a:pt x="438" y="431"/>
                  <a:pt x="438" y="431"/>
                </a:cubicBezTo>
                <a:cubicBezTo>
                  <a:pt x="438" y="431"/>
                  <a:pt x="438" y="431"/>
                  <a:pt x="438" y="430"/>
                </a:cubicBezTo>
                <a:cubicBezTo>
                  <a:pt x="438" y="430"/>
                  <a:pt x="438" y="430"/>
                  <a:pt x="438" y="430"/>
                </a:cubicBezTo>
                <a:cubicBezTo>
                  <a:pt x="438" y="430"/>
                  <a:pt x="438" y="430"/>
                  <a:pt x="437" y="430"/>
                </a:cubicBezTo>
                <a:cubicBezTo>
                  <a:pt x="437" y="430"/>
                  <a:pt x="437" y="430"/>
                  <a:pt x="437" y="430"/>
                </a:cubicBezTo>
                <a:cubicBezTo>
                  <a:pt x="437" y="430"/>
                  <a:pt x="438" y="430"/>
                  <a:pt x="438" y="430"/>
                </a:cubicBezTo>
                <a:cubicBezTo>
                  <a:pt x="438" y="430"/>
                  <a:pt x="438" y="430"/>
                  <a:pt x="438" y="430"/>
                </a:cubicBezTo>
                <a:cubicBezTo>
                  <a:pt x="438" y="430"/>
                  <a:pt x="438" y="431"/>
                  <a:pt x="438" y="431"/>
                </a:cubicBezTo>
                <a:cubicBezTo>
                  <a:pt x="438" y="431"/>
                  <a:pt x="438" y="432"/>
                  <a:pt x="438" y="432"/>
                </a:cubicBezTo>
                <a:cubicBezTo>
                  <a:pt x="438" y="432"/>
                  <a:pt x="438" y="432"/>
                  <a:pt x="438" y="432"/>
                </a:cubicBezTo>
                <a:cubicBezTo>
                  <a:pt x="438" y="433"/>
                  <a:pt x="438" y="432"/>
                  <a:pt x="438" y="432"/>
                </a:cubicBezTo>
                <a:cubicBezTo>
                  <a:pt x="437" y="432"/>
                  <a:pt x="437" y="432"/>
                  <a:pt x="437" y="432"/>
                </a:cubicBezTo>
                <a:cubicBezTo>
                  <a:pt x="436" y="432"/>
                  <a:pt x="436" y="432"/>
                  <a:pt x="436" y="432"/>
                </a:cubicBezTo>
                <a:cubicBezTo>
                  <a:pt x="436" y="432"/>
                  <a:pt x="436" y="432"/>
                  <a:pt x="436" y="432"/>
                </a:cubicBezTo>
                <a:cubicBezTo>
                  <a:pt x="435" y="432"/>
                  <a:pt x="435" y="432"/>
                  <a:pt x="435" y="433"/>
                </a:cubicBezTo>
                <a:cubicBezTo>
                  <a:pt x="435" y="433"/>
                  <a:pt x="435" y="433"/>
                  <a:pt x="436" y="433"/>
                </a:cubicBezTo>
                <a:cubicBezTo>
                  <a:pt x="436" y="433"/>
                  <a:pt x="436" y="433"/>
                  <a:pt x="436" y="433"/>
                </a:cubicBezTo>
                <a:cubicBezTo>
                  <a:pt x="437" y="433"/>
                  <a:pt x="437" y="433"/>
                  <a:pt x="437" y="433"/>
                </a:cubicBezTo>
                <a:cubicBezTo>
                  <a:pt x="437" y="433"/>
                  <a:pt x="437" y="433"/>
                  <a:pt x="437" y="433"/>
                </a:cubicBezTo>
                <a:cubicBezTo>
                  <a:pt x="437" y="434"/>
                  <a:pt x="437" y="434"/>
                  <a:pt x="437" y="434"/>
                </a:cubicBezTo>
                <a:cubicBezTo>
                  <a:pt x="437" y="434"/>
                  <a:pt x="437" y="434"/>
                  <a:pt x="437" y="434"/>
                </a:cubicBezTo>
                <a:cubicBezTo>
                  <a:pt x="438" y="434"/>
                  <a:pt x="437" y="434"/>
                  <a:pt x="437" y="435"/>
                </a:cubicBezTo>
                <a:cubicBezTo>
                  <a:pt x="437" y="435"/>
                  <a:pt x="437" y="435"/>
                  <a:pt x="437" y="435"/>
                </a:cubicBezTo>
                <a:cubicBezTo>
                  <a:pt x="437" y="435"/>
                  <a:pt x="437" y="435"/>
                  <a:pt x="437" y="435"/>
                </a:cubicBezTo>
                <a:cubicBezTo>
                  <a:pt x="437" y="435"/>
                  <a:pt x="437" y="435"/>
                  <a:pt x="437" y="435"/>
                </a:cubicBezTo>
                <a:cubicBezTo>
                  <a:pt x="437" y="436"/>
                  <a:pt x="436" y="436"/>
                  <a:pt x="436" y="436"/>
                </a:cubicBezTo>
                <a:cubicBezTo>
                  <a:pt x="436" y="436"/>
                  <a:pt x="436" y="436"/>
                  <a:pt x="436" y="435"/>
                </a:cubicBezTo>
                <a:cubicBezTo>
                  <a:pt x="436" y="435"/>
                  <a:pt x="436" y="435"/>
                  <a:pt x="435" y="435"/>
                </a:cubicBezTo>
                <a:cubicBezTo>
                  <a:pt x="435" y="435"/>
                  <a:pt x="435" y="435"/>
                  <a:pt x="435" y="435"/>
                </a:cubicBezTo>
                <a:cubicBezTo>
                  <a:pt x="435" y="435"/>
                  <a:pt x="435" y="436"/>
                  <a:pt x="435" y="436"/>
                </a:cubicBezTo>
                <a:cubicBezTo>
                  <a:pt x="436" y="436"/>
                  <a:pt x="435" y="436"/>
                  <a:pt x="435" y="437"/>
                </a:cubicBezTo>
                <a:cubicBezTo>
                  <a:pt x="435" y="437"/>
                  <a:pt x="435" y="437"/>
                  <a:pt x="435" y="437"/>
                </a:cubicBezTo>
                <a:cubicBezTo>
                  <a:pt x="434" y="437"/>
                  <a:pt x="434" y="437"/>
                  <a:pt x="435" y="437"/>
                </a:cubicBezTo>
                <a:cubicBezTo>
                  <a:pt x="435" y="437"/>
                  <a:pt x="435" y="437"/>
                  <a:pt x="435" y="438"/>
                </a:cubicBezTo>
                <a:cubicBezTo>
                  <a:pt x="435" y="437"/>
                  <a:pt x="435" y="437"/>
                  <a:pt x="435" y="437"/>
                </a:cubicBezTo>
                <a:cubicBezTo>
                  <a:pt x="435" y="437"/>
                  <a:pt x="435" y="437"/>
                  <a:pt x="435" y="437"/>
                </a:cubicBezTo>
                <a:cubicBezTo>
                  <a:pt x="436" y="437"/>
                  <a:pt x="435" y="437"/>
                  <a:pt x="435" y="437"/>
                </a:cubicBezTo>
                <a:cubicBezTo>
                  <a:pt x="435" y="437"/>
                  <a:pt x="435" y="438"/>
                  <a:pt x="434" y="438"/>
                </a:cubicBezTo>
                <a:cubicBezTo>
                  <a:pt x="434" y="438"/>
                  <a:pt x="434" y="438"/>
                  <a:pt x="434" y="438"/>
                </a:cubicBezTo>
                <a:cubicBezTo>
                  <a:pt x="433" y="438"/>
                  <a:pt x="433" y="438"/>
                  <a:pt x="433" y="438"/>
                </a:cubicBezTo>
                <a:cubicBezTo>
                  <a:pt x="433" y="439"/>
                  <a:pt x="433" y="439"/>
                  <a:pt x="432" y="440"/>
                </a:cubicBezTo>
                <a:cubicBezTo>
                  <a:pt x="432" y="440"/>
                  <a:pt x="432" y="440"/>
                  <a:pt x="432" y="440"/>
                </a:cubicBezTo>
                <a:cubicBezTo>
                  <a:pt x="432" y="440"/>
                  <a:pt x="431" y="440"/>
                  <a:pt x="431" y="440"/>
                </a:cubicBezTo>
                <a:cubicBezTo>
                  <a:pt x="431" y="440"/>
                  <a:pt x="431" y="440"/>
                  <a:pt x="431" y="440"/>
                </a:cubicBezTo>
                <a:cubicBezTo>
                  <a:pt x="430" y="440"/>
                  <a:pt x="430" y="440"/>
                  <a:pt x="430" y="440"/>
                </a:cubicBezTo>
                <a:cubicBezTo>
                  <a:pt x="430" y="440"/>
                  <a:pt x="430" y="439"/>
                  <a:pt x="430" y="439"/>
                </a:cubicBezTo>
                <a:cubicBezTo>
                  <a:pt x="430" y="438"/>
                  <a:pt x="431" y="438"/>
                  <a:pt x="431" y="438"/>
                </a:cubicBezTo>
                <a:cubicBezTo>
                  <a:pt x="431" y="437"/>
                  <a:pt x="432" y="437"/>
                  <a:pt x="432" y="436"/>
                </a:cubicBezTo>
                <a:cubicBezTo>
                  <a:pt x="432" y="436"/>
                  <a:pt x="432" y="436"/>
                  <a:pt x="432" y="436"/>
                </a:cubicBezTo>
                <a:cubicBezTo>
                  <a:pt x="433" y="436"/>
                  <a:pt x="433" y="435"/>
                  <a:pt x="434" y="435"/>
                </a:cubicBezTo>
                <a:cubicBezTo>
                  <a:pt x="434" y="435"/>
                  <a:pt x="434" y="434"/>
                  <a:pt x="434" y="434"/>
                </a:cubicBezTo>
                <a:cubicBezTo>
                  <a:pt x="434" y="434"/>
                  <a:pt x="435" y="434"/>
                  <a:pt x="434" y="434"/>
                </a:cubicBezTo>
                <a:cubicBezTo>
                  <a:pt x="434" y="434"/>
                  <a:pt x="434" y="434"/>
                  <a:pt x="434" y="434"/>
                </a:cubicBezTo>
                <a:cubicBezTo>
                  <a:pt x="434" y="434"/>
                  <a:pt x="434" y="435"/>
                  <a:pt x="433" y="435"/>
                </a:cubicBezTo>
                <a:cubicBezTo>
                  <a:pt x="433" y="435"/>
                  <a:pt x="433" y="434"/>
                  <a:pt x="434" y="434"/>
                </a:cubicBezTo>
                <a:cubicBezTo>
                  <a:pt x="434" y="434"/>
                  <a:pt x="434" y="434"/>
                  <a:pt x="434" y="434"/>
                </a:cubicBezTo>
                <a:cubicBezTo>
                  <a:pt x="434" y="434"/>
                  <a:pt x="433" y="433"/>
                  <a:pt x="433" y="434"/>
                </a:cubicBezTo>
                <a:cubicBezTo>
                  <a:pt x="433" y="434"/>
                  <a:pt x="433" y="434"/>
                  <a:pt x="433" y="434"/>
                </a:cubicBezTo>
                <a:cubicBezTo>
                  <a:pt x="433" y="434"/>
                  <a:pt x="433" y="435"/>
                  <a:pt x="433" y="435"/>
                </a:cubicBezTo>
                <a:cubicBezTo>
                  <a:pt x="433" y="435"/>
                  <a:pt x="433" y="435"/>
                  <a:pt x="432" y="435"/>
                </a:cubicBezTo>
                <a:cubicBezTo>
                  <a:pt x="432" y="435"/>
                  <a:pt x="432" y="435"/>
                  <a:pt x="432" y="435"/>
                </a:cubicBezTo>
                <a:cubicBezTo>
                  <a:pt x="432" y="434"/>
                  <a:pt x="432" y="434"/>
                  <a:pt x="432" y="433"/>
                </a:cubicBezTo>
                <a:cubicBezTo>
                  <a:pt x="432" y="433"/>
                  <a:pt x="433" y="433"/>
                  <a:pt x="433" y="433"/>
                </a:cubicBezTo>
                <a:cubicBezTo>
                  <a:pt x="433" y="432"/>
                  <a:pt x="433" y="432"/>
                  <a:pt x="433" y="432"/>
                </a:cubicBezTo>
                <a:cubicBezTo>
                  <a:pt x="433" y="432"/>
                  <a:pt x="433" y="432"/>
                  <a:pt x="434" y="432"/>
                </a:cubicBezTo>
                <a:cubicBezTo>
                  <a:pt x="434" y="431"/>
                  <a:pt x="434" y="431"/>
                  <a:pt x="435" y="431"/>
                </a:cubicBezTo>
                <a:cubicBezTo>
                  <a:pt x="435" y="431"/>
                  <a:pt x="435" y="431"/>
                  <a:pt x="434" y="431"/>
                </a:cubicBezTo>
                <a:cubicBezTo>
                  <a:pt x="434" y="431"/>
                  <a:pt x="434" y="431"/>
                  <a:pt x="434" y="431"/>
                </a:cubicBezTo>
                <a:cubicBezTo>
                  <a:pt x="434" y="430"/>
                  <a:pt x="434" y="431"/>
                  <a:pt x="434" y="431"/>
                </a:cubicBezTo>
                <a:cubicBezTo>
                  <a:pt x="434" y="431"/>
                  <a:pt x="434" y="431"/>
                  <a:pt x="433" y="431"/>
                </a:cubicBezTo>
                <a:cubicBezTo>
                  <a:pt x="433" y="431"/>
                  <a:pt x="433" y="431"/>
                  <a:pt x="433" y="431"/>
                </a:cubicBezTo>
                <a:cubicBezTo>
                  <a:pt x="433" y="432"/>
                  <a:pt x="432" y="432"/>
                  <a:pt x="432" y="432"/>
                </a:cubicBezTo>
                <a:cubicBezTo>
                  <a:pt x="432" y="433"/>
                  <a:pt x="432" y="433"/>
                  <a:pt x="432" y="433"/>
                </a:cubicBezTo>
                <a:cubicBezTo>
                  <a:pt x="431" y="433"/>
                  <a:pt x="431" y="433"/>
                  <a:pt x="431" y="433"/>
                </a:cubicBezTo>
                <a:cubicBezTo>
                  <a:pt x="431" y="434"/>
                  <a:pt x="431" y="434"/>
                  <a:pt x="431" y="434"/>
                </a:cubicBezTo>
                <a:cubicBezTo>
                  <a:pt x="431" y="435"/>
                  <a:pt x="431" y="435"/>
                  <a:pt x="430" y="435"/>
                </a:cubicBezTo>
                <a:cubicBezTo>
                  <a:pt x="430" y="435"/>
                  <a:pt x="430" y="434"/>
                  <a:pt x="430" y="434"/>
                </a:cubicBezTo>
                <a:cubicBezTo>
                  <a:pt x="430" y="434"/>
                  <a:pt x="430" y="434"/>
                  <a:pt x="430" y="434"/>
                </a:cubicBezTo>
                <a:cubicBezTo>
                  <a:pt x="430" y="434"/>
                  <a:pt x="430" y="433"/>
                  <a:pt x="430" y="433"/>
                </a:cubicBezTo>
                <a:cubicBezTo>
                  <a:pt x="430" y="432"/>
                  <a:pt x="431" y="432"/>
                  <a:pt x="431" y="432"/>
                </a:cubicBezTo>
                <a:cubicBezTo>
                  <a:pt x="432" y="432"/>
                  <a:pt x="432" y="431"/>
                  <a:pt x="432" y="431"/>
                </a:cubicBezTo>
                <a:cubicBezTo>
                  <a:pt x="431" y="431"/>
                  <a:pt x="431" y="431"/>
                  <a:pt x="430" y="431"/>
                </a:cubicBezTo>
                <a:cubicBezTo>
                  <a:pt x="430" y="431"/>
                  <a:pt x="430" y="431"/>
                  <a:pt x="430" y="431"/>
                </a:cubicBezTo>
                <a:cubicBezTo>
                  <a:pt x="430" y="431"/>
                  <a:pt x="430" y="431"/>
                  <a:pt x="430" y="431"/>
                </a:cubicBezTo>
                <a:cubicBezTo>
                  <a:pt x="430" y="431"/>
                  <a:pt x="429" y="431"/>
                  <a:pt x="429" y="431"/>
                </a:cubicBezTo>
                <a:cubicBezTo>
                  <a:pt x="429" y="431"/>
                  <a:pt x="429" y="431"/>
                  <a:pt x="429" y="431"/>
                </a:cubicBezTo>
                <a:cubicBezTo>
                  <a:pt x="429" y="430"/>
                  <a:pt x="429" y="430"/>
                  <a:pt x="428" y="430"/>
                </a:cubicBezTo>
                <a:cubicBezTo>
                  <a:pt x="428" y="430"/>
                  <a:pt x="428" y="430"/>
                  <a:pt x="428" y="431"/>
                </a:cubicBezTo>
                <a:cubicBezTo>
                  <a:pt x="428" y="431"/>
                  <a:pt x="428" y="431"/>
                  <a:pt x="428" y="431"/>
                </a:cubicBezTo>
                <a:cubicBezTo>
                  <a:pt x="428" y="431"/>
                  <a:pt x="427" y="431"/>
                  <a:pt x="427" y="431"/>
                </a:cubicBezTo>
                <a:cubicBezTo>
                  <a:pt x="427" y="431"/>
                  <a:pt x="427" y="431"/>
                  <a:pt x="427" y="431"/>
                </a:cubicBezTo>
                <a:cubicBezTo>
                  <a:pt x="426" y="431"/>
                  <a:pt x="426" y="431"/>
                  <a:pt x="426" y="431"/>
                </a:cubicBezTo>
                <a:cubicBezTo>
                  <a:pt x="426" y="431"/>
                  <a:pt x="426" y="431"/>
                  <a:pt x="426" y="431"/>
                </a:cubicBezTo>
                <a:cubicBezTo>
                  <a:pt x="425" y="431"/>
                  <a:pt x="425" y="432"/>
                  <a:pt x="425" y="432"/>
                </a:cubicBezTo>
                <a:cubicBezTo>
                  <a:pt x="425" y="432"/>
                  <a:pt x="426" y="433"/>
                  <a:pt x="426" y="433"/>
                </a:cubicBezTo>
                <a:cubicBezTo>
                  <a:pt x="426" y="433"/>
                  <a:pt x="427" y="433"/>
                  <a:pt x="427" y="433"/>
                </a:cubicBezTo>
                <a:cubicBezTo>
                  <a:pt x="427" y="433"/>
                  <a:pt x="427" y="432"/>
                  <a:pt x="427" y="432"/>
                </a:cubicBezTo>
                <a:cubicBezTo>
                  <a:pt x="428" y="432"/>
                  <a:pt x="428" y="431"/>
                  <a:pt x="428" y="431"/>
                </a:cubicBezTo>
                <a:cubicBezTo>
                  <a:pt x="429" y="431"/>
                  <a:pt x="429" y="431"/>
                  <a:pt x="430" y="431"/>
                </a:cubicBezTo>
                <a:cubicBezTo>
                  <a:pt x="430" y="431"/>
                  <a:pt x="430" y="431"/>
                  <a:pt x="430" y="432"/>
                </a:cubicBezTo>
                <a:cubicBezTo>
                  <a:pt x="430" y="432"/>
                  <a:pt x="430" y="433"/>
                  <a:pt x="430" y="433"/>
                </a:cubicBezTo>
                <a:cubicBezTo>
                  <a:pt x="430" y="434"/>
                  <a:pt x="430" y="434"/>
                  <a:pt x="429" y="434"/>
                </a:cubicBezTo>
                <a:cubicBezTo>
                  <a:pt x="429" y="434"/>
                  <a:pt x="429" y="434"/>
                  <a:pt x="429" y="435"/>
                </a:cubicBezTo>
                <a:cubicBezTo>
                  <a:pt x="430" y="435"/>
                  <a:pt x="429" y="435"/>
                  <a:pt x="429" y="435"/>
                </a:cubicBezTo>
                <a:cubicBezTo>
                  <a:pt x="429" y="435"/>
                  <a:pt x="429" y="436"/>
                  <a:pt x="429" y="436"/>
                </a:cubicBezTo>
                <a:cubicBezTo>
                  <a:pt x="429" y="436"/>
                  <a:pt x="428" y="436"/>
                  <a:pt x="428" y="436"/>
                </a:cubicBezTo>
                <a:cubicBezTo>
                  <a:pt x="428" y="436"/>
                  <a:pt x="428" y="436"/>
                  <a:pt x="428" y="436"/>
                </a:cubicBezTo>
                <a:cubicBezTo>
                  <a:pt x="428" y="436"/>
                  <a:pt x="429" y="436"/>
                  <a:pt x="429" y="436"/>
                </a:cubicBezTo>
                <a:cubicBezTo>
                  <a:pt x="429" y="436"/>
                  <a:pt x="429" y="436"/>
                  <a:pt x="429" y="436"/>
                </a:cubicBezTo>
                <a:cubicBezTo>
                  <a:pt x="429" y="436"/>
                  <a:pt x="429" y="437"/>
                  <a:pt x="428" y="437"/>
                </a:cubicBezTo>
                <a:cubicBezTo>
                  <a:pt x="428" y="436"/>
                  <a:pt x="428" y="437"/>
                  <a:pt x="428" y="437"/>
                </a:cubicBezTo>
                <a:cubicBezTo>
                  <a:pt x="428" y="437"/>
                  <a:pt x="428" y="437"/>
                  <a:pt x="428" y="437"/>
                </a:cubicBezTo>
                <a:cubicBezTo>
                  <a:pt x="428" y="437"/>
                  <a:pt x="428" y="437"/>
                  <a:pt x="428" y="437"/>
                </a:cubicBezTo>
                <a:cubicBezTo>
                  <a:pt x="428" y="437"/>
                  <a:pt x="428" y="436"/>
                  <a:pt x="428" y="436"/>
                </a:cubicBezTo>
                <a:cubicBezTo>
                  <a:pt x="428" y="436"/>
                  <a:pt x="428" y="436"/>
                  <a:pt x="428" y="436"/>
                </a:cubicBezTo>
                <a:cubicBezTo>
                  <a:pt x="428" y="436"/>
                  <a:pt x="428" y="436"/>
                  <a:pt x="427" y="436"/>
                </a:cubicBezTo>
                <a:cubicBezTo>
                  <a:pt x="427" y="436"/>
                  <a:pt x="427" y="436"/>
                  <a:pt x="427" y="436"/>
                </a:cubicBezTo>
                <a:cubicBezTo>
                  <a:pt x="427" y="436"/>
                  <a:pt x="427" y="436"/>
                  <a:pt x="427" y="436"/>
                </a:cubicBezTo>
                <a:cubicBezTo>
                  <a:pt x="427" y="436"/>
                  <a:pt x="427" y="435"/>
                  <a:pt x="428" y="435"/>
                </a:cubicBezTo>
                <a:cubicBezTo>
                  <a:pt x="427" y="435"/>
                  <a:pt x="427" y="435"/>
                  <a:pt x="427" y="435"/>
                </a:cubicBezTo>
                <a:cubicBezTo>
                  <a:pt x="427" y="435"/>
                  <a:pt x="427" y="435"/>
                  <a:pt x="427" y="435"/>
                </a:cubicBezTo>
                <a:cubicBezTo>
                  <a:pt x="426" y="435"/>
                  <a:pt x="426" y="435"/>
                  <a:pt x="425" y="435"/>
                </a:cubicBezTo>
                <a:cubicBezTo>
                  <a:pt x="425" y="434"/>
                  <a:pt x="425" y="434"/>
                  <a:pt x="425" y="434"/>
                </a:cubicBezTo>
                <a:cubicBezTo>
                  <a:pt x="425" y="433"/>
                  <a:pt x="425" y="432"/>
                  <a:pt x="425" y="431"/>
                </a:cubicBezTo>
                <a:cubicBezTo>
                  <a:pt x="425" y="431"/>
                  <a:pt x="425" y="430"/>
                  <a:pt x="425" y="430"/>
                </a:cubicBezTo>
                <a:cubicBezTo>
                  <a:pt x="424" y="429"/>
                  <a:pt x="424" y="428"/>
                  <a:pt x="424" y="428"/>
                </a:cubicBezTo>
                <a:cubicBezTo>
                  <a:pt x="423" y="428"/>
                  <a:pt x="423" y="428"/>
                  <a:pt x="423" y="428"/>
                </a:cubicBezTo>
                <a:cubicBezTo>
                  <a:pt x="423" y="428"/>
                  <a:pt x="423" y="428"/>
                  <a:pt x="423" y="427"/>
                </a:cubicBezTo>
                <a:cubicBezTo>
                  <a:pt x="423" y="427"/>
                  <a:pt x="422" y="427"/>
                  <a:pt x="422" y="427"/>
                </a:cubicBezTo>
                <a:cubicBezTo>
                  <a:pt x="422" y="428"/>
                  <a:pt x="422" y="428"/>
                  <a:pt x="422" y="428"/>
                </a:cubicBezTo>
                <a:cubicBezTo>
                  <a:pt x="422" y="428"/>
                  <a:pt x="421" y="427"/>
                  <a:pt x="422" y="427"/>
                </a:cubicBezTo>
                <a:cubicBezTo>
                  <a:pt x="422" y="427"/>
                  <a:pt x="422" y="427"/>
                  <a:pt x="422" y="427"/>
                </a:cubicBezTo>
                <a:cubicBezTo>
                  <a:pt x="422" y="427"/>
                  <a:pt x="422" y="426"/>
                  <a:pt x="422" y="426"/>
                </a:cubicBezTo>
                <a:cubicBezTo>
                  <a:pt x="421" y="426"/>
                  <a:pt x="421" y="426"/>
                  <a:pt x="421" y="426"/>
                </a:cubicBezTo>
                <a:cubicBezTo>
                  <a:pt x="421" y="426"/>
                  <a:pt x="422" y="426"/>
                  <a:pt x="422" y="426"/>
                </a:cubicBezTo>
                <a:cubicBezTo>
                  <a:pt x="422" y="426"/>
                  <a:pt x="422" y="426"/>
                  <a:pt x="422" y="425"/>
                </a:cubicBezTo>
                <a:cubicBezTo>
                  <a:pt x="422" y="425"/>
                  <a:pt x="422" y="425"/>
                  <a:pt x="422" y="425"/>
                </a:cubicBezTo>
                <a:cubicBezTo>
                  <a:pt x="422" y="425"/>
                  <a:pt x="422" y="424"/>
                  <a:pt x="422" y="424"/>
                </a:cubicBezTo>
                <a:cubicBezTo>
                  <a:pt x="422" y="424"/>
                  <a:pt x="422" y="424"/>
                  <a:pt x="422" y="424"/>
                </a:cubicBezTo>
                <a:cubicBezTo>
                  <a:pt x="423" y="424"/>
                  <a:pt x="423" y="423"/>
                  <a:pt x="423" y="423"/>
                </a:cubicBezTo>
                <a:cubicBezTo>
                  <a:pt x="423" y="423"/>
                  <a:pt x="423" y="423"/>
                  <a:pt x="423" y="422"/>
                </a:cubicBezTo>
                <a:cubicBezTo>
                  <a:pt x="423" y="422"/>
                  <a:pt x="424" y="422"/>
                  <a:pt x="424" y="422"/>
                </a:cubicBezTo>
                <a:cubicBezTo>
                  <a:pt x="424" y="422"/>
                  <a:pt x="424" y="422"/>
                  <a:pt x="424" y="422"/>
                </a:cubicBezTo>
                <a:cubicBezTo>
                  <a:pt x="425" y="422"/>
                  <a:pt x="425" y="421"/>
                  <a:pt x="425" y="421"/>
                </a:cubicBezTo>
                <a:cubicBezTo>
                  <a:pt x="425" y="421"/>
                  <a:pt x="425" y="421"/>
                  <a:pt x="425" y="421"/>
                </a:cubicBezTo>
                <a:cubicBezTo>
                  <a:pt x="425" y="420"/>
                  <a:pt x="425" y="420"/>
                  <a:pt x="425" y="420"/>
                </a:cubicBezTo>
                <a:cubicBezTo>
                  <a:pt x="425" y="421"/>
                  <a:pt x="426" y="421"/>
                  <a:pt x="426" y="420"/>
                </a:cubicBezTo>
                <a:cubicBezTo>
                  <a:pt x="426" y="420"/>
                  <a:pt x="426" y="420"/>
                  <a:pt x="427" y="419"/>
                </a:cubicBezTo>
                <a:cubicBezTo>
                  <a:pt x="427" y="419"/>
                  <a:pt x="427" y="419"/>
                  <a:pt x="427" y="419"/>
                </a:cubicBezTo>
                <a:cubicBezTo>
                  <a:pt x="427" y="419"/>
                  <a:pt x="427" y="419"/>
                  <a:pt x="427" y="419"/>
                </a:cubicBezTo>
                <a:cubicBezTo>
                  <a:pt x="428" y="419"/>
                  <a:pt x="428" y="418"/>
                  <a:pt x="429" y="418"/>
                </a:cubicBezTo>
                <a:cubicBezTo>
                  <a:pt x="429" y="418"/>
                  <a:pt x="430" y="418"/>
                  <a:pt x="430" y="419"/>
                </a:cubicBezTo>
                <a:cubicBezTo>
                  <a:pt x="430" y="419"/>
                  <a:pt x="430" y="419"/>
                  <a:pt x="431" y="419"/>
                </a:cubicBezTo>
                <a:cubicBezTo>
                  <a:pt x="431" y="418"/>
                  <a:pt x="431" y="419"/>
                  <a:pt x="431" y="419"/>
                </a:cubicBezTo>
                <a:cubicBezTo>
                  <a:pt x="431" y="419"/>
                  <a:pt x="432" y="419"/>
                  <a:pt x="432" y="419"/>
                </a:cubicBezTo>
                <a:cubicBezTo>
                  <a:pt x="432" y="420"/>
                  <a:pt x="432" y="420"/>
                  <a:pt x="432" y="421"/>
                </a:cubicBezTo>
                <a:cubicBezTo>
                  <a:pt x="432" y="421"/>
                  <a:pt x="431" y="421"/>
                  <a:pt x="431" y="421"/>
                </a:cubicBezTo>
                <a:cubicBezTo>
                  <a:pt x="431" y="421"/>
                  <a:pt x="431" y="421"/>
                  <a:pt x="431" y="421"/>
                </a:cubicBezTo>
                <a:cubicBezTo>
                  <a:pt x="431" y="421"/>
                  <a:pt x="431" y="421"/>
                  <a:pt x="431" y="421"/>
                </a:cubicBezTo>
                <a:cubicBezTo>
                  <a:pt x="431" y="422"/>
                  <a:pt x="431" y="422"/>
                  <a:pt x="431" y="421"/>
                </a:cubicBezTo>
                <a:cubicBezTo>
                  <a:pt x="432" y="421"/>
                  <a:pt x="432" y="421"/>
                  <a:pt x="432" y="421"/>
                </a:cubicBezTo>
                <a:cubicBezTo>
                  <a:pt x="432" y="421"/>
                  <a:pt x="432" y="421"/>
                  <a:pt x="432" y="421"/>
                </a:cubicBezTo>
                <a:cubicBezTo>
                  <a:pt x="432" y="421"/>
                  <a:pt x="432" y="421"/>
                  <a:pt x="432" y="422"/>
                </a:cubicBezTo>
                <a:cubicBezTo>
                  <a:pt x="433" y="422"/>
                  <a:pt x="432" y="422"/>
                  <a:pt x="433" y="422"/>
                </a:cubicBezTo>
                <a:cubicBezTo>
                  <a:pt x="433" y="423"/>
                  <a:pt x="433" y="423"/>
                  <a:pt x="433" y="423"/>
                </a:cubicBezTo>
                <a:cubicBezTo>
                  <a:pt x="433" y="424"/>
                  <a:pt x="433" y="424"/>
                  <a:pt x="433" y="424"/>
                </a:cubicBezTo>
                <a:cubicBezTo>
                  <a:pt x="433" y="424"/>
                  <a:pt x="433" y="425"/>
                  <a:pt x="433" y="425"/>
                </a:cubicBezTo>
                <a:cubicBezTo>
                  <a:pt x="434" y="425"/>
                  <a:pt x="434" y="425"/>
                  <a:pt x="434" y="426"/>
                </a:cubicBezTo>
                <a:cubicBezTo>
                  <a:pt x="434" y="426"/>
                  <a:pt x="434" y="426"/>
                  <a:pt x="434" y="427"/>
                </a:cubicBezTo>
                <a:cubicBezTo>
                  <a:pt x="435" y="427"/>
                  <a:pt x="435" y="427"/>
                  <a:pt x="435" y="427"/>
                </a:cubicBezTo>
                <a:cubicBezTo>
                  <a:pt x="435" y="427"/>
                  <a:pt x="436" y="427"/>
                  <a:pt x="436" y="427"/>
                </a:cubicBezTo>
                <a:cubicBezTo>
                  <a:pt x="436" y="427"/>
                  <a:pt x="436" y="427"/>
                  <a:pt x="435" y="427"/>
                </a:cubicBezTo>
                <a:cubicBezTo>
                  <a:pt x="435" y="427"/>
                  <a:pt x="435" y="427"/>
                  <a:pt x="435" y="427"/>
                </a:cubicBezTo>
                <a:cubicBezTo>
                  <a:pt x="435" y="426"/>
                  <a:pt x="435" y="426"/>
                  <a:pt x="435" y="426"/>
                </a:cubicBezTo>
                <a:cubicBezTo>
                  <a:pt x="434" y="425"/>
                  <a:pt x="434" y="425"/>
                  <a:pt x="434" y="424"/>
                </a:cubicBezTo>
                <a:cubicBezTo>
                  <a:pt x="434" y="424"/>
                  <a:pt x="434" y="424"/>
                  <a:pt x="434" y="424"/>
                </a:cubicBezTo>
                <a:cubicBezTo>
                  <a:pt x="434" y="423"/>
                  <a:pt x="434" y="423"/>
                  <a:pt x="434" y="422"/>
                </a:cubicBezTo>
                <a:cubicBezTo>
                  <a:pt x="434" y="422"/>
                  <a:pt x="434" y="421"/>
                  <a:pt x="434" y="421"/>
                </a:cubicBezTo>
                <a:cubicBezTo>
                  <a:pt x="434" y="421"/>
                  <a:pt x="433" y="421"/>
                  <a:pt x="433" y="421"/>
                </a:cubicBezTo>
                <a:cubicBezTo>
                  <a:pt x="433" y="421"/>
                  <a:pt x="434" y="420"/>
                  <a:pt x="434" y="420"/>
                </a:cubicBezTo>
                <a:cubicBezTo>
                  <a:pt x="434" y="420"/>
                  <a:pt x="434" y="420"/>
                  <a:pt x="434" y="421"/>
                </a:cubicBezTo>
                <a:cubicBezTo>
                  <a:pt x="434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5" y="421"/>
                  <a:pt x="435" y="421"/>
                  <a:pt x="435" y="421"/>
                </a:cubicBezTo>
                <a:cubicBezTo>
                  <a:pt x="434" y="421"/>
                  <a:pt x="434" y="421"/>
                  <a:pt x="434" y="420"/>
                </a:cubicBezTo>
                <a:cubicBezTo>
                  <a:pt x="434" y="420"/>
                  <a:pt x="433" y="420"/>
                  <a:pt x="433" y="419"/>
                </a:cubicBezTo>
                <a:cubicBezTo>
                  <a:pt x="433" y="419"/>
                  <a:pt x="433" y="419"/>
                  <a:pt x="433" y="419"/>
                </a:cubicBezTo>
                <a:cubicBezTo>
                  <a:pt x="434" y="419"/>
                  <a:pt x="435" y="419"/>
                  <a:pt x="436" y="419"/>
                </a:cubicBezTo>
                <a:cubicBezTo>
                  <a:pt x="436" y="419"/>
                  <a:pt x="436" y="419"/>
                  <a:pt x="436" y="419"/>
                </a:cubicBezTo>
                <a:cubicBezTo>
                  <a:pt x="436" y="419"/>
                  <a:pt x="436" y="419"/>
                  <a:pt x="436" y="420"/>
                </a:cubicBezTo>
                <a:cubicBezTo>
                  <a:pt x="436" y="420"/>
                  <a:pt x="436" y="420"/>
                  <a:pt x="437" y="420"/>
                </a:cubicBezTo>
                <a:cubicBezTo>
                  <a:pt x="437" y="420"/>
                  <a:pt x="437" y="420"/>
                  <a:pt x="437" y="420"/>
                </a:cubicBezTo>
                <a:cubicBezTo>
                  <a:pt x="437" y="420"/>
                  <a:pt x="437" y="420"/>
                  <a:pt x="437" y="419"/>
                </a:cubicBezTo>
                <a:cubicBezTo>
                  <a:pt x="437" y="419"/>
                  <a:pt x="436" y="418"/>
                  <a:pt x="435" y="418"/>
                </a:cubicBezTo>
                <a:cubicBezTo>
                  <a:pt x="435" y="418"/>
                  <a:pt x="435" y="418"/>
                  <a:pt x="435" y="418"/>
                </a:cubicBezTo>
                <a:cubicBezTo>
                  <a:pt x="434" y="418"/>
                  <a:pt x="434" y="418"/>
                  <a:pt x="434" y="417"/>
                </a:cubicBezTo>
                <a:cubicBezTo>
                  <a:pt x="434" y="417"/>
                  <a:pt x="434" y="417"/>
                  <a:pt x="433" y="417"/>
                </a:cubicBezTo>
                <a:cubicBezTo>
                  <a:pt x="433" y="417"/>
                  <a:pt x="432" y="417"/>
                  <a:pt x="432" y="416"/>
                </a:cubicBezTo>
                <a:cubicBezTo>
                  <a:pt x="432" y="416"/>
                  <a:pt x="432" y="415"/>
                  <a:pt x="432" y="415"/>
                </a:cubicBezTo>
                <a:cubicBezTo>
                  <a:pt x="433" y="415"/>
                  <a:pt x="433" y="414"/>
                  <a:pt x="433" y="414"/>
                </a:cubicBezTo>
                <a:cubicBezTo>
                  <a:pt x="433" y="414"/>
                  <a:pt x="433" y="414"/>
                  <a:pt x="433" y="414"/>
                </a:cubicBezTo>
                <a:cubicBezTo>
                  <a:pt x="433" y="414"/>
                  <a:pt x="434" y="413"/>
                  <a:pt x="434" y="413"/>
                </a:cubicBezTo>
                <a:cubicBezTo>
                  <a:pt x="434" y="413"/>
                  <a:pt x="434" y="413"/>
                  <a:pt x="435" y="413"/>
                </a:cubicBezTo>
                <a:cubicBezTo>
                  <a:pt x="435" y="413"/>
                  <a:pt x="435" y="413"/>
                  <a:pt x="435" y="413"/>
                </a:cubicBezTo>
                <a:cubicBezTo>
                  <a:pt x="435" y="413"/>
                  <a:pt x="436" y="413"/>
                  <a:pt x="436" y="413"/>
                </a:cubicBezTo>
                <a:cubicBezTo>
                  <a:pt x="436" y="413"/>
                  <a:pt x="436" y="413"/>
                  <a:pt x="436" y="414"/>
                </a:cubicBezTo>
                <a:cubicBezTo>
                  <a:pt x="436" y="414"/>
                  <a:pt x="437" y="414"/>
                  <a:pt x="437" y="414"/>
                </a:cubicBezTo>
                <a:cubicBezTo>
                  <a:pt x="437" y="414"/>
                  <a:pt x="437" y="414"/>
                  <a:pt x="437" y="415"/>
                </a:cubicBezTo>
                <a:cubicBezTo>
                  <a:pt x="437" y="415"/>
                  <a:pt x="437" y="415"/>
                  <a:pt x="437" y="415"/>
                </a:cubicBezTo>
                <a:cubicBezTo>
                  <a:pt x="437" y="415"/>
                  <a:pt x="437" y="415"/>
                  <a:pt x="437" y="415"/>
                </a:cubicBezTo>
                <a:cubicBezTo>
                  <a:pt x="437" y="416"/>
                  <a:pt x="437" y="416"/>
                  <a:pt x="437" y="417"/>
                </a:cubicBezTo>
                <a:cubicBezTo>
                  <a:pt x="437" y="418"/>
                  <a:pt x="438" y="418"/>
                  <a:pt x="438" y="418"/>
                </a:cubicBezTo>
                <a:cubicBezTo>
                  <a:pt x="438" y="418"/>
                  <a:pt x="438" y="419"/>
                  <a:pt x="438" y="419"/>
                </a:cubicBezTo>
                <a:cubicBezTo>
                  <a:pt x="438" y="418"/>
                  <a:pt x="438" y="418"/>
                  <a:pt x="438" y="417"/>
                </a:cubicBezTo>
                <a:cubicBezTo>
                  <a:pt x="438" y="417"/>
                  <a:pt x="438" y="417"/>
                  <a:pt x="438" y="417"/>
                </a:cubicBezTo>
                <a:cubicBezTo>
                  <a:pt x="438" y="417"/>
                  <a:pt x="439" y="417"/>
                  <a:pt x="439" y="417"/>
                </a:cubicBezTo>
                <a:cubicBezTo>
                  <a:pt x="439" y="417"/>
                  <a:pt x="438" y="417"/>
                  <a:pt x="438" y="417"/>
                </a:cubicBezTo>
                <a:cubicBezTo>
                  <a:pt x="438" y="416"/>
                  <a:pt x="438" y="416"/>
                  <a:pt x="438" y="416"/>
                </a:cubicBezTo>
                <a:cubicBezTo>
                  <a:pt x="438" y="416"/>
                  <a:pt x="438" y="416"/>
                  <a:pt x="438" y="416"/>
                </a:cubicBezTo>
                <a:cubicBezTo>
                  <a:pt x="439" y="416"/>
                  <a:pt x="439" y="416"/>
                  <a:pt x="439" y="416"/>
                </a:cubicBezTo>
                <a:cubicBezTo>
                  <a:pt x="439" y="416"/>
                  <a:pt x="439" y="417"/>
                  <a:pt x="439" y="417"/>
                </a:cubicBezTo>
                <a:cubicBezTo>
                  <a:pt x="439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7"/>
                  <a:pt x="440" y="417"/>
                </a:cubicBezTo>
                <a:cubicBezTo>
                  <a:pt x="440" y="417"/>
                  <a:pt x="440" y="416"/>
                  <a:pt x="440" y="416"/>
                </a:cubicBezTo>
                <a:cubicBezTo>
                  <a:pt x="440" y="416"/>
                  <a:pt x="440" y="416"/>
                  <a:pt x="440" y="416"/>
                </a:cubicBezTo>
                <a:cubicBezTo>
                  <a:pt x="440" y="416"/>
                  <a:pt x="439" y="416"/>
                  <a:pt x="439" y="416"/>
                </a:cubicBezTo>
                <a:cubicBezTo>
                  <a:pt x="439" y="415"/>
                  <a:pt x="439" y="415"/>
                  <a:pt x="438" y="415"/>
                </a:cubicBezTo>
                <a:cubicBezTo>
                  <a:pt x="438" y="415"/>
                  <a:pt x="438" y="415"/>
                  <a:pt x="438" y="415"/>
                </a:cubicBezTo>
                <a:cubicBezTo>
                  <a:pt x="438" y="414"/>
                  <a:pt x="438" y="414"/>
                  <a:pt x="438" y="414"/>
                </a:cubicBezTo>
                <a:cubicBezTo>
                  <a:pt x="439" y="414"/>
                  <a:pt x="440" y="415"/>
                  <a:pt x="440" y="415"/>
                </a:cubicBezTo>
                <a:cubicBezTo>
                  <a:pt x="441" y="415"/>
                  <a:pt x="441" y="415"/>
                  <a:pt x="441" y="415"/>
                </a:cubicBezTo>
                <a:cubicBezTo>
                  <a:pt x="441" y="415"/>
                  <a:pt x="441" y="415"/>
                  <a:pt x="441" y="415"/>
                </a:cubicBezTo>
                <a:cubicBezTo>
                  <a:pt x="442" y="415"/>
                  <a:pt x="442" y="415"/>
                  <a:pt x="442" y="416"/>
                </a:cubicBezTo>
                <a:cubicBezTo>
                  <a:pt x="442" y="416"/>
                  <a:pt x="442" y="416"/>
                  <a:pt x="441" y="416"/>
                </a:cubicBezTo>
                <a:cubicBezTo>
                  <a:pt x="441" y="416"/>
                  <a:pt x="441" y="416"/>
                  <a:pt x="442" y="417"/>
                </a:cubicBezTo>
                <a:cubicBezTo>
                  <a:pt x="442" y="417"/>
                  <a:pt x="442" y="417"/>
                  <a:pt x="442" y="417"/>
                </a:cubicBezTo>
                <a:cubicBezTo>
                  <a:pt x="442" y="417"/>
                  <a:pt x="442" y="417"/>
                  <a:pt x="442" y="417"/>
                </a:cubicBezTo>
                <a:cubicBezTo>
                  <a:pt x="442" y="416"/>
                  <a:pt x="442" y="416"/>
                  <a:pt x="442" y="415"/>
                </a:cubicBezTo>
                <a:cubicBezTo>
                  <a:pt x="442" y="415"/>
                  <a:pt x="442" y="414"/>
                  <a:pt x="442" y="413"/>
                </a:cubicBezTo>
                <a:cubicBezTo>
                  <a:pt x="442" y="413"/>
                  <a:pt x="442" y="413"/>
                  <a:pt x="442" y="413"/>
                </a:cubicBezTo>
                <a:cubicBezTo>
                  <a:pt x="442" y="413"/>
                  <a:pt x="441" y="413"/>
                  <a:pt x="441" y="413"/>
                </a:cubicBezTo>
                <a:cubicBezTo>
                  <a:pt x="442" y="413"/>
                  <a:pt x="442" y="413"/>
                  <a:pt x="442" y="413"/>
                </a:cubicBezTo>
                <a:cubicBezTo>
                  <a:pt x="442" y="413"/>
                  <a:pt x="442" y="414"/>
                  <a:pt x="443" y="414"/>
                </a:cubicBezTo>
                <a:cubicBezTo>
                  <a:pt x="443" y="414"/>
                  <a:pt x="443" y="414"/>
                  <a:pt x="443" y="414"/>
                </a:cubicBezTo>
                <a:cubicBezTo>
                  <a:pt x="443" y="414"/>
                  <a:pt x="443" y="413"/>
                  <a:pt x="443" y="413"/>
                </a:cubicBezTo>
                <a:cubicBezTo>
                  <a:pt x="443" y="413"/>
                  <a:pt x="443" y="413"/>
                  <a:pt x="443" y="413"/>
                </a:cubicBezTo>
                <a:cubicBezTo>
                  <a:pt x="442" y="413"/>
                  <a:pt x="442" y="412"/>
                  <a:pt x="442" y="412"/>
                </a:cubicBezTo>
                <a:cubicBezTo>
                  <a:pt x="441" y="411"/>
                  <a:pt x="441" y="411"/>
                  <a:pt x="441" y="411"/>
                </a:cubicBezTo>
                <a:cubicBezTo>
                  <a:pt x="440" y="411"/>
                  <a:pt x="440" y="410"/>
                  <a:pt x="441" y="410"/>
                </a:cubicBezTo>
                <a:cubicBezTo>
                  <a:pt x="441" y="410"/>
                  <a:pt x="441" y="410"/>
                  <a:pt x="441" y="410"/>
                </a:cubicBezTo>
                <a:cubicBezTo>
                  <a:pt x="441" y="411"/>
                  <a:pt x="442" y="411"/>
                  <a:pt x="442" y="411"/>
                </a:cubicBezTo>
                <a:cubicBezTo>
                  <a:pt x="442" y="411"/>
                  <a:pt x="442" y="411"/>
                  <a:pt x="442" y="411"/>
                </a:cubicBezTo>
                <a:cubicBezTo>
                  <a:pt x="443" y="411"/>
                  <a:pt x="443" y="412"/>
                  <a:pt x="444" y="412"/>
                </a:cubicBezTo>
                <a:cubicBezTo>
                  <a:pt x="444" y="412"/>
                  <a:pt x="444" y="412"/>
                  <a:pt x="444" y="412"/>
                </a:cubicBezTo>
                <a:cubicBezTo>
                  <a:pt x="444" y="412"/>
                  <a:pt x="444" y="412"/>
                  <a:pt x="444" y="412"/>
                </a:cubicBezTo>
                <a:cubicBezTo>
                  <a:pt x="444" y="411"/>
                  <a:pt x="444" y="411"/>
                  <a:pt x="445" y="411"/>
                </a:cubicBezTo>
                <a:cubicBezTo>
                  <a:pt x="445" y="411"/>
                  <a:pt x="445" y="411"/>
                  <a:pt x="446" y="412"/>
                </a:cubicBezTo>
                <a:cubicBezTo>
                  <a:pt x="446" y="412"/>
                  <a:pt x="446" y="412"/>
                  <a:pt x="447" y="412"/>
                </a:cubicBezTo>
                <a:cubicBezTo>
                  <a:pt x="447" y="412"/>
                  <a:pt x="447" y="412"/>
                  <a:pt x="447" y="413"/>
                </a:cubicBezTo>
                <a:cubicBezTo>
                  <a:pt x="447" y="413"/>
                  <a:pt x="446" y="413"/>
                  <a:pt x="446" y="413"/>
                </a:cubicBezTo>
                <a:cubicBezTo>
                  <a:pt x="446" y="413"/>
                  <a:pt x="446" y="413"/>
                  <a:pt x="446" y="414"/>
                </a:cubicBezTo>
                <a:cubicBezTo>
                  <a:pt x="446" y="414"/>
                  <a:pt x="446" y="414"/>
                  <a:pt x="446" y="414"/>
                </a:cubicBezTo>
                <a:cubicBezTo>
                  <a:pt x="446" y="414"/>
                  <a:pt x="445" y="414"/>
                  <a:pt x="445" y="415"/>
                </a:cubicBezTo>
                <a:cubicBezTo>
                  <a:pt x="446" y="415"/>
                  <a:pt x="445" y="416"/>
                  <a:pt x="446" y="416"/>
                </a:cubicBezTo>
                <a:cubicBezTo>
                  <a:pt x="446" y="416"/>
                  <a:pt x="446" y="416"/>
                  <a:pt x="446" y="417"/>
                </a:cubicBezTo>
                <a:cubicBezTo>
                  <a:pt x="446" y="417"/>
                  <a:pt x="446" y="417"/>
                  <a:pt x="446" y="417"/>
                </a:cubicBezTo>
                <a:cubicBezTo>
                  <a:pt x="446" y="417"/>
                  <a:pt x="446" y="417"/>
                  <a:pt x="446" y="417"/>
                </a:cubicBezTo>
                <a:cubicBezTo>
                  <a:pt x="446" y="416"/>
                  <a:pt x="446" y="415"/>
                  <a:pt x="446" y="415"/>
                </a:cubicBezTo>
                <a:cubicBezTo>
                  <a:pt x="446" y="414"/>
                  <a:pt x="447" y="414"/>
                  <a:pt x="447" y="414"/>
                </a:cubicBezTo>
                <a:cubicBezTo>
                  <a:pt x="447" y="414"/>
                  <a:pt x="447" y="414"/>
                  <a:pt x="447" y="414"/>
                </a:cubicBezTo>
                <a:cubicBezTo>
                  <a:pt x="447" y="414"/>
                  <a:pt x="447" y="414"/>
                  <a:pt x="447" y="414"/>
                </a:cubicBezTo>
                <a:cubicBezTo>
                  <a:pt x="448" y="414"/>
                  <a:pt x="448" y="415"/>
                  <a:pt x="448" y="414"/>
                </a:cubicBezTo>
                <a:cubicBezTo>
                  <a:pt x="448" y="414"/>
                  <a:pt x="448" y="414"/>
                  <a:pt x="448" y="414"/>
                </a:cubicBezTo>
                <a:cubicBezTo>
                  <a:pt x="448" y="414"/>
                  <a:pt x="448" y="414"/>
                  <a:pt x="448" y="414"/>
                </a:cubicBezTo>
                <a:cubicBezTo>
                  <a:pt x="448" y="413"/>
                  <a:pt x="449" y="413"/>
                  <a:pt x="449" y="413"/>
                </a:cubicBezTo>
                <a:cubicBezTo>
                  <a:pt x="449" y="413"/>
                  <a:pt x="449" y="414"/>
                  <a:pt x="449" y="413"/>
                </a:cubicBezTo>
                <a:cubicBezTo>
                  <a:pt x="449" y="413"/>
                  <a:pt x="449" y="413"/>
                  <a:pt x="449" y="413"/>
                </a:cubicBezTo>
                <a:cubicBezTo>
                  <a:pt x="449" y="413"/>
                  <a:pt x="449" y="413"/>
                  <a:pt x="449" y="412"/>
                </a:cubicBezTo>
                <a:cubicBezTo>
                  <a:pt x="449" y="412"/>
                  <a:pt x="449" y="412"/>
                  <a:pt x="449" y="412"/>
                </a:cubicBezTo>
                <a:cubicBezTo>
                  <a:pt x="450" y="412"/>
                  <a:pt x="450" y="412"/>
                  <a:pt x="450" y="412"/>
                </a:cubicBezTo>
                <a:cubicBezTo>
                  <a:pt x="450" y="412"/>
                  <a:pt x="450" y="412"/>
                  <a:pt x="450" y="412"/>
                </a:cubicBezTo>
                <a:cubicBezTo>
                  <a:pt x="450" y="412"/>
                  <a:pt x="451" y="412"/>
                  <a:pt x="451" y="413"/>
                </a:cubicBezTo>
                <a:cubicBezTo>
                  <a:pt x="451" y="413"/>
                  <a:pt x="451" y="413"/>
                  <a:pt x="451" y="413"/>
                </a:cubicBezTo>
                <a:cubicBezTo>
                  <a:pt x="451" y="413"/>
                  <a:pt x="452" y="413"/>
                  <a:pt x="452" y="413"/>
                </a:cubicBezTo>
                <a:cubicBezTo>
                  <a:pt x="452" y="414"/>
                  <a:pt x="452" y="414"/>
                  <a:pt x="452" y="414"/>
                </a:cubicBezTo>
                <a:cubicBezTo>
                  <a:pt x="452" y="414"/>
                  <a:pt x="452" y="414"/>
                  <a:pt x="452" y="414"/>
                </a:cubicBezTo>
                <a:cubicBezTo>
                  <a:pt x="452" y="414"/>
                  <a:pt x="452" y="414"/>
                  <a:pt x="452" y="415"/>
                </a:cubicBezTo>
                <a:cubicBezTo>
                  <a:pt x="452" y="415"/>
                  <a:pt x="452" y="414"/>
                  <a:pt x="452" y="414"/>
                </a:cubicBezTo>
                <a:cubicBezTo>
                  <a:pt x="452" y="414"/>
                  <a:pt x="452" y="414"/>
                  <a:pt x="453" y="414"/>
                </a:cubicBezTo>
                <a:cubicBezTo>
                  <a:pt x="453" y="415"/>
                  <a:pt x="453" y="415"/>
                  <a:pt x="452" y="415"/>
                </a:cubicBezTo>
                <a:cubicBezTo>
                  <a:pt x="452" y="415"/>
                  <a:pt x="452" y="415"/>
                  <a:pt x="452" y="415"/>
                </a:cubicBezTo>
                <a:cubicBezTo>
                  <a:pt x="452" y="415"/>
                  <a:pt x="452" y="415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7"/>
                  <a:pt x="451" y="417"/>
                  <a:pt x="450" y="417"/>
                </a:cubicBezTo>
                <a:cubicBezTo>
                  <a:pt x="450" y="417"/>
                  <a:pt x="450" y="417"/>
                  <a:pt x="450" y="417"/>
                </a:cubicBezTo>
                <a:cubicBezTo>
                  <a:pt x="450" y="417"/>
                  <a:pt x="450" y="417"/>
                  <a:pt x="450" y="418"/>
                </a:cubicBezTo>
                <a:cubicBezTo>
                  <a:pt x="450" y="418"/>
                  <a:pt x="450" y="418"/>
                  <a:pt x="450" y="418"/>
                </a:cubicBezTo>
                <a:cubicBezTo>
                  <a:pt x="451" y="417"/>
                  <a:pt x="451" y="417"/>
                  <a:pt x="451" y="417"/>
                </a:cubicBezTo>
                <a:cubicBezTo>
                  <a:pt x="451" y="417"/>
                  <a:pt x="451" y="418"/>
                  <a:pt x="451" y="418"/>
                </a:cubicBezTo>
                <a:cubicBezTo>
                  <a:pt x="451" y="418"/>
                  <a:pt x="451" y="418"/>
                  <a:pt x="451" y="418"/>
                </a:cubicBezTo>
                <a:cubicBezTo>
                  <a:pt x="451" y="418"/>
                  <a:pt x="451" y="419"/>
                  <a:pt x="451" y="419"/>
                </a:cubicBezTo>
                <a:cubicBezTo>
                  <a:pt x="451" y="419"/>
                  <a:pt x="451" y="418"/>
                  <a:pt x="452" y="418"/>
                </a:cubicBezTo>
                <a:cubicBezTo>
                  <a:pt x="452" y="418"/>
                  <a:pt x="452" y="418"/>
                  <a:pt x="452" y="418"/>
                </a:cubicBezTo>
                <a:cubicBezTo>
                  <a:pt x="452" y="419"/>
                  <a:pt x="452" y="419"/>
                  <a:pt x="452" y="419"/>
                </a:cubicBezTo>
                <a:cubicBezTo>
                  <a:pt x="452" y="419"/>
                  <a:pt x="452" y="419"/>
                  <a:pt x="451" y="420"/>
                </a:cubicBezTo>
                <a:cubicBezTo>
                  <a:pt x="451" y="420"/>
                  <a:pt x="451" y="420"/>
                  <a:pt x="451" y="420"/>
                </a:cubicBezTo>
                <a:cubicBezTo>
                  <a:pt x="451" y="420"/>
                  <a:pt x="452" y="420"/>
                  <a:pt x="452" y="420"/>
                </a:cubicBezTo>
                <a:cubicBezTo>
                  <a:pt x="452" y="419"/>
                  <a:pt x="453" y="419"/>
                  <a:pt x="453" y="419"/>
                </a:cubicBezTo>
                <a:cubicBezTo>
                  <a:pt x="453" y="419"/>
                  <a:pt x="453" y="419"/>
                  <a:pt x="453" y="419"/>
                </a:cubicBezTo>
                <a:cubicBezTo>
                  <a:pt x="454" y="419"/>
                  <a:pt x="454" y="419"/>
                  <a:pt x="454" y="419"/>
                </a:cubicBezTo>
                <a:cubicBezTo>
                  <a:pt x="454" y="420"/>
                  <a:pt x="454" y="419"/>
                  <a:pt x="455" y="419"/>
                </a:cubicBezTo>
                <a:cubicBezTo>
                  <a:pt x="455" y="419"/>
                  <a:pt x="455" y="419"/>
                  <a:pt x="455" y="419"/>
                </a:cubicBezTo>
                <a:close/>
                <a:moveTo>
                  <a:pt x="435" y="417"/>
                </a:moveTo>
                <a:cubicBezTo>
                  <a:pt x="435" y="417"/>
                  <a:pt x="435" y="417"/>
                  <a:pt x="435" y="417"/>
                </a:cubicBezTo>
                <a:cubicBezTo>
                  <a:pt x="435" y="417"/>
                  <a:pt x="435" y="417"/>
                  <a:pt x="435" y="417"/>
                </a:cubicBezTo>
                <a:close/>
                <a:moveTo>
                  <a:pt x="447" y="419"/>
                </a:moveTo>
                <a:cubicBezTo>
                  <a:pt x="447" y="419"/>
                  <a:pt x="447" y="419"/>
                  <a:pt x="447" y="419"/>
                </a:cubicBezTo>
                <a:cubicBezTo>
                  <a:pt x="447" y="419"/>
                  <a:pt x="447" y="419"/>
                  <a:pt x="447" y="419"/>
                </a:cubicBezTo>
                <a:close/>
                <a:moveTo>
                  <a:pt x="450" y="418"/>
                </a:moveTo>
                <a:cubicBezTo>
                  <a:pt x="450" y="418"/>
                  <a:pt x="450" y="418"/>
                  <a:pt x="450" y="418"/>
                </a:cubicBezTo>
                <a:cubicBezTo>
                  <a:pt x="450" y="418"/>
                  <a:pt x="450" y="418"/>
                  <a:pt x="450" y="418"/>
                </a:cubicBezTo>
                <a:cubicBezTo>
                  <a:pt x="450" y="418"/>
                  <a:pt x="450" y="418"/>
                  <a:pt x="450" y="418"/>
                </a:cubicBezTo>
                <a:close/>
                <a:moveTo>
                  <a:pt x="411" y="460"/>
                </a:moveTo>
                <a:cubicBezTo>
                  <a:pt x="411" y="460"/>
                  <a:pt x="411" y="460"/>
                  <a:pt x="411" y="459"/>
                </a:cubicBezTo>
                <a:cubicBezTo>
                  <a:pt x="411" y="459"/>
                  <a:pt x="410" y="460"/>
                  <a:pt x="410" y="460"/>
                </a:cubicBezTo>
                <a:cubicBezTo>
                  <a:pt x="410" y="460"/>
                  <a:pt x="410" y="461"/>
                  <a:pt x="410" y="461"/>
                </a:cubicBezTo>
                <a:cubicBezTo>
                  <a:pt x="409" y="461"/>
                  <a:pt x="409" y="461"/>
                  <a:pt x="409" y="461"/>
                </a:cubicBezTo>
                <a:cubicBezTo>
                  <a:pt x="409" y="462"/>
                  <a:pt x="409" y="462"/>
                  <a:pt x="409" y="462"/>
                </a:cubicBezTo>
                <a:cubicBezTo>
                  <a:pt x="409" y="463"/>
                  <a:pt x="409" y="463"/>
                  <a:pt x="410" y="463"/>
                </a:cubicBezTo>
                <a:cubicBezTo>
                  <a:pt x="410" y="463"/>
                  <a:pt x="410" y="463"/>
                  <a:pt x="411" y="463"/>
                </a:cubicBezTo>
                <a:cubicBezTo>
                  <a:pt x="411" y="463"/>
                  <a:pt x="411" y="463"/>
                  <a:pt x="411" y="463"/>
                </a:cubicBezTo>
                <a:cubicBezTo>
                  <a:pt x="411" y="462"/>
                  <a:pt x="412" y="462"/>
                  <a:pt x="411" y="461"/>
                </a:cubicBezTo>
                <a:cubicBezTo>
                  <a:pt x="411" y="461"/>
                  <a:pt x="411" y="460"/>
                  <a:pt x="411" y="460"/>
                </a:cubicBezTo>
                <a:close/>
                <a:moveTo>
                  <a:pt x="458" y="404"/>
                </a:moveTo>
                <a:cubicBezTo>
                  <a:pt x="458" y="404"/>
                  <a:pt x="458" y="405"/>
                  <a:pt x="457" y="405"/>
                </a:cubicBezTo>
                <a:cubicBezTo>
                  <a:pt x="457" y="405"/>
                  <a:pt x="457" y="405"/>
                  <a:pt x="457" y="405"/>
                </a:cubicBezTo>
                <a:cubicBezTo>
                  <a:pt x="457" y="405"/>
                  <a:pt x="456" y="405"/>
                  <a:pt x="457" y="406"/>
                </a:cubicBezTo>
                <a:cubicBezTo>
                  <a:pt x="457" y="406"/>
                  <a:pt x="456" y="406"/>
                  <a:pt x="456" y="406"/>
                </a:cubicBezTo>
                <a:cubicBezTo>
                  <a:pt x="456" y="406"/>
                  <a:pt x="456" y="406"/>
                  <a:pt x="456" y="406"/>
                </a:cubicBezTo>
                <a:cubicBezTo>
                  <a:pt x="455" y="406"/>
                  <a:pt x="455" y="406"/>
                  <a:pt x="455" y="406"/>
                </a:cubicBezTo>
                <a:cubicBezTo>
                  <a:pt x="455" y="406"/>
                  <a:pt x="455" y="406"/>
                  <a:pt x="454" y="405"/>
                </a:cubicBezTo>
                <a:cubicBezTo>
                  <a:pt x="454" y="405"/>
                  <a:pt x="454" y="404"/>
                  <a:pt x="454" y="404"/>
                </a:cubicBezTo>
                <a:cubicBezTo>
                  <a:pt x="454" y="404"/>
                  <a:pt x="454" y="404"/>
                  <a:pt x="454" y="404"/>
                </a:cubicBezTo>
                <a:cubicBezTo>
                  <a:pt x="454" y="403"/>
                  <a:pt x="454" y="404"/>
                  <a:pt x="454" y="404"/>
                </a:cubicBezTo>
                <a:cubicBezTo>
                  <a:pt x="454" y="404"/>
                  <a:pt x="454" y="404"/>
                  <a:pt x="453" y="404"/>
                </a:cubicBezTo>
                <a:cubicBezTo>
                  <a:pt x="453" y="404"/>
                  <a:pt x="453" y="405"/>
                  <a:pt x="453" y="405"/>
                </a:cubicBezTo>
                <a:cubicBezTo>
                  <a:pt x="454" y="405"/>
                  <a:pt x="454" y="405"/>
                  <a:pt x="453" y="406"/>
                </a:cubicBezTo>
                <a:cubicBezTo>
                  <a:pt x="453" y="406"/>
                  <a:pt x="453" y="406"/>
                  <a:pt x="453" y="406"/>
                </a:cubicBezTo>
                <a:cubicBezTo>
                  <a:pt x="453" y="405"/>
                  <a:pt x="453" y="405"/>
                  <a:pt x="453" y="405"/>
                </a:cubicBezTo>
                <a:cubicBezTo>
                  <a:pt x="453" y="406"/>
                  <a:pt x="453" y="406"/>
                  <a:pt x="453" y="407"/>
                </a:cubicBezTo>
                <a:cubicBezTo>
                  <a:pt x="453" y="407"/>
                  <a:pt x="453" y="407"/>
                  <a:pt x="453" y="407"/>
                </a:cubicBezTo>
                <a:cubicBezTo>
                  <a:pt x="453" y="407"/>
                  <a:pt x="453" y="408"/>
                  <a:pt x="453" y="407"/>
                </a:cubicBezTo>
                <a:cubicBezTo>
                  <a:pt x="453" y="407"/>
                  <a:pt x="453" y="407"/>
                  <a:pt x="452" y="407"/>
                </a:cubicBezTo>
                <a:cubicBezTo>
                  <a:pt x="452" y="407"/>
                  <a:pt x="452" y="407"/>
                  <a:pt x="452" y="407"/>
                </a:cubicBezTo>
                <a:cubicBezTo>
                  <a:pt x="452" y="407"/>
                  <a:pt x="452" y="407"/>
                  <a:pt x="451" y="407"/>
                </a:cubicBezTo>
                <a:cubicBezTo>
                  <a:pt x="451" y="407"/>
                  <a:pt x="451" y="407"/>
                  <a:pt x="451" y="407"/>
                </a:cubicBezTo>
                <a:cubicBezTo>
                  <a:pt x="451" y="407"/>
                  <a:pt x="450" y="407"/>
                  <a:pt x="450" y="408"/>
                </a:cubicBezTo>
                <a:cubicBezTo>
                  <a:pt x="450" y="408"/>
                  <a:pt x="450" y="408"/>
                  <a:pt x="450" y="408"/>
                </a:cubicBezTo>
                <a:cubicBezTo>
                  <a:pt x="450" y="408"/>
                  <a:pt x="450" y="408"/>
                  <a:pt x="450" y="407"/>
                </a:cubicBezTo>
                <a:cubicBezTo>
                  <a:pt x="450" y="407"/>
                  <a:pt x="450" y="406"/>
                  <a:pt x="450" y="406"/>
                </a:cubicBezTo>
                <a:cubicBezTo>
                  <a:pt x="450" y="405"/>
                  <a:pt x="450" y="405"/>
                  <a:pt x="450" y="405"/>
                </a:cubicBezTo>
                <a:cubicBezTo>
                  <a:pt x="450" y="405"/>
                  <a:pt x="450" y="406"/>
                  <a:pt x="450" y="406"/>
                </a:cubicBezTo>
                <a:cubicBezTo>
                  <a:pt x="449" y="406"/>
                  <a:pt x="449" y="407"/>
                  <a:pt x="449" y="407"/>
                </a:cubicBezTo>
                <a:cubicBezTo>
                  <a:pt x="449" y="408"/>
                  <a:pt x="449" y="408"/>
                  <a:pt x="449" y="408"/>
                </a:cubicBezTo>
                <a:cubicBezTo>
                  <a:pt x="449" y="408"/>
                  <a:pt x="449" y="408"/>
                  <a:pt x="449" y="409"/>
                </a:cubicBezTo>
                <a:cubicBezTo>
                  <a:pt x="449" y="409"/>
                  <a:pt x="448" y="409"/>
                  <a:pt x="448" y="409"/>
                </a:cubicBezTo>
                <a:cubicBezTo>
                  <a:pt x="448" y="409"/>
                  <a:pt x="447" y="409"/>
                  <a:pt x="447" y="408"/>
                </a:cubicBezTo>
                <a:cubicBezTo>
                  <a:pt x="447" y="408"/>
                  <a:pt x="447" y="408"/>
                  <a:pt x="447" y="408"/>
                </a:cubicBezTo>
                <a:cubicBezTo>
                  <a:pt x="447" y="408"/>
                  <a:pt x="447" y="408"/>
                  <a:pt x="447" y="408"/>
                </a:cubicBezTo>
                <a:cubicBezTo>
                  <a:pt x="447" y="409"/>
                  <a:pt x="447" y="409"/>
                  <a:pt x="447" y="409"/>
                </a:cubicBezTo>
                <a:cubicBezTo>
                  <a:pt x="448" y="410"/>
                  <a:pt x="447" y="410"/>
                  <a:pt x="447" y="410"/>
                </a:cubicBezTo>
                <a:cubicBezTo>
                  <a:pt x="447" y="410"/>
                  <a:pt x="447" y="410"/>
                  <a:pt x="446" y="410"/>
                </a:cubicBezTo>
                <a:cubicBezTo>
                  <a:pt x="446" y="410"/>
                  <a:pt x="445" y="409"/>
                  <a:pt x="445" y="409"/>
                </a:cubicBezTo>
                <a:cubicBezTo>
                  <a:pt x="444" y="409"/>
                  <a:pt x="444" y="408"/>
                  <a:pt x="444" y="408"/>
                </a:cubicBezTo>
                <a:cubicBezTo>
                  <a:pt x="444" y="408"/>
                  <a:pt x="444" y="408"/>
                  <a:pt x="444" y="407"/>
                </a:cubicBezTo>
                <a:cubicBezTo>
                  <a:pt x="443" y="407"/>
                  <a:pt x="443" y="407"/>
                  <a:pt x="442" y="408"/>
                </a:cubicBezTo>
                <a:cubicBezTo>
                  <a:pt x="442" y="408"/>
                  <a:pt x="442" y="407"/>
                  <a:pt x="442" y="407"/>
                </a:cubicBezTo>
                <a:cubicBezTo>
                  <a:pt x="442" y="407"/>
                  <a:pt x="442" y="407"/>
                  <a:pt x="442" y="407"/>
                </a:cubicBezTo>
                <a:cubicBezTo>
                  <a:pt x="442" y="407"/>
                  <a:pt x="442" y="407"/>
                  <a:pt x="442" y="407"/>
                </a:cubicBezTo>
                <a:cubicBezTo>
                  <a:pt x="441" y="406"/>
                  <a:pt x="442" y="406"/>
                  <a:pt x="442" y="405"/>
                </a:cubicBezTo>
                <a:cubicBezTo>
                  <a:pt x="442" y="405"/>
                  <a:pt x="442" y="405"/>
                  <a:pt x="442" y="405"/>
                </a:cubicBezTo>
                <a:cubicBezTo>
                  <a:pt x="442" y="405"/>
                  <a:pt x="442" y="405"/>
                  <a:pt x="442" y="405"/>
                </a:cubicBezTo>
                <a:cubicBezTo>
                  <a:pt x="443" y="405"/>
                  <a:pt x="443" y="405"/>
                  <a:pt x="443" y="405"/>
                </a:cubicBezTo>
                <a:cubicBezTo>
                  <a:pt x="443" y="405"/>
                  <a:pt x="444" y="405"/>
                  <a:pt x="444" y="405"/>
                </a:cubicBezTo>
                <a:cubicBezTo>
                  <a:pt x="444" y="405"/>
                  <a:pt x="444" y="406"/>
                  <a:pt x="444" y="406"/>
                </a:cubicBezTo>
                <a:cubicBezTo>
                  <a:pt x="444" y="406"/>
                  <a:pt x="444" y="406"/>
                  <a:pt x="444" y="406"/>
                </a:cubicBezTo>
                <a:cubicBezTo>
                  <a:pt x="445" y="406"/>
                  <a:pt x="444" y="406"/>
                  <a:pt x="445" y="406"/>
                </a:cubicBezTo>
                <a:cubicBezTo>
                  <a:pt x="445" y="406"/>
                  <a:pt x="445" y="406"/>
                  <a:pt x="445" y="406"/>
                </a:cubicBezTo>
                <a:cubicBezTo>
                  <a:pt x="445" y="406"/>
                  <a:pt x="445" y="406"/>
                  <a:pt x="445" y="406"/>
                </a:cubicBezTo>
                <a:cubicBezTo>
                  <a:pt x="445" y="406"/>
                  <a:pt x="445" y="405"/>
                  <a:pt x="445" y="405"/>
                </a:cubicBezTo>
                <a:cubicBezTo>
                  <a:pt x="445" y="405"/>
                  <a:pt x="445" y="405"/>
                  <a:pt x="444" y="405"/>
                </a:cubicBezTo>
                <a:cubicBezTo>
                  <a:pt x="444" y="405"/>
                  <a:pt x="444" y="405"/>
                  <a:pt x="444" y="404"/>
                </a:cubicBezTo>
                <a:cubicBezTo>
                  <a:pt x="444" y="404"/>
                  <a:pt x="444" y="404"/>
                  <a:pt x="444" y="404"/>
                </a:cubicBezTo>
                <a:cubicBezTo>
                  <a:pt x="443" y="404"/>
                  <a:pt x="443" y="404"/>
                  <a:pt x="443" y="403"/>
                </a:cubicBezTo>
                <a:cubicBezTo>
                  <a:pt x="444" y="403"/>
                  <a:pt x="444" y="403"/>
                  <a:pt x="444" y="403"/>
                </a:cubicBezTo>
                <a:cubicBezTo>
                  <a:pt x="445" y="403"/>
                  <a:pt x="445" y="403"/>
                  <a:pt x="446" y="404"/>
                </a:cubicBezTo>
                <a:cubicBezTo>
                  <a:pt x="446" y="404"/>
                  <a:pt x="446" y="404"/>
                  <a:pt x="446" y="404"/>
                </a:cubicBezTo>
                <a:cubicBezTo>
                  <a:pt x="446" y="403"/>
                  <a:pt x="447" y="403"/>
                  <a:pt x="447" y="403"/>
                </a:cubicBezTo>
                <a:cubicBezTo>
                  <a:pt x="447" y="404"/>
                  <a:pt x="447" y="404"/>
                  <a:pt x="447" y="404"/>
                </a:cubicBezTo>
                <a:cubicBezTo>
                  <a:pt x="447" y="403"/>
                  <a:pt x="447" y="403"/>
                  <a:pt x="447" y="403"/>
                </a:cubicBezTo>
                <a:cubicBezTo>
                  <a:pt x="447" y="403"/>
                  <a:pt x="447" y="402"/>
                  <a:pt x="447" y="402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7" y="402"/>
                  <a:pt x="447" y="402"/>
                  <a:pt x="447" y="401"/>
                </a:cubicBezTo>
                <a:cubicBezTo>
                  <a:pt x="447" y="401"/>
                  <a:pt x="447" y="401"/>
                  <a:pt x="447" y="401"/>
                </a:cubicBezTo>
                <a:cubicBezTo>
                  <a:pt x="446" y="401"/>
                  <a:pt x="446" y="401"/>
                  <a:pt x="446" y="401"/>
                </a:cubicBezTo>
                <a:cubicBezTo>
                  <a:pt x="446" y="400"/>
                  <a:pt x="446" y="400"/>
                  <a:pt x="446" y="400"/>
                </a:cubicBezTo>
                <a:cubicBezTo>
                  <a:pt x="446" y="400"/>
                  <a:pt x="446" y="400"/>
                  <a:pt x="446" y="400"/>
                </a:cubicBezTo>
                <a:cubicBezTo>
                  <a:pt x="446" y="400"/>
                  <a:pt x="447" y="400"/>
                  <a:pt x="447" y="400"/>
                </a:cubicBezTo>
                <a:cubicBezTo>
                  <a:pt x="447" y="400"/>
                  <a:pt x="447" y="400"/>
                  <a:pt x="447" y="400"/>
                </a:cubicBezTo>
                <a:cubicBezTo>
                  <a:pt x="447" y="399"/>
                  <a:pt x="448" y="399"/>
                  <a:pt x="448" y="399"/>
                </a:cubicBezTo>
                <a:cubicBezTo>
                  <a:pt x="448" y="399"/>
                  <a:pt x="448" y="400"/>
                  <a:pt x="448" y="400"/>
                </a:cubicBezTo>
                <a:cubicBezTo>
                  <a:pt x="449" y="400"/>
                  <a:pt x="448" y="399"/>
                  <a:pt x="449" y="399"/>
                </a:cubicBezTo>
                <a:cubicBezTo>
                  <a:pt x="449" y="399"/>
                  <a:pt x="449" y="399"/>
                  <a:pt x="449" y="399"/>
                </a:cubicBezTo>
                <a:cubicBezTo>
                  <a:pt x="449" y="399"/>
                  <a:pt x="449" y="398"/>
                  <a:pt x="449" y="398"/>
                </a:cubicBezTo>
                <a:cubicBezTo>
                  <a:pt x="449" y="399"/>
                  <a:pt x="449" y="399"/>
                  <a:pt x="449" y="399"/>
                </a:cubicBezTo>
                <a:cubicBezTo>
                  <a:pt x="449" y="399"/>
                  <a:pt x="449" y="399"/>
                  <a:pt x="449" y="399"/>
                </a:cubicBezTo>
                <a:cubicBezTo>
                  <a:pt x="450" y="399"/>
                  <a:pt x="450" y="399"/>
                  <a:pt x="450" y="399"/>
                </a:cubicBezTo>
                <a:cubicBezTo>
                  <a:pt x="450" y="399"/>
                  <a:pt x="451" y="399"/>
                  <a:pt x="451" y="399"/>
                </a:cubicBezTo>
                <a:cubicBezTo>
                  <a:pt x="451" y="399"/>
                  <a:pt x="451" y="399"/>
                  <a:pt x="451" y="400"/>
                </a:cubicBezTo>
                <a:cubicBezTo>
                  <a:pt x="450" y="400"/>
                  <a:pt x="450" y="400"/>
                  <a:pt x="451" y="400"/>
                </a:cubicBezTo>
                <a:cubicBezTo>
                  <a:pt x="451" y="400"/>
                  <a:pt x="451" y="400"/>
                  <a:pt x="451" y="401"/>
                </a:cubicBezTo>
                <a:cubicBezTo>
                  <a:pt x="451" y="401"/>
                  <a:pt x="451" y="401"/>
                  <a:pt x="451" y="401"/>
                </a:cubicBezTo>
                <a:cubicBezTo>
                  <a:pt x="451" y="401"/>
                  <a:pt x="451" y="402"/>
                  <a:pt x="451" y="402"/>
                </a:cubicBezTo>
                <a:cubicBezTo>
                  <a:pt x="451" y="402"/>
                  <a:pt x="451" y="402"/>
                  <a:pt x="451" y="402"/>
                </a:cubicBezTo>
                <a:cubicBezTo>
                  <a:pt x="451" y="401"/>
                  <a:pt x="451" y="401"/>
                  <a:pt x="451" y="401"/>
                </a:cubicBezTo>
                <a:cubicBezTo>
                  <a:pt x="452" y="401"/>
                  <a:pt x="452" y="402"/>
                  <a:pt x="452" y="402"/>
                </a:cubicBezTo>
                <a:cubicBezTo>
                  <a:pt x="452" y="402"/>
                  <a:pt x="453" y="402"/>
                  <a:pt x="452" y="402"/>
                </a:cubicBezTo>
                <a:cubicBezTo>
                  <a:pt x="452" y="401"/>
                  <a:pt x="453" y="401"/>
                  <a:pt x="453" y="401"/>
                </a:cubicBezTo>
                <a:cubicBezTo>
                  <a:pt x="453" y="401"/>
                  <a:pt x="453" y="400"/>
                  <a:pt x="453" y="400"/>
                </a:cubicBezTo>
                <a:cubicBezTo>
                  <a:pt x="453" y="400"/>
                  <a:pt x="453" y="400"/>
                  <a:pt x="453" y="400"/>
                </a:cubicBezTo>
                <a:cubicBezTo>
                  <a:pt x="453" y="400"/>
                  <a:pt x="453" y="400"/>
                  <a:pt x="453" y="400"/>
                </a:cubicBezTo>
                <a:cubicBezTo>
                  <a:pt x="453" y="400"/>
                  <a:pt x="453" y="400"/>
                  <a:pt x="453" y="400"/>
                </a:cubicBezTo>
                <a:cubicBezTo>
                  <a:pt x="453" y="400"/>
                  <a:pt x="453" y="400"/>
                  <a:pt x="454" y="400"/>
                </a:cubicBezTo>
                <a:cubicBezTo>
                  <a:pt x="454" y="400"/>
                  <a:pt x="454" y="401"/>
                  <a:pt x="454" y="401"/>
                </a:cubicBezTo>
                <a:cubicBezTo>
                  <a:pt x="454" y="401"/>
                  <a:pt x="454" y="401"/>
                  <a:pt x="454" y="401"/>
                </a:cubicBezTo>
                <a:cubicBezTo>
                  <a:pt x="454" y="401"/>
                  <a:pt x="454" y="401"/>
                  <a:pt x="454" y="401"/>
                </a:cubicBezTo>
                <a:cubicBezTo>
                  <a:pt x="454" y="401"/>
                  <a:pt x="454" y="402"/>
                  <a:pt x="454" y="402"/>
                </a:cubicBezTo>
                <a:cubicBezTo>
                  <a:pt x="455" y="402"/>
                  <a:pt x="455" y="402"/>
                  <a:pt x="455" y="401"/>
                </a:cubicBezTo>
                <a:cubicBezTo>
                  <a:pt x="455" y="401"/>
                  <a:pt x="456" y="401"/>
                  <a:pt x="456" y="401"/>
                </a:cubicBezTo>
                <a:cubicBezTo>
                  <a:pt x="456" y="401"/>
                  <a:pt x="456" y="402"/>
                  <a:pt x="456" y="402"/>
                </a:cubicBezTo>
                <a:cubicBezTo>
                  <a:pt x="456" y="402"/>
                  <a:pt x="456" y="402"/>
                  <a:pt x="456" y="402"/>
                </a:cubicBezTo>
                <a:cubicBezTo>
                  <a:pt x="455" y="403"/>
                  <a:pt x="455" y="404"/>
                  <a:pt x="455" y="405"/>
                </a:cubicBezTo>
                <a:cubicBezTo>
                  <a:pt x="455" y="405"/>
                  <a:pt x="455" y="405"/>
                  <a:pt x="455" y="405"/>
                </a:cubicBezTo>
                <a:cubicBezTo>
                  <a:pt x="455" y="405"/>
                  <a:pt x="455" y="405"/>
                  <a:pt x="455" y="405"/>
                </a:cubicBezTo>
                <a:cubicBezTo>
                  <a:pt x="456" y="405"/>
                  <a:pt x="456" y="404"/>
                  <a:pt x="456" y="404"/>
                </a:cubicBezTo>
                <a:cubicBezTo>
                  <a:pt x="456" y="404"/>
                  <a:pt x="456" y="403"/>
                  <a:pt x="456" y="403"/>
                </a:cubicBezTo>
                <a:cubicBezTo>
                  <a:pt x="456" y="403"/>
                  <a:pt x="456" y="403"/>
                  <a:pt x="456" y="403"/>
                </a:cubicBezTo>
                <a:cubicBezTo>
                  <a:pt x="457" y="403"/>
                  <a:pt x="457" y="403"/>
                  <a:pt x="457" y="403"/>
                </a:cubicBezTo>
                <a:cubicBezTo>
                  <a:pt x="457" y="402"/>
                  <a:pt x="457" y="402"/>
                  <a:pt x="457" y="402"/>
                </a:cubicBezTo>
                <a:cubicBezTo>
                  <a:pt x="458" y="402"/>
                  <a:pt x="458" y="403"/>
                  <a:pt x="458" y="404"/>
                </a:cubicBezTo>
                <a:close/>
                <a:moveTo>
                  <a:pt x="438" y="412"/>
                </a:moveTo>
                <a:cubicBezTo>
                  <a:pt x="438" y="413"/>
                  <a:pt x="438" y="413"/>
                  <a:pt x="439" y="413"/>
                </a:cubicBezTo>
                <a:cubicBezTo>
                  <a:pt x="439" y="413"/>
                  <a:pt x="439" y="414"/>
                  <a:pt x="440" y="414"/>
                </a:cubicBezTo>
                <a:cubicBezTo>
                  <a:pt x="440" y="414"/>
                  <a:pt x="440" y="414"/>
                  <a:pt x="440" y="414"/>
                </a:cubicBezTo>
                <a:cubicBezTo>
                  <a:pt x="440" y="414"/>
                  <a:pt x="440" y="414"/>
                  <a:pt x="440" y="414"/>
                </a:cubicBezTo>
                <a:cubicBezTo>
                  <a:pt x="441" y="415"/>
                  <a:pt x="441" y="415"/>
                  <a:pt x="441" y="415"/>
                </a:cubicBezTo>
                <a:cubicBezTo>
                  <a:pt x="441" y="415"/>
                  <a:pt x="442" y="415"/>
                  <a:pt x="442" y="415"/>
                </a:cubicBezTo>
                <a:cubicBezTo>
                  <a:pt x="442" y="415"/>
                  <a:pt x="442" y="415"/>
                  <a:pt x="442" y="415"/>
                </a:cubicBezTo>
                <a:cubicBezTo>
                  <a:pt x="441" y="414"/>
                  <a:pt x="441" y="414"/>
                  <a:pt x="441" y="413"/>
                </a:cubicBezTo>
                <a:cubicBezTo>
                  <a:pt x="441" y="413"/>
                  <a:pt x="441" y="413"/>
                  <a:pt x="441" y="413"/>
                </a:cubicBezTo>
                <a:cubicBezTo>
                  <a:pt x="441" y="413"/>
                  <a:pt x="441" y="413"/>
                  <a:pt x="441" y="412"/>
                </a:cubicBezTo>
                <a:cubicBezTo>
                  <a:pt x="440" y="412"/>
                  <a:pt x="440" y="412"/>
                  <a:pt x="440" y="412"/>
                </a:cubicBezTo>
                <a:cubicBezTo>
                  <a:pt x="440" y="412"/>
                  <a:pt x="439" y="411"/>
                  <a:pt x="438" y="411"/>
                </a:cubicBezTo>
                <a:cubicBezTo>
                  <a:pt x="438" y="411"/>
                  <a:pt x="438" y="411"/>
                  <a:pt x="438" y="411"/>
                </a:cubicBezTo>
                <a:cubicBezTo>
                  <a:pt x="437" y="411"/>
                  <a:pt x="437" y="412"/>
                  <a:pt x="438" y="412"/>
                </a:cubicBezTo>
                <a:close/>
                <a:moveTo>
                  <a:pt x="433" y="444"/>
                </a:moveTo>
                <a:cubicBezTo>
                  <a:pt x="433" y="444"/>
                  <a:pt x="433" y="444"/>
                  <a:pt x="432" y="445"/>
                </a:cubicBezTo>
                <a:cubicBezTo>
                  <a:pt x="432" y="445"/>
                  <a:pt x="432" y="445"/>
                  <a:pt x="432" y="445"/>
                </a:cubicBezTo>
                <a:cubicBezTo>
                  <a:pt x="432" y="445"/>
                  <a:pt x="432" y="445"/>
                  <a:pt x="432" y="445"/>
                </a:cubicBezTo>
                <a:cubicBezTo>
                  <a:pt x="431" y="445"/>
                  <a:pt x="431" y="445"/>
                  <a:pt x="431" y="445"/>
                </a:cubicBezTo>
                <a:cubicBezTo>
                  <a:pt x="430" y="445"/>
                  <a:pt x="430" y="445"/>
                  <a:pt x="430" y="445"/>
                </a:cubicBezTo>
                <a:cubicBezTo>
                  <a:pt x="430" y="446"/>
                  <a:pt x="430" y="446"/>
                  <a:pt x="430" y="446"/>
                </a:cubicBezTo>
                <a:cubicBezTo>
                  <a:pt x="431" y="446"/>
                  <a:pt x="431" y="446"/>
                  <a:pt x="432" y="446"/>
                </a:cubicBezTo>
                <a:cubicBezTo>
                  <a:pt x="432" y="446"/>
                  <a:pt x="433" y="445"/>
                  <a:pt x="433" y="445"/>
                </a:cubicBezTo>
                <a:cubicBezTo>
                  <a:pt x="433" y="445"/>
                  <a:pt x="433" y="445"/>
                  <a:pt x="433" y="444"/>
                </a:cubicBezTo>
                <a:close/>
                <a:moveTo>
                  <a:pt x="439" y="408"/>
                </a:moveTo>
                <a:cubicBezTo>
                  <a:pt x="440" y="408"/>
                  <a:pt x="440" y="407"/>
                  <a:pt x="440" y="407"/>
                </a:cubicBezTo>
                <a:cubicBezTo>
                  <a:pt x="440" y="407"/>
                  <a:pt x="440" y="407"/>
                  <a:pt x="441" y="407"/>
                </a:cubicBezTo>
                <a:cubicBezTo>
                  <a:pt x="441" y="407"/>
                  <a:pt x="441" y="407"/>
                  <a:pt x="441" y="407"/>
                </a:cubicBezTo>
                <a:cubicBezTo>
                  <a:pt x="441" y="407"/>
                  <a:pt x="441" y="407"/>
                  <a:pt x="442" y="408"/>
                </a:cubicBezTo>
                <a:cubicBezTo>
                  <a:pt x="442" y="408"/>
                  <a:pt x="442" y="408"/>
                  <a:pt x="442" y="408"/>
                </a:cubicBezTo>
                <a:cubicBezTo>
                  <a:pt x="442" y="408"/>
                  <a:pt x="442" y="408"/>
                  <a:pt x="442" y="408"/>
                </a:cubicBezTo>
                <a:cubicBezTo>
                  <a:pt x="443" y="408"/>
                  <a:pt x="443" y="408"/>
                  <a:pt x="443" y="408"/>
                </a:cubicBezTo>
                <a:cubicBezTo>
                  <a:pt x="443" y="408"/>
                  <a:pt x="443" y="408"/>
                  <a:pt x="443" y="408"/>
                </a:cubicBezTo>
                <a:cubicBezTo>
                  <a:pt x="443" y="408"/>
                  <a:pt x="443" y="409"/>
                  <a:pt x="444" y="409"/>
                </a:cubicBezTo>
                <a:cubicBezTo>
                  <a:pt x="444" y="409"/>
                  <a:pt x="444" y="410"/>
                  <a:pt x="444" y="410"/>
                </a:cubicBezTo>
                <a:cubicBezTo>
                  <a:pt x="445" y="410"/>
                  <a:pt x="445" y="410"/>
                  <a:pt x="445" y="410"/>
                </a:cubicBezTo>
                <a:cubicBezTo>
                  <a:pt x="445" y="410"/>
                  <a:pt x="446" y="410"/>
                  <a:pt x="446" y="410"/>
                </a:cubicBezTo>
                <a:cubicBezTo>
                  <a:pt x="446" y="411"/>
                  <a:pt x="445" y="411"/>
                  <a:pt x="445" y="411"/>
                </a:cubicBezTo>
                <a:cubicBezTo>
                  <a:pt x="445" y="411"/>
                  <a:pt x="444" y="411"/>
                  <a:pt x="444" y="411"/>
                </a:cubicBezTo>
                <a:cubicBezTo>
                  <a:pt x="444" y="411"/>
                  <a:pt x="443" y="410"/>
                  <a:pt x="443" y="410"/>
                </a:cubicBezTo>
                <a:cubicBezTo>
                  <a:pt x="443" y="410"/>
                  <a:pt x="443" y="410"/>
                  <a:pt x="442" y="410"/>
                </a:cubicBezTo>
                <a:cubicBezTo>
                  <a:pt x="442" y="410"/>
                  <a:pt x="442" y="409"/>
                  <a:pt x="442" y="409"/>
                </a:cubicBezTo>
                <a:cubicBezTo>
                  <a:pt x="441" y="409"/>
                  <a:pt x="441" y="409"/>
                  <a:pt x="441" y="409"/>
                </a:cubicBezTo>
                <a:cubicBezTo>
                  <a:pt x="441" y="409"/>
                  <a:pt x="441" y="408"/>
                  <a:pt x="441" y="408"/>
                </a:cubicBezTo>
                <a:cubicBezTo>
                  <a:pt x="441" y="408"/>
                  <a:pt x="441" y="408"/>
                  <a:pt x="441" y="409"/>
                </a:cubicBezTo>
                <a:cubicBezTo>
                  <a:pt x="441" y="409"/>
                  <a:pt x="441" y="409"/>
                  <a:pt x="441" y="409"/>
                </a:cubicBezTo>
                <a:cubicBezTo>
                  <a:pt x="441" y="409"/>
                  <a:pt x="441" y="409"/>
                  <a:pt x="441" y="409"/>
                </a:cubicBezTo>
                <a:cubicBezTo>
                  <a:pt x="440" y="409"/>
                  <a:pt x="440" y="409"/>
                  <a:pt x="440" y="409"/>
                </a:cubicBezTo>
                <a:cubicBezTo>
                  <a:pt x="439" y="409"/>
                  <a:pt x="439" y="409"/>
                  <a:pt x="439" y="408"/>
                </a:cubicBezTo>
                <a:close/>
                <a:moveTo>
                  <a:pt x="460" y="404"/>
                </a:moveTo>
                <a:cubicBezTo>
                  <a:pt x="460" y="404"/>
                  <a:pt x="460" y="404"/>
                  <a:pt x="459" y="404"/>
                </a:cubicBezTo>
                <a:cubicBezTo>
                  <a:pt x="459" y="404"/>
                  <a:pt x="459" y="404"/>
                  <a:pt x="459" y="404"/>
                </a:cubicBezTo>
                <a:cubicBezTo>
                  <a:pt x="459" y="404"/>
                  <a:pt x="459" y="405"/>
                  <a:pt x="459" y="405"/>
                </a:cubicBezTo>
                <a:cubicBezTo>
                  <a:pt x="459" y="405"/>
                  <a:pt x="459" y="405"/>
                  <a:pt x="459" y="405"/>
                </a:cubicBezTo>
                <a:cubicBezTo>
                  <a:pt x="459" y="405"/>
                  <a:pt x="459" y="405"/>
                  <a:pt x="459" y="405"/>
                </a:cubicBezTo>
                <a:cubicBezTo>
                  <a:pt x="459" y="406"/>
                  <a:pt x="459" y="406"/>
                  <a:pt x="459" y="406"/>
                </a:cubicBezTo>
                <a:cubicBezTo>
                  <a:pt x="459" y="406"/>
                  <a:pt x="459" y="406"/>
                  <a:pt x="459" y="406"/>
                </a:cubicBezTo>
                <a:cubicBezTo>
                  <a:pt x="460" y="405"/>
                  <a:pt x="460" y="405"/>
                  <a:pt x="460" y="404"/>
                </a:cubicBezTo>
                <a:close/>
                <a:moveTo>
                  <a:pt x="448" y="411"/>
                </a:moveTo>
                <a:cubicBezTo>
                  <a:pt x="448" y="411"/>
                  <a:pt x="448" y="411"/>
                  <a:pt x="448" y="411"/>
                </a:cubicBezTo>
                <a:cubicBezTo>
                  <a:pt x="448" y="411"/>
                  <a:pt x="448" y="411"/>
                  <a:pt x="447" y="411"/>
                </a:cubicBezTo>
                <a:cubicBezTo>
                  <a:pt x="447" y="411"/>
                  <a:pt x="447" y="411"/>
                  <a:pt x="447" y="411"/>
                </a:cubicBezTo>
                <a:cubicBezTo>
                  <a:pt x="446" y="411"/>
                  <a:pt x="446" y="411"/>
                  <a:pt x="446" y="411"/>
                </a:cubicBezTo>
                <a:cubicBezTo>
                  <a:pt x="446" y="412"/>
                  <a:pt x="447" y="412"/>
                  <a:pt x="447" y="412"/>
                </a:cubicBezTo>
                <a:cubicBezTo>
                  <a:pt x="447" y="412"/>
                  <a:pt x="448" y="412"/>
                  <a:pt x="448" y="411"/>
                </a:cubicBezTo>
                <a:close/>
                <a:moveTo>
                  <a:pt x="452" y="411"/>
                </a:moveTo>
                <a:cubicBezTo>
                  <a:pt x="452" y="411"/>
                  <a:pt x="452" y="411"/>
                  <a:pt x="452" y="411"/>
                </a:cubicBezTo>
                <a:cubicBezTo>
                  <a:pt x="451" y="411"/>
                  <a:pt x="451" y="411"/>
                  <a:pt x="451" y="411"/>
                </a:cubicBezTo>
                <a:cubicBezTo>
                  <a:pt x="451" y="412"/>
                  <a:pt x="451" y="412"/>
                  <a:pt x="451" y="412"/>
                </a:cubicBezTo>
                <a:cubicBezTo>
                  <a:pt x="451" y="412"/>
                  <a:pt x="452" y="412"/>
                  <a:pt x="452" y="412"/>
                </a:cubicBezTo>
                <a:cubicBezTo>
                  <a:pt x="452" y="412"/>
                  <a:pt x="452" y="412"/>
                  <a:pt x="452" y="412"/>
                </a:cubicBezTo>
                <a:cubicBezTo>
                  <a:pt x="452" y="412"/>
                  <a:pt x="452" y="412"/>
                  <a:pt x="452" y="412"/>
                </a:cubicBezTo>
                <a:cubicBezTo>
                  <a:pt x="453" y="413"/>
                  <a:pt x="453" y="413"/>
                  <a:pt x="453" y="412"/>
                </a:cubicBezTo>
                <a:cubicBezTo>
                  <a:pt x="453" y="412"/>
                  <a:pt x="452" y="412"/>
                  <a:pt x="452" y="412"/>
                </a:cubicBezTo>
                <a:cubicBezTo>
                  <a:pt x="452" y="412"/>
                  <a:pt x="452" y="412"/>
                  <a:pt x="452" y="411"/>
                </a:cubicBezTo>
                <a:cubicBezTo>
                  <a:pt x="452" y="411"/>
                  <a:pt x="452" y="411"/>
                  <a:pt x="452" y="411"/>
                </a:cubicBezTo>
                <a:close/>
                <a:moveTo>
                  <a:pt x="434" y="424"/>
                </a:moveTo>
                <a:cubicBezTo>
                  <a:pt x="434" y="423"/>
                  <a:pt x="434" y="422"/>
                  <a:pt x="433" y="421"/>
                </a:cubicBezTo>
                <a:cubicBezTo>
                  <a:pt x="433" y="421"/>
                  <a:pt x="433" y="422"/>
                  <a:pt x="433" y="422"/>
                </a:cubicBezTo>
                <a:cubicBezTo>
                  <a:pt x="433" y="422"/>
                  <a:pt x="433" y="423"/>
                  <a:pt x="433" y="423"/>
                </a:cubicBezTo>
                <a:cubicBezTo>
                  <a:pt x="433" y="423"/>
                  <a:pt x="433" y="424"/>
                  <a:pt x="434" y="424"/>
                </a:cubicBezTo>
                <a:close/>
                <a:moveTo>
                  <a:pt x="445" y="402"/>
                </a:moveTo>
                <a:cubicBezTo>
                  <a:pt x="446" y="403"/>
                  <a:pt x="446" y="403"/>
                  <a:pt x="447" y="403"/>
                </a:cubicBezTo>
                <a:cubicBezTo>
                  <a:pt x="447" y="403"/>
                  <a:pt x="447" y="403"/>
                  <a:pt x="447" y="403"/>
                </a:cubicBezTo>
                <a:cubicBezTo>
                  <a:pt x="447" y="403"/>
                  <a:pt x="447" y="403"/>
                  <a:pt x="447" y="403"/>
                </a:cubicBezTo>
                <a:cubicBezTo>
                  <a:pt x="447" y="402"/>
                  <a:pt x="447" y="402"/>
                  <a:pt x="447" y="402"/>
                </a:cubicBezTo>
                <a:cubicBezTo>
                  <a:pt x="446" y="402"/>
                  <a:pt x="446" y="402"/>
                  <a:pt x="446" y="402"/>
                </a:cubicBezTo>
                <a:cubicBezTo>
                  <a:pt x="446" y="402"/>
                  <a:pt x="445" y="402"/>
                  <a:pt x="445" y="402"/>
                </a:cubicBezTo>
                <a:cubicBezTo>
                  <a:pt x="445" y="402"/>
                  <a:pt x="445" y="402"/>
                  <a:pt x="445" y="402"/>
                </a:cubicBezTo>
                <a:cubicBezTo>
                  <a:pt x="445" y="402"/>
                  <a:pt x="445" y="402"/>
                  <a:pt x="445" y="402"/>
                </a:cubicBezTo>
                <a:close/>
                <a:moveTo>
                  <a:pt x="431" y="441"/>
                </a:moveTo>
                <a:cubicBezTo>
                  <a:pt x="431" y="441"/>
                  <a:pt x="431" y="441"/>
                  <a:pt x="431" y="441"/>
                </a:cubicBezTo>
                <a:cubicBezTo>
                  <a:pt x="431" y="441"/>
                  <a:pt x="431" y="440"/>
                  <a:pt x="431" y="441"/>
                </a:cubicBezTo>
                <a:cubicBezTo>
                  <a:pt x="430" y="441"/>
                  <a:pt x="430" y="441"/>
                  <a:pt x="430" y="441"/>
                </a:cubicBezTo>
                <a:cubicBezTo>
                  <a:pt x="430" y="442"/>
                  <a:pt x="431" y="441"/>
                  <a:pt x="431" y="442"/>
                </a:cubicBezTo>
                <a:cubicBezTo>
                  <a:pt x="431" y="442"/>
                  <a:pt x="431" y="442"/>
                  <a:pt x="431" y="441"/>
                </a:cubicBezTo>
                <a:close/>
                <a:moveTo>
                  <a:pt x="426" y="444"/>
                </a:moveTo>
                <a:cubicBezTo>
                  <a:pt x="426" y="444"/>
                  <a:pt x="426" y="444"/>
                  <a:pt x="426" y="444"/>
                </a:cubicBezTo>
                <a:cubicBezTo>
                  <a:pt x="426" y="444"/>
                  <a:pt x="426" y="445"/>
                  <a:pt x="426" y="445"/>
                </a:cubicBezTo>
                <a:cubicBezTo>
                  <a:pt x="426" y="445"/>
                  <a:pt x="426" y="445"/>
                  <a:pt x="426" y="445"/>
                </a:cubicBezTo>
                <a:cubicBezTo>
                  <a:pt x="426" y="445"/>
                  <a:pt x="426" y="444"/>
                  <a:pt x="426" y="444"/>
                </a:cubicBezTo>
                <a:cubicBezTo>
                  <a:pt x="426" y="444"/>
                  <a:pt x="426" y="444"/>
                  <a:pt x="426" y="444"/>
                </a:cubicBezTo>
                <a:close/>
                <a:moveTo>
                  <a:pt x="437" y="436"/>
                </a:moveTo>
                <a:cubicBezTo>
                  <a:pt x="437" y="436"/>
                  <a:pt x="437" y="436"/>
                  <a:pt x="436" y="436"/>
                </a:cubicBezTo>
                <a:cubicBezTo>
                  <a:pt x="436" y="436"/>
                  <a:pt x="436" y="436"/>
                  <a:pt x="436" y="436"/>
                </a:cubicBezTo>
                <a:cubicBezTo>
                  <a:pt x="437" y="436"/>
                  <a:pt x="437" y="436"/>
                  <a:pt x="437" y="436"/>
                </a:cubicBezTo>
                <a:cubicBezTo>
                  <a:pt x="437" y="436"/>
                  <a:pt x="437" y="436"/>
                  <a:pt x="437" y="436"/>
                </a:cubicBezTo>
                <a:cubicBezTo>
                  <a:pt x="437" y="436"/>
                  <a:pt x="437" y="436"/>
                  <a:pt x="437" y="436"/>
                </a:cubicBezTo>
                <a:close/>
                <a:moveTo>
                  <a:pt x="428" y="437"/>
                </a:moveTo>
                <a:cubicBezTo>
                  <a:pt x="428" y="437"/>
                  <a:pt x="428" y="437"/>
                  <a:pt x="428" y="438"/>
                </a:cubicBezTo>
                <a:cubicBezTo>
                  <a:pt x="428" y="437"/>
                  <a:pt x="428" y="437"/>
                  <a:pt x="428" y="437"/>
                </a:cubicBezTo>
                <a:close/>
                <a:moveTo>
                  <a:pt x="453" y="425"/>
                </a:moveTo>
                <a:cubicBezTo>
                  <a:pt x="453" y="425"/>
                  <a:pt x="453" y="425"/>
                  <a:pt x="453" y="425"/>
                </a:cubicBezTo>
                <a:cubicBezTo>
                  <a:pt x="453" y="425"/>
                  <a:pt x="453" y="425"/>
                  <a:pt x="453" y="425"/>
                </a:cubicBezTo>
                <a:cubicBezTo>
                  <a:pt x="453" y="425"/>
                  <a:pt x="454" y="425"/>
                  <a:pt x="454" y="425"/>
                </a:cubicBezTo>
                <a:cubicBezTo>
                  <a:pt x="454" y="425"/>
                  <a:pt x="454" y="425"/>
                  <a:pt x="453" y="425"/>
                </a:cubicBezTo>
                <a:close/>
                <a:moveTo>
                  <a:pt x="453" y="416"/>
                </a:moveTo>
                <a:cubicBezTo>
                  <a:pt x="453" y="416"/>
                  <a:pt x="453" y="416"/>
                  <a:pt x="453" y="416"/>
                </a:cubicBezTo>
                <a:cubicBezTo>
                  <a:pt x="453" y="415"/>
                  <a:pt x="453" y="415"/>
                  <a:pt x="453" y="415"/>
                </a:cubicBezTo>
                <a:cubicBezTo>
                  <a:pt x="453" y="415"/>
                  <a:pt x="453" y="416"/>
                  <a:pt x="453" y="416"/>
                </a:cubicBezTo>
                <a:cubicBezTo>
                  <a:pt x="453" y="416"/>
                  <a:pt x="453" y="416"/>
                  <a:pt x="453" y="416"/>
                </a:cubicBezTo>
                <a:close/>
                <a:moveTo>
                  <a:pt x="425" y="444"/>
                </a:move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3"/>
                  <a:pt x="425" y="444"/>
                </a:cubicBezTo>
                <a:close/>
                <a:moveTo>
                  <a:pt x="425" y="444"/>
                </a:moveTo>
                <a:cubicBezTo>
                  <a:pt x="425" y="444"/>
                  <a:pt x="425" y="444"/>
                  <a:pt x="425" y="444"/>
                </a:cubicBezTo>
                <a:cubicBezTo>
                  <a:pt x="425" y="444"/>
                  <a:pt x="425" y="444"/>
                  <a:pt x="425" y="444"/>
                </a:cubicBezTo>
                <a:close/>
                <a:moveTo>
                  <a:pt x="428" y="437"/>
                </a:moveTo>
                <a:cubicBezTo>
                  <a:pt x="428" y="437"/>
                  <a:pt x="428" y="436"/>
                  <a:pt x="427" y="436"/>
                </a:cubicBezTo>
                <a:cubicBezTo>
                  <a:pt x="428" y="436"/>
                  <a:pt x="427" y="437"/>
                  <a:pt x="428" y="437"/>
                </a:cubicBezTo>
                <a:close/>
                <a:moveTo>
                  <a:pt x="311" y="486"/>
                </a:moveTo>
                <a:cubicBezTo>
                  <a:pt x="311" y="486"/>
                  <a:pt x="311" y="486"/>
                  <a:pt x="311" y="486"/>
                </a:cubicBezTo>
                <a:cubicBezTo>
                  <a:pt x="312" y="486"/>
                  <a:pt x="314" y="487"/>
                  <a:pt x="315" y="487"/>
                </a:cubicBezTo>
                <a:cubicBezTo>
                  <a:pt x="315" y="486"/>
                  <a:pt x="314" y="486"/>
                  <a:pt x="314" y="486"/>
                </a:cubicBezTo>
                <a:cubicBezTo>
                  <a:pt x="313" y="486"/>
                  <a:pt x="313" y="486"/>
                  <a:pt x="312" y="486"/>
                </a:cubicBezTo>
                <a:cubicBezTo>
                  <a:pt x="311" y="486"/>
                  <a:pt x="311" y="486"/>
                  <a:pt x="310" y="485"/>
                </a:cubicBezTo>
                <a:cubicBezTo>
                  <a:pt x="310" y="485"/>
                  <a:pt x="310" y="484"/>
                  <a:pt x="310" y="483"/>
                </a:cubicBezTo>
                <a:cubicBezTo>
                  <a:pt x="310" y="482"/>
                  <a:pt x="310" y="481"/>
                  <a:pt x="309" y="480"/>
                </a:cubicBezTo>
                <a:cubicBezTo>
                  <a:pt x="309" y="480"/>
                  <a:pt x="309" y="480"/>
                  <a:pt x="309" y="480"/>
                </a:cubicBezTo>
                <a:cubicBezTo>
                  <a:pt x="309" y="479"/>
                  <a:pt x="308" y="479"/>
                  <a:pt x="308" y="479"/>
                </a:cubicBezTo>
                <a:cubicBezTo>
                  <a:pt x="307" y="479"/>
                  <a:pt x="306" y="479"/>
                  <a:pt x="305" y="479"/>
                </a:cubicBezTo>
                <a:cubicBezTo>
                  <a:pt x="305" y="479"/>
                  <a:pt x="304" y="479"/>
                  <a:pt x="304" y="479"/>
                </a:cubicBezTo>
                <a:cubicBezTo>
                  <a:pt x="304" y="480"/>
                  <a:pt x="303" y="480"/>
                  <a:pt x="303" y="480"/>
                </a:cubicBezTo>
                <a:cubicBezTo>
                  <a:pt x="303" y="481"/>
                  <a:pt x="302" y="481"/>
                  <a:pt x="302" y="481"/>
                </a:cubicBezTo>
                <a:cubicBezTo>
                  <a:pt x="301" y="482"/>
                  <a:pt x="301" y="482"/>
                  <a:pt x="300" y="482"/>
                </a:cubicBezTo>
                <a:cubicBezTo>
                  <a:pt x="300" y="482"/>
                  <a:pt x="299" y="483"/>
                  <a:pt x="299" y="483"/>
                </a:cubicBezTo>
                <a:cubicBezTo>
                  <a:pt x="298" y="482"/>
                  <a:pt x="298" y="482"/>
                  <a:pt x="297" y="482"/>
                </a:cubicBezTo>
                <a:cubicBezTo>
                  <a:pt x="297" y="482"/>
                  <a:pt x="297" y="482"/>
                  <a:pt x="296" y="482"/>
                </a:cubicBezTo>
                <a:cubicBezTo>
                  <a:pt x="296" y="482"/>
                  <a:pt x="296" y="483"/>
                  <a:pt x="296" y="483"/>
                </a:cubicBezTo>
                <a:cubicBezTo>
                  <a:pt x="296" y="484"/>
                  <a:pt x="295" y="485"/>
                  <a:pt x="295" y="485"/>
                </a:cubicBezTo>
                <a:cubicBezTo>
                  <a:pt x="294" y="486"/>
                  <a:pt x="294" y="487"/>
                  <a:pt x="294" y="487"/>
                </a:cubicBezTo>
                <a:cubicBezTo>
                  <a:pt x="294" y="488"/>
                  <a:pt x="293" y="488"/>
                  <a:pt x="293" y="488"/>
                </a:cubicBezTo>
                <a:cubicBezTo>
                  <a:pt x="293" y="489"/>
                  <a:pt x="292" y="489"/>
                  <a:pt x="291" y="489"/>
                </a:cubicBezTo>
                <a:cubicBezTo>
                  <a:pt x="291" y="489"/>
                  <a:pt x="290" y="490"/>
                  <a:pt x="291" y="491"/>
                </a:cubicBezTo>
                <a:cubicBezTo>
                  <a:pt x="291" y="491"/>
                  <a:pt x="291" y="492"/>
                  <a:pt x="291" y="493"/>
                </a:cubicBezTo>
                <a:cubicBezTo>
                  <a:pt x="291" y="493"/>
                  <a:pt x="291" y="493"/>
                  <a:pt x="291" y="493"/>
                </a:cubicBezTo>
                <a:cubicBezTo>
                  <a:pt x="291" y="493"/>
                  <a:pt x="291" y="493"/>
                  <a:pt x="291" y="493"/>
                </a:cubicBezTo>
                <a:cubicBezTo>
                  <a:pt x="293" y="493"/>
                  <a:pt x="296" y="493"/>
                  <a:pt x="297" y="493"/>
                </a:cubicBezTo>
                <a:cubicBezTo>
                  <a:pt x="298" y="493"/>
                  <a:pt x="298" y="492"/>
                  <a:pt x="298" y="492"/>
                </a:cubicBezTo>
                <a:cubicBezTo>
                  <a:pt x="299" y="492"/>
                  <a:pt x="299" y="491"/>
                  <a:pt x="299" y="491"/>
                </a:cubicBezTo>
                <a:cubicBezTo>
                  <a:pt x="300" y="490"/>
                  <a:pt x="301" y="489"/>
                  <a:pt x="302" y="488"/>
                </a:cubicBezTo>
                <a:cubicBezTo>
                  <a:pt x="305" y="488"/>
                  <a:pt x="307" y="488"/>
                  <a:pt x="309" y="488"/>
                </a:cubicBezTo>
                <a:cubicBezTo>
                  <a:pt x="310" y="488"/>
                  <a:pt x="310" y="488"/>
                  <a:pt x="311" y="487"/>
                </a:cubicBezTo>
                <a:cubicBezTo>
                  <a:pt x="311" y="487"/>
                  <a:pt x="311" y="486"/>
                  <a:pt x="311" y="486"/>
                </a:cubicBezTo>
                <a:close/>
                <a:moveTo>
                  <a:pt x="253" y="516"/>
                </a:moveTo>
                <a:cubicBezTo>
                  <a:pt x="252" y="517"/>
                  <a:pt x="251" y="518"/>
                  <a:pt x="249" y="518"/>
                </a:cubicBezTo>
                <a:cubicBezTo>
                  <a:pt x="248" y="519"/>
                  <a:pt x="247" y="519"/>
                  <a:pt x="247" y="520"/>
                </a:cubicBezTo>
                <a:cubicBezTo>
                  <a:pt x="247" y="521"/>
                  <a:pt x="247" y="521"/>
                  <a:pt x="246" y="522"/>
                </a:cubicBezTo>
                <a:cubicBezTo>
                  <a:pt x="246" y="522"/>
                  <a:pt x="245" y="523"/>
                  <a:pt x="245" y="523"/>
                </a:cubicBezTo>
                <a:cubicBezTo>
                  <a:pt x="244" y="524"/>
                  <a:pt x="243" y="524"/>
                  <a:pt x="243" y="525"/>
                </a:cubicBezTo>
                <a:cubicBezTo>
                  <a:pt x="242" y="525"/>
                  <a:pt x="242" y="525"/>
                  <a:pt x="242" y="525"/>
                </a:cubicBezTo>
                <a:cubicBezTo>
                  <a:pt x="242" y="525"/>
                  <a:pt x="241" y="525"/>
                  <a:pt x="241" y="525"/>
                </a:cubicBezTo>
                <a:cubicBezTo>
                  <a:pt x="241" y="526"/>
                  <a:pt x="241" y="526"/>
                  <a:pt x="241" y="526"/>
                </a:cubicBezTo>
                <a:cubicBezTo>
                  <a:pt x="241" y="526"/>
                  <a:pt x="241" y="526"/>
                  <a:pt x="242" y="526"/>
                </a:cubicBezTo>
                <a:cubicBezTo>
                  <a:pt x="241" y="526"/>
                  <a:pt x="241" y="526"/>
                  <a:pt x="241" y="526"/>
                </a:cubicBezTo>
                <a:cubicBezTo>
                  <a:pt x="241" y="526"/>
                  <a:pt x="240" y="526"/>
                  <a:pt x="240" y="526"/>
                </a:cubicBezTo>
                <a:cubicBezTo>
                  <a:pt x="239" y="527"/>
                  <a:pt x="239" y="527"/>
                  <a:pt x="238" y="527"/>
                </a:cubicBezTo>
                <a:cubicBezTo>
                  <a:pt x="238" y="527"/>
                  <a:pt x="238" y="527"/>
                  <a:pt x="238" y="527"/>
                </a:cubicBezTo>
                <a:cubicBezTo>
                  <a:pt x="239" y="527"/>
                  <a:pt x="239" y="527"/>
                  <a:pt x="239" y="526"/>
                </a:cubicBezTo>
                <a:cubicBezTo>
                  <a:pt x="239" y="526"/>
                  <a:pt x="239" y="525"/>
                  <a:pt x="240" y="525"/>
                </a:cubicBezTo>
                <a:cubicBezTo>
                  <a:pt x="240" y="526"/>
                  <a:pt x="240" y="525"/>
                  <a:pt x="240" y="525"/>
                </a:cubicBezTo>
                <a:cubicBezTo>
                  <a:pt x="240" y="524"/>
                  <a:pt x="240" y="524"/>
                  <a:pt x="241" y="524"/>
                </a:cubicBezTo>
                <a:cubicBezTo>
                  <a:pt x="241" y="524"/>
                  <a:pt x="241" y="523"/>
                  <a:pt x="241" y="523"/>
                </a:cubicBezTo>
                <a:cubicBezTo>
                  <a:pt x="242" y="523"/>
                  <a:pt x="241" y="522"/>
                  <a:pt x="241" y="522"/>
                </a:cubicBezTo>
                <a:cubicBezTo>
                  <a:pt x="241" y="522"/>
                  <a:pt x="241" y="521"/>
                  <a:pt x="241" y="521"/>
                </a:cubicBezTo>
                <a:cubicBezTo>
                  <a:pt x="241" y="520"/>
                  <a:pt x="242" y="520"/>
                  <a:pt x="242" y="520"/>
                </a:cubicBezTo>
                <a:cubicBezTo>
                  <a:pt x="242" y="520"/>
                  <a:pt x="243" y="520"/>
                  <a:pt x="243" y="520"/>
                </a:cubicBezTo>
                <a:cubicBezTo>
                  <a:pt x="243" y="519"/>
                  <a:pt x="244" y="519"/>
                  <a:pt x="244" y="519"/>
                </a:cubicBezTo>
                <a:cubicBezTo>
                  <a:pt x="245" y="519"/>
                  <a:pt x="245" y="519"/>
                  <a:pt x="246" y="519"/>
                </a:cubicBezTo>
                <a:cubicBezTo>
                  <a:pt x="246" y="519"/>
                  <a:pt x="247" y="519"/>
                  <a:pt x="247" y="519"/>
                </a:cubicBezTo>
                <a:cubicBezTo>
                  <a:pt x="247" y="518"/>
                  <a:pt x="247" y="518"/>
                  <a:pt x="246" y="518"/>
                </a:cubicBezTo>
                <a:cubicBezTo>
                  <a:pt x="246" y="518"/>
                  <a:pt x="246" y="517"/>
                  <a:pt x="246" y="517"/>
                </a:cubicBezTo>
                <a:cubicBezTo>
                  <a:pt x="246" y="517"/>
                  <a:pt x="246" y="516"/>
                  <a:pt x="246" y="515"/>
                </a:cubicBezTo>
                <a:cubicBezTo>
                  <a:pt x="246" y="515"/>
                  <a:pt x="247" y="514"/>
                  <a:pt x="247" y="514"/>
                </a:cubicBezTo>
                <a:cubicBezTo>
                  <a:pt x="247" y="514"/>
                  <a:pt x="248" y="514"/>
                  <a:pt x="248" y="514"/>
                </a:cubicBezTo>
                <a:cubicBezTo>
                  <a:pt x="248" y="513"/>
                  <a:pt x="249" y="513"/>
                  <a:pt x="250" y="512"/>
                </a:cubicBezTo>
                <a:cubicBezTo>
                  <a:pt x="251" y="512"/>
                  <a:pt x="251" y="512"/>
                  <a:pt x="252" y="513"/>
                </a:cubicBezTo>
                <a:cubicBezTo>
                  <a:pt x="252" y="513"/>
                  <a:pt x="253" y="513"/>
                  <a:pt x="253" y="513"/>
                </a:cubicBezTo>
                <a:cubicBezTo>
                  <a:pt x="254" y="513"/>
                  <a:pt x="254" y="513"/>
                  <a:pt x="254" y="514"/>
                </a:cubicBezTo>
                <a:cubicBezTo>
                  <a:pt x="254" y="514"/>
                  <a:pt x="254" y="514"/>
                  <a:pt x="254" y="514"/>
                </a:cubicBezTo>
                <a:cubicBezTo>
                  <a:pt x="253" y="515"/>
                  <a:pt x="253" y="515"/>
                  <a:pt x="253" y="516"/>
                </a:cubicBezTo>
                <a:cubicBezTo>
                  <a:pt x="253" y="516"/>
                  <a:pt x="253" y="516"/>
                  <a:pt x="253" y="516"/>
                </a:cubicBezTo>
                <a:close/>
                <a:moveTo>
                  <a:pt x="127" y="549"/>
                </a:moveTo>
                <a:cubicBezTo>
                  <a:pt x="128" y="549"/>
                  <a:pt x="128" y="549"/>
                  <a:pt x="128" y="548"/>
                </a:cubicBezTo>
                <a:cubicBezTo>
                  <a:pt x="127" y="548"/>
                  <a:pt x="127" y="549"/>
                  <a:pt x="126" y="549"/>
                </a:cubicBezTo>
                <a:cubicBezTo>
                  <a:pt x="125" y="549"/>
                  <a:pt x="125" y="548"/>
                  <a:pt x="124" y="548"/>
                </a:cubicBezTo>
                <a:cubicBezTo>
                  <a:pt x="124" y="548"/>
                  <a:pt x="124" y="547"/>
                  <a:pt x="123" y="547"/>
                </a:cubicBezTo>
                <a:cubicBezTo>
                  <a:pt x="123" y="547"/>
                  <a:pt x="122" y="547"/>
                  <a:pt x="122" y="547"/>
                </a:cubicBezTo>
                <a:cubicBezTo>
                  <a:pt x="121" y="547"/>
                  <a:pt x="121" y="547"/>
                  <a:pt x="120" y="548"/>
                </a:cubicBezTo>
                <a:cubicBezTo>
                  <a:pt x="120" y="548"/>
                  <a:pt x="121" y="548"/>
                  <a:pt x="121" y="548"/>
                </a:cubicBezTo>
                <a:cubicBezTo>
                  <a:pt x="121" y="549"/>
                  <a:pt x="122" y="549"/>
                  <a:pt x="122" y="549"/>
                </a:cubicBezTo>
                <a:cubicBezTo>
                  <a:pt x="122" y="550"/>
                  <a:pt x="122" y="550"/>
                  <a:pt x="123" y="550"/>
                </a:cubicBezTo>
                <a:cubicBezTo>
                  <a:pt x="123" y="550"/>
                  <a:pt x="123" y="550"/>
                  <a:pt x="124" y="550"/>
                </a:cubicBezTo>
                <a:cubicBezTo>
                  <a:pt x="124" y="551"/>
                  <a:pt x="124" y="551"/>
                  <a:pt x="123" y="551"/>
                </a:cubicBezTo>
                <a:cubicBezTo>
                  <a:pt x="123" y="551"/>
                  <a:pt x="122" y="551"/>
                  <a:pt x="122" y="551"/>
                </a:cubicBezTo>
                <a:cubicBezTo>
                  <a:pt x="122" y="551"/>
                  <a:pt x="121" y="552"/>
                  <a:pt x="122" y="552"/>
                </a:cubicBezTo>
                <a:cubicBezTo>
                  <a:pt x="122" y="552"/>
                  <a:pt x="122" y="552"/>
                  <a:pt x="122" y="552"/>
                </a:cubicBezTo>
                <a:cubicBezTo>
                  <a:pt x="122" y="552"/>
                  <a:pt x="123" y="552"/>
                  <a:pt x="123" y="552"/>
                </a:cubicBezTo>
                <a:cubicBezTo>
                  <a:pt x="123" y="553"/>
                  <a:pt x="124" y="553"/>
                  <a:pt x="124" y="553"/>
                </a:cubicBezTo>
                <a:cubicBezTo>
                  <a:pt x="124" y="553"/>
                  <a:pt x="124" y="554"/>
                  <a:pt x="124" y="553"/>
                </a:cubicBezTo>
                <a:cubicBezTo>
                  <a:pt x="124" y="553"/>
                  <a:pt x="124" y="553"/>
                  <a:pt x="124" y="553"/>
                </a:cubicBezTo>
                <a:cubicBezTo>
                  <a:pt x="124" y="552"/>
                  <a:pt x="124" y="552"/>
                  <a:pt x="125" y="552"/>
                </a:cubicBezTo>
                <a:cubicBezTo>
                  <a:pt x="125" y="552"/>
                  <a:pt x="125" y="551"/>
                  <a:pt x="125" y="551"/>
                </a:cubicBezTo>
                <a:cubicBezTo>
                  <a:pt x="125" y="551"/>
                  <a:pt x="126" y="550"/>
                  <a:pt x="125" y="550"/>
                </a:cubicBezTo>
                <a:cubicBezTo>
                  <a:pt x="126" y="550"/>
                  <a:pt x="126" y="550"/>
                  <a:pt x="126" y="550"/>
                </a:cubicBezTo>
                <a:cubicBezTo>
                  <a:pt x="126" y="549"/>
                  <a:pt x="127" y="549"/>
                  <a:pt x="127" y="549"/>
                </a:cubicBezTo>
                <a:close/>
                <a:moveTo>
                  <a:pt x="273" y="509"/>
                </a:moveTo>
                <a:cubicBezTo>
                  <a:pt x="273" y="509"/>
                  <a:pt x="273" y="510"/>
                  <a:pt x="273" y="510"/>
                </a:cubicBezTo>
                <a:cubicBezTo>
                  <a:pt x="272" y="510"/>
                  <a:pt x="271" y="510"/>
                  <a:pt x="270" y="510"/>
                </a:cubicBezTo>
                <a:cubicBezTo>
                  <a:pt x="270" y="511"/>
                  <a:pt x="270" y="511"/>
                  <a:pt x="270" y="511"/>
                </a:cubicBezTo>
                <a:cubicBezTo>
                  <a:pt x="270" y="511"/>
                  <a:pt x="270" y="511"/>
                  <a:pt x="270" y="511"/>
                </a:cubicBezTo>
                <a:cubicBezTo>
                  <a:pt x="270" y="511"/>
                  <a:pt x="270" y="511"/>
                  <a:pt x="270" y="512"/>
                </a:cubicBezTo>
                <a:cubicBezTo>
                  <a:pt x="270" y="512"/>
                  <a:pt x="270" y="512"/>
                  <a:pt x="269" y="512"/>
                </a:cubicBezTo>
                <a:cubicBezTo>
                  <a:pt x="269" y="512"/>
                  <a:pt x="269" y="512"/>
                  <a:pt x="269" y="512"/>
                </a:cubicBezTo>
                <a:cubicBezTo>
                  <a:pt x="269" y="512"/>
                  <a:pt x="269" y="512"/>
                  <a:pt x="269" y="511"/>
                </a:cubicBezTo>
                <a:cubicBezTo>
                  <a:pt x="269" y="512"/>
                  <a:pt x="268" y="512"/>
                  <a:pt x="269" y="512"/>
                </a:cubicBezTo>
                <a:cubicBezTo>
                  <a:pt x="269" y="512"/>
                  <a:pt x="269" y="513"/>
                  <a:pt x="269" y="513"/>
                </a:cubicBezTo>
                <a:cubicBezTo>
                  <a:pt x="268" y="513"/>
                  <a:pt x="268" y="513"/>
                  <a:pt x="268" y="513"/>
                </a:cubicBezTo>
                <a:cubicBezTo>
                  <a:pt x="268" y="513"/>
                  <a:pt x="268" y="513"/>
                  <a:pt x="268" y="512"/>
                </a:cubicBezTo>
                <a:cubicBezTo>
                  <a:pt x="268" y="513"/>
                  <a:pt x="268" y="513"/>
                  <a:pt x="268" y="513"/>
                </a:cubicBezTo>
                <a:cubicBezTo>
                  <a:pt x="268" y="513"/>
                  <a:pt x="269" y="513"/>
                  <a:pt x="268" y="513"/>
                </a:cubicBezTo>
                <a:cubicBezTo>
                  <a:pt x="268" y="513"/>
                  <a:pt x="268" y="513"/>
                  <a:pt x="268" y="513"/>
                </a:cubicBezTo>
                <a:cubicBezTo>
                  <a:pt x="267" y="513"/>
                  <a:pt x="267" y="513"/>
                  <a:pt x="267" y="512"/>
                </a:cubicBezTo>
                <a:cubicBezTo>
                  <a:pt x="267" y="512"/>
                  <a:pt x="267" y="512"/>
                  <a:pt x="267" y="512"/>
                </a:cubicBezTo>
                <a:cubicBezTo>
                  <a:pt x="267" y="513"/>
                  <a:pt x="267" y="513"/>
                  <a:pt x="267" y="513"/>
                </a:cubicBezTo>
                <a:cubicBezTo>
                  <a:pt x="267" y="513"/>
                  <a:pt x="267" y="514"/>
                  <a:pt x="267" y="514"/>
                </a:cubicBezTo>
                <a:cubicBezTo>
                  <a:pt x="267" y="514"/>
                  <a:pt x="267" y="514"/>
                  <a:pt x="267" y="514"/>
                </a:cubicBezTo>
                <a:cubicBezTo>
                  <a:pt x="267" y="515"/>
                  <a:pt x="267" y="515"/>
                  <a:pt x="266" y="514"/>
                </a:cubicBezTo>
                <a:cubicBezTo>
                  <a:pt x="266" y="514"/>
                  <a:pt x="266" y="514"/>
                  <a:pt x="266" y="514"/>
                </a:cubicBezTo>
                <a:cubicBezTo>
                  <a:pt x="266" y="515"/>
                  <a:pt x="265" y="515"/>
                  <a:pt x="265" y="515"/>
                </a:cubicBezTo>
                <a:cubicBezTo>
                  <a:pt x="265" y="514"/>
                  <a:pt x="265" y="515"/>
                  <a:pt x="264" y="515"/>
                </a:cubicBezTo>
                <a:cubicBezTo>
                  <a:pt x="264" y="515"/>
                  <a:pt x="264" y="515"/>
                  <a:pt x="264" y="515"/>
                </a:cubicBezTo>
                <a:cubicBezTo>
                  <a:pt x="264" y="514"/>
                  <a:pt x="264" y="514"/>
                  <a:pt x="264" y="514"/>
                </a:cubicBezTo>
                <a:cubicBezTo>
                  <a:pt x="264" y="514"/>
                  <a:pt x="263" y="514"/>
                  <a:pt x="263" y="515"/>
                </a:cubicBezTo>
                <a:cubicBezTo>
                  <a:pt x="263" y="515"/>
                  <a:pt x="263" y="515"/>
                  <a:pt x="263" y="515"/>
                </a:cubicBezTo>
                <a:cubicBezTo>
                  <a:pt x="262" y="515"/>
                  <a:pt x="262" y="516"/>
                  <a:pt x="261" y="516"/>
                </a:cubicBezTo>
                <a:cubicBezTo>
                  <a:pt x="261" y="516"/>
                  <a:pt x="261" y="516"/>
                  <a:pt x="261" y="516"/>
                </a:cubicBezTo>
                <a:cubicBezTo>
                  <a:pt x="260" y="517"/>
                  <a:pt x="260" y="517"/>
                  <a:pt x="259" y="517"/>
                </a:cubicBezTo>
                <a:cubicBezTo>
                  <a:pt x="258" y="517"/>
                  <a:pt x="258" y="518"/>
                  <a:pt x="258" y="518"/>
                </a:cubicBezTo>
                <a:cubicBezTo>
                  <a:pt x="258" y="518"/>
                  <a:pt x="258" y="519"/>
                  <a:pt x="257" y="518"/>
                </a:cubicBezTo>
                <a:cubicBezTo>
                  <a:pt x="257" y="518"/>
                  <a:pt x="257" y="518"/>
                  <a:pt x="257" y="518"/>
                </a:cubicBezTo>
                <a:cubicBezTo>
                  <a:pt x="256" y="518"/>
                  <a:pt x="256" y="518"/>
                  <a:pt x="256" y="519"/>
                </a:cubicBezTo>
                <a:cubicBezTo>
                  <a:pt x="256" y="519"/>
                  <a:pt x="256" y="519"/>
                  <a:pt x="255" y="519"/>
                </a:cubicBezTo>
                <a:cubicBezTo>
                  <a:pt x="255" y="519"/>
                  <a:pt x="255" y="518"/>
                  <a:pt x="254" y="518"/>
                </a:cubicBezTo>
                <a:cubicBezTo>
                  <a:pt x="254" y="518"/>
                  <a:pt x="254" y="518"/>
                  <a:pt x="254" y="518"/>
                </a:cubicBezTo>
                <a:cubicBezTo>
                  <a:pt x="253" y="518"/>
                  <a:pt x="253" y="518"/>
                  <a:pt x="254" y="517"/>
                </a:cubicBezTo>
                <a:cubicBezTo>
                  <a:pt x="254" y="517"/>
                  <a:pt x="254" y="517"/>
                  <a:pt x="255" y="516"/>
                </a:cubicBezTo>
                <a:cubicBezTo>
                  <a:pt x="255" y="516"/>
                  <a:pt x="255" y="516"/>
                  <a:pt x="256" y="516"/>
                </a:cubicBezTo>
                <a:cubicBezTo>
                  <a:pt x="256" y="516"/>
                  <a:pt x="256" y="516"/>
                  <a:pt x="257" y="516"/>
                </a:cubicBezTo>
                <a:cubicBezTo>
                  <a:pt x="257" y="516"/>
                  <a:pt x="257" y="516"/>
                  <a:pt x="257" y="516"/>
                </a:cubicBezTo>
                <a:cubicBezTo>
                  <a:pt x="257" y="516"/>
                  <a:pt x="257" y="516"/>
                  <a:pt x="258" y="516"/>
                </a:cubicBezTo>
                <a:cubicBezTo>
                  <a:pt x="258" y="515"/>
                  <a:pt x="258" y="515"/>
                  <a:pt x="258" y="515"/>
                </a:cubicBezTo>
                <a:cubicBezTo>
                  <a:pt x="258" y="515"/>
                  <a:pt x="259" y="515"/>
                  <a:pt x="259" y="515"/>
                </a:cubicBezTo>
                <a:cubicBezTo>
                  <a:pt x="259" y="515"/>
                  <a:pt x="259" y="515"/>
                  <a:pt x="259" y="515"/>
                </a:cubicBezTo>
                <a:cubicBezTo>
                  <a:pt x="259" y="515"/>
                  <a:pt x="259" y="515"/>
                  <a:pt x="259" y="515"/>
                </a:cubicBezTo>
                <a:cubicBezTo>
                  <a:pt x="260" y="515"/>
                  <a:pt x="260" y="515"/>
                  <a:pt x="260" y="515"/>
                </a:cubicBezTo>
                <a:cubicBezTo>
                  <a:pt x="260" y="515"/>
                  <a:pt x="260" y="515"/>
                  <a:pt x="260" y="515"/>
                </a:cubicBezTo>
                <a:cubicBezTo>
                  <a:pt x="260" y="515"/>
                  <a:pt x="260" y="515"/>
                  <a:pt x="261" y="515"/>
                </a:cubicBezTo>
                <a:cubicBezTo>
                  <a:pt x="261" y="514"/>
                  <a:pt x="261" y="514"/>
                  <a:pt x="260" y="514"/>
                </a:cubicBezTo>
                <a:cubicBezTo>
                  <a:pt x="261" y="514"/>
                  <a:pt x="262" y="514"/>
                  <a:pt x="263" y="514"/>
                </a:cubicBezTo>
                <a:cubicBezTo>
                  <a:pt x="263" y="514"/>
                  <a:pt x="262" y="514"/>
                  <a:pt x="262" y="514"/>
                </a:cubicBezTo>
                <a:cubicBezTo>
                  <a:pt x="262" y="514"/>
                  <a:pt x="262" y="513"/>
                  <a:pt x="262" y="513"/>
                </a:cubicBezTo>
                <a:cubicBezTo>
                  <a:pt x="262" y="513"/>
                  <a:pt x="262" y="513"/>
                  <a:pt x="262" y="513"/>
                </a:cubicBezTo>
                <a:cubicBezTo>
                  <a:pt x="263" y="513"/>
                  <a:pt x="264" y="513"/>
                  <a:pt x="265" y="513"/>
                </a:cubicBezTo>
                <a:cubicBezTo>
                  <a:pt x="264" y="512"/>
                  <a:pt x="264" y="513"/>
                  <a:pt x="264" y="513"/>
                </a:cubicBezTo>
                <a:cubicBezTo>
                  <a:pt x="263" y="513"/>
                  <a:pt x="263" y="513"/>
                  <a:pt x="263" y="512"/>
                </a:cubicBezTo>
                <a:cubicBezTo>
                  <a:pt x="262" y="512"/>
                  <a:pt x="262" y="512"/>
                  <a:pt x="262" y="512"/>
                </a:cubicBezTo>
                <a:cubicBezTo>
                  <a:pt x="262" y="511"/>
                  <a:pt x="262" y="511"/>
                  <a:pt x="262" y="511"/>
                </a:cubicBezTo>
                <a:cubicBezTo>
                  <a:pt x="263" y="511"/>
                  <a:pt x="263" y="511"/>
                  <a:pt x="263" y="511"/>
                </a:cubicBezTo>
                <a:cubicBezTo>
                  <a:pt x="263" y="511"/>
                  <a:pt x="263" y="511"/>
                  <a:pt x="264" y="511"/>
                </a:cubicBezTo>
                <a:cubicBezTo>
                  <a:pt x="263" y="511"/>
                  <a:pt x="263" y="511"/>
                  <a:pt x="264" y="511"/>
                </a:cubicBezTo>
                <a:cubicBezTo>
                  <a:pt x="264" y="510"/>
                  <a:pt x="264" y="510"/>
                  <a:pt x="264" y="510"/>
                </a:cubicBezTo>
                <a:cubicBezTo>
                  <a:pt x="263" y="510"/>
                  <a:pt x="263" y="510"/>
                  <a:pt x="263" y="509"/>
                </a:cubicBezTo>
                <a:cubicBezTo>
                  <a:pt x="263" y="509"/>
                  <a:pt x="264" y="509"/>
                  <a:pt x="264" y="509"/>
                </a:cubicBezTo>
                <a:cubicBezTo>
                  <a:pt x="264" y="509"/>
                  <a:pt x="265" y="509"/>
                  <a:pt x="265" y="509"/>
                </a:cubicBezTo>
                <a:cubicBezTo>
                  <a:pt x="265" y="509"/>
                  <a:pt x="266" y="509"/>
                  <a:pt x="266" y="509"/>
                </a:cubicBezTo>
                <a:cubicBezTo>
                  <a:pt x="266" y="510"/>
                  <a:pt x="266" y="510"/>
                  <a:pt x="266" y="510"/>
                </a:cubicBezTo>
                <a:cubicBezTo>
                  <a:pt x="266" y="510"/>
                  <a:pt x="266" y="510"/>
                  <a:pt x="266" y="510"/>
                </a:cubicBezTo>
                <a:cubicBezTo>
                  <a:pt x="266" y="510"/>
                  <a:pt x="266" y="510"/>
                  <a:pt x="267" y="511"/>
                </a:cubicBezTo>
                <a:cubicBezTo>
                  <a:pt x="267" y="511"/>
                  <a:pt x="267" y="511"/>
                  <a:pt x="267" y="511"/>
                </a:cubicBezTo>
                <a:cubicBezTo>
                  <a:pt x="267" y="511"/>
                  <a:pt x="267" y="510"/>
                  <a:pt x="267" y="510"/>
                </a:cubicBezTo>
                <a:cubicBezTo>
                  <a:pt x="267" y="510"/>
                  <a:pt x="267" y="510"/>
                  <a:pt x="267" y="510"/>
                </a:cubicBezTo>
                <a:cubicBezTo>
                  <a:pt x="266" y="509"/>
                  <a:pt x="266" y="509"/>
                  <a:pt x="267" y="509"/>
                </a:cubicBezTo>
                <a:cubicBezTo>
                  <a:pt x="267" y="509"/>
                  <a:pt x="267" y="509"/>
                  <a:pt x="268" y="509"/>
                </a:cubicBezTo>
                <a:cubicBezTo>
                  <a:pt x="268" y="509"/>
                  <a:pt x="267" y="508"/>
                  <a:pt x="267" y="508"/>
                </a:cubicBezTo>
                <a:cubicBezTo>
                  <a:pt x="267" y="508"/>
                  <a:pt x="267" y="508"/>
                  <a:pt x="267" y="508"/>
                </a:cubicBezTo>
                <a:cubicBezTo>
                  <a:pt x="267" y="508"/>
                  <a:pt x="267" y="508"/>
                  <a:pt x="267" y="508"/>
                </a:cubicBezTo>
                <a:cubicBezTo>
                  <a:pt x="266" y="508"/>
                  <a:pt x="266" y="509"/>
                  <a:pt x="266" y="508"/>
                </a:cubicBezTo>
                <a:cubicBezTo>
                  <a:pt x="266" y="508"/>
                  <a:pt x="266" y="508"/>
                  <a:pt x="266" y="508"/>
                </a:cubicBezTo>
                <a:cubicBezTo>
                  <a:pt x="265" y="508"/>
                  <a:pt x="265" y="508"/>
                  <a:pt x="265" y="507"/>
                </a:cubicBezTo>
                <a:cubicBezTo>
                  <a:pt x="265" y="508"/>
                  <a:pt x="264" y="508"/>
                  <a:pt x="264" y="508"/>
                </a:cubicBezTo>
                <a:cubicBezTo>
                  <a:pt x="264" y="508"/>
                  <a:pt x="263" y="507"/>
                  <a:pt x="263" y="507"/>
                </a:cubicBezTo>
                <a:cubicBezTo>
                  <a:pt x="263" y="506"/>
                  <a:pt x="263" y="506"/>
                  <a:pt x="262" y="506"/>
                </a:cubicBezTo>
                <a:cubicBezTo>
                  <a:pt x="262" y="506"/>
                  <a:pt x="262" y="506"/>
                  <a:pt x="262" y="506"/>
                </a:cubicBezTo>
                <a:cubicBezTo>
                  <a:pt x="263" y="505"/>
                  <a:pt x="263" y="505"/>
                  <a:pt x="263" y="505"/>
                </a:cubicBezTo>
                <a:cubicBezTo>
                  <a:pt x="263" y="504"/>
                  <a:pt x="264" y="504"/>
                  <a:pt x="264" y="504"/>
                </a:cubicBezTo>
                <a:cubicBezTo>
                  <a:pt x="265" y="503"/>
                  <a:pt x="266" y="503"/>
                  <a:pt x="267" y="502"/>
                </a:cubicBezTo>
                <a:cubicBezTo>
                  <a:pt x="267" y="502"/>
                  <a:pt x="267" y="502"/>
                  <a:pt x="267" y="503"/>
                </a:cubicBezTo>
                <a:cubicBezTo>
                  <a:pt x="267" y="503"/>
                  <a:pt x="267" y="503"/>
                  <a:pt x="267" y="503"/>
                </a:cubicBezTo>
                <a:cubicBezTo>
                  <a:pt x="268" y="503"/>
                  <a:pt x="268" y="503"/>
                  <a:pt x="268" y="502"/>
                </a:cubicBezTo>
                <a:cubicBezTo>
                  <a:pt x="269" y="502"/>
                  <a:pt x="269" y="502"/>
                  <a:pt x="269" y="503"/>
                </a:cubicBezTo>
                <a:cubicBezTo>
                  <a:pt x="269" y="503"/>
                  <a:pt x="269" y="503"/>
                  <a:pt x="269" y="503"/>
                </a:cubicBezTo>
                <a:cubicBezTo>
                  <a:pt x="269" y="503"/>
                  <a:pt x="270" y="503"/>
                  <a:pt x="269" y="504"/>
                </a:cubicBezTo>
                <a:cubicBezTo>
                  <a:pt x="269" y="504"/>
                  <a:pt x="269" y="504"/>
                  <a:pt x="269" y="504"/>
                </a:cubicBezTo>
                <a:cubicBezTo>
                  <a:pt x="269" y="505"/>
                  <a:pt x="269" y="505"/>
                  <a:pt x="269" y="505"/>
                </a:cubicBezTo>
                <a:cubicBezTo>
                  <a:pt x="269" y="505"/>
                  <a:pt x="269" y="505"/>
                  <a:pt x="269" y="506"/>
                </a:cubicBezTo>
                <a:cubicBezTo>
                  <a:pt x="269" y="506"/>
                  <a:pt x="269" y="506"/>
                  <a:pt x="269" y="506"/>
                </a:cubicBezTo>
                <a:cubicBezTo>
                  <a:pt x="269" y="506"/>
                  <a:pt x="269" y="506"/>
                  <a:pt x="269" y="506"/>
                </a:cubicBezTo>
                <a:cubicBezTo>
                  <a:pt x="270" y="506"/>
                  <a:pt x="271" y="505"/>
                  <a:pt x="271" y="505"/>
                </a:cubicBezTo>
                <a:cubicBezTo>
                  <a:pt x="271" y="504"/>
                  <a:pt x="272" y="504"/>
                  <a:pt x="272" y="503"/>
                </a:cubicBezTo>
                <a:cubicBezTo>
                  <a:pt x="272" y="503"/>
                  <a:pt x="272" y="503"/>
                  <a:pt x="272" y="503"/>
                </a:cubicBezTo>
                <a:cubicBezTo>
                  <a:pt x="272" y="503"/>
                  <a:pt x="272" y="503"/>
                  <a:pt x="272" y="503"/>
                </a:cubicBezTo>
                <a:cubicBezTo>
                  <a:pt x="272" y="503"/>
                  <a:pt x="272" y="503"/>
                  <a:pt x="272" y="503"/>
                </a:cubicBezTo>
                <a:cubicBezTo>
                  <a:pt x="272" y="504"/>
                  <a:pt x="272" y="504"/>
                  <a:pt x="273" y="504"/>
                </a:cubicBezTo>
                <a:cubicBezTo>
                  <a:pt x="273" y="504"/>
                  <a:pt x="273" y="504"/>
                  <a:pt x="273" y="504"/>
                </a:cubicBezTo>
                <a:cubicBezTo>
                  <a:pt x="273" y="504"/>
                  <a:pt x="273" y="504"/>
                  <a:pt x="273" y="504"/>
                </a:cubicBezTo>
                <a:cubicBezTo>
                  <a:pt x="273" y="504"/>
                  <a:pt x="273" y="503"/>
                  <a:pt x="273" y="503"/>
                </a:cubicBezTo>
                <a:cubicBezTo>
                  <a:pt x="274" y="503"/>
                  <a:pt x="273" y="504"/>
                  <a:pt x="274" y="504"/>
                </a:cubicBezTo>
                <a:cubicBezTo>
                  <a:pt x="274" y="504"/>
                  <a:pt x="273" y="505"/>
                  <a:pt x="274" y="504"/>
                </a:cubicBezTo>
                <a:cubicBezTo>
                  <a:pt x="274" y="504"/>
                  <a:pt x="274" y="505"/>
                  <a:pt x="274" y="505"/>
                </a:cubicBezTo>
                <a:cubicBezTo>
                  <a:pt x="274" y="505"/>
                  <a:pt x="273" y="506"/>
                  <a:pt x="273" y="505"/>
                </a:cubicBezTo>
                <a:cubicBezTo>
                  <a:pt x="273" y="505"/>
                  <a:pt x="272" y="505"/>
                  <a:pt x="272" y="506"/>
                </a:cubicBezTo>
                <a:cubicBezTo>
                  <a:pt x="272" y="506"/>
                  <a:pt x="272" y="506"/>
                  <a:pt x="272" y="507"/>
                </a:cubicBezTo>
                <a:cubicBezTo>
                  <a:pt x="271" y="507"/>
                  <a:pt x="271" y="507"/>
                  <a:pt x="270" y="507"/>
                </a:cubicBezTo>
                <a:cubicBezTo>
                  <a:pt x="271" y="508"/>
                  <a:pt x="270" y="508"/>
                  <a:pt x="269" y="508"/>
                </a:cubicBezTo>
                <a:cubicBezTo>
                  <a:pt x="269" y="508"/>
                  <a:pt x="270" y="508"/>
                  <a:pt x="270" y="508"/>
                </a:cubicBezTo>
                <a:cubicBezTo>
                  <a:pt x="270" y="509"/>
                  <a:pt x="270" y="509"/>
                  <a:pt x="270" y="509"/>
                </a:cubicBezTo>
                <a:cubicBezTo>
                  <a:pt x="270" y="509"/>
                  <a:pt x="270" y="509"/>
                  <a:pt x="271" y="509"/>
                </a:cubicBezTo>
                <a:cubicBezTo>
                  <a:pt x="271" y="509"/>
                  <a:pt x="271" y="509"/>
                  <a:pt x="271" y="509"/>
                </a:cubicBezTo>
                <a:cubicBezTo>
                  <a:pt x="271" y="509"/>
                  <a:pt x="271" y="508"/>
                  <a:pt x="271" y="508"/>
                </a:cubicBezTo>
                <a:cubicBezTo>
                  <a:pt x="272" y="508"/>
                  <a:pt x="272" y="508"/>
                  <a:pt x="272" y="508"/>
                </a:cubicBezTo>
                <a:cubicBezTo>
                  <a:pt x="272" y="508"/>
                  <a:pt x="272" y="508"/>
                  <a:pt x="272" y="508"/>
                </a:cubicBezTo>
                <a:cubicBezTo>
                  <a:pt x="272" y="508"/>
                  <a:pt x="272" y="508"/>
                  <a:pt x="273" y="508"/>
                </a:cubicBezTo>
                <a:cubicBezTo>
                  <a:pt x="273" y="508"/>
                  <a:pt x="273" y="508"/>
                  <a:pt x="273" y="508"/>
                </a:cubicBezTo>
                <a:cubicBezTo>
                  <a:pt x="273" y="508"/>
                  <a:pt x="273" y="508"/>
                  <a:pt x="273" y="508"/>
                </a:cubicBezTo>
                <a:cubicBezTo>
                  <a:pt x="273" y="509"/>
                  <a:pt x="273" y="509"/>
                  <a:pt x="273" y="509"/>
                </a:cubicBezTo>
                <a:close/>
                <a:moveTo>
                  <a:pt x="184" y="543"/>
                </a:moveTo>
                <a:cubicBezTo>
                  <a:pt x="184" y="543"/>
                  <a:pt x="183" y="543"/>
                  <a:pt x="183" y="543"/>
                </a:cubicBezTo>
                <a:cubicBezTo>
                  <a:pt x="183" y="543"/>
                  <a:pt x="183" y="543"/>
                  <a:pt x="182" y="543"/>
                </a:cubicBezTo>
                <a:cubicBezTo>
                  <a:pt x="182" y="543"/>
                  <a:pt x="181" y="543"/>
                  <a:pt x="181" y="543"/>
                </a:cubicBezTo>
                <a:cubicBezTo>
                  <a:pt x="180" y="543"/>
                  <a:pt x="180" y="543"/>
                  <a:pt x="180" y="542"/>
                </a:cubicBezTo>
                <a:cubicBezTo>
                  <a:pt x="179" y="542"/>
                  <a:pt x="178" y="543"/>
                  <a:pt x="177" y="543"/>
                </a:cubicBezTo>
                <a:cubicBezTo>
                  <a:pt x="176" y="543"/>
                  <a:pt x="175" y="542"/>
                  <a:pt x="174" y="543"/>
                </a:cubicBezTo>
                <a:cubicBezTo>
                  <a:pt x="174" y="543"/>
                  <a:pt x="175" y="543"/>
                  <a:pt x="175" y="544"/>
                </a:cubicBezTo>
                <a:cubicBezTo>
                  <a:pt x="175" y="544"/>
                  <a:pt x="176" y="544"/>
                  <a:pt x="177" y="544"/>
                </a:cubicBezTo>
                <a:cubicBezTo>
                  <a:pt x="177" y="544"/>
                  <a:pt x="178" y="544"/>
                  <a:pt x="179" y="544"/>
                </a:cubicBezTo>
                <a:cubicBezTo>
                  <a:pt x="179" y="544"/>
                  <a:pt x="180" y="544"/>
                  <a:pt x="180" y="545"/>
                </a:cubicBezTo>
                <a:cubicBezTo>
                  <a:pt x="180" y="545"/>
                  <a:pt x="181" y="545"/>
                  <a:pt x="181" y="545"/>
                </a:cubicBezTo>
                <a:cubicBezTo>
                  <a:pt x="182" y="544"/>
                  <a:pt x="183" y="544"/>
                  <a:pt x="183" y="544"/>
                </a:cubicBezTo>
                <a:cubicBezTo>
                  <a:pt x="183" y="544"/>
                  <a:pt x="183" y="544"/>
                  <a:pt x="184" y="544"/>
                </a:cubicBezTo>
                <a:cubicBezTo>
                  <a:pt x="185" y="544"/>
                  <a:pt x="186" y="544"/>
                  <a:pt x="187" y="544"/>
                </a:cubicBezTo>
                <a:cubicBezTo>
                  <a:pt x="187" y="544"/>
                  <a:pt x="187" y="544"/>
                  <a:pt x="188" y="543"/>
                </a:cubicBezTo>
                <a:cubicBezTo>
                  <a:pt x="187" y="543"/>
                  <a:pt x="187" y="543"/>
                  <a:pt x="187" y="543"/>
                </a:cubicBezTo>
                <a:cubicBezTo>
                  <a:pt x="186" y="543"/>
                  <a:pt x="185" y="543"/>
                  <a:pt x="184" y="543"/>
                </a:cubicBezTo>
                <a:close/>
                <a:moveTo>
                  <a:pt x="174" y="538"/>
                </a:moveTo>
                <a:cubicBezTo>
                  <a:pt x="174" y="538"/>
                  <a:pt x="174" y="538"/>
                  <a:pt x="174" y="537"/>
                </a:cubicBezTo>
                <a:cubicBezTo>
                  <a:pt x="173" y="537"/>
                  <a:pt x="172" y="536"/>
                  <a:pt x="171" y="537"/>
                </a:cubicBezTo>
                <a:cubicBezTo>
                  <a:pt x="171" y="537"/>
                  <a:pt x="170" y="537"/>
                  <a:pt x="170" y="538"/>
                </a:cubicBezTo>
                <a:cubicBezTo>
                  <a:pt x="170" y="539"/>
                  <a:pt x="170" y="539"/>
                  <a:pt x="169" y="539"/>
                </a:cubicBezTo>
                <a:cubicBezTo>
                  <a:pt x="169" y="538"/>
                  <a:pt x="168" y="539"/>
                  <a:pt x="169" y="539"/>
                </a:cubicBezTo>
                <a:cubicBezTo>
                  <a:pt x="169" y="539"/>
                  <a:pt x="169" y="539"/>
                  <a:pt x="170" y="539"/>
                </a:cubicBezTo>
                <a:cubicBezTo>
                  <a:pt x="170" y="539"/>
                  <a:pt x="170" y="539"/>
                  <a:pt x="170" y="539"/>
                </a:cubicBezTo>
                <a:cubicBezTo>
                  <a:pt x="170" y="539"/>
                  <a:pt x="171" y="539"/>
                  <a:pt x="171" y="540"/>
                </a:cubicBezTo>
                <a:cubicBezTo>
                  <a:pt x="171" y="540"/>
                  <a:pt x="171" y="540"/>
                  <a:pt x="171" y="540"/>
                </a:cubicBezTo>
                <a:cubicBezTo>
                  <a:pt x="171" y="540"/>
                  <a:pt x="171" y="540"/>
                  <a:pt x="171" y="540"/>
                </a:cubicBezTo>
                <a:cubicBezTo>
                  <a:pt x="171" y="541"/>
                  <a:pt x="170" y="541"/>
                  <a:pt x="169" y="541"/>
                </a:cubicBezTo>
                <a:cubicBezTo>
                  <a:pt x="169" y="541"/>
                  <a:pt x="169" y="540"/>
                  <a:pt x="168" y="541"/>
                </a:cubicBezTo>
                <a:cubicBezTo>
                  <a:pt x="168" y="541"/>
                  <a:pt x="169" y="541"/>
                  <a:pt x="169" y="541"/>
                </a:cubicBezTo>
                <a:cubicBezTo>
                  <a:pt x="169" y="542"/>
                  <a:pt x="169" y="542"/>
                  <a:pt x="169" y="542"/>
                </a:cubicBezTo>
                <a:cubicBezTo>
                  <a:pt x="168" y="541"/>
                  <a:pt x="167" y="542"/>
                  <a:pt x="167" y="542"/>
                </a:cubicBezTo>
                <a:cubicBezTo>
                  <a:pt x="167" y="542"/>
                  <a:pt x="167" y="542"/>
                  <a:pt x="168" y="543"/>
                </a:cubicBezTo>
                <a:cubicBezTo>
                  <a:pt x="167" y="542"/>
                  <a:pt x="167" y="542"/>
                  <a:pt x="167" y="542"/>
                </a:cubicBezTo>
                <a:cubicBezTo>
                  <a:pt x="167" y="542"/>
                  <a:pt x="167" y="542"/>
                  <a:pt x="166" y="543"/>
                </a:cubicBezTo>
                <a:cubicBezTo>
                  <a:pt x="166" y="543"/>
                  <a:pt x="166" y="543"/>
                  <a:pt x="165" y="543"/>
                </a:cubicBezTo>
                <a:cubicBezTo>
                  <a:pt x="165" y="543"/>
                  <a:pt x="165" y="543"/>
                  <a:pt x="165" y="543"/>
                </a:cubicBezTo>
                <a:cubicBezTo>
                  <a:pt x="164" y="543"/>
                  <a:pt x="164" y="543"/>
                  <a:pt x="164" y="543"/>
                </a:cubicBezTo>
                <a:cubicBezTo>
                  <a:pt x="163" y="543"/>
                  <a:pt x="163" y="543"/>
                  <a:pt x="162" y="544"/>
                </a:cubicBezTo>
                <a:cubicBezTo>
                  <a:pt x="162" y="544"/>
                  <a:pt x="162" y="544"/>
                  <a:pt x="162" y="544"/>
                </a:cubicBezTo>
                <a:cubicBezTo>
                  <a:pt x="161" y="544"/>
                  <a:pt x="161" y="544"/>
                  <a:pt x="161" y="544"/>
                </a:cubicBezTo>
                <a:cubicBezTo>
                  <a:pt x="161" y="545"/>
                  <a:pt x="160" y="545"/>
                  <a:pt x="160" y="544"/>
                </a:cubicBezTo>
                <a:cubicBezTo>
                  <a:pt x="160" y="544"/>
                  <a:pt x="159" y="544"/>
                  <a:pt x="159" y="544"/>
                </a:cubicBezTo>
                <a:cubicBezTo>
                  <a:pt x="159" y="544"/>
                  <a:pt x="158" y="544"/>
                  <a:pt x="157" y="545"/>
                </a:cubicBezTo>
                <a:cubicBezTo>
                  <a:pt x="158" y="545"/>
                  <a:pt x="159" y="545"/>
                  <a:pt x="160" y="545"/>
                </a:cubicBezTo>
                <a:cubicBezTo>
                  <a:pt x="161" y="545"/>
                  <a:pt x="161" y="545"/>
                  <a:pt x="162" y="545"/>
                </a:cubicBezTo>
                <a:cubicBezTo>
                  <a:pt x="162" y="545"/>
                  <a:pt x="162" y="544"/>
                  <a:pt x="163" y="545"/>
                </a:cubicBezTo>
                <a:cubicBezTo>
                  <a:pt x="163" y="545"/>
                  <a:pt x="164" y="545"/>
                  <a:pt x="165" y="545"/>
                </a:cubicBezTo>
                <a:cubicBezTo>
                  <a:pt x="165" y="545"/>
                  <a:pt x="165" y="545"/>
                  <a:pt x="165" y="545"/>
                </a:cubicBezTo>
                <a:cubicBezTo>
                  <a:pt x="165" y="544"/>
                  <a:pt x="166" y="544"/>
                  <a:pt x="166" y="545"/>
                </a:cubicBezTo>
                <a:cubicBezTo>
                  <a:pt x="167" y="544"/>
                  <a:pt x="167" y="545"/>
                  <a:pt x="168" y="544"/>
                </a:cubicBezTo>
                <a:cubicBezTo>
                  <a:pt x="168" y="544"/>
                  <a:pt x="168" y="544"/>
                  <a:pt x="168" y="544"/>
                </a:cubicBezTo>
                <a:cubicBezTo>
                  <a:pt x="168" y="544"/>
                  <a:pt x="168" y="544"/>
                  <a:pt x="168" y="544"/>
                </a:cubicBezTo>
                <a:cubicBezTo>
                  <a:pt x="168" y="544"/>
                  <a:pt x="168" y="544"/>
                  <a:pt x="169" y="544"/>
                </a:cubicBezTo>
                <a:cubicBezTo>
                  <a:pt x="169" y="544"/>
                  <a:pt x="169" y="544"/>
                  <a:pt x="169" y="544"/>
                </a:cubicBezTo>
                <a:cubicBezTo>
                  <a:pt x="169" y="544"/>
                  <a:pt x="169" y="544"/>
                  <a:pt x="169" y="544"/>
                </a:cubicBezTo>
                <a:cubicBezTo>
                  <a:pt x="169" y="544"/>
                  <a:pt x="169" y="543"/>
                  <a:pt x="169" y="543"/>
                </a:cubicBezTo>
                <a:cubicBezTo>
                  <a:pt x="169" y="543"/>
                  <a:pt x="170" y="543"/>
                  <a:pt x="170" y="543"/>
                </a:cubicBezTo>
                <a:cubicBezTo>
                  <a:pt x="170" y="543"/>
                  <a:pt x="171" y="543"/>
                  <a:pt x="171" y="543"/>
                </a:cubicBezTo>
                <a:cubicBezTo>
                  <a:pt x="171" y="543"/>
                  <a:pt x="171" y="543"/>
                  <a:pt x="172" y="543"/>
                </a:cubicBezTo>
                <a:cubicBezTo>
                  <a:pt x="172" y="543"/>
                  <a:pt x="172" y="543"/>
                  <a:pt x="173" y="543"/>
                </a:cubicBezTo>
                <a:cubicBezTo>
                  <a:pt x="173" y="543"/>
                  <a:pt x="173" y="543"/>
                  <a:pt x="173" y="542"/>
                </a:cubicBezTo>
                <a:cubicBezTo>
                  <a:pt x="173" y="542"/>
                  <a:pt x="173" y="542"/>
                  <a:pt x="172" y="541"/>
                </a:cubicBezTo>
                <a:cubicBezTo>
                  <a:pt x="172" y="541"/>
                  <a:pt x="172" y="540"/>
                  <a:pt x="173" y="541"/>
                </a:cubicBezTo>
                <a:cubicBezTo>
                  <a:pt x="173" y="541"/>
                  <a:pt x="173" y="541"/>
                  <a:pt x="173" y="541"/>
                </a:cubicBezTo>
                <a:cubicBezTo>
                  <a:pt x="174" y="540"/>
                  <a:pt x="174" y="540"/>
                  <a:pt x="174" y="540"/>
                </a:cubicBezTo>
                <a:cubicBezTo>
                  <a:pt x="175" y="539"/>
                  <a:pt x="175" y="538"/>
                  <a:pt x="174" y="538"/>
                </a:cubicBezTo>
                <a:close/>
                <a:moveTo>
                  <a:pt x="134" y="547"/>
                </a:moveTo>
                <a:cubicBezTo>
                  <a:pt x="133" y="547"/>
                  <a:pt x="133" y="547"/>
                  <a:pt x="133" y="547"/>
                </a:cubicBezTo>
                <a:cubicBezTo>
                  <a:pt x="133" y="548"/>
                  <a:pt x="133" y="548"/>
                  <a:pt x="133" y="548"/>
                </a:cubicBezTo>
                <a:cubicBezTo>
                  <a:pt x="133" y="549"/>
                  <a:pt x="133" y="550"/>
                  <a:pt x="132" y="550"/>
                </a:cubicBezTo>
                <a:cubicBezTo>
                  <a:pt x="131" y="550"/>
                  <a:pt x="130" y="550"/>
                  <a:pt x="129" y="551"/>
                </a:cubicBezTo>
                <a:cubicBezTo>
                  <a:pt x="129" y="551"/>
                  <a:pt x="128" y="551"/>
                  <a:pt x="128" y="551"/>
                </a:cubicBezTo>
                <a:cubicBezTo>
                  <a:pt x="128" y="551"/>
                  <a:pt x="128" y="551"/>
                  <a:pt x="127" y="551"/>
                </a:cubicBezTo>
                <a:cubicBezTo>
                  <a:pt x="127" y="551"/>
                  <a:pt x="127" y="551"/>
                  <a:pt x="127" y="551"/>
                </a:cubicBezTo>
                <a:cubicBezTo>
                  <a:pt x="127" y="552"/>
                  <a:pt x="127" y="552"/>
                  <a:pt x="127" y="552"/>
                </a:cubicBezTo>
                <a:cubicBezTo>
                  <a:pt x="128" y="552"/>
                  <a:pt x="128" y="552"/>
                  <a:pt x="128" y="552"/>
                </a:cubicBezTo>
                <a:cubicBezTo>
                  <a:pt x="128" y="551"/>
                  <a:pt x="128" y="551"/>
                  <a:pt x="129" y="551"/>
                </a:cubicBezTo>
                <a:cubicBezTo>
                  <a:pt x="129" y="551"/>
                  <a:pt x="129" y="552"/>
                  <a:pt x="130" y="551"/>
                </a:cubicBezTo>
                <a:cubicBezTo>
                  <a:pt x="130" y="551"/>
                  <a:pt x="131" y="551"/>
                  <a:pt x="131" y="551"/>
                </a:cubicBezTo>
                <a:cubicBezTo>
                  <a:pt x="131" y="551"/>
                  <a:pt x="131" y="551"/>
                  <a:pt x="132" y="551"/>
                </a:cubicBezTo>
                <a:cubicBezTo>
                  <a:pt x="132" y="552"/>
                  <a:pt x="132" y="552"/>
                  <a:pt x="132" y="552"/>
                </a:cubicBezTo>
                <a:cubicBezTo>
                  <a:pt x="132" y="552"/>
                  <a:pt x="133" y="552"/>
                  <a:pt x="133" y="552"/>
                </a:cubicBezTo>
                <a:cubicBezTo>
                  <a:pt x="133" y="551"/>
                  <a:pt x="133" y="551"/>
                  <a:pt x="134" y="551"/>
                </a:cubicBezTo>
                <a:cubicBezTo>
                  <a:pt x="134" y="551"/>
                  <a:pt x="134" y="551"/>
                  <a:pt x="134" y="551"/>
                </a:cubicBezTo>
                <a:cubicBezTo>
                  <a:pt x="134" y="550"/>
                  <a:pt x="135" y="550"/>
                  <a:pt x="134" y="549"/>
                </a:cubicBezTo>
                <a:cubicBezTo>
                  <a:pt x="134" y="549"/>
                  <a:pt x="134" y="549"/>
                  <a:pt x="135" y="549"/>
                </a:cubicBezTo>
                <a:cubicBezTo>
                  <a:pt x="135" y="548"/>
                  <a:pt x="135" y="548"/>
                  <a:pt x="135" y="547"/>
                </a:cubicBezTo>
                <a:cubicBezTo>
                  <a:pt x="135" y="547"/>
                  <a:pt x="134" y="546"/>
                  <a:pt x="134" y="547"/>
                </a:cubicBezTo>
                <a:close/>
                <a:moveTo>
                  <a:pt x="66" y="546"/>
                </a:moveTo>
                <a:cubicBezTo>
                  <a:pt x="65" y="546"/>
                  <a:pt x="66" y="546"/>
                  <a:pt x="66" y="545"/>
                </a:cubicBezTo>
                <a:cubicBezTo>
                  <a:pt x="67" y="545"/>
                  <a:pt x="67" y="544"/>
                  <a:pt x="67" y="544"/>
                </a:cubicBezTo>
                <a:cubicBezTo>
                  <a:pt x="67" y="543"/>
                  <a:pt x="67" y="543"/>
                  <a:pt x="67" y="543"/>
                </a:cubicBezTo>
                <a:cubicBezTo>
                  <a:pt x="66" y="542"/>
                  <a:pt x="66" y="542"/>
                  <a:pt x="66" y="543"/>
                </a:cubicBezTo>
                <a:cubicBezTo>
                  <a:pt x="66" y="543"/>
                  <a:pt x="66" y="543"/>
                  <a:pt x="66" y="544"/>
                </a:cubicBezTo>
                <a:cubicBezTo>
                  <a:pt x="66" y="544"/>
                  <a:pt x="65" y="544"/>
                  <a:pt x="65" y="545"/>
                </a:cubicBezTo>
                <a:cubicBezTo>
                  <a:pt x="65" y="545"/>
                  <a:pt x="65" y="546"/>
                  <a:pt x="64" y="546"/>
                </a:cubicBezTo>
                <a:cubicBezTo>
                  <a:pt x="64" y="546"/>
                  <a:pt x="63" y="546"/>
                  <a:pt x="63" y="547"/>
                </a:cubicBezTo>
                <a:cubicBezTo>
                  <a:pt x="63" y="547"/>
                  <a:pt x="63" y="547"/>
                  <a:pt x="63" y="547"/>
                </a:cubicBezTo>
                <a:cubicBezTo>
                  <a:pt x="62" y="547"/>
                  <a:pt x="62" y="547"/>
                  <a:pt x="61" y="548"/>
                </a:cubicBezTo>
                <a:cubicBezTo>
                  <a:pt x="62" y="548"/>
                  <a:pt x="62" y="548"/>
                  <a:pt x="62" y="548"/>
                </a:cubicBezTo>
                <a:cubicBezTo>
                  <a:pt x="62" y="549"/>
                  <a:pt x="63" y="549"/>
                  <a:pt x="63" y="549"/>
                </a:cubicBezTo>
                <a:cubicBezTo>
                  <a:pt x="63" y="549"/>
                  <a:pt x="63" y="548"/>
                  <a:pt x="63" y="548"/>
                </a:cubicBezTo>
                <a:cubicBezTo>
                  <a:pt x="63" y="547"/>
                  <a:pt x="63" y="547"/>
                  <a:pt x="64" y="547"/>
                </a:cubicBezTo>
                <a:cubicBezTo>
                  <a:pt x="65" y="547"/>
                  <a:pt x="65" y="547"/>
                  <a:pt x="66" y="547"/>
                </a:cubicBezTo>
                <a:cubicBezTo>
                  <a:pt x="66" y="547"/>
                  <a:pt x="66" y="547"/>
                  <a:pt x="67" y="547"/>
                </a:cubicBezTo>
                <a:cubicBezTo>
                  <a:pt x="67" y="547"/>
                  <a:pt x="67" y="546"/>
                  <a:pt x="66" y="546"/>
                </a:cubicBezTo>
                <a:close/>
                <a:moveTo>
                  <a:pt x="13" y="528"/>
                </a:moveTo>
                <a:cubicBezTo>
                  <a:pt x="13" y="527"/>
                  <a:pt x="13" y="527"/>
                  <a:pt x="12" y="527"/>
                </a:cubicBezTo>
                <a:cubicBezTo>
                  <a:pt x="12" y="527"/>
                  <a:pt x="12" y="527"/>
                  <a:pt x="11" y="527"/>
                </a:cubicBezTo>
                <a:cubicBezTo>
                  <a:pt x="11" y="527"/>
                  <a:pt x="11" y="527"/>
                  <a:pt x="11" y="527"/>
                </a:cubicBezTo>
                <a:cubicBezTo>
                  <a:pt x="11" y="526"/>
                  <a:pt x="11" y="526"/>
                  <a:pt x="11" y="526"/>
                </a:cubicBezTo>
                <a:cubicBezTo>
                  <a:pt x="11" y="526"/>
                  <a:pt x="11" y="526"/>
                  <a:pt x="10" y="526"/>
                </a:cubicBezTo>
                <a:cubicBezTo>
                  <a:pt x="10" y="525"/>
                  <a:pt x="10" y="526"/>
                  <a:pt x="10" y="526"/>
                </a:cubicBezTo>
                <a:cubicBezTo>
                  <a:pt x="10" y="526"/>
                  <a:pt x="9" y="526"/>
                  <a:pt x="9" y="526"/>
                </a:cubicBezTo>
                <a:cubicBezTo>
                  <a:pt x="9" y="526"/>
                  <a:pt x="9" y="526"/>
                  <a:pt x="9" y="525"/>
                </a:cubicBezTo>
                <a:cubicBezTo>
                  <a:pt x="10" y="525"/>
                  <a:pt x="9" y="525"/>
                  <a:pt x="9" y="524"/>
                </a:cubicBezTo>
                <a:cubicBezTo>
                  <a:pt x="9" y="524"/>
                  <a:pt x="8" y="524"/>
                  <a:pt x="8" y="524"/>
                </a:cubicBezTo>
                <a:cubicBezTo>
                  <a:pt x="8" y="524"/>
                  <a:pt x="8" y="524"/>
                  <a:pt x="8" y="524"/>
                </a:cubicBezTo>
                <a:cubicBezTo>
                  <a:pt x="7" y="524"/>
                  <a:pt x="7" y="525"/>
                  <a:pt x="7" y="525"/>
                </a:cubicBezTo>
                <a:cubicBezTo>
                  <a:pt x="7" y="525"/>
                  <a:pt x="6" y="525"/>
                  <a:pt x="6" y="525"/>
                </a:cubicBezTo>
                <a:cubicBezTo>
                  <a:pt x="6" y="524"/>
                  <a:pt x="6" y="524"/>
                  <a:pt x="6" y="524"/>
                </a:cubicBezTo>
                <a:cubicBezTo>
                  <a:pt x="5" y="524"/>
                  <a:pt x="4" y="524"/>
                  <a:pt x="4" y="524"/>
                </a:cubicBezTo>
                <a:cubicBezTo>
                  <a:pt x="3" y="524"/>
                  <a:pt x="3" y="524"/>
                  <a:pt x="3" y="524"/>
                </a:cubicBezTo>
                <a:cubicBezTo>
                  <a:pt x="2" y="525"/>
                  <a:pt x="2" y="525"/>
                  <a:pt x="1" y="525"/>
                </a:cubicBezTo>
                <a:cubicBezTo>
                  <a:pt x="1" y="526"/>
                  <a:pt x="0" y="526"/>
                  <a:pt x="1" y="526"/>
                </a:cubicBezTo>
                <a:cubicBezTo>
                  <a:pt x="1" y="526"/>
                  <a:pt x="1" y="526"/>
                  <a:pt x="1" y="526"/>
                </a:cubicBezTo>
                <a:cubicBezTo>
                  <a:pt x="2" y="526"/>
                  <a:pt x="2" y="526"/>
                  <a:pt x="3" y="526"/>
                </a:cubicBezTo>
                <a:cubicBezTo>
                  <a:pt x="3" y="526"/>
                  <a:pt x="3" y="526"/>
                  <a:pt x="3" y="526"/>
                </a:cubicBezTo>
                <a:cubicBezTo>
                  <a:pt x="3" y="526"/>
                  <a:pt x="3" y="527"/>
                  <a:pt x="3" y="527"/>
                </a:cubicBezTo>
                <a:cubicBezTo>
                  <a:pt x="3" y="527"/>
                  <a:pt x="3" y="527"/>
                  <a:pt x="3" y="527"/>
                </a:cubicBezTo>
                <a:cubicBezTo>
                  <a:pt x="3" y="527"/>
                  <a:pt x="3" y="527"/>
                  <a:pt x="3" y="527"/>
                </a:cubicBezTo>
                <a:cubicBezTo>
                  <a:pt x="3" y="527"/>
                  <a:pt x="4" y="527"/>
                  <a:pt x="4" y="527"/>
                </a:cubicBezTo>
                <a:cubicBezTo>
                  <a:pt x="4" y="527"/>
                  <a:pt x="3" y="527"/>
                  <a:pt x="3" y="527"/>
                </a:cubicBezTo>
                <a:cubicBezTo>
                  <a:pt x="4" y="527"/>
                  <a:pt x="4" y="527"/>
                  <a:pt x="4" y="527"/>
                </a:cubicBezTo>
                <a:cubicBezTo>
                  <a:pt x="4" y="527"/>
                  <a:pt x="4" y="527"/>
                  <a:pt x="4" y="527"/>
                </a:cubicBezTo>
                <a:cubicBezTo>
                  <a:pt x="4" y="527"/>
                  <a:pt x="4" y="527"/>
                  <a:pt x="4" y="527"/>
                </a:cubicBezTo>
                <a:cubicBezTo>
                  <a:pt x="4" y="527"/>
                  <a:pt x="4" y="528"/>
                  <a:pt x="4" y="528"/>
                </a:cubicBezTo>
                <a:cubicBezTo>
                  <a:pt x="4" y="528"/>
                  <a:pt x="4" y="529"/>
                  <a:pt x="4" y="529"/>
                </a:cubicBezTo>
                <a:cubicBezTo>
                  <a:pt x="5" y="529"/>
                  <a:pt x="5" y="529"/>
                  <a:pt x="5" y="529"/>
                </a:cubicBezTo>
                <a:cubicBezTo>
                  <a:pt x="5" y="528"/>
                  <a:pt x="6" y="529"/>
                  <a:pt x="6" y="529"/>
                </a:cubicBezTo>
                <a:cubicBezTo>
                  <a:pt x="6" y="530"/>
                  <a:pt x="6" y="530"/>
                  <a:pt x="7" y="529"/>
                </a:cubicBezTo>
                <a:cubicBezTo>
                  <a:pt x="7" y="529"/>
                  <a:pt x="7" y="528"/>
                  <a:pt x="8" y="528"/>
                </a:cubicBezTo>
                <a:cubicBezTo>
                  <a:pt x="8" y="528"/>
                  <a:pt x="8" y="528"/>
                  <a:pt x="9" y="528"/>
                </a:cubicBezTo>
                <a:cubicBezTo>
                  <a:pt x="9" y="529"/>
                  <a:pt x="9" y="529"/>
                  <a:pt x="9" y="528"/>
                </a:cubicBezTo>
                <a:cubicBezTo>
                  <a:pt x="10" y="528"/>
                  <a:pt x="10" y="528"/>
                  <a:pt x="10" y="528"/>
                </a:cubicBezTo>
                <a:cubicBezTo>
                  <a:pt x="10" y="527"/>
                  <a:pt x="10" y="527"/>
                  <a:pt x="11" y="528"/>
                </a:cubicBezTo>
                <a:cubicBezTo>
                  <a:pt x="11" y="528"/>
                  <a:pt x="11" y="528"/>
                  <a:pt x="11" y="528"/>
                </a:cubicBezTo>
                <a:cubicBezTo>
                  <a:pt x="12" y="528"/>
                  <a:pt x="12" y="528"/>
                  <a:pt x="12" y="528"/>
                </a:cubicBezTo>
                <a:cubicBezTo>
                  <a:pt x="13" y="528"/>
                  <a:pt x="13" y="528"/>
                  <a:pt x="13" y="528"/>
                </a:cubicBezTo>
                <a:close/>
                <a:moveTo>
                  <a:pt x="17" y="535"/>
                </a:moveTo>
                <a:cubicBezTo>
                  <a:pt x="16" y="534"/>
                  <a:pt x="16" y="535"/>
                  <a:pt x="16" y="535"/>
                </a:cubicBezTo>
                <a:cubicBezTo>
                  <a:pt x="16" y="535"/>
                  <a:pt x="15" y="535"/>
                  <a:pt x="15" y="535"/>
                </a:cubicBezTo>
                <a:cubicBezTo>
                  <a:pt x="14" y="536"/>
                  <a:pt x="14" y="536"/>
                  <a:pt x="13" y="536"/>
                </a:cubicBezTo>
                <a:cubicBezTo>
                  <a:pt x="13" y="536"/>
                  <a:pt x="13" y="536"/>
                  <a:pt x="12" y="536"/>
                </a:cubicBezTo>
                <a:cubicBezTo>
                  <a:pt x="12" y="536"/>
                  <a:pt x="12" y="537"/>
                  <a:pt x="12" y="537"/>
                </a:cubicBezTo>
                <a:cubicBezTo>
                  <a:pt x="12" y="537"/>
                  <a:pt x="12" y="537"/>
                  <a:pt x="12" y="537"/>
                </a:cubicBezTo>
                <a:cubicBezTo>
                  <a:pt x="13" y="537"/>
                  <a:pt x="14" y="537"/>
                  <a:pt x="14" y="537"/>
                </a:cubicBezTo>
                <a:cubicBezTo>
                  <a:pt x="15" y="537"/>
                  <a:pt x="15" y="537"/>
                  <a:pt x="16" y="538"/>
                </a:cubicBezTo>
                <a:cubicBezTo>
                  <a:pt x="16" y="538"/>
                  <a:pt x="16" y="538"/>
                  <a:pt x="16" y="538"/>
                </a:cubicBezTo>
                <a:cubicBezTo>
                  <a:pt x="17" y="538"/>
                  <a:pt x="17" y="538"/>
                  <a:pt x="17" y="537"/>
                </a:cubicBezTo>
                <a:cubicBezTo>
                  <a:pt x="17" y="537"/>
                  <a:pt x="17" y="537"/>
                  <a:pt x="17" y="536"/>
                </a:cubicBezTo>
                <a:cubicBezTo>
                  <a:pt x="16" y="536"/>
                  <a:pt x="16" y="536"/>
                  <a:pt x="17" y="535"/>
                </a:cubicBezTo>
                <a:cubicBezTo>
                  <a:pt x="17" y="535"/>
                  <a:pt x="17" y="535"/>
                  <a:pt x="17" y="535"/>
                </a:cubicBezTo>
                <a:cubicBezTo>
                  <a:pt x="17" y="535"/>
                  <a:pt x="17" y="535"/>
                  <a:pt x="17" y="535"/>
                </a:cubicBezTo>
                <a:close/>
                <a:moveTo>
                  <a:pt x="93" y="545"/>
                </a:moveTo>
                <a:cubicBezTo>
                  <a:pt x="93" y="545"/>
                  <a:pt x="92" y="545"/>
                  <a:pt x="92" y="545"/>
                </a:cubicBezTo>
                <a:cubicBezTo>
                  <a:pt x="92" y="545"/>
                  <a:pt x="91" y="546"/>
                  <a:pt x="91" y="546"/>
                </a:cubicBezTo>
                <a:cubicBezTo>
                  <a:pt x="91" y="546"/>
                  <a:pt x="91" y="546"/>
                  <a:pt x="91" y="546"/>
                </a:cubicBezTo>
                <a:cubicBezTo>
                  <a:pt x="91" y="548"/>
                  <a:pt x="92" y="548"/>
                  <a:pt x="93" y="548"/>
                </a:cubicBezTo>
                <a:cubicBezTo>
                  <a:pt x="94" y="547"/>
                  <a:pt x="94" y="547"/>
                  <a:pt x="94" y="546"/>
                </a:cubicBezTo>
                <a:cubicBezTo>
                  <a:pt x="94" y="546"/>
                  <a:pt x="94" y="546"/>
                  <a:pt x="94" y="546"/>
                </a:cubicBezTo>
                <a:cubicBezTo>
                  <a:pt x="94" y="546"/>
                  <a:pt x="94" y="546"/>
                  <a:pt x="93" y="545"/>
                </a:cubicBezTo>
                <a:close/>
                <a:moveTo>
                  <a:pt x="195" y="537"/>
                </a:moveTo>
                <a:cubicBezTo>
                  <a:pt x="195" y="537"/>
                  <a:pt x="194" y="537"/>
                  <a:pt x="194" y="537"/>
                </a:cubicBezTo>
                <a:cubicBezTo>
                  <a:pt x="193" y="538"/>
                  <a:pt x="193" y="538"/>
                  <a:pt x="193" y="538"/>
                </a:cubicBezTo>
                <a:cubicBezTo>
                  <a:pt x="192" y="539"/>
                  <a:pt x="192" y="539"/>
                  <a:pt x="192" y="540"/>
                </a:cubicBezTo>
                <a:cubicBezTo>
                  <a:pt x="192" y="540"/>
                  <a:pt x="193" y="540"/>
                  <a:pt x="193" y="540"/>
                </a:cubicBezTo>
                <a:cubicBezTo>
                  <a:pt x="194" y="540"/>
                  <a:pt x="194" y="540"/>
                  <a:pt x="195" y="539"/>
                </a:cubicBezTo>
                <a:cubicBezTo>
                  <a:pt x="196" y="538"/>
                  <a:pt x="196" y="538"/>
                  <a:pt x="195" y="537"/>
                </a:cubicBezTo>
                <a:close/>
                <a:moveTo>
                  <a:pt x="217" y="531"/>
                </a:moveTo>
                <a:cubicBezTo>
                  <a:pt x="216" y="531"/>
                  <a:pt x="216" y="532"/>
                  <a:pt x="216" y="532"/>
                </a:cubicBezTo>
                <a:cubicBezTo>
                  <a:pt x="215" y="532"/>
                  <a:pt x="215" y="533"/>
                  <a:pt x="215" y="533"/>
                </a:cubicBezTo>
                <a:cubicBezTo>
                  <a:pt x="215" y="534"/>
                  <a:pt x="215" y="534"/>
                  <a:pt x="215" y="534"/>
                </a:cubicBezTo>
                <a:cubicBezTo>
                  <a:pt x="215" y="534"/>
                  <a:pt x="216" y="534"/>
                  <a:pt x="216" y="534"/>
                </a:cubicBezTo>
                <a:cubicBezTo>
                  <a:pt x="216" y="533"/>
                  <a:pt x="216" y="533"/>
                  <a:pt x="217" y="533"/>
                </a:cubicBezTo>
                <a:cubicBezTo>
                  <a:pt x="218" y="533"/>
                  <a:pt x="218" y="533"/>
                  <a:pt x="218" y="532"/>
                </a:cubicBezTo>
                <a:cubicBezTo>
                  <a:pt x="218" y="532"/>
                  <a:pt x="218" y="532"/>
                  <a:pt x="218" y="531"/>
                </a:cubicBezTo>
                <a:cubicBezTo>
                  <a:pt x="218" y="531"/>
                  <a:pt x="217" y="531"/>
                  <a:pt x="217" y="531"/>
                </a:cubicBezTo>
                <a:close/>
                <a:moveTo>
                  <a:pt x="285" y="498"/>
                </a:moveTo>
                <a:cubicBezTo>
                  <a:pt x="285" y="498"/>
                  <a:pt x="284" y="498"/>
                  <a:pt x="284" y="498"/>
                </a:cubicBezTo>
                <a:cubicBezTo>
                  <a:pt x="284" y="498"/>
                  <a:pt x="284" y="498"/>
                  <a:pt x="283" y="498"/>
                </a:cubicBezTo>
                <a:cubicBezTo>
                  <a:pt x="283" y="498"/>
                  <a:pt x="283" y="498"/>
                  <a:pt x="283" y="497"/>
                </a:cubicBezTo>
                <a:cubicBezTo>
                  <a:pt x="283" y="497"/>
                  <a:pt x="283" y="497"/>
                  <a:pt x="283" y="497"/>
                </a:cubicBezTo>
                <a:cubicBezTo>
                  <a:pt x="283" y="497"/>
                  <a:pt x="283" y="497"/>
                  <a:pt x="284" y="496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2" y="496"/>
                  <a:pt x="281" y="497"/>
                  <a:pt x="281" y="497"/>
                </a:cubicBezTo>
                <a:cubicBezTo>
                  <a:pt x="281" y="497"/>
                  <a:pt x="281" y="497"/>
                  <a:pt x="281" y="497"/>
                </a:cubicBezTo>
                <a:cubicBezTo>
                  <a:pt x="281" y="498"/>
                  <a:pt x="281" y="498"/>
                  <a:pt x="282" y="498"/>
                </a:cubicBezTo>
                <a:cubicBezTo>
                  <a:pt x="282" y="497"/>
                  <a:pt x="282" y="497"/>
                  <a:pt x="282" y="498"/>
                </a:cubicBezTo>
                <a:cubicBezTo>
                  <a:pt x="282" y="498"/>
                  <a:pt x="282" y="498"/>
                  <a:pt x="282" y="498"/>
                </a:cubicBezTo>
                <a:cubicBezTo>
                  <a:pt x="282" y="498"/>
                  <a:pt x="282" y="498"/>
                  <a:pt x="282" y="499"/>
                </a:cubicBezTo>
                <a:cubicBezTo>
                  <a:pt x="282" y="499"/>
                  <a:pt x="282" y="499"/>
                  <a:pt x="282" y="499"/>
                </a:cubicBezTo>
                <a:cubicBezTo>
                  <a:pt x="282" y="500"/>
                  <a:pt x="282" y="500"/>
                  <a:pt x="282" y="500"/>
                </a:cubicBezTo>
                <a:cubicBezTo>
                  <a:pt x="283" y="500"/>
                  <a:pt x="283" y="500"/>
                  <a:pt x="283" y="500"/>
                </a:cubicBezTo>
                <a:cubicBezTo>
                  <a:pt x="283" y="499"/>
                  <a:pt x="283" y="499"/>
                  <a:pt x="283" y="499"/>
                </a:cubicBezTo>
                <a:cubicBezTo>
                  <a:pt x="283" y="499"/>
                  <a:pt x="283" y="499"/>
                  <a:pt x="283" y="499"/>
                </a:cubicBezTo>
                <a:cubicBezTo>
                  <a:pt x="284" y="499"/>
                  <a:pt x="284" y="499"/>
                  <a:pt x="284" y="499"/>
                </a:cubicBezTo>
                <a:cubicBezTo>
                  <a:pt x="284" y="499"/>
                  <a:pt x="285" y="499"/>
                  <a:pt x="285" y="498"/>
                </a:cubicBezTo>
                <a:close/>
                <a:moveTo>
                  <a:pt x="229" y="527"/>
                </a:moveTo>
                <a:cubicBezTo>
                  <a:pt x="229" y="527"/>
                  <a:pt x="228" y="527"/>
                  <a:pt x="227" y="527"/>
                </a:cubicBezTo>
                <a:cubicBezTo>
                  <a:pt x="227" y="527"/>
                  <a:pt x="227" y="527"/>
                  <a:pt x="226" y="527"/>
                </a:cubicBezTo>
                <a:cubicBezTo>
                  <a:pt x="226" y="527"/>
                  <a:pt x="226" y="527"/>
                  <a:pt x="226" y="528"/>
                </a:cubicBezTo>
                <a:cubicBezTo>
                  <a:pt x="225" y="528"/>
                  <a:pt x="226" y="529"/>
                  <a:pt x="226" y="529"/>
                </a:cubicBezTo>
                <a:cubicBezTo>
                  <a:pt x="226" y="529"/>
                  <a:pt x="227" y="529"/>
                  <a:pt x="227" y="528"/>
                </a:cubicBezTo>
                <a:cubicBezTo>
                  <a:pt x="227" y="528"/>
                  <a:pt x="227" y="528"/>
                  <a:pt x="227" y="528"/>
                </a:cubicBezTo>
                <a:cubicBezTo>
                  <a:pt x="228" y="528"/>
                  <a:pt x="228" y="528"/>
                  <a:pt x="229" y="529"/>
                </a:cubicBezTo>
                <a:cubicBezTo>
                  <a:pt x="229" y="529"/>
                  <a:pt x="229" y="529"/>
                  <a:pt x="229" y="529"/>
                </a:cubicBezTo>
                <a:cubicBezTo>
                  <a:pt x="230" y="529"/>
                  <a:pt x="230" y="527"/>
                  <a:pt x="229" y="527"/>
                </a:cubicBezTo>
                <a:close/>
                <a:moveTo>
                  <a:pt x="147" y="545"/>
                </a:moveTo>
                <a:cubicBezTo>
                  <a:pt x="147" y="545"/>
                  <a:pt x="147" y="545"/>
                  <a:pt x="148" y="546"/>
                </a:cubicBezTo>
                <a:cubicBezTo>
                  <a:pt x="148" y="546"/>
                  <a:pt x="148" y="546"/>
                  <a:pt x="148" y="546"/>
                </a:cubicBezTo>
                <a:cubicBezTo>
                  <a:pt x="148" y="546"/>
                  <a:pt x="148" y="545"/>
                  <a:pt x="148" y="545"/>
                </a:cubicBezTo>
                <a:cubicBezTo>
                  <a:pt x="148" y="545"/>
                  <a:pt x="148" y="545"/>
                  <a:pt x="148" y="545"/>
                </a:cubicBezTo>
                <a:cubicBezTo>
                  <a:pt x="149" y="545"/>
                  <a:pt x="149" y="544"/>
                  <a:pt x="149" y="544"/>
                </a:cubicBezTo>
                <a:cubicBezTo>
                  <a:pt x="149" y="543"/>
                  <a:pt x="148" y="543"/>
                  <a:pt x="147" y="543"/>
                </a:cubicBezTo>
                <a:cubicBezTo>
                  <a:pt x="147" y="543"/>
                  <a:pt x="146" y="544"/>
                  <a:pt x="146" y="544"/>
                </a:cubicBezTo>
                <a:cubicBezTo>
                  <a:pt x="146" y="545"/>
                  <a:pt x="146" y="545"/>
                  <a:pt x="147" y="545"/>
                </a:cubicBezTo>
                <a:close/>
                <a:moveTo>
                  <a:pt x="281" y="500"/>
                </a:moveTo>
                <a:cubicBezTo>
                  <a:pt x="281" y="500"/>
                  <a:pt x="281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500"/>
                  <a:pt x="280" y="500"/>
                  <a:pt x="280" y="500"/>
                </a:cubicBezTo>
                <a:cubicBezTo>
                  <a:pt x="280" y="499"/>
                  <a:pt x="280" y="500"/>
                  <a:pt x="280" y="499"/>
                </a:cubicBezTo>
                <a:cubicBezTo>
                  <a:pt x="280" y="499"/>
                  <a:pt x="280" y="499"/>
                  <a:pt x="280" y="499"/>
                </a:cubicBezTo>
                <a:cubicBezTo>
                  <a:pt x="280" y="499"/>
                  <a:pt x="280" y="499"/>
                  <a:pt x="279" y="499"/>
                </a:cubicBezTo>
                <a:cubicBezTo>
                  <a:pt x="279" y="499"/>
                  <a:pt x="279" y="499"/>
                  <a:pt x="279" y="499"/>
                </a:cubicBezTo>
                <a:cubicBezTo>
                  <a:pt x="279" y="498"/>
                  <a:pt x="279" y="498"/>
                  <a:pt x="278" y="498"/>
                </a:cubicBezTo>
                <a:cubicBezTo>
                  <a:pt x="278" y="498"/>
                  <a:pt x="278" y="498"/>
                  <a:pt x="278" y="498"/>
                </a:cubicBezTo>
                <a:cubicBezTo>
                  <a:pt x="277" y="498"/>
                  <a:pt x="277" y="498"/>
                  <a:pt x="276" y="499"/>
                </a:cubicBezTo>
                <a:cubicBezTo>
                  <a:pt x="276" y="499"/>
                  <a:pt x="275" y="500"/>
                  <a:pt x="276" y="501"/>
                </a:cubicBezTo>
                <a:cubicBezTo>
                  <a:pt x="276" y="501"/>
                  <a:pt x="276" y="501"/>
                  <a:pt x="276" y="501"/>
                </a:cubicBezTo>
                <a:cubicBezTo>
                  <a:pt x="276" y="502"/>
                  <a:pt x="277" y="502"/>
                  <a:pt x="277" y="501"/>
                </a:cubicBezTo>
                <a:cubicBezTo>
                  <a:pt x="277" y="501"/>
                  <a:pt x="277" y="501"/>
                  <a:pt x="277" y="501"/>
                </a:cubicBezTo>
                <a:cubicBezTo>
                  <a:pt x="277" y="501"/>
                  <a:pt x="278" y="501"/>
                  <a:pt x="278" y="501"/>
                </a:cubicBezTo>
                <a:cubicBezTo>
                  <a:pt x="278" y="502"/>
                  <a:pt x="278" y="502"/>
                  <a:pt x="279" y="502"/>
                </a:cubicBezTo>
                <a:cubicBezTo>
                  <a:pt x="279" y="502"/>
                  <a:pt x="279" y="501"/>
                  <a:pt x="279" y="501"/>
                </a:cubicBezTo>
                <a:cubicBezTo>
                  <a:pt x="279" y="501"/>
                  <a:pt x="279" y="501"/>
                  <a:pt x="279" y="501"/>
                </a:cubicBezTo>
                <a:cubicBezTo>
                  <a:pt x="280" y="501"/>
                  <a:pt x="281" y="501"/>
                  <a:pt x="281" y="500"/>
                </a:cubicBezTo>
                <a:cubicBezTo>
                  <a:pt x="281" y="500"/>
                  <a:pt x="281" y="500"/>
                  <a:pt x="281" y="500"/>
                </a:cubicBezTo>
                <a:cubicBezTo>
                  <a:pt x="281" y="500"/>
                  <a:pt x="281" y="500"/>
                  <a:pt x="281" y="500"/>
                </a:cubicBezTo>
                <a:close/>
                <a:moveTo>
                  <a:pt x="145" y="549"/>
                </a:moveTo>
                <a:cubicBezTo>
                  <a:pt x="145" y="549"/>
                  <a:pt x="145" y="549"/>
                  <a:pt x="145" y="548"/>
                </a:cubicBezTo>
                <a:cubicBezTo>
                  <a:pt x="145" y="548"/>
                  <a:pt x="144" y="548"/>
                  <a:pt x="144" y="548"/>
                </a:cubicBezTo>
                <a:cubicBezTo>
                  <a:pt x="143" y="548"/>
                  <a:pt x="143" y="548"/>
                  <a:pt x="143" y="549"/>
                </a:cubicBezTo>
                <a:cubicBezTo>
                  <a:pt x="143" y="549"/>
                  <a:pt x="143" y="549"/>
                  <a:pt x="143" y="549"/>
                </a:cubicBezTo>
                <a:cubicBezTo>
                  <a:pt x="142" y="548"/>
                  <a:pt x="142" y="548"/>
                  <a:pt x="142" y="549"/>
                </a:cubicBezTo>
                <a:cubicBezTo>
                  <a:pt x="142" y="549"/>
                  <a:pt x="142" y="549"/>
                  <a:pt x="141" y="549"/>
                </a:cubicBezTo>
                <a:cubicBezTo>
                  <a:pt x="141" y="549"/>
                  <a:pt x="141" y="548"/>
                  <a:pt x="140" y="548"/>
                </a:cubicBezTo>
                <a:cubicBezTo>
                  <a:pt x="140" y="548"/>
                  <a:pt x="141" y="547"/>
                  <a:pt x="141" y="547"/>
                </a:cubicBezTo>
                <a:cubicBezTo>
                  <a:pt x="141" y="547"/>
                  <a:pt x="141" y="546"/>
                  <a:pt x="141" y="546"/>
                </a:cubicBezTo>
                <a:cubicBezTo>
                  <a:pt x="142" y="546"/>
                  <a:pt x="142" y="546"/>
                  <a:pt x="141" y="545"/>
                </a:cubicBezTo>
                <a:cubicBezTo>
                  <a:pt x="141" y="545"/>
                  <a:pt x="141" y="545"/>
                  <a:pt x="141" y="545"/>
                </a:cubicBezTo>
                <a:cubicBezTo>
                  <a:pt x="141" y="546"/>
                  <a:pt x="140" y="546"/>
                  <a:pt x="141" y="546"/>
                </a:cubicBezTo>
                <a:cubicBezTo>
                  <a:pt x="141" y="547"/>
                  <a:pt x="141" y="547"/>
                  <a:pt x="140" y="547"/>
                </a:cubicBezTo>
                <a:cubicBezTo>
                  <a:pt x="140" y="547"/>
                  <a:pt x="140" y="547"/>
                  <a:pt x="140" y="546"/>
                </a:cubicBezTo>
                <a:cubicBezTo>
                  <a:pt x="140" y="546"/>
                  <a:pt x="139" y="546"/>
                  <a:pt x="139" y="546"/>
                </a:cubicBezTo>
                <a:cubicBezTo>
                  <a:pt x="139" y="546"/>
                  <a:pt x="138" y="546"/>
                  <a:pt x="138" y="547"/>
                </a:cubicBezTo>
                <a:cubicBezTo>
                  <a:pt x="138" y="547"/>
                  <a:pt x="139" y="547"/>
                  <a:pt x="139" y="548"/>
                </a:cubicBezTo>
                <a:cubicBezTo>
                  <a:pt x="139" y="548"/>
                  <a:pt x="139" y="548"/>
                  <a:pt x="139" y="548"/>
                </a:cubicBezTo>
                <a:cubicBezTo>
                  <a:pt x="138" y="549"/>
                  <a:pt x="138" y="549"/>
                  <a:pt x="139" y="550"/>
                </a:cubicBezTo>
                <a:cubicBezTo>
                  <a:pt x="139" y="550"/>
                  <a:pt x="138" y="550"/>
                  <a:pt x="138" y="549"/>
                </a:cubicBezTo>
                <a:cubicBezTo>
                  <a:pt x="137" y="549"/>
                  <a:pt x="137" y="549"/>
                  <a:pt x="137" y="549"/>
                </a:cubicBezTo>
                <a:cubicBezTo>
                  <a:pt x="137" y="550"/>
                  <a:pt x="137" y="550"/>
                  <a:pt x="138" y="550"/>
                </a:cubicBezTo>
                <a:cubicBezTo>
                  <a:pt x="138" y="550"/>
                  <a:pt x="138" y="550"/>
                  <a:pt x="138" y="551"/>
                </a:cubicBezTo>
                <a:cubicBezTo>
                  <a:pt x="138" y="551"/>
                  <a:pt x="137" y="551"/>
                  <a:pt x="137" y="552"/>
                </a:cubicBezTo>
                <a:cubicBezTo>
                  <a:pt x="136" y="552"/>
                  <a:pt x="136" y="552"/>
                  <a:pt x="136" y="553"/>
                </a:cubicBezTo>
                <a:cubicBezTo>
                  <a:pt x="136" y="553"/>
                  <a:pt x="136" y="554"/>
                  <a:pt x="136" y="554"/>
                </a:cubicBezTo>
                <a:cubicBezTo>
                  <a:pt x="137" y="554"/>
                  <a:pt x="137" y="553"/>
                  <a:pt x="137" y="553"/>
                </a:cubicBezTo>
                <a:cubicBezTo>
                  <a:pt x="137" y="553"/>
                  <a:pt x="137" y="552"/>
                  <a:pt x="138" y="551"/>
                </a:cubicBezTo>
                <a:cubicBezTo>
                  <a:pt x="138" y="552"/>
                  <a:pt x="138" y="552"/>
                  <a:pt x="138" y="553"/>
                </a:cubicBezTo>
                <a:cubicBezTo>
                  <a:pt x="138" y="553"/>
                  <a:pt x="138" y="553"/>
                  <a:pt x="138" y="553"/>
                </a:cubicBezTo>
                <a:cubicBezTo>
                  <a:pt x="139" y="553"/>
                  <a:pt x="139" y="553"/>
                  <a:pt x="139" y="552"/>
                </a:cubicBezTo>
                <a:cubicBezTo>
                  <a:pt x="139" y="552"/>
                  <a:pt x="140" y="552"/>
                  <a:pt x="140" y="552"/>
                </a:cubicBezTo>
                <a:cubicBezTo>
                  <a:pt x="140" y="552"/>
                  <a:pt x="141" y="551"/>
                  <a:pt x="141" y="551"/>
                </a:cubicBezTo>
                <a:cubicBezTo>
                  <a:pt x="141" y="551"/>
                  <a:pt x="142" y="551"/>
                  <a:pt x="142" y="551"/>
                </a:cubicBezTo>
                <a:cubicBezTo>
                  <a:pt x="142" y="551"/>
                  <a:pt x="142" y="551"/>
                  <a:pt x="142" y="551"/>
                </a:cubicBezTo>
                <a:cubicBezTo>
                  <a:pt x="142" y="550"/>
                  <a:pt x="142" y="550"/>
                  <a:pt x="142" y="550"/>
                </a:cubicBezTo>
                <a:cubicBezTo>
                  <a:pt x="143" y="551"/>
                  <a:pt x="143" y="550"/>
                  <a:pt x="143" y="550"/>
                </a:cubicBezTo>
                <a:cubicBezTo>
                  <a:pt x="143" y="550"/>
                  <a:pt x="143" y="550"/>
                  <a:pt x="143" y="549"/>
                </a:cubicBezTo>
                <a:cubicBezTo>
                  <a:pt x="144" y="550"/>
                  <a:pt x="144" y="550"/>
                  <a:pt x="144" y="550"/>
                </a:cubicBezTo>
                <a:cubicBezTo>
                  <a:pt x="144" y="551"/>
                  <a:pt x="144" y="551"/>
                  <a:pt x="144" y="551"/>
                </a:cubicBezTo>
                <a:cubicBezTo>
                  <a:pt x="144" y="551"/>
                  <a:pt x="144" y="551"/>
                  <a:pt x="144" y="551"/>
                </a:cubicBezTo>
                <a:cubicBezTo>
                  <a:pt x="144" y="550"/>
                  <a:pt x="145" y="551"/>
                  <a:pt x="145" y="551"/>
                </a:cubicBezTo>
                <a:cubicBezTo>
                  <a:pt x="145" y="550"/>
                  <a:pt x="145" y="550"/>
                  <a:pt x="145" y="549"/>
                </a:cubicBezTo>
                <a:cubicBezTo>
                  <a:pt x="145" y="549"/>
                  <a:pt x="145" y="549"/>
                  <a:pt x="145" y="549"/>
                </a:cubicBezTo>
                <a:close/>
                <a:moveTo>
                  <a:pt x="275" y="506"/>
                </a:moveTo>
                <a:cubicBezTo>
                  <a:pt x="275" y="506"/>
                  <a:pt x="274" y="506"/>
                  <a:pt x="274" y="507"/>
                </a:cubicBezTo>
                <a:cubicBezTo>
                  <a:pt x="274" y="507"/>
                  <a:pt x="274" y="507"/>
                  <a:pt x="274" y="507"/>
                </a:cubicBezTo>
                <a:cubicBezTo>
                  <a:pt x="274" y="507"/>
                  <a:pt x="273" y="507"/>
                  <a:pt x="273" y="507"/>
                </a:cubicBezTo>
                <a:cubicBezTo>
                  <a:pt x="273" y="508"/>
                  <a:pt x="273" y="508"/>
                  <a:pt x="273" y="508"/>
                </a:cubicBezTo>
                <a:cubicBezTo>
                  <a:pt x="273" y="509"/>
                  <a:pt x="274" y="509"/>
                  <a:pt x="274" y="509"/>
                </a:cubicBezTo>
                <a:cubicBezTo>
                  <a:pt x="274" y="509"/>
                  <a:pt x="275" y="508"/>
                  <a:pt x="275" y="508"/>
                </a:cubicBezTo>
                <a:cubicBezTo>
                  <a:pt x="275" y="508"/>
                  <a:pt x="275" y="508"/>
                  <a:pt x="275" y="508"/>
                </a:cubicBezTo>
                <a:cubicBezTo>
                  <a:pt x="275" y="508"/>
                  <a:pt x="275" y="507"/>
                  <a:pt x="275" y="507"/>
                </a:cubicBezTo>
                <a:cubicBezTo>
                  <a:pt x="275" y="507"/>
                  <a:pt x="275" y="506"/>
                  <a:pt x="276" y="506"/>
                </a:cubicBezTo>
                <a:cubicBezTo>
                  <a:pt x="276" y="506"/>
                  <a:pt x="276" y="506"/>
                  <a:pt x="276" y="506"/>
                </a:cubicBezTo>
                <a:cubicBezTo>
                  <a:pt x="276" y="506"/>
                  <a:pt x="275" y="506"/>
                  <a:pt x="275" y="506"/>
                </a:cubicBezTo>
                <a:close/>
                <a:moveTo>
                  <a:pt x="290" y="500"/>
                </a:moveTo>
                <a:cubicBezTo>
                  <a:pt x="290" y="500"/>
                  <a:pt x="289" y="500"/>
                  <a:pt x="289" y="500"/>
                </a:cubicBezTo>
                <a:cubicBezTo>
                  <a:pt x="289" y="500"/>
                  <a:pt x="288" y="500"/>
                  <a:pt x="287" y="500"/>
                </a:cubicBezTo>
                <a:cubicBezTo>
                  <a:pt x="287" y="500"/>
                  <a:pt x="287" y="501"/>
                  <a:pt x="287" y="501"/>
                </a:cubicBezTo>
                <a:cubicBezTo>
                  <a:pt x="288" y="501"/>
                  <a:pt x="289" y="501"/>
                  <a:pt x="289" y="501"/>
                </a:cubicBezTo>
                <a:cubicBezTo>
                  <a:pt x="290" y="501"/>
                  <a:pt x="290" y="501"/>
                  <a:pt x="290" y="501"/>
                </a:cubicBezTo>
                <a:cubicBezTo>
                  <a:pt x="291" y="501"/>
                  <a:pt x="291" y="500"/>
                  <a:pt x="291" y="500"/>
                </a:cubicBezTo>
                <a:cubicBezTo>
                  <a:pt x="290" y="500"/>
                  <a:pt x="290" y="500"/>
                  <a:pt x="290" y="500"/>
                </a:cubicBezTo>
                <a:close/>
                <a:moveTo>
                  <a:pt x="148" y="548"/>
                </a:moveTo>
                <a:cubicBezTo>
                  <a:pt x="147" y="549"/>
                  <a:pt x="147" y="548"/>
                  <a:pt x="147" y="548"/>
                </a:cubicBezTo>
                <a:cubicBezTo>
                  <a:pt x="146" y="548"/>
                  <a:pt x="146" y="548"/>
                  <a:pt x="146" y="548"/>
                </a:cubicBezTo>
                <a:cubicBezTo>
                  <a:pt x="146" y="548"/>
                  <a:pt x="146" y="549"/>
                  <a:pt x="146" y="549"/>
                </a:cubicBezTo>
                <a:cubicBezTo>
                  <a:pt x="146" y="550"/>
                  <a:pt x="146" y="550"/>
                  <a:pt x="147" y="550"/>
                </a:cubicBezTo>
                <a:cubicBezTo>
                  <a:pt x="147" y="550"/>
                  <a:pt x="147" y="550"/>
                  <a:pt x="147" y="549"/>
                </a:cubicBezTo>
                <a:cubicBezTo>
                  <a:pt x="147" y="549"/>
                  <a:pt x="148" y="549"/>
                  <a:pt x="148" y="549"/>
                </a:cubicBezTo>
                <a:cubicBezTo>
                  <a:pt x="148" y="549"/>
                  <a:pt x="148" y="549"/>
                  <a:pt x="148" y="549"/>
                </a:cubicBezTo>
                <a:cubicBezTo>
                  <a:pt x="148" y="548"/>
                  <a:pt x="148" y="548"/>
                  <a:pt x="148" y="548"/>
                </a:cubicBezTo>
                <a:close/>
                <a:moveTo>
                  <a:pt x="78" y="546"/>
                </a:moveTo>
                <a:cubicBezTo>
                  <a:pt x="77" y="546"/>
                  <a:pt x="77" y="546"/>
                  <a:pt x="77" y="546"/>
                </a:cubicBezTo>
                <a:cubicBezTo>
                  <a:pt x="78" y="547"/>
                  <a:pt x="78" y="547"/>
                  <a:pt x="78" y="547"/>
                </a:cubicBezTo>
                <a:cubicBezTo>
                  <a:pt x="78" y="547"/>
                  <a:pt x="79" y="547"/>
                  <a:pt x="79" y="546"/>
                </a:cubicBezTo>
                <a:cubicBezTo>
                  <a:pt x="79" y="546"/>
                  <a:pt x="78" y="546"/>
                  <a:pt x="78" y="546"/>
                </a:cubicBezTo>
                <a:close/>
                <a:moveTo>
                  <a:pt x="210" y="534"/>
                </a:moveTo>
                <a:cubicBezTo>
                  <a:pt x="209" y="534"/>
                  <a:pt x="209" y="535"/>
                  <a:pt x="209" y="535"/>
                </a:cubicBezTo>
                <a:cubicBezTo>
                  <a:pt x="209" y="536"/>
                  <a:pt x="209" y="536"/>
                  <a:pt x="210" y="536"/>
                </a:cubicBezTo>
                <a:cubicBezTo>
                  <a:pt x="210" y="536"/>
                  <a:pt x="210" y="535"/>
                  <a:pt x="210" y="535"/>
                </a:cubicBezTo>
                <a:cubicBezTo>
                  <a:pt x="210" y="535"/>
                  <a:pt x="210" y="535"/>
                  <a:pt x="210" y="534"/>
                </a:cubicBezTo>
                <a:close/>
                <a:moveTo>
                  <a:pt x="229" y="524"/>
                </a:moveTo>
                <a:cubicBezTo>
                  <a:pt x="229" y="524"/>
                  <a:pt x="229" y="524"/>
                  <a:pt x="229" y="525"/>
                </a:cubicBezTo>
                <a:cubicBezTo>
                  <a:pt x="229" y="525"/>
                  <a:pt x="229" y="525"/>
                  <a:pt x="229" y="525"/>
                </a:cubicBezTo>
                <a:cubicBezTo>
                  <a:pt x="229" y="525"/>
                  <a:pt x="230" y="525"/>
                  <a:pt x="230" y="524"/>
                </a:cubicBezTo>
                <a:cubicBezTo>
                  <a:pt x="230" y="524"/>
                  <a:pt x="230" y="524"/>
                  <a:pt x="229" y="524"/>
                </a:cubicBezTo>
                <a:close/>
                <a:moveTo>
                  <a:pt x="149" y="547"/>
                </a:moveTo>
                <a:cubicBezTo>
                  <a:pt x="149" y="547"/>
                  <a:pt x="148" y="547"/>
                  <a:pt x="148" y="547"/>
                </a:cubicBezTo>
                <a:cubicBezTo>
                  <a:pt x="148" y="547"/>
                  <a:pt x="148" y="547"/>
                  <a:pt x="147" y="548"/>
                </a:cubicBezTo>
                <a:cubicBezTo>
                  <a:pt x="148" y="548"/>
                  <a:pt x="148" y="548"/>
                  <a:pt x="149" y="548"/>
                </a:cubicBezTo>
                <a:cubicBezTo>
                  <a:pt x="149" y="548"/>
                  <a:pt x="149" y="548"/>
                  <a:pt x="149" y="548"/>
                </a:cubicBezTo>
                <a:cubicBezTo>
                  <a:pt x="150" y="547"/>
                  <a:pt x="149" y="548"/>
                  <a:pt x="149" y="547"/>
                </a:cubicBezTo>
                <a:close/>
                <a:moveTo>
                  <a:pt x="286" y="501"/>
                </a:moveTo>
                <a:cubicBezTo>
                  <a:pt x="286" y="500"/>
                  <a:pt x="285" y="501"/>
                  <a:pt x="285" y="501"/>
                </a:cubicBezTo>
                <a:cubicBezTo>
                  <a:pt x="285" y="501"/>
                  <a:pt x="285" y="501"/>
                  <a:pt x="286" y="501"/>
                </a:cubicBezTo>
                <a:cubicBezTo>
                  <a:pt x="286" y="502"/>
                  <a:pt x="286" y="501"/>
                  <a:pt x="287" y="501"/>
                </a:cubicBezTo>
                <a:cubicBezTo>
                  <a:pt x="287" y="501"/>
                  <a:pt x="286" y="501"/>
                  <a:pt x="286" y="501"/>
                </a:cubicBezTo>
                <a:close/>
                <a:moveTo>
                  <a:pt x="73" y="544"/>
                </a:moveTo>
                <a:cubicBezTo>
                  <a:pt x="73" y="544"/>
                  <a:pt x="73" y="545"/>
                  <a:pt x="73" y="545"/>
                </a:cubicBezTo>
                <a:cubicBezTo>
                  <a:pt x="73" y="545"/>
                  <a:pt x="73" y="546"/>
                  <a:pt x="73" y="546"/>
                </a:cubicBezTo>
                <a:cubicBezTo>
                  <a:pt x="74" y="546"/>
                  <a:pt x="74" y="546"/>
                  <a:pt x="74" y="545"/>
                </a:cubicBezTo>
                <a:cubicBezTo>
                  <a:pt x="74" y="545"/>
                  <a:pt x="74" y="544"/>
                  <a:pt x="73" y="544"/>
                </a:cubicBezTo>
                <a:close/>
                <a:moveTo>
                  <a:pt x="226" y="526"/>
                </a:moveTo>
                <a:cubicBezTo>
                  <a:pt x="226" y="526"/>
                  <a:pt x="225" y="526"/>
                  <a:pt x="225" y="526"/>
                </a:cubicBezTo>
                <a:cubicBezTo>
                  <a:pt x="224" y="526"/>
                  <a:pt x="224" y="526"/>
                  <a:pt x="224" y="526"/>
                </a:cubicBezTo>
                <a:cubicBezTo>
                  <a:pt x="224" y="527"/>
                  <a:pt x="224" y="527"/>
                  <a:pt x="224" y="527"/>
                </a:cubicBezTo>
                <a:cubicBezTo>
                  <a:pt x="225" y="527"/>
                  <a:pt x="225" y="527"/>
                  <a:pt x="225" y="527"/>
                </a:cubicBezTo>
                <a:cubicBezTo>
                  <a:pt x="225" y="527"/>
                  <a:pt x="226" y="527"/>
                  <a:pt x="226" y="526"/>
                </a:cubicBezTo>
                <a:close/>
                <a:moveTo>
                  <a:pt x="275" y="503"/>
                </a:moveTo>
                <a:cubicBezTo>
                  <a:pt x="275" y="503"/>
                  <a:pt x="275" y="503"/>
                  <a:pt x="275" y="503"/>
                </a:cubicBezTo>
                <a:cubicBezTo>
                  <a:pt x="274" y="504"/>
                  <a:pt x="275" y="503"/>
                  <a:pt x="275" y="504"/>
                </a:cubicBezTo>
                <a:cubicBezTo>
                  <a:pt x="275" y="504"/>
                  <a:pt x="276" y="504"/>
                  <a:pt x="276" y="503"/>
                </a:cubicBezTo>
                <a:cubicBezTo>
                  <a:pt x="276" y="503"/>
                  <a:pt x="275" y="503"/>
                  <a:pt x="275" y="503"/>
                </a:cubicBezTo>
                <a:close/>
                <a:moveTo>
                  <a:pt x="223" y="529"/>
                </a:moveTo>
                <a:cubicBezTo>
                  <a:pt x="223" y="529"/>
                  <a:pt x="223" y="530"/>
                  <a:pt x="223" y="530"/>
                </a:cubicBezTo>
                <a:cubicBezTo>
                  <a:pt x="223" y="531"/>
                  <a:pt x="224" y="530"/>
                  <a:pt x="224" y="530"/>
                </a:cubicBezTo>
                <a:cubicBezTo>
                  <a:pt x="224" y="530"/>
                  <a:pt x="224" y="530"/>
                  <a:pt x="224" y="530"/>
                </a:cubicBezTo>
                <a:cubicBezTo>
                  <a:pt x="224" y="530"/>
                  <a:pt x="224" y="530"/>
                  <a:pt x="224" y="530"/>
                </a:cubicBezTo>
                <a:cubicBezTo>
                  <a:pt x="224" y="530"/>
                  <a:pt x="224" y="530"/>
                  <a:pt x="224" y="530"/>
                </a:cubicBezTo>
                <a:cubicBezTo>
                  <a:pt x="225" y="530"/>
                  <a:pt x="225" y="530"/>
                  <a:pt x="225" y="529"/>
                </a:cubicBezTo>
                <a:cubicBezTo>
                  <a:pt x="224" y="529"/>
                  <a:pt x="224" y="529"/>
                  <a:pt x="223" y="529"/>
                </a:cubicBezTo>
                <a:close/>
                <a:moveTo>
                  <a:pt x="76" y="549"/>
                </a:moveTo>
                <a:cubicBezTo>
                  <a:pt x="76" y="549"/>
                  <a:pt x="75" y="549"/>
                  <a:pt x="75" y="549"/>
                </a:cubicBezTo>
                <a:cubicBezTo>
                  <a:pt x="75" y="549"/>
                  <a:pt x="75" y="549"/>
                  <a:pt x="75" y="550"/>
                </a:cubicBezTo>
                <a:cubicBezTo>
                  <a:pt x="75" y="550"/>
                  <a:pt x="75" y="550"/>
                  <a:pt x="75" y="550"/>
                </a:cubicBezTo>
                <a:cubicBezTo>
                  <a:pt x="76" y="550"/>
                  <a:pt x="76" y="550"/>
                  <a:pt x="76" y="550"/>
                </a:cubicBezTo>
                <a:cubicBezTo>
                  <a:pt x="76" y="550"/>
                  <a:pt x="76" y="550"/>
                  <a:pt x="76" y="550"/>
                </a:cubicBezTo>
                <a:cubicBezTo>
                  <a:pt x="76" y="550"/>
                  <a:pt x="76" y="549"/>
                  <a:pt x="76" y="549"/>
                </a:cubicBezTo>
                <a:close/>
                <a:moveTo>
                  <a:pt x="45" y="538"/>
                </a:moveTo>
                <a:cubicBezTo>
                  <a:pt x="45" y="538"/>
                  <a:pt x="45" y="537"/>
                  <a:pt x="44" y="538"/>
                </a:cubicBezTo>
                <a:cubicBezTo>
                  <a:pt x="44" y="538"/>
                  <a:pt x="44" y="538"/>
                  <a:pt x="45" y="538"/>
                </a:cubicBezTo>
                <a:cubicBezTo>
                  <a:pt x="45" y="538"/>
                  <a:pt x="45" y="538"/>
                  <a:pt x="45" y="538"/>
                </a:cubicBezTo>
                <a:cubicBezTo>
                  <a:pt x="45" y="538"/>
                  <a:pt x="45" y="538"/>
                  <a:pt x="45" y="538"/>
                </a:cubicBezTo>
                <a:cubicBezTo>
                  <a:pt x="45" y="538"/>
                  <a:pt x="45" y="538"/>
                  <a:pt x="45" y="538"/>
                </a:cubicBezTo>
                <a:close/>
                <a:moveTo>
                  <a:pt x="151" y="546"/>
                </a:moveTo>
                <a:cubicBezTo>
                  <a:pt x="151" y="546"/>
                  <a:pt x="150" y="546"/>
                  <a:pt x="151" y="547"/>
                </a:cubicBezTo>
                <a:cubicBezTo>
                  <a:pt x="151" y="547"/>
                  <a:pt x="151" y="547"/>
                  <a:pt x="152" y="547"/>
                </a:cubicBezTo>
                <a:cubicBezTo>
                  <a:pt x="151" y="547"/>
                  <a:pt x="151" y="546"/>
                  <a:pt x="151" y="546"/>
                </a:cubicBezTo>
                <a:close/>
                <a:moveTo>
                  <a:pt x="150" y="545"/>
                </a:moveTo>
                <a:cubicBezTo>
                  <a:pt x="150" y="545"/>
                  <a:pt x="150" y="545"/>
                  <a:pt x="150" y="546"/>
                </a:cubicBezTo>
                <a:cubicBezTo>
                  <a:pt x="149" y="546"/>
                  <a:pt x="150" y="546"/>
                  <a:pt x="150" y="546"/>
                </a:cubicBezTo>
                <a:cubicBezTo>
                  <a:pt x="150" y="546"/>
                  <a:pt x="150" y="546"/>
                  <a:pt x="150" y="546"/>
                </a:cubicBezTo>
                <a:cubicBezTo>
                  <a:pt x="150" y="545"/>
                  <a:pt x="150" y="545"/>
                  <a:pt x="150" y="545"/>
                </a:cubicBezTo>
                <a:close/>
                <a:moveTo>
                  <a:pt x="21" y="530"/>
                </a:moveTo>
                <a:cubicBezTo>
                  <a:pt x="21" y="530"/>
                  <a:pt x="21" y="530"/>
                  <a:pt x="21" y="530"/>
                </a:cubicBezTo>
                <a:cubicBezTo>
                  <a:pt x="21" y="530"/>
                  <a:pt x="22" y="530"/>
                  <a:pt x="22" y="530"/>
                </a:cubicBezTo>
                <a:cubicBezTo>
                  <a:pt x="22" y="531"/>
                  <a:pt x="22" y="530"/>
                  <a:pt x="22" y="530"/>
                </a:cubicBezTo>
                <a:cubicBezTo>
                  <a:pt x="22" y="530"/>
                  <a:pt x="22" y="530"/>
                  <a:pt x="21" y="530"/>
                </a:cubicBezTo>
                <a:close/>
                <a:moveTo>
                  <a:pt x="283" y="501"/>
                </a:moveTo>
                <a:cubicBezTo>
                  <a:pt x="283" y="501"/>
                  <a:pt x="282" y="502"/>
                  <a:pt x="283" y="502"/>
                </a:cubicBezTo>
                <a:cubicBezTo>
                  <a:pt x="283" y="502"/>
                  <a:pt x="283" y="502"/>
                  <a:pt x="283" y="502"/>
                </a:cubicBezTo>
                <a:cubicBezTo>
                  <a:pt x="284" y="502"/>
                  <a:pt x="283" y="501"/>
                  <a:pt x="283" y="501"/>
                </a:cubicBezTo>
                <a:close/>
                <a:moveTo>
                  <a:pt x="152" y="546"/>
                </a:moveTo>
                <a:cubicBezTo>
                  <a:pt x="152" y="546"/>
                  <a:pt x="153" y="546"/>
                  <a:pt x="153" y="546"/>
                </a:cubicBezTo>
                <a:cubicBezTo>
                  <a:pt x="152" y="546"/>
                  <a:pt x="152" y="546"/>
                  <a:pt x="152" y="546"/>
                </a:cubicBezTo>
                <a:close/>
                <a:moveTo>
                  <a:pt x="109" y="560"/>
                </a:moveTo>
                <a:cubicBezTo>
                  <a:pt x="108" y="560"/>
                  <a:pt x="108" y="560"/>
                  <a:pt x="108" y="561"/>
                </a:cubicBezTo>
                <a:cubicBezTo>
                  <a:pt x="108" y="561"/>
                  <a:pt x="109" y="561"/>
                  <a:pt x="109" y="561"/>
                </a:cubicBezTo>
                <a:cubicBezTo>
                  <a:pt x="109" y="561"/>
                  <a:pt x="109" y="560"/>
                  <a:pt x="109" y="560"/>
                </a:cubicBezTo>
                <a:close/>
                <a:moveTo>
                  <a:pt x="270" y="505"/>
                </a:moveTo>
                <a:cubicBezTo>
                  <a:pt x="270" y="505"/>
                  <a:pt x="270" y="504"/>
                  <a:pt x="270" y="504"/>
                </a:cubicBezTo>
                <a:cubicBezTo>
                  <a:pt x="270" y="504"/>
                  <a:pt x="270" y="505"/>
                  <a:pt x="270" y="505"/>
                </a:cubicBezTo>
                <a:cubicBezTo>
                  <a:pt x="270" y="505"/>
                  <a:pt x="270" y="505"/>
                  <a:pt x="270" y="505"/>
                </a:cubicBezTo>
                <a:close/>
                <a:moveTo>
                  <a:pt x="211" y="533"/>
                </a:moveTo>
                <a:cubicBezTo>
                  <a:pt x="211" y="533"/>
                  <a:pt x="211" y="533"/>
                  <a:pt x="211" y="534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11" y="533"/>
                  <a:pt x="211" y="533"/>
                  <a:pt x="211" y="533"/>
                </a:cubicBezTo>
                <a:close/>
                <a:moveTo>
                  <a:pt x="67" y="546"/>
                </a:moveTo>
                <a:cubicBezTo>
                  <a:pt x="67" y="546"/>
                  <a:pt x="67" y="546"/>
                  <a:pt x="67" y="546"/>
                </a:cubicBezTo>
                <a:cubicBezTo>
                  <a:pt x="67" y="546"/>
                  <a:pt x="67" y="546"/>
                  <a:pt x="68" y="546"/>
                </a:cubicBezTo>
                <a:cubicBezTo>
                  <a:pt x="67" y="546"/>
                  <a:pt x="67" y="546"/>
                  <a:pt x="67" y="546"/>
                </a:cubicBezTo>
                <a:close/>
                <a:moveTo>
                  <a:pt x="113" y="555"/>
                </a:moveTo>
                <a:cubicBezTo>
                  <a:pt x="113" y="554"/>
                  <a:pt x="112" y="554"/>
                  <a:pt x="112" y="554"/>
                </a:cubicBezTo>
                <a:cubicBezTo>
                  <a:pt x="112" y="555"/>
                  <a:pt x="113" y="555"/>
                  <a:pt x="113" y="555"/>
                </a:cubicBezTo>
                <a:close/>
                <a:moveTo>
                  <a:pt x="111" y="558"/>
                </a:moveTo>
                <a:cubicBezTo>
                  <a:pt x="111" y="558"/>
                  <a:pt x="110" y="558"/>
                  <a:pt x="110" y="558"/>
                </a:cubicBezTo>
                <a:cubicBezTo>
                  <a:pt x="111" y="559"/>
                  <a:pt x="110" y="559"/>
                  <a:pt x="110" y="559"/>
                </a:cubicBezTo>
                <a:cubicBezTo>
                  <a:pt x="111" y="559"/>
                  <a:pt x="111" y="559"/>
                  <a:pt x="111" y="559"/>
                </a:cubicBezTo>
                <a:cubicBezTo>
                  <a:pt x="111" y="559"/>
                  <a:pt x="111" y="559"/>
                  <a:pt x="111" y="559"/>
                </a:cubicBezTo>
                <a:cubicBezTo>
                  <a:pt x="111" y="559"/>
                  <a:pt x="111" y="558"/>
                  <a:pt x="111" y="558"/>
                </a:cubicBezTo>
                <a:close/>
                <a:moveTo>
                  <a:pt x="291" y="498"/>
                </a:moveTo>
                <a:cubicBezTo>
                  <a:pt x="292" y="498"/>
                  <a:pt x="292" y="498"/>
                  <a:pt x="292" y="498"/>
                </a:cubicBezTo>
                <a:cubicBezTo>
                  <a:pt x="292" y="498"/>
                  <a:pt x="292" y="498"/>
                  <a:pt x="291" y="498"/>
                </a:cubicBezTo>
                <a:close/>
                <a:moveTo>
                  <a:pt x="20" y="530"/>
                </a:moveTo>
                <a:cubicBezTo>
                  <a:pt x="20" y="530"/>
                  <a:pt x="20" y="530"/>
                  <a:pt x="20" y="530"/>
                </a:cubicBezTo>
                <a:cubicBezTo>
                  <a:pt x="20" y="530"/>
                  <a:pt x="20" y="530"/>
                  <a:pt x="20" y="530"/>
                </a:cubicBezTo>
                <a:close/>
                <a:moveTo>
                  <a:pt x="113" y="549"/>
                </a:moveTo>
                <a:cubicBezTo>
                  <a:pt x="113" y="550"/>
                  <a:pt x="113" y="550"/>
                  <a:pt x="113" y="550"/>
                </a:cubicBezTo>
                <a:cubicBezTo>
                  <a:pt x="113" y="550"/>
                  <a:pt x="113" y="550"/>
                  <a:pt x="113" y="550"/>
                </a:cubicBezTo>
                <a:cubicBezTo>
                  <a:pt x="113" y="551"/>
                  <a:pt x="112" y="551"/>
                  <a:pt x="112" y="550"/>
                </a:cubicBezTo>
                <a:cubicBezTo>
                  <a:pt x="112" y="550"/>
                  <a:pt x="112" y="549"/>
                  <a:pt x="112" y="549"/>
                </a:cubicBezTo>
                <a:cubicBezTo>
                  <a:pt x="113" y="548"/>
                  <a:pt x="113" y="549"/>
                  <a:pt x="113" y="549"/>
                </a:cubicBezTo>
                <a:cubicBezTo>
                  <a:pt x="113" y="549"/>
                  <a:pt x="113" y="549"/>
                  <a:pt x="113" y="549"/>
                </a:cubicBezTo>
                <a:close/>
                <a:moveTo>
                  <a:pt x="113" y="549"/>
                </a:moveTo>
                <a:cubicBezTo>
                  <a:pt x="113" y="549"/>
                  <a:pt x="113" y="549"/>
                  <a:pt x="113" y="549"/>
                </a:cubicBezTo>
                <a:cubicBezTo>
                  <a:pt x="113" y="549"/>
                  <a:pt x="113" y="549"/>
                  <a:pt x="113" y="549"/>
                </a:cubicBezTo>
                <a:close/>
                <a:moveTo>
                  <a:pt x="115" y="553"/>
                </a:moveTo>
                <a:cubicBezTo>
                  <a:pt x="115" y="553"/>
                  <a:pt x="114" y="553"/>
                  <a:pt x="114" y="554"/>
                </a:cubicBezTo>
                <a:cubicBezTo>
                  <a:pt x="114" y="554"/>
                  <a:pt x="114" y="554"/>
                  <a:pt x="115" y="554"/>
                </a:cubicBezTo>
                <a:cubicBezTo>
                  <a:pt x="115" y="554"/>
                  <a:pt x="115" y="554"/>
                  <a:pt x="115" y="553"/>
                </a:cubicBezTo>
                <a:cubicBezTo>
                  <a:pt x="115" y="553"/>
                  <a:pt x="115" y="553"/>
                  <a:pt x="115" y="553"/>
                </a:cubicBezTo>
                <a:close/>
                <a:moveTo>
                  <a:pt x="229" y="523"/>
                </a:moveTo>
                <a:cubicBezTo>
                  <a:pt x="229" y="523"/>
                  <a:pt x="229" y="523"/>
                  <a:pt x="228" y="523"/>
                </a:cubicBezTo>
                <a:cubicBezTo>
                  <a:pt x="228" y="523"/>
                  <a:pt x="228" y="523"/>
                  <a:pt x="228" y="523"/>
                </a:cubicBezTo>
                <a:cubicBezTo>
                  <a:pt x="228" y="523"/>
                  <a:pt x="229" y="523"/>
                  <a:pt x="229" y="523"/>
                </a:cubicBezTo>
                <a:close/>
                <a:moveTo>
                  <a:pt x="88" y="558"/>
                </a:moveTo>
                <a:cubicBezTo>
                  <a:pt x="88" y="558"/>
                  <a:pt x="88" y="558"/>
                  <a:pt x="88" y="558"/>
                </a:cubicBezTo>
                <a:cubicBezTo>
                  <a:pt x="88" y="557"/>
                  <a:pt x="88" y="558"/>
                  <a:pt x="87" y="557"/>
                </a:cubicBezTo>
                <a:cubicBezTo>
                  <a:pt x="87" y="557"/>
                  <a:pt x="87" y="557"/>
                  <a:pt x="87" y="557"/>
                </a:cubicBezTo>
                <a:cubicBezTo>
                  <a:pt x="87" y="556"/>
                  <a:pt x="86" y="556"/>
                  <a:pt x="86" y="556"/>
                </a:cubicBezTo>
                <a:cubicBezTo>
                  <a:pt x="86" y="556"/>
                  <a:pt x="86" y="556"/>
                  <a:pt x="86" y="556"/>
                </a:cubicBezTo>
                <a:cubicBezTo>
                  <a:pt x="86" y="556"/>
                  <a:pt x="85" y="555"/>
                  <a:pt x="85" y="555"/>
                </a:cubicBezTo>
                <a:cubicBezTo>
                  <a:pt x="85" y="555"/>
                  <a:pt x="84" y="554"/>
                  <a:pt x="84" y="554"/>
                </a:cubicBezTo>
                <a:cubicBezTo>
                  <a:pt x="84" y="554"/>
                  <a:pt x="83" y="554"/>
                  <a:pt x="83" y="553"/>
                </a:cubicBezTo>
                <a:cubicBezTo>
                  <a:pt x="83" y="553"/>
                  <a:pt x="83" y="553"/>
                  <a:pt x="82" y="553"/>
                </a:cubicBezTo>
                <a:cubicBezTo>
                  <a:pt x="82" y="553"/>
                  <a:pt x="81" y="553"/>
                  <a:pt x="80" y="552"/>
                </a:cubicBezTo>
                <a:cubicBezTo>
                  <a:pt x="80" y="552"/>
                  <a:pt x="80" y="552"/>
                  <a:pt x="80" y="553"/>
                </a:cubicBezTo>
                <a:cubicBezTo>
                  <a:pt x="80" y="553"/>
                  <a:pt x="80" y="553"/>
                  <a:pt x="80" y="553"/>
                </a:cubicBezTo>
                <a:cubicBezTo>
                  <a:pt x="80" y="553"/>
                  <a:pt x="80" y="554"/>
                  <a:pt x="80" y="554"/>
                </a:cubicBezTo>
                <a:cubicBezTo>
                  <a:pt x="81" y="554"/>
                  <a:pt x="82" y="554"/>
                  <a:pt x="83" y="554"/>
                </a:cubicBezTo>
                <a:cubicBezTo>
                  <a:pt x="83" y="555"/>
                  <a:pt x="83" y="555"/>
                  <a:pt x="84" y="555"/>
                </a:cubicBezTo>
                <a:cubicBezTo>
                  <a:pt x="84" y="555"/>
                  <a:pt x="85" y="556"/>
                  <a:pt x="85" y="556"/>
                </a:cubicBezTo>
                <a:cubicBezTo>
                  <a:pt x="85" y="557"/>
                  <a:pt x="86" y="557"/>
                  <a:pt x="87" y="558"/>
                </a:cubicBezTo>
                <a:cubicBezTo>
                  <a:pt x="87" y="558"/>
                  <a:pt x="87" y="558"/>
                  <a:pt x="87" y="558"/>
                </a:cubicBezTo>
                <a:cubicBezTo>
                  <a:pt x="87" y="559"/>
                  <a:pt x="87" y="559"/>
                  <a:pt x="88" y="559"/>
                </a:cubicBezTo>
                <a:cubicBezTo>
                  <a:pt x="88" y="559"/>
                  <a:pt x="89" y="559"/>
                  <a:pt x="89" y="558"/>
                </a:cubicBezTo>
                <a:cubicBezTo>
                  <a:pt x="89" y="558"/>
                  <a:pt x="90" y="558"/>
                  <a:pt x="90" y="558"/>
                </a:cubicBezTo>
                <a:cubicBezTo>
                  <a:pt x="90" y="559"/>
                  <a:pt x="90" y="558"/>
                  <a:pt x="90" y="558"/>
                </a:cubicBezTo>
                <a:cubicBezTo>
                  <a:pt x="90" y="558"/>
                  <a:pt x="90" y="558"/>
                  <a:pt x="90" y="558"/>
                </a:cubicBezTo>
                <a:cubicBezTo>
                  <a:pt x="90" y="558"/>
                  <a:pt x="89" y="557"/>
                  <a:pt x="88" y="558"/>
                </a:cubicBezTo>
                <a:close/>
                <a:moveTo>
                  <a:pt x="148" y="547"/>
                </a:moveTo>
                <a:cubicBezTo>
                  <a:pt x="148" y="547"/>
                  <a:pt x="148" y="547"/>
                  <a:pt x="148" y="547"/>
                </a:cubicBezTo>
                <a:cubicBezTo>
                  <a:pt x="148" y="547"/>
                  <a:pt x="148" y="547"/>
                  <a:pt x="148" y="547"/>
                </a:cubicBezTo>
                <a:cubicBezTo>
                  <a:pt x="148" y="546"/>
                  <a:pt x="148" y="546"/>
                  <a:pt x="148" y="546"/>
                </a:cubicBezTo>
                <a:cubicBezTo>
                  <a:pt x="148" y="546"/>
                  <a:pt x="148" y="547"/>
                  <a:pt x="148" y="547"/>
                </a:cubicBezTo>
                <a:close/>
                <a:moveTo>
                  <a:pt x="321" y="494"/>
                </a:moveTo>
                <a:cubicBezTo>
                  <a:pt x="321" y="493"/>
                  <a:pt x="321" y="493"/>
                  <a:pt x="321" y="492"/>
                </a:cubicBezTo>
                <a:cubicBezTo>
                  <a:pt x="321" y="492"/>
                  <a:pt x="321" y="492"/>
                  <a:pt x="321" y="492"/>
                </a:cubicBezTo>
                <a:cubicBezTo>
                  <a:pt x="321" y="492"/>
                  <a:pt x="321" y="492"/>
                  <a:pt x="321" y="492"/>
                </a:cubicBezTo>
                <a:cubicBezTo>
                  <a:pt x="320" y="492"/>
                  <a:pt x="319" y="492"/>
                  <a:pt x="319" y="492"/>
                </a:cubicBezTo>
                <a:cubicBezTo>
                  <a:pt x="319" y="492"/>
                  <a:pt x="318" y="492"/>
                  <a:pt x="318" y="492"/>
                </a:cubicBezTo>
                <a:cubicBezTo>
                  <a:pt x="318" y="492"/>
                  <a:pt x="318" y="492"/>
                  <a:pt x="318" y="492"/>
                </a:cubicBezTo>
                <a:cubicBezTo>
                  <a:pt x="318" y="493"/>
                  <a:pt x="319" y="493"/>
                  <a:pt x="319" y="493"/>
                </a:cubicBezTo>
                <a:cubicBezTo>
                  <a:pt x="319" y="494"/>
                  <a:pt x="320" y="494"/>
                  <a:pt x="320" y="494"/>
                </a:cubicBezTo>
                <a:cubicBezTo>
                  <a:pt x="320" y="494"/>
                  <a:pt x="320" y="494"/>
                  <a:pt x="320" y="494"/>
                </a:cubicBezTo>
                <a:cubicBezTo>
                  <a:pt x="320" y="495"/>
                  <a:pt x="320" y="494"/>
                  <a:pt x="320" y="494"/>
                </a:cubicBezTo>
                <a:cubicBezTo>
                  <a:pt x="320" y="494"/>
                  <a:pt x="320" y="494"/>
                  <a:pt x="321" y="494"/>
                </a:cubicBezTo>
                <a:cubicBezTo>
                  <a:pt x="321" y="494"/>
                  <a:pt x="321" y="494"/>
                  <a:pt x="321" y="494"/>
                </a:cubicBezTo>
                <a:close/>
                <a:moveTo>
                  <a:pt x="323" y="481"/>
                </a:moveTo>
                <a:cubicBezTo>
                  <a:pt x="323" y="481"/>
                  <a:pt x="323" y="481"/>
                  <a:pt x="323" y="481"/>
                </a:cubicBezTo>
                <a:cubicBezTo>
                  <a:pt x="323" y="482"/>
                  <a:pt x="323" y="482"/>
                  <a:pt x="323" y="482"/>
                </a:cubicBezTo>
                <a:cubicBezTo>
                  <a:pt x="323" y="482"/>
                  <a:pt x="323" y="483"/>
                  <a:pt x="323" y="483"/>
                </a:cubicBezTo>
                <a:cubicBezTo>
                  <a:pt x="324" y="483"/>
                  <a:pt x="324" y="483"/>
                  <a:pt x="324" y="483"/>
                </a:cubicBezTo>
                <a:cubicBezTo>
                  <a:pt x="324" y="484"/>
                  <a:pt x="325" y="484"/>
                  <a:pt x="325" y="484"/>
                </a:cubicBezTo>
                <a:cubicBezTo>
                  <a:pt x="325" y="484"/>
                  <a:pt x="325" y="483"/>
                  <a:pt x="325" y="483"/>
                </a:cubicBezTo>
                <a:cubicBezTo>
                  <a:pt x="325" y="483"/>
                  <a:pt x="326" y="482"/>
                  <a:pt x="326" y="481"/>
                </a:cubicBezTo>
                <a:cubicBezTo>
                  <a:pt x="326" y="481"/>
                  <a:pt x="326" y="481"/>
                  <a:pt x="326" y="481"/>
                </a:cubicBezTo>
                <a:cubicBezTo>
                  <a:pt x="326" y="481"/>
                  <a:pt x="325" y="481"/>
                  <a:pt x="325" y="481"/>
                </a:cubicBezTo>
                <a:cubicBezTo>
                  <a:pt x="325" y="481"/>
                  <a:pt x="325" y="481"/>
                  <a:pt x="324" y="481"/>
                </a:cubicBezTo>
                <a:cubicBezTo>
                  <a:pt x="324" y="481"/>
                  <a:pt x="324" y="481"/>
                  <a:pt x="323" y="481"/>
                </a:cubicBezTo>
                <a:close/>
                <a:moveTo>
                  <a:pt x="333" y="477"/>
                </a:moveTo>
                <a:cubicBezTo>
                  <a:pt x="333" y="477"/>
                  <a:pt x="332" y="477"/>
                  <a:pt x="332" y="477"/>
                </a:cubicBezTo>
                <a:cubicBezTo>
                  <a:pt x="332" y="477"/>
                  <a:pt x="332" y="477"/>
                  <a:pt x="332" y="477"/>
                </a:cubicBezTo>
                <a:cubicBezTo>
                  <a:pt x="331" y="477"/>
                  <a:pt x="331" y="477"/>
                  <a:pt x="330" y="477"/>
                </a:cubicBezTo>
                <a:cubicBezTo>
                  <a:pt x="330" y="477"/>
                  <a:pt x="330" y="477"/>
                  <a:pt x="330" y="477"/>
                </a:cubicBezTo>
                <a:cubicBezTo>
                  <a:pt x="330" y="477"/>
                  <a:pt x="330" y="477"/>
                  <a:pt x="330" y="477"/>
                </a:cubicBezTo>
                <a:cubicBezTo>
                  <a:pt x="330" y="477"/>
                  <a:pt x="330" y="477"/>
                  <a:pt x="331" y="478"/>
                </a:cubicBezTo>
                <a:cubicBezTo>
                  <a:pt x="331" y="478"/>
                  <a:pt x="331" y="478"/>
                  <a:pt x="331" y="478"/>
                </a:cubicBezTo>
                <a:cubicBezTo>
                  <a:pt x="331" y="478"/>
                  <a:pt x="331" y="478"/>
                  <a:pt x="332" y="479"/>
                </a:cubicBezTo>
                <a:cubicBezTo>
                  <a:pt x="332" y="479"/>
                  <a:pt x="332" y="479"/>
                  <a:pt x="332" y="479"/>
                </a:cubicBezTo>
                <a:cubicBezTo>
                  <a:pt x="332" y="479"/>
                  <a:pt x="332" y="479"/>
                  <a:pt x="332" y="479"/>
                </a:cubicBezTo>
                <a:cubicBezTo>
                  <a:pt x="333" y="479"/>
                  <a:pt x="333" y="479"/>
                  <a:pt x="333" y="479"/>
                </a:cubicBezTo>
                <a:cubicBezTo>
                  <a:pt x="333" y="478"/>
                  <a:pt x="333" y="478"/>
                  <a:pt x="333" y="478"/>
                </a:cubicBezTo>
                <a:cubicBezTo>
                  <a:pt x="333" y="478"/>
                  <a:pt x="333" y="478"/>
                  <a:pt x="333" y="477"/>
                </a:cubicBezTo>
                <a:close/>
                <a:moveTo>
                  <a:pt x="344" y="472"/>
                </a:moveTo>
                <a:cubicBezTo>
                  <a:pt x="344" y="472"/>
                  <a:pt x="344" y="472"/>
                  <a:pt x="343" y="473"/>
                </a:cubicBezTo>
                <a:cubicBezTo>
                  <a:pt x="343" y="473"/>
                  <a:pt x="343" y="474"/>
                  <a:pt x="343" y="474"/>
                </a:cubicBezTo>
                <a:cubicBezTo>
                  <a:pt x="343" y="475"/>
                  <a:pt x="343" y="476"/>
                  <a:pt x="343" y="476"/>
                </a:cubicBezTo>
                <a:cubicBezTo>
                  <a:pt x="344" y="477"/>
                  <a:pt x="344" y="477"/>
                  <a:pt x="344" y="477"/>
                </a:cubicBezTo>
                <a:cubicBezTo>
                  <a:pt x="344" y="477"/>
                  <a:pt x="344" y="476"/>
                  <a:pt x="344" y="476"/>
                </a:cubicBezTo>
                <a:cubicBezTo>
                  <a:pt x="345" y="476"/>
                  <a:pt x="345" y="476"/>
                  <a:pt x="346" y="476"/>
                </a:cubicBezTo>
                <a:cubicBezTo>
                  <a:pt x="346" y="476"/>
                  <a:pt x="347" y="477"/>
                  <a:pt x="347" y="477"/>
                </a:cubicBezTo>
                <a:cubicBezTo>
                  <a:pt x="347" y="477"/>
                  <a:pt x="347" y="477"/>
                  <a:pt x="347" y="477"/>
                </a:cubicBezTo>
                <a:cubicBezTo>
                  <a:pt x="347" y="477"/>
                  <a:pt x="347" y="477"/>
                  <a:pt x="347" y="477"/>
                </a:cubicBezTo>
                <a:cubicBezTo>
                  <a:pt x="348" y="477"/>
                  <a:pt x="348" y="476"/>
                  <a:pt x="348" y="476"/>
                </a:cubicBezTo>
                <a:cubicBezTo>
                  <a:pt x="347" y="476"/>
                  <a:pt x="347" y="475"/>
                  <a:pt x="347" y="475"/>
                </a:cubicBezTo>
                <a:cubicBezTo>
                  <a:pt x="347" y="475"/>
                  <a:pt x="347" y="475"/>
                  <a:pt x="347" y="474"/>
                </a:cubicBezTo>
                <a:cubicBezTo>
                  <a:pt x="347" y="474"/>
                  <a:pt x="348" y="474"/>
                  <a:pt x="348" y="474"/>
                </a:cubicBezTo>
                <a:cubicBezTo>
                  <a:pt x="349" y="474"/>
                  <a:pt x="350" y="474"/>
                  <a:pt x="350" y="474"/>
                </a:cubicBezTo>
                <a:cubicBezTo>
                  <a:pt x="350" y="473"/>
                  <a:pt x="350" y="473"/>
                  <a:pt x="349" y="473"/>
                </a:cubicBezTo>
                <a:cubicBezTo>
                  <a:pt x="349" y="473"/>
                  <a:pt x="349" y="473"/>
                  <a:pt x="348" y="473"/>
                </a:cubicBezTo>
                <a:cubicBezTo>
                  <a:pt x="348" y="473"/>
                  <a:pt x="347" y="472"/>
                  <a:pt x="348" y="472"/>
                </a:cubicBezTo>
                <a:cubicBezTo>
                  <a:pt x="347" y="472"/>
                  <a:pt x="347" y="472"/>
                  <a:pt x="347" y="472"/>
                </a:cubicBezTo>
                <a:cubicBezTo>
                  <a:pt x="346" y="472"/>
                  <a:pt x="346" y="472"/>
                  <a:pt x="346" y="472"/>
                </a:cubicBezTo>
                <a:cubicBezTo>
                  <a:pt x="346" y="472"/>
                  <a:pt x="346" y="472"/>
                  <a:pt x="346" y="472"/>
                </a:cubicBezTo>
                <a:cubicBezTo>
                  <a:pt x="345" y="471"/>
                  <a:pt x="345" y="472"/>
                  <a:pt x="344" y="472"/>
                </a:cubicBezTo>
                <a:close/>
                <a:moveTo>
                  <a:pt x="352" y="471"/>
                </a:moveTo>
                <a:cubicBezTo>
                  <a:pt x="352" y="471"/>
                  <a:pt x="352" y="471"/>
                  <a:pt x="352" y="471"/>
                </a:cubicBezTo>
                <a:cubicBezTo>
                  <a:pt x="352" y="470"/>
                  <a:pt x="352" y="470"/>
                  <a:pt x="352" y="470"/>
                </a:cubicBezTo>
                <a:cubicBezTo>
                  <a:pt x="351" y="470"/>
                  <a:pt x="351" y="470"/>
                  <a:pt x="351" y="470"/>
                </a:cubicBezTo>
                <a:cubicBezTo>
                  <a:pt x="351" y="470"/>
                  <a:pt x="351" y="470"/>
                  <a:pt x="350" y="471"/>
                </a:cubicBezTo>
                <a:cubicBezTo>
                  <a:pt x="350" y="471"/>
                  <a:pt x="350" y="471"/>
                  <a:pt x="350" y="471"/>
                </a:cubicBezTo>
                <a:cubicBezTo>
                  <a:pt x="350" y="471"/>
                  <a:pt x="350" y="471"/>
                  <a:pt x="350" y="471"/>
                </a:cubicBezTo>
                <a:cubicBezTo>
                  <a:pt x="351" y="471"/>
                  <a:pt x="351" y="471"/>
                  <a:pt x="351" y="471"/>
                </a:cubicBezTo>
                <a:cubicBezTo>
                  <a:pt x="351" y="471"/>
                  <a:pt x="351" y="471"/>
                  <a:pt x="351" y="471"/>
                </a:cubicBezTo>
                <a:cubicBezTo>
                  <a:pt x="351" y="471"/>
                  <a:pt x="352" y="471"/>
                  <a:pt x="352" y="471"/>
                </a:cubicBezTo>
                <a:close/>
                <a:moveTo>
                  <a:pt x="356" y="476"/>
                </a:moveTo>
                <a:cubicBezTo>
                  <a:pt x="356" y="476"/>
                  <a:pt x="356" y="476"/>
                  <a:pt x="356" y="475"/>
                </a:cubicBezTo>
                <a:cubicBezTo>
                  <a:pt x="356" y="475"/>
                  <a:pt x="356" y="475"/>
                  <a:pt x="356" y="474"/>
                </a:cubicBezTo>
                <a:cubicBezTo>
                  <a:pt x="356" y="474"/>
                  <a:pt x="356" y="474"/>
                  <a:pt x="355" y="474"/>
                </a:cubicBezTo>
                <a:cubicBezTo>
                  <a:pt x="355" y="474"/>
                  <a:pt x="355" y="474"/>
                  <a:pt x="355" y="475"/>
                </a:cubicBezTo>
                <a:cubicBezTo>
                  <a:pt x="355" y="475"/>
                  <a:pt x="355" y="476"/>
                  <a:pt x="354" y="477"/>
                </a:cubicBezTo>
                <a:cubicBezTo>
                  <a:pt x="354" y="477"/>
                  <a:pt x="354" y="477"/>
                  <a:pt x="353" y="477"/>
                </a:cubicBezTo>
                <a:cubicBezTo>
                  <a:pt x="353" y="477"/>
                  <a:pt x="353" y="477"/>
                  <a:pt x="353" y="478"/>
                </a:cubicBezTo>
                <a:cubicBezTo>
                  <a:pt x="353" y="478"/>
                  <a:pt x="353" y="478"/>
                  <a:pt x="353" y="478"/>
                </a:cubicBezTo>
                <a:cubicBezTo>
                  <a:pt x="353" y="478"/>
                  <a:pt x="353" y="478"/>
                  <a:pt x="353" y="478"/>
                </a:cubicBezTo>
                <a:cubicBezTo>
                  <a:pt x="353" y="479"/>
                  <a:pt x="352" y="479"/>
                  <a:pt x="352" y="479"/>
                </a:cubicBezTo>
                <a:cubicBezTo>
                  <a:pt x="352" y="479"/>
                  <a:pt x="353" y="479"/>
                  <a:pt x="353" y="480"/>
                </a:cubicBezTo>
                <a:cubicBezTo>
                  <a:pt x="353" y="480"/>
                  <a:pt x="353" y="480"/>
                  <a:pt x="353" y="480"/>
                </a:cubicBezTo>
                <a:cubicBezTo>
                  <a:pt x="352" y="480"/>
                  <a:pt x="352" y="481"/>
                  <a:pt x="352" y="481"/>
                </a:cubicBezTo>
                <a:cubicBezTo>
                  <a:pt x="353" y="481"/>
                  <a:pt x="353" y="481"/>
                  <a:pt x="354" y="481"/>
                </a:cubicBezTo>
                <a:cubicBezTo>
                  <a:pt x="354" y="480"/>
                  <a:pt x="354" y="480"/>
                  <a:pt x="355" y="479"/>
                </a:cubicBezTo>
                <a:cubicBezTo>
                  <a:pt x="355" y="479"/>
                  <a:pt x="355" y="478"/>
                  <a:pt x="356" y="478"/>
                </a:cubicBezTo>
                <a:cubicBezTo>
                  <a:pt x="356" y="478"/>
                  <a:pt x="356" y="478"/>
                  <a:pt x="356" y="477"/>
                </a:cubicBezTo>
                <a:cubicBezTo>
                  <a:pt x="356" y="477"/>
                  <a:pt x="356" y="477"/>
                  <a:pt x="356" y="477"/>
                </a:cubicBezTo>
                <a:cubicBezTo>
                  <a:pt x="356" y="477"/>
                  <a:pt x="356" y="477"/>
                  <a:pt x="356" y="476"/>
                </a:cubicBezTo>
                <a:close/>
                <a:moveTo>
                  <a:pt x="360" y="478"/>
                </a:moveTo>
                <a:cubicBezTo>
                  <a:pt x="359" y="478"/>
                  <a:pt x="359" y="478"/>
                  <a:pt x="359" y="479"/>
                </a:cubicBezTo>
                <a:cubicBezTo>
                  <a:pt x="359" y="479"/>
                  <a:pt x="360" y="479"/>
                  <a:pt x="360" y="479"/>
                </a:cubicBezTo>
                <a:cubicBezTo>
                  <a:pt x="360" y="479"/>
                  <a:pt x="360" y="479"/>
                  <a:pt x="360" y="479"/>
                </a:cubicBezTo>
                <a:cubicBezTo>
                  <a:pt x="360" y="479"/>
                  <a:pt x="360" y="478"/>
                  <a:pt x="360" y="478"/>
                </a:cubicBezTo>
                <a:cubicBezTo>
                  <a:pt x="360" y="478"/>
                  <a:pt x="360" y="477"/>
                  <a:pt x="360" y="477"/>
                </a:cubicBezTo>
                <a:cubicBezTo>
                  <a:pt x="361" y="476"/>
                  <a:pt x="361" y="476"/>
                  <a:pt x="361" y="476"/>
                </a:cubicBezTo>
                <a:cubicBezTo>
                  <a:pt x="360" y="476"/>
                  <a:pt x="360" y="476"/>
                  <a:pt x="360" y="476"/>
                </a:cubicBezTo>
                <a:cubicBezTo>
                  <a:pt x="360" y="477"/>
                  <a:pt x="360" y="477"/>
                  <a:pt x="360" y="477"/>
                </a:cubicBezTo>
                <a:cubicBezTo>
                  <a:pt x="360" y="477"/>
                  <a:pt x="360" y="477"/>
                  <a:pt x="360" y="478"/>
                </a:cubicBezTo>
                <a:close/>
                <a:moveTo>
                  <a:pt x="362" y="481"/>
                </a:moveTo>
                <a:cubicBezTo>
                  <a:pt x="362" y="481"/>
                  <a:pt x="362" y="481"/>
                  <a:pt x="362" y="481"/>
                </a:cubicBezTo>
                <a:cubicBezTo>
                  <a:pt x="362" y="481"/>
                  <a:pt x="362" y="481"/>
                  <a:pt x="362" y="481"/>
                </a:cubicBezTo>
                <a:cubicBezTo>
                  <a:pt x="362" y="481"/>
                  <a:pt x="362" y="481"/>
                  <a:pt x="363" y="481"/>
                </a:cubicBezTo>
                <a:cubicBezTo>
                  <a:pt x="363" y="481"/>
                  <a:pt x="363" y="481"/>
                  <a:pt x="363" y="481"/>
                </a:cubicBezTo>
                <a:cubicBezTo>
                  <a:pt x="363" y="481"/>
                  <a:pt x="363" y="481"/>
                  <a:pt x="362" y="481"/>
                </a:cubicBezTo>
                <a:cubicBezTo>
                  <a:pt x="362" y="480"/>
                  <a:pt x="362" y="480"/>
                  <a:pt x="362" y="480"/>
                </a:cubicBezTo>
                <a:cubicBezTo>
                  <a:pt x="362" y="480"/>
                  <a:pt x="362" y="480"/>
                  <a:pt x="362" y="479"/>
                </a:cubicBezTo>
                <a:cubicBezTo>
                  <a:pt x="362" y="479"/>
                  <a:pt x="362" y="479"/>
                  <a:pt x="362" y="479"/>
                </a:cubicBezTo>
                <a:cubicBezTo>
                  <a:pt x="362" y="480"/>
                  <a:pt x="362" y="480"/>
                  <a:pt x="362" y="480"/>
                </a:cubicBezTo>
                <a:moveTo>
                  <a:pt x="275" y="350"/>
                </a:moveTo>
                <a:cubicBezTo>
                  <a:pt x="275" y="350"/>
                  <a:pt x="274" y="350"/>
                  <a:pt x="274" y="350"/>
                </a:cubicBezTo>
                <a:cubicBezTo>
                  <a:pt x="274" y="350"/>
                  <a:pt x="273" y="350"/>
                  <a:pt x="273" y="351"/>
                </a:cubicBezTo>
                <a:cubicBezTo>
                  <a:pt x="272" y="351"/>
                  <a:pt x="272" y="351"/>
                  <a:pt x="272" y="351"/>
                </a:cubicBezTo>
                <a:cubicBezTo>
                  <a:pt x="271" y="351"/>
                  <a:pt x="271" y="350"/>
                  <a:pt x="271" y="350"/>
                </a:cubicBezTo>
                <a:cubicBezTo>
                  <a:pt x="271" y="350"/>
                  <a:pt x="271" y="351"/>
                  <a:pt x="271" y="351"/>
                </a:cubicBezTo>
                <a:cubicBezTo>
                  <a:pt x="270" y="352"/>
                  <a:pt x="269" y="352"/>
                  <a:pt x="268" y="352"/>
                </a:cubicBezTo>
                <a:cubicBezTo>
                  <a:pt x="267" y="353"/>
                  <a:pt x="267" y="353"/>
                  <a:pt x="267" y="354"/>
                </a:cubicBezTo>
                <a:cubicBezTo>
                  <a:pt x="267" y="354"/>
                  <a:pt x="267" y="354"/>
                  <a:pt x="267" y="354"/>
                </a:cubicBezTo>
                <a:cubicBezTo>
                  <a:pt x="267" y="354"/>
                  <a:pt x="267" y="354"/>
                  <a:pt x="267" y="354"/>
                </a:cubicBezTo>
                <a:cubicBezTo>
                  <a:pt x="266" y="355"/>
                  <a:pt x="265" y="355"/>
                  <a:pt x="265" y="355"/>
                </a:cubicBezTo>
                <a:cubicBezTo>
                  <a:pt x="265" y="354"/>
                  <a:pt x="264" y="354"/>
                  <a:pt x="264" y="354"/>
                </a:cubicBezTo>
                <a:cubicBezTo>
                  <a:pt x="264" y="354"/>
                  <a:pt x="264" y="354"/>
                  <a:pt x="263" y="354"/>
                </a:cubicBezTo>
                <a:cubicBezTo>
                  <a:pt x="263" y="355"/>
                  <a:pt x="262" y="355"/>
                  <a:pt x="261" y="355"/>
                </a:cubicBezTo>
                <a:cubicBezTo>
                  <a:pt x="260" y="355"/>
                  <a:pt x="260" y="355"/>
                  <a:pt x="260" y="355"/>
                </a:cubicBezTo>
                <a:cubicBezTo>
                  <a:pt x="259" y="355"/>
                  <a:pt x="259" y="355"/>
                  <a:pt x="259" y="355"/>
                </a:cubicBezTo>
                <a:cubicBezTo>
                  <a:pt x="259" y="356"/>
                  <a:pt x="259" y="356"/>
                  <a:pt x="259" y="356"/>
                </a:cubicBezTo>
                <a:cubicBezTo>
                  <a:pt x="260" y="357"/>
                  <a:pt x="260" y="358"/>
                  <a:pt x="260" y="358"/>
                </a:cubicBezTo>
                <a:cubicBezTo>
                  <a:pt x="261" y="359"/>
                  <a:pt x="261" y="359"/>
                  <a:pt x="261" y="360"/>
                </a:cubicBezTo>
                <a:cubicBezTo>
                  <a:pt x="262" y="360"/>
                  <a:pt x="262" y="360"/>
                  <a:pt x="262" y="361"/>
                </a:cubicBezTo>
                <a:cubicBezTo>
                  <a:pt x="262" y="361"/>
                  <a:pt x="263" y="361"/>
                  <a:pt x="263" y="361"/>
                </a:cubicBezTo>
                <a:cubicBezTo>
                  <a:pt x="265" y="361"/>
                  <a:pt x="266" y="362"/>
                  <a:pt x="268" y="363"/>
                </a:cubicBezTo>
                <a:cubicBezTo>
                  <a:pt x="268" y="363"/>
                  <a:pt x="268" y="363"/>
                  <a:pt x="268" y="363"/>
                </a:cubicBezTo>
                <a:cubicBezTo>
                  <a:pt x="269" y="364"/>
                  <a:pt x="271" y="364"/>
                  <a:pt x="272" y="364"/>
                </a:cubicBezTo>
                <a:cubicBezTo>
                  <a:pt x="272" y="364"/>
                  <a:pt x="273" y="364"/>
                  <a:pt x="273" y="364"/>
                </a:cubicBezTo>
                <a:cubicBezTo>
                  <a:pt x="273" y="365"/>
                  <a:pt x="274" y="365"/>
                  <a:pt x="274" y="366"/>
                </a:cubicBezTo>
                <a:cubicBezTo>
                  <a:pt x="274" y="366"/>
                  <a:pt x="274" y="366"/>
                  <a:pt x="274" y="366"/>
                </a:cubicBezTo>
                <a:cubicBezTo>
                  <a:pt x="274" y="366"/>
                  <a:pt x="274" y="366"/>
                  <a:pt x="275" y="366"/>
                </a:cubicBezTo>
                <a:cubicBezTo>
                  <a:pt x="275" y="366"/>
                  <a:pt x="275" y="366"/>
                  <a:pt x="275" y="366"/>
                </a:cubicBezTo>
                <a:cubicBezTo>
                  <a:pt x="275" y="365"/>
                  <a:pt x="275" y="365"/>
                  <a:pt x="274" y="365"/>
                </a:cubicBezTo>
                <a:cubicBezTo>
                  <a:pt x="274" y="365"/>
                  <a:pt x="274" y="365"/>
                  <a:pt x="274" y="364"/>
                </a:cubicBezTo>
                <a:cubicBezTo>
                  <a:pt x="274" y="364"/>
                  <a:pt x="274" y="364"/>
                  <a:pt x="274" y="364"/>
                </a:cubicBezTo>
                <a:cubicBezTo>
                  <a:pt x="274" y="364"/>
                  <a:pt x="275" y="365"/>
                  <a:pt x="276" y="364"/>
                </a:cubicBezTo>
                <a:cubicBezTo>
                  <a:pt x="276" y="364"/>
                  <a:pt x="277" y="364"/>
                  <a:pt x="277" y="364"/>
                </a:cubicBezTo>
                <a:cubicBezTo>
                  <a:pt x="278" y="363"/>
                  <a:pt x="278" y="363"/>
                  <a:pt x="279" y="363"/>
                </a:cubicBezTo>
                <a:cubicBezTo>
                  <a:pt x="279" y="363"/>
                  <a:pt x="279" y="363"/>
                  <a:pt x="279" y="363"/>
                </a:cubicBezTo>
                <a:cubicBezTo>
                  <a:pt x="279" y="362"/>
                  <a:pt x="280" y="363"/>
                  <a:pt x="280" y="363"/>
                </a:cubicBezTo>
                <a:cubicBezTo>
                  <a:pt x="280" y="363"/>
                  <a:pt x="281" y="363"/>
                  <a:pt x="282" y="362"/>
                </a:cubicBezTo>
                <a:cubicBezTo>
                  <a:pt x="282" y="362"/>
                  <a:pt x="282" y="362"/>
                  <a:pt x="283" y="362"/>
                </a:cubicBezTo>
                <a:cubicBezTo>
                  <a:pt x="283" y="361"/>
                  <a:pt x="283" y="361"/>
                  <a:pt x="282" y="361"/>
                </a:cubicBezTo>
                <a:cubicBezTo>
                  <a:pt x="282" y="361"/>
                  <a:pt x="282" y="361"/>
                  <a:pt x="282" y="361"/>
                </a:cubicBezTo>
                <a:cubicBezTo>
                  <a:pt x="282" y="360"/>
                  <a:pt x="282" y="360"/>
                  <a:pt x="282" y="360"/>
                </a:cubicBezTo>
                <a:cubicBezTo>
                  <a:pt x="282" y="360"/>
                  <a:pt x="281" y="360"/>
                  <a:pt x="281" y="359"/>
                </a:cubicBezTo>
                <a:cubicBezTo>
                  <a:pt x="281" y="359"/>
                  <a:pt x="281" y="358"/>
                  <a:pt x="281" y="358"/>
                </a:cubicBezTo>
                <a:cubicBezTo>
                  <a:pt x="281" y="357"/>
                  <a:pt x="281" y="357"/>
                  <a:pt x="281" y="357"/>
                </a:cubicBezTo>
                <a:cubicBezTo>
                  <a:pt x="281" y="357"/>
                  <a:pt x="281" y="356"/>
                  <a:pt x="281" y="356"/>
                </a:cubicBezTo>
                <a:cubicBezTo>
                  <a:pt x="281" y="356"/>
                  <a:pt x="281" y="355"/>
                  <a:pt x="281" y="355"/>
                </a:cubicBezTo>
                <a:cubicBezTo>
                  <a:pt x="281" y="354"/>
                  <a:pt x="281" y="354"/>
                  <a:pt x="281" y="354"/>
                </a:cubicBezTo>
                <a:cubicBezTo>
                  <a:pt x="281" y="353"/>
                  <a:pt x="280" y="353"/>
                  <a:pt x="280" y="353"/>
                </a:cubicBezTo>
                <a:cubicBezTo>
                  <a:pt x="280" y="352"/>
                  <a:pt x="280" y="352"/>
                  <a:pt x="280" y="352"/>
                </a:cubicBezTo>
                <a:cubicBezTo>
                  <a:pt x="280" y="352"/>
                  <a:pt x="279" y="351"/>
                  <a:pt x="279" y="351"/>
                </a:cubicBezTo>
                <a:cubicBezTo>
                  <a:pt x="278" y="351"/>
                  <a:pt x="278" y="352"/>
                  <a:pt x="277" y="352"/>
                </a:cubicBezTo>
                <a:cubicBezTo>
                  <a:pt x="276" y="352"/>
                  <a:pt x="276" y="351"/>
                  <a:pt x="275" y="351"/>
                </a:cubicBezTo>
                <a:cubicBezTo>
                  <a:pt x="275" y="351"/>
                  <a:pt x="275" y="350"/>
                  <a:pt x="275" y="350"/>
                </a:cubicBezTo>
                <a:close/>
                <a:moveTo>
                  <a:pt x="512" y="362"/>
                </a:moveTo>
                <a:cubicBezTo>
                  <a:pt x="512" y="363"/>
                  <a:pt x="512" y="363"/>
                  <a:pt x="512" y="363"/>
                </a:cubicBezTo>
                <a:cubicBezTo>
                  <a:pt x="512" y="363"/>
                  <a:pt x="512" y="363"/>
                  <a:pt x="512" y="363"/>
                </a:cubicBezTo>
                <a:cubicBezTo>
                  <a:pt x="511" y="364"/>
                  <a:pt x="510" y="365"/>
                  <a:pt x="511" y="366"/>
                </a:cubicBezTo>
                <a:cubicBezTo>
                  <a:pt x="512" y="366"/>
                  <a:pt x="513" y="364"/>
                  <a:pt x="514" y="364"/>
                </a:cubicBezTo>
                <a:cubicBezTo>
                  <a:pt x="515" y="364"/>
                  <a:pt x="515" y="364"/>
                  <a:pt x="515" y="364"/>
                </a:cubicBezTo>
                <a:cubicBezTo>
                  <a:pt x="515" y="364"/>
                  <a:pt x="516" y="364"/>
                  <a:pt x="516" y="363"/>
                </a:cubicBezTo>
                <a:cubicBezTo>
                  <a:pt x="516" y="363"/>
                  <a:pt x="515" y="362"/>
                  <a:pt x="515" y="362"/>
                </a:cubicBezTo>
                <a:cubicBezTo>
                  <a:pt x="516" y="361"/>
                  <a:pt x="516" y="361"/>
                  <a:pt x="517" y="361"/>
                </a:cubicBezTo>
                <a:cubicBezTo>
                  <a:pt x="517" y="361"/>
                  <a:pt x="517" y="360"/>
                  <a:pt x="517" y="360"/>
                </a:cubicBezTo>
                <a:cubicBezTo>
                  <a:pt x="517" y="359"/>
                  <a:pt x="517" y="359"/>
                  <a:pt x="518" y="358"/>
                </a:cubicBezTo>
                <a:cubicBezTo>
                  <a:pt x="519" y="357"/>
                  <a:pt x="520" y="355"/>
                  <a:pt x="522" y="354"/>
                </a:cubicBezTo>
                <a:cubicBezTo>
                  <a:pt x="522" y="354"/>
                  <a:pt x="523" y="353"/>
                  <a:pt x="523" y="353"/>
                </a:cubicBezTo>
                <a:cubicBezTo>
                  <a:pt x="523" y="353"/>
                  <a:pt x="522" y="352"/>
                  <a:pt x="522" y="352"/>
                </a:cubicBezTo>
                <a:cubicBezTo>
                  <a:pt x="522" y="353"/>
                  <a:pt x="522" y="353"/>
                  <a:pt x="522" y="353"/>
                </a:cubicBezTo>
                <a:cubicBezTo>
                  <a:pt x="521" y="353"/>
                  <a:pt x="521" y="353"/>
                  <a:pt x="521" y="352"/>
                </a:cubicBezTo>
                <a:cubicBezTo>
                  <a:pt x="521" y="352"/>
                  <a:pt x="521" y="352"/>
                  <a:pt x="521" y="352"/>
                </a:cubicBezTo>
                <a:cubicBezTo>
                  <a:pt x="521" y="352"/>
                  <a:pt x="520" y="351"/>
                  <a:pt x="520" y="351"/>
                </a:cubicBezTo>
                <a:cubicBezTo>
                  <a:pt x="519" y="351"/>
                  <a:pt x="520" y="352"/>
                  <a:pt x="519" y="352"/>
                </a:cubicBezTo>
                <a:cubicBezTo>
                  <a:pt x="519" y="353"/>
                  <a:pt x="519" y="353"/>
                  <a:pt x="519" y="354"/>
                </a:cubicBezTo>
                <a:cubicBezTo>
                  <a:pt x="519" y="354"/>
                  <a:pt x="519" y="354"/>
                  <a:pt x="519" y="354"/>
                </a:cubicBezTo>
                <a:cubicBezTo>
                  <a:pt x="519" y="355"/>
                  <a:pt x="518" y="355"/>
                  <a:pt x="518" y="355"/>
                </a:cubicBezTo>
                <a:cubicBezTo>
                  <a:pt x="517" y="356"/>
                  <a:pt x="516" y="357"/>
                  <a:pt x="515" y="358"/>
                </a:cubicBezTo>
                <a:cubicBezTo>
                  <a:pt x="515" y="359"/>
                  <a:pt x="514" y="360"/>
                  <a:pt x="513" y="361"/>
                </a:cubicBezTo>
                <a:cubicBezTo>
                  <a:pt x="513" y="361"/>
                  <a:pt x="512" y="361"/>
                  <a:pt x="512" y="361"/>
                </a:cubicBezTo>
                <a:cubicBezTo>
                  <a:pt x="512" y="362"/>
                  <a:pt x="512" y="362"/>
                  <a:pt x="512" y="362"/>
                </a:cubicBezTo>
                <a:cubicBezTo>
                  <a:pt x="512" y="362"/>
                  <a:pt x="512" y="362"/>
                  <a:pt x="512" y="362"/>
                </a:cubicBezTo>
                <a:close/>
                <a:moveTo>
                  <a:pt x="510" y="361"/>
                </a:moveTo>
                <a:cubicBezTo>
                  <a:pt x="510" y="361"/>
                  <a:pt x="510" y="361"/>
                  <a:pt x="510" y="361"/>
                </a:cubicBezTo>
                <a:cubicBezTo>
                  <a:pt x="511" y="360"/>
                  <a:pt x="511" y="360"/>
                  <a:pt x="511" y="360"/>
                </a:cubicBezTo>
                <a:cubicBezTo>
                  <a:pt x="511" y="360"/>
                  <a:pt x="511" y="359"/>
                  <a:pt x="511" y="359"/>
                </a:cubicBezTo>
                <a:cubicBezTo>
                  <a:pt x="511" y="359"/>
                  <a:pt x="511" y="359"/>
                  <a:pt x="511" y="359"/>
                </a:cubicBezTo>
                <a:cubicBezTo>
                  <a:pt x="511" y="358"/>
                  <a:pt x="510" y="358"/>
                  <a:pt x="510" y="358"/>
                </a:cubicBezTo>
                <a:cubicBezTo>
                  <a:pt x="510" y="358"/>
                  <a:pt x="510" y="359"/>
                  <a:pt x="510" y="359"/>
                </a:cubicBezTo>
                <a:cubicBezTo>
                  <a:pt x="510" y="359"/>
                  <a:pt x="510" y="359"/>
                  <a:pt x="510" y="360"/>
                </a:cubicBezTo>
                <a:cubicBezTo>
                  <a:pt x="509" y="360"/>
                  <a:pt x="509" y="360"/>
                  <a:pt x="509" y="360"/>
                </a:cubicBezTo>
                <a:cubicBezTo>
                  <a:pt x="509" y="361"/>
                  <a:pt x="508" y="361"/>
                  <a:pt x="508" y="361"/>
                </a:cubicBezTo>
                <a:cubicBezTo>
                  <a:pt x="509" y="361"/>
                  <a:pt x="509" y="362"/>
                  <a:pt x="510" y="361"/>
                </a:cubicBezTo>
                <a:cubicBezTo>
                  <a:pt x="510" y="361"/>
                  <a:pt x="510" y="361"/>
                  <a:pt x="510" y="361"/>
                </a:cubicBezTo>
                <a:close/>
                <a:moveTo>
                  <a:pt x="510" y="354"/>
                </a:moveTo>
                <a:cubicBezTo>
                  <a:pt x="511" y="355"/>
                  <a:pt x="512" y="354"/>
                  <a:pt x="512" y="355"/>
                </a:cubicBezTo>
                <a:cubicBezTo>
                  <a:pt x="512" y="355"/>
                  <a:pt x="512" y="355"/>
                  <a:pt x="512" y="354"/>
                </a:cubicBezTo>
                <a:cubicBezTo>
                  <a:pt x="512" y="354"/>
                  <a:pt x="512" y="353"/>
                  <a:pt x="512" y="353"/>
                </a:cubicBezTo>
                <a:cubicBezTo>
                  <a:pt x="512" y="353"/>
                  <a:pt x="512" y="353"/>
                  <a:pt x="513" y="352"/>
                </a:cubicBezTo>
                <a:cubicBezTo>
                  <a:pt x="513" y="352"/>
                  <a:pt x="513" y="352"/>
                  <a:pt x="513" y="352"/>
                </a:cubicBezTo>
                <a:cubicBezTo>
                  <a:pt x="513" y="351"/>
                  <a:pt x="514" y="351"/>
                  <a:pt x="513" y="351"/>
                </a:cubicBezTo>
                <a:cubicBezTo>
                  <a:pt x="513" y="350"/>
                  <a:pt x="513" y="350"/>
                  <a:pt x="513" y="350"/>
                </a:cubicBezTo>
                <a:cubicBezTo>
                  <a:pt x="513" y="350"/>
                  <a:pt x="513" y="350"/>
                  <a:pt x="513" y="350"/>
                </a:cubicBezTo>
                <a:cubicBezTo>
                  <a:pt x="513" y="350"/>
                  <a:pt x="513" y="349"/>
                  <a:pt x="513" y="349"/>
                </a:cubicBezTo>
                <a:cubicBezTo>
                  <a:pt x="513" y="349"/>
                  <a:pt x="513" y="349"/>
                  <a:pt x="513" y="349"/>
                </a:cubicBezTo>
                <a:cubicBezTo>
                  <a:pt x="513" y="349"/>
                  <a:pt x="513" y="348"/>
                  <a:pt x="513" y="348"/>
                </a:cubicBezTo>
                <a:cubicBezTo>
                  <a:pt x="513" y="348"/>
                  <a:pt x="513" y="348"/>
                  <a:pt x="513" y="348"/>
                </a:cubicBezTo>
                <a:cubicBezTo>
                  <a:pt x="513" y="348"/>
                  <a:pt x="513" y="348"/>
                  <a:pt x="512" y="348"/>
                </a:cubicBezTo>
                <a:cubicBezTo>
                  <a:pt x="512" y="349"/>
                  <a:pt x="511" y="349"/>
                  <a:pt x="511" y="350"/>
                </a:cubicBezTo>
                <a:cubicBezTo>
                  <a:pt x="511" y="350"/>
                  <a:pt x="511" y="350"/>
                  <a:pt x="511" y="350"/>
                </a:cubicBezTo>
                <a:cubicBezTo>
                  <a:pt x="511" y="351"/>
                  <a:pt x="511" y="352"/>
                  <a:pt x="510" y="353"/>
                </a:cubicBezTo>
                <a:cubicBezTo>
                  <a:pt x="510" y="353"/>
                  <a:pt x="510" y="354"/>
                  <a:pt x="510" y="354"/>
                </a:cubicBezTo>
                <a:close/>
                <a:moveTo>
                  <a:pt x="533" y="350"/>
                </a:moveTo>
                <a:cubicBezTo>
                  <a:pt x="534" y="350"/>
                  <a:pt x="533" y="350"/>
                  <a:pt x="533" y="349"/>
                </a:cubicBezTo>
                <a:cubicBezTo>
                  <a:pt x="533" y="349"/>
                  <a:pt x="532" y="349"/>
                  <a:pt x="532" y="349"/>
                </a:cubicBezTo>
                <a:cubicBezTo>
                  <a:pt x="532" y="349"/>
                  <a:pt x="531" y="349"/>
                  <a:pt x="531" y="349"/>
                </a:cubicBezTo>
                <a:cubicBezTo>
                  <a:pt x="531" y="350"/>
                  <a:pt x="530" y="349"/>
                  <a:pt x="530" y="349"/>
                </a:cubicBezTo>
                <a:cubicBezTo>
                  <a:pt x="530" y="349"/>
                  <a:pt x="530" y="349"/>
                  <a:pt x="530" y="348"/>
                </a:cubicBezTo>
                <a:cubicBezTo>
                  <a:pt x="530" y="348"/>
                  <a:pt x="530" y="348"/>
                  <a:pt x="529" y="348"/>
                </a:cubicBezTo>
                <a:cubicBezTo>
                  <a:pt x="529" y="348"/>
                  <a:pt x="529" y="348"/>
                  <a:pt x="528" y="348"/>
                </a:cubicBezTo>
                <a:cubicBezTo>
                  <a:pt x="528" y="348"/>
                  <a:pt x="528" y="348"/>
                  <a:pt x="528" y="348"/>
                </a:cubicBezTo>
                <a:cubicBezTo>
                  <a:pt x="527" y="347"/>
                  <a:pt x="527" y="347"/>
                  <a:pt x="527" y="347"/>
                </a:cubicBezTo>
                <a:cubicBezTo>
                  <a:pt x="526" y="348"/>
                  <a:pt x="526" y="348"/>
                  <a:pt x="526" y="349"/>
                </a:cubicBezTo>
                <a:cubicBezTo>
                  <a:pt x="526" y="349"/>
                  <a:pt x="526" y="350"/>
                  <a:pt x="526" y="350"/>
                </a:cubicBezTo>
                <a:cubicBezTo>
                  <a:pt x="525" y="350"/>
                  <a:pt x="525" y="351"/>
                  <a:pt x="525" y="351"/>
                </a:cubicBezTo>
                <a:cubicBezTo>
                  <a:pt x="526" y="351"/>
                  <a:pt x="526" y="351"/>
                  <a:pt x="526" y="351"/>
                </a:cubicBezTo>
                <a:cubicBezTo>
                  <a:pt x="526" y="351"/>
                  <a:pt x="526" y="351"/>
                  <a:pt x="526" y="351"/>
                </a:cubicBezTo>
                <a:cubicBezTo>
                  <a:pt x="526" y="351"/>
                  <a:pt x="527" y="350"/>
                  <a:pt x="527" y="351"/>
                </a:cubicBezTo>
                <a:cubicBezTo>
                  <a:pt x="527" y="351"/>
                  <a:pt x="528" y="351"/>
                  <a:pt x="528" y="351"/>
                </a:cubicBezTo>
                <a:cubicBezTo>
                  <a:pt x="528" y="351"/>
                  <a:pt x="528" y="351"/>
                  <a:pt x="528" y="351"/>
                </a:cubicBezTo>
                <a:cubicBezTo>
                  <a:pt x="528" y="351"/>
                  <a:pt x="527" y="352"/>
                  <a:pt x="527" y="352"/>
                </a:cubicBezTo>
                <a:cubicBezTo>
                  <a:pt x="527" y="352"/>
                  <a:pt x="527" y="353"/>
                  <a:pt x="526" y="353"/>
                </a:cubicBezTo>
                <a:cubicBezTo>
                  <a:pt x="526" y="353"/>
                  <a:pt x="526" y="353"/>
                  <a:pt x="526" y="353"/>
                </a:cubicBezTo>
                <a:cubicBezTo>
                  <a:pt x="526" y="354"/>
                  <a:pt x="527" y="354"/>
                  <a:pt x="527" y="354"/>
                </a:cubicBezTo>
                <a:cubicBezTo>
                  <a:pt x="528" y="354"/>
                  <a:pt x="529" y="352"/>
                  <a:pt x="530" y="351"/>
                </a:cubicBezTo>
                <a:cubicBezTo>
                  <a:pt x="531" y="351"/>
                  <a:pt x="532" y="351"/>
                  <a:pt x="532" y="351"/>
                </a:cubicBezTo>
                <a:cubicBezTo>
                  <a:pt x="533" y="351"/>
                  <a:pt x="533" y="351"/>
                  <a:pt x="533" y="350"/>
                </a:cubicBezTo>
                <a:close/>
                <a:moveTo>
                  <a:pt x="531" y="348"/>
                </a:moveTo>
                <a:cubicBezTo>
                  <a:pt x="531" y="348"/>
                  <a:pt x="531" y="348"/>
                  <a:pt x="531" y="348"/>
                </a:cubicBezTo>
                <a:cubicBezTo>
                  <a:pt x="532" y="348"/>
                  <a:pt x="534" y="348"/>
                  <a:pt x="534" y="347"/>
                </a:cubicBezTo>
                <a:cubicBezTo>
                  <a:pt x="535" y="346"/>
                  <a:pt x="536" y="346"/>
                  <a:pt x="537" y="345"/>
                </a:cubicBezTo>
                <a:cubicBezTo>
                  <a:pt x="537" y="345"/>
                  <a:pt x="537" y="345"/>
                  <a:pt x="537" y="345"/>
                </a:cubicBezTo>
                <a:cubicBezTo>
                  <a:pt x="537" y="345"/>
                  <a:pt x="536" y="345"/>
                  <a:pt x="536" y="345"/>
                </a:cubicBezTo>
                <a:cubicBezTo>
                  <a:pt x="535" y="345"/>
                  <a:pt x="534" y="346"/>
                  <a:pt x="533" y="346"/>
                </a:cubicBezTo>
                <a:cubicBezTo>
                  <a:pt x="533" y="347"/>
                  <a:pt x="532" y="347"/>
                  <a:pt x="532" y="347"/>
                </a:cubicBezTo>
                <a:cubicBezTo>
                  <a:pt x="532" y="347"/>
                  <a:pt x="531" y="347"/>
                  <a:pt x="531" y="347"/>
                </a:cubicBezTo>
                <a:cubicBezTo>
                  <a:pt x="531" y="347"/>
                  <a:pt x="531" y="347"/>
                  <a:pt x="531" y="348"/>
                </a:cubicBezTo>
                <a:close/>
                <a:moveTo>
                  <a:pt x="690" y="436"/>
                </a:moveTo>
                <a:cubicBezTo>
                  <a:pt x="691" y="436"/>
                  <a:pt x="691" y="437"/>
                  <a:pt x="692" y="437"/>
                </a:cubicBezTo>
                <a:cubicBezTo>
                  <a:pt x="692" y="437"/>
                  <a:pt x="691" y="437"/>
                  <a:pt x="691" y="437"/>
                </a:cubicBezTo>
                <a:cubicBezTo>
                  <a:pt x="690" y="437"/>
                  <a:pt x="690" y="437"/>
                  <a:pt x="690" y="437"/>
                </a:cubicBezTo>
                <a:cubicBezTo>
                  <a:pt x="690" y="437"/>
                  <a:pt x="690" y="437"/>
                  <a:pt x="690" y="437"/>
                </a:cubicBezTo>
                <a:cubicBezTo>
                  <a:pt x="691" y="437"/>
                  <a:pt x="691" y="438"/>
                  <a:pt x="691" y="438"/>
                </a:cubicBezTo>
                <a:cubicBezTo>
                  <a:pt x="691" y="439"/>
                  <a:pt x="692" y="439"/>
                  <a:pt x="693" y="438"/>
                </a:cubicBezTo>
                <a:cubicBezTo>
                  <a:pt x="693" y="439"/>
                  <a:pt x="693" y="439"/>
                  <a:pt x="693" y="439"/>
                </a:cubicBezTo>
                <a:cubicBezTo>
                  <a:pt x="693" y="440"/>
                  <a:pt x="693" y="440"/>
                  <a:pt x="693" y="440"/>
                </a:cubicBezTo>
                <a:cubicBezTo>
                  <a:pt x="693" y="440"/>
                  <a:pt x="693" y="441"/>
                  <a:pt x="692" y="441"/>
                </a:cubicBezTo>
                <a:cubicBezTo>
                  <a:pt x="692" y="442"/>
                  <a:pt x="692" y="442"/>
                  <a:pt x="693" y="443"/>
                </a:cubicBezTo>
                <a:cubicBezTo>
                  <a:pt x="693" y="443"/>
                  <a:pt x="693" y="444"/>
                  <a:pt x="693" y="445"/>
                </a:cubicBezTo>
                <a:cubicBezTo>
                  <a:pt x="693" y="445"/>
                  <a:pt x="693" y="446"/>
                  <a:pt x="693" y="447"/>
                </a:cubicBezTo>
                <a:cubicBezTo>
                  <a:pt x="693" y="447"/>
                  <a:pt x="693" y="447"/>
                  <a:pt x="694" y="447"/>
                </a:cubicBezTo>
                <a:cubicBezTo>
                  <a:pt x="694" y="447"/>
                  <a:pt x="695" y="447"/>
                  <a:pt x="695" y="447"/>
                </a:cubicBezTo>
                <a:cubicBezTo>
                  <a:pt x="696" y="447"/>
                  <a:pt x="696" y="447"/>
                  <a:pt x="696" y="447"/>
                </a:cubicBezTo>
                <a:cubicBezTo>
                  <a:pt x="696" y="446"/>
                  <a:pt x="696" y="446"/>
                  <a:pt x="696" y="446"/>
                </a:cubicBezTo>
                <a:cubicBezTo>
                  <a:pt x="696" y="446"/>
                  <a:pt x="697" y="446"/>
                  <a:pt x="697" y="446"/>
                </a:cubicBezTo>
                <a:cubicBezTo>
                  <a:pt x="697" y="446"/>
                  <a:pt x="697" y="447"/>
                  <a:pt x="697" y="447"/>
                </a:cubicBezTo>
                <a:cubicBezTo>
                  <a:pt x="698" y="446"/>
                  <a:pt x="698" y="447"/>
                  <a:pt x="699" y="447"/>
                </a:cubicBezTo>
                <a:cubicBezTo>
                  <a:pt x="699" y="447"/>
                  <a:pt x="700" y="447"/>
                  <a:pt x="700" y="446"/>
                </a:cubicBezTo>
                <a:cubicBezTo>
                  <a:pt x="700" y="446"/>
                  <a:pt x="700" y="445"/>
                  <a:pt x="700" y="445"/>
                </a:cubicBezTo>
                <a:cubicBezTo>
                  <a:pt x="700" y="445"/>
                  <a:pt x="700" y="445"/>
                  <a:pt x="700" y="445"/>
                </a:cubicBezTo>
                <a:cubicBezTo>
                  <a:pt x="700" y="445"/>
                  <a:pt x="700" y="444"/>
                  <a:pt x="700" y="444"/>
                </a:cubicBezTo>
                <a:cubicBezTo>
                  <a:pt x="700" y="444"/>
                  <a:pt x="700" y="444"/>
                  <a:pt x="700" y="444"/>
                </a:cubicBezTo>
                <a:cubicBezTo>
                  <a:pt x="700" y="443"/>
                  <a:pt x="700" y="443"/>
                  <a:pt x="700" y="443"/>
                </a:cubicBezTo>
                <a:cubicBezTo>
                  <a:pt x="700" y="443"/>
                  <a:pt x="699" y="443"/>
                  <a:pt x="699" y="443"/>
                </a:cubicBezTo>
                <a:cubicBezTo>
                  <a:pt x="699" y="442"/>
                  <a:pt x="699" y="442"/>
                  <a:pt x="698" y="443"/>
                </a:cubicBezTo>
                <a:cubicBezTo>
                  <a:pt x="698" y="442"/>
                  <a:pt x="698" y="442"/>
                  <a:pt x="698" y="442"/>
                </a:cubicBezTo>
                <a:cubicBezTo>
                  <a:pt x="698" y="442"/>
                  <a:pt x="699" y="442"/>
                  <a:pt x="699" y="441"/>
                </a:cubicBezTo>
                <a:cubicBezTo>
                  <a:pt x="699" y="441"/>
                  <a:pt x="699" y="440"/>
                  <a:pt x="698" y="440"/>
                </a:cubicBezTo>
                <a:cubicBezTo>
                  <a:pt x="697" y="440"/>
                  <a:pt x="697" y="440"/>
                  <a:pt x="697" y="440"/>
                </a:cubicBezTo>
                <a:cubicBezTo>
                  <a:pt x="697" y="439"/>
                  <a:pt x="697" y="439"/>
                  <a:pt x="697" y="439"/>
                </a:cubicBezTo>
                <a:cubicBezTo>
                  <a:pt x="697" y="439"/>
                  <a:pt x="697" y="438"/>
                  <a:pt x="697" y="438"/>
                </a:cubicBezTo>
                <a:cubicBezTo>
                  <a:pt x="697" y="439"/>
                  <a:pt x="698" y="438"/>
                  <a:pt x="698" y="439"/>
                </a:cubicBezTo>
                <a:cubicBezTo>
                  <a:pt x="698" y="439"/>
                  <a:pt x="698" y="439"/>
                  <a:pt x="698" y="439"/>
                </a:cubicBezTo>
                <a:cubicBezTo>
                  <a:pt x="698" y="440"/>
                  <a:pt x="699" y="440"/>
                  <a:pt x="699" y="441"/>
                </a:cubicBezTo>
                <a:cubicBezTo>
                  <a:pt x="699" y="441"/>
                  <a:pt x="699" y="441"/>
                  <a:pt x="699" y="441"/>
                </a:cubicBezTo>
                <a:cubicBezTo>
                  <a:pt x="700" y="442"/>
                  <a:pt x="701" y="442"/>
                  <a:pt x="701" y="443"/>
                </a:cubicBezTo>
                <a:cubicBezTo>
                  <a:pt x="701" y="443"/>
                  <a:pt x="701" y="444"/>
                  <a:pt x="702" y="443"/>
                </a:cubicBezTo>
                <a:cubicBezTo>
                  <a:pt x="702" y="443"/>
                  <a:pt x="702" y="442"/>
                  <a:pt x="702" y="442"/>
                </a:cubicBezTo>
                <a:cubicBezTo>
                  <a:pt x="702" y="441"/>
                  <a:pt x="702" y="441"/>
                  <a:pt x="702" y="441"/>
                </a:cubicBezTo>
                <a:cubicBezTo>
                  <a:pt x="702" y="441"/>
                  <a:pt x="702" y="441"/>
                  <a:pt x="702" y="441"/>
                </a:cubicBezTo>
                <a:cubicBezTo>
                  <a:pt x="702" y="440"/>
                  <a:pt x="702" y="440"/>
                  <a:pt x="702" y="440"/>
                </a:cubicBezTo>
                <a:cubicBezTo>
                  <a:pt x="702" y="440"/>
                  <a:pt x="703" y="441"/>
                  <a:pt x="702" y="441"/>
                </a:cubicBezTo>
                <a:cubicBezTo>
                  <a:pt x="702" y="442"/>
                  <a:pt x="703" y="442"/>
                  <a:pt x="703" y="443"/>
                </a:cubicBezTo>
                <a:cubicBezTo>
                  <a:pt x="702" y="443"/>
                  <a:pt x="702" y="443"/>
                  <a:pt x="702" y="444"/>
                </a:cubicBezTo>
                <a:cubicBezTo>
                  <a:pt x="702" y="444"/>
                  <a:pt x="702" y="444"/>
                  <a:pt x="701" y="444"/>
                </a:cubicBezTo>
                <a:cubicBezTo>
                  <a:pt x="701" y="444"/>
                  <a:pt x="701" y="444"/>
                  <a:pt x="701" y="444"/>
                </a:cubicBezTo>
                <a:cubicBezTo>
                  <a:pt x="701" y="444"/>
                  <a:pt x="701" y="445"/>
                  <a:pt x="701" y="446"/>
                </a:cubicBezTo>
                <a:cubicBezTo>
                  <a:pt x="701" y="446"/>
                  <a:pt x="702" y="446"/>
                  <a:pt x="702" y="445"/>
                </a:cubicBezTo>
                <a:cubicBezTo>
                  <a:pt x="702" y="445"/>
                  <a:pt x="702" y="445"/>
                  <a:pt x="702" y="444"/>
                </a:cubicBezTo>
                <a:cubicBezTo>
                  <a:pt x="702" y="445"/>
                  <a:pt x="702" y="445"/>
                  <a:pt x="702" y="445"/>
                </a:cubicBezTo>
                <a:cubicBezTo>
                  <a:pt x="702" y="446"/>
                  <a:pt x="702" y="446"/>
                  <a:pt x="703" y="446"/>
                </a:cubicBezTo>
                <a:cubicBezTo>
                  <a:pt x="703" y="446"/>
                  <a:pt x="704" y="446"/>
                  <a:pt x="704" y="446"/>
                </a:cubicBezTo>
                <a:cubicBezTo>
                  <a:pt x="704" y="446"/>
                  <a:pt x="705" y="446"/>
                  <a:pt x="705" y="446"/>
                </a:cubicBezTo>
                <a:cubicBezTo>
                  <a:pt x="705" y="445"/>
                  <a:pt x="705" y="445"/>
                  <a:pt x="705" y="445"/>
                </a:cubicBezTo>
                <a:cubicBezTo>
                  <a:pt x="705" y="445"/>
                  <a:pt x="705" y="445"/>
                  <a:pt x="705" y="445"/>
                </a:cubicBezTo>
                <a:cubicBezTo>
                  <a:pt x="705" y="444"/>
                  <a:pt x="705" y="445"/>
                  <a:pt x="705" y="445"/>
                </a:cubicBezTo>
                <a:cubicBezTo>
                  <a:pt x="705" y="445"/>
                  <a:pt x="705" y="445"/>
                  <a:pt x="706" y="445"/>
                </a:cubicBezTo>
                <a:cubicBezTo>
                  <a:pt x="706" y="445"/>
                  <a:pt x="707" y="445"/>
                  <a:pt x="707" y="444"/>
                </a:cubicBezTo>
                <a:cubicBezTo>
                  <a:pt x="707" y="444"/>
                  <a:pt x="708" y="444"/>
                  <a:pt x="707" y="443"/>
                </a:cubicBezTo>
                <a:cubicBezTo>
                  <a:pt x="707" y="443"/>
                  <a:pt x="706" y="443"/>
                  <a:pt x="706" y="442"/>
                </a:cubicBezTo>
                <a:cubicBezTo>
                  <a:pt x="706" y="442"/>
                  <a:pt x="706" y="442"/>
                  <a:pt x="706" y="442"/>
                </a:cubicBezTo>
                <a:cubicBezTo>
                  <a:pt x="705" y="442"/>
                  <a:pt x="705" y="441"/>
                  <a:pt x="705" y="440"/>
                </a:cubicBezTo>
                <a:cubicBezTo>
                  <a:pt x="704" y="440"/>
                  <a:pt x="704" y="439"/>
                  <a:pt x="703" y="439"/>
                </a:cubicBezTo>
                <a:cubicBezTo>
                  <a:pt x="702" y="439"/>
                  <a:pt x="702" y="439"/>
                  <a:pt x="702" y="440"/>
                </a:cubicBezTo>
                <a:cubicBezTo>
                  <a:pt x="702" y="439"/>
                  <a:pt x="702" y="439"/>
                  <a:pt x="702" y="439"/>
                </a:cubicBezTo>
                <a:cubicBezTo>
                  <a:pt x="701" y="439"/>
                  <a:pt x="702" y="438"/>
                  <a:pt x="702" y="438"/>
                </a:cubicBezTo>
                <a:cubicBezTo>
                  <a:pt x="703" y="438"/>
                  <a:pt x="702" y="438"/>
                  <a:pt x="702" y="437"/>
                </a:cubicBezTo>
                <a:cubicBezTo>
                  <a:pt x="702" y="437"/>
                  <a:pt x="702" y="437"/>
                  <a:pt x="702" y="436"/>
                </a:cubicBezTo>
                <a:cubicBezTo>
                  <a:pt x="702" y="436"/>
                  <a:pt x="702" y="436"/>
                  <a:pt x="702" y="436"/>
                </a:cubicBezTo>
                <a:cubicBezTo>
                  <a:pt x="701" y="435"/>
                  <a:pt x="701" y="435"/>
                  <a:pt x="700" y="434"/>
                </a:cubicBezTo>
                <a:cubicBezTo>
                  <a:pt x="700" y="434"/>
                  <a:pt x="700" y="434"/>
                  <a:pt x="700" y="434"/>
                </a:cubicBezTo>
                <a:cubicBezTo>
                  <a:pt x="699" y="434"/>
                  <a:pt x="699" y="434"/>
                  <a:pt x="698" y="434"/>
                </a:cubicBezTo>
                <a:cubicBezTo>
                  <a:pt x="697" y="434"/>
                  <a:pt x="697" y="434"/>
                  <a:pt x="698" y="435"/>
                </a:cubicBezTo>
                <a:cubicBezTo>
                  <a:pt x="698" y="435"/>
                  <a:pt x="698" y="435"/>
                  <a:pt x="698" y="436"/>
                </a:cubicBezTo>
                <a:cubicBezTo>
                  <a:pt x="697" y="435"/>
                  <a:pt x="697" y="434"/>
                  <a:pt x="696" y="434"/>
                </a:cubicBezTo>
                <a:cubicBezTo>
                  <a:pt x="696" y="434"/>
                  <a:pt x="696" y="434"/>
                  <a:pt x="696" y="434"/>
                </a:cubicBezTo>
                <a:cubicBezTo>
                  <a:pt x="696" y="434"/>
                  <a:pt x="695" y="433"/>
                  <a:pt x="695" y="433"/>
                </a:cubicBezTo>
                <a:cubicBezTo>
                  <a:pt x="694" y="433"/>
                  <a:pt x="694" y="433"/>
                  <a:pt x="693" y="433"/>
                </a:cubicBezTo>
                <a:cubicBezTo>
                  <a:pt x="692" y="433"/>
                  <a:pt x="692" y="433"/>
                  <a:pt x="692" y="432"/>
                </a:cubicBezTo>
                <a:cubicBezTo>
                  <a:pt x="691" y="432"/>
                  <a:pt x="690" y="432"/>
                  <a:pt x="689" y="433"/>
                </a:cubicBezTo>
                <a:cubicBezTo>
                  <a:pt x="688" y="433"/>
                  <a:pt x="688" y="433"/>
                  <a:pt x="689" y="434"/>
                </a:cubicBezTo>
                <a:cubicBezTo>
                  <a:pt x="689" y="435"/>
                  <a:pt x="690" y="435"/>
                  <a:pt x="690" y="436"/>
                </a:cubicBezTo>
                <a:close/>
                <a:moveTo>
                  <a:pt x="690" y="449"/>
                </a:moveTo>
                <a:cubicBezTo>
                  <a:pt x="690" y="449"/>
                  <a:pt x="690" y="449"/>
                  <a:pt x="690" y="448"/>
                </a:cubicBezTo>
                <a:cubicBezTo>
                  <a:pt x="690" y="448"/>
                  <a:pt x="690" y="448"/>
                  <a:pt x="690" y="448"/>
                </a:cubicBezTo>
                <a:cubicBezTo>
                  <a:pt x="690" y="448"/>
                  <a:pt x="690" y="448"/>
                  <a:pt x="689" y="447"/>
                </a:cubicBezTo>
                <a:cubicBezTo>
                  <a:pt x="690" y="447"/>
                  <a:pt x="690" y="447"/>
                  <a:pt x="690" y="447"/>
                </a:cubicBezTo>
                <a:cubicBezTo>
                  <a:pt x="691" y="447"/>
                  <a:pt x="691" y="447"/>
                  <a:pt x="690" y="447"/>
                </a:cubicBezTo>
                <a:cubicBezTo>
                  <a:pt x="690" y="446"/>
                  <a:pt x="690" y="446"/>
                  <a:pt x="690" y="446"/>
                </a:cubicBezTo>
                <a:cubicBezTo>
                  <a:pt x="690" y="446"/>
                  <a:pt x="689" y="446"/>
                  <a:pt x="689" y="446"/>
                </a:cubicBezTo>
                <a:cubicBezTo>
                  <a:pt x="690" y="446"/>
                  <a:pt x="690" y="445"/>
                  <a:pt x="690" y="445"/>
                </a:cubicBezTo>
                <a:cubicBezTo>
                  <a:pt x="691" y="444"/>
                  <a:pt x="691" y="444"/>
                  <a:pt x="690" y="444"/>
                </a:cubicBezTo>
                <a:cubicBezTo>
                  <a:pt x="690" y="444"/>
                  <a:pt x="690" y="444"/>
                  <a:pt x="690" y="443"/>
                </a:cubicBezTo>
                <a:cubicBezTo>
                  <a:pt x="691" y="443"/>
                  <a:pt x="691" y="443"/>
                  <a:pt x="692" y="444"/>
                </a:cubicBezTo>
                <a:cubicBezTo>
                  <a:pt x="692" y="444"/>
                  <a:pt x="692" y="445"/>
                  <a:pt x="692" y="444"/>
                </a:cubicBezTo>
                <a:cubicBezTo>
                  <a:pt x="692" y="444"/>
                  <a:pt x="693" y="444"/>
                  <a:pt x="692" y="443"/>
                </a:cubicBezTo>
                <a:cubicBezTo>
                  <a:pt x="692" y="443"/>
                  <a:pt x="693" y="442"/>
                  <a:pt x="692" y="442"/>
                </a:cubicBezTo>
                <a:cubicBezTo>
                  <a:pt x="692" y="442"/>
                  <a:pt x="692" y="442"/>
                  <a:pt x="692" y="442"/>
                </a:cubicBezTo>
                <a:cubicBezTo>
                  <a:pt x="692" y="441"/>
                  <a:pt x="692" y="441"/>
                  <a:pt x="692" y="440"/>
                </a:cubicBezTo>
                <a:cubicBezTo>
                  <a:pt x="692" y="440"/>
                  <a:pt x="692" y="439"/>
                  <a:pt x="692" y="439"/>
                </a:cubicBezTo>
                <a:cubicBezTo>
                  <a:pt x="692" y="439"/>
                  <a:pt x="691" y="439"/>
                  <a:pt x="691" y="439"/>
                </a:cubicBezTo>
                <a:cubicBezTo>
                  <a:pt x="691" y="439"/>
                  <a:pt x="691" y="439"/>
                  <a:pt x="690" y="439"/>
                </a:cubicBezTo>
                <a:cubicBezTo>
                  <a:pt x="690" y="439"/>
                  <a:pt x="690" y="439"/>
                  <a:pt x="690" y="440"/>
                </a:cubicBezTo>
                <a:cubicBezTo>
                  <a:pt x="691" y="440"/>
                  <a:pt x="690" y="441"/>
                  <a:pt x="690" y="441"/>
                </a:cubicBezTo>
                <a:cubicBezTo>
                  <a:pt x="690" y="441"/>
                  <a:pt x="690" y="441"/>
                  <a:pt x="690" y="441"/>
                </a:cubicBezTo>
                <a:cubicBezTo>
                  <a:pt x="690" y="442"/>
                  <a:pt x="690" y="442"/>
                  <a:pt x="689" y="442"/>
                </a:cubicBezTo>
                <a:cubicBezTo>
                  <a:pt x="689" y="443"/>
                  <a:pt x="689" y="443"/>
                  <a:pt x="689" y="442"/>
                </a:cubicBezTo>
                <a:cubicBezTo>
                  <a:pt x="689" y="442"/>
                  <a:pt x="689" y="442"/>
                  <a:pt x="689" y="442"/>
                </a:cubicBezTo>
                <a:cubicBezTo>
                  <a:pt x="689" y="442"/>
                  <a:pt x="690" y="440"/>
                  <a:pt x="690" y="440"/>
                </a:cubicBezTo>
                <a:cubicBezTo>
                  <a:pt x="689" y="439"/>
                  <a:pt x="689" y="439"/>
                  <a:pt x="689" y="438"/>
                </a:cubicBezTo>
                <a:cubicBezTo>
                  <a:pt x="689" y="438"/>
                  <a:pt x="689" y="438"/>
                  <a:pt x="689" y="438"/>
                </a:cubicBezTo>
                <a:cubicBezTo>
                  <a:pt x="688" y="438"/>
                  <a:pt x="689" y="438"/>
                  <a:pt x="689" y="437"/>
                </a:cubicBezTo>
                <a:cubicBezTo>
                  <a:pt x="689" y="437"/>
                  <a:pt x="688" y="437"/>
                  <a:pt x="688" y="437"/>
                </a:cubicBezTo>
                <a:cubicBezTo>
                  <a:pt x="688" y="437"/>
                  <a:pt x="687" y="437"/>
                  <a:pt x="687" y="436"/>
                </a:cubicBezTo>
                <a:cubicBezTo>
                  <a:pt x="687" y="436"/>
                  <a:pt x="686" y="436"/>
                  <a:pt x="686" y="436"/>
                </a:cubicBezTo>
                <a:cubicBezTo>
                  <a:pt x="686" y="437"/>
                  <a:pt x="687" y="437"/>
                  <a:pt x="687" y="438"/>
                </a:cubicBezTo>
                <a:cubicBezTo>
                  <a:pt x="686" y="438"/>
                  <a:pt x="686" y="437"/>
                  <a:pt x="686" y="437"/>
                </a:cubicBezTo>
                <a:cubicBezTo>
                  <a:pt x="685" y="437"/>
                  <a:pt x="685" y="436"/>
                  <a:pt x="685" y="437"/>
                </a:cubicBezTo>
                <a:cubicBezTo>
                  <a:pt x="684" y="437"/>
                  <a:pt x="685" y="438"/>
                  <a:pt x="685" y="438"/>
                </a:cubicBezTo>
                <a:cubicBezTo>
                  <a:pt x="685" y="438"/>
                  <a:pt x="685" y="438"/>
                  <a:pt x="685" y="439"/>
                </a:cubicBezTo>
                <a:cubicBezTo>
                  <a:pt x="685" y="439"/>
                  <a:pt x="685" y="438"/>
                  <a:pt x="685" y="438"/>
                </a:cubicBezTo>
                <a:cubicBezTo>
                  <a:pt x="685" y="438"/>
                  <a:pt x="684" y="438"/>
                  <a:pt x="684" y="438"/>
                </a:cubicBezTo>
                <a:cubicBezTo>
                  <a:pt x="684" y="438"/>
                  <a:pt x="685" y="438"/>
                  <a:pt x="685" y="438"/>
                </a:cubicBezTo>
                <a:cubicBezTo>
                  <a:pt x="684" y="438"/>
                  <a:pt x="684" y="438"/>
                  <a:pt x="684" y="438"/>
                </a:cubicBezTo>
                <a:cubicBezTo>
                  <a:pt x="684" y="438"/>
                  <a:pt x="684" y="438"/>
                  <a:pt x="684" y="438"/>
                </a:cubicBezTo>
                <a:cubicBezTo>
                  <a:pt x="683" y="438"/>
                  <a:pt x="683" y="438"/>
                  <a:pt x="683" y="438"/>
                </a:cubicBezTo>
                <a:cubicBezTo>
                  <a:pt x="683" y="438"/>
                  <a:pt x="683" y="439"/>
                  <a:pt x="684" y="439"/>
                </a:cubicBezTo>
                <a:cubicBezTo>
                  <a:pt x="684" y="439"/>
                  <a:pt x="684" y="439"/>
                  <a:pt x="684" y="439"/>
                </a:cubicBezTo>
                <a:cubicBezTo>
                  <a:pt x="684" y="440"/>
                  <a:pt x="684" y="440"/>
                  <a:pt x="684" y="441"/>
                </a:cubicBezTo>
                <a:cubicBezTo>
                  <a:pt x="684" y="441"/>
                  <a:pt x="684" y="442"/>
                  <a:pt x="684" y="442"/>
                </a:cubicBezTo>
                <a:cubicBezTo>
                  <a:pt x="685" y="443"/>
                  <a:pt x="685" y="443"/>
                  <a:pt x="685" y="442"/>
                </a:cubicBezTo>
                <a:cubicBezTo>
                  <a:pt x="686" y="442"/>
                  <a:pt x="686" y="442"/>
                  <a:pt x="686" y="442"/>
                </a:cubicBezTo>
                <a:cubicBezTo>
                  <a:pt x="686" y="442"/>
                  <a:pt x="686" y="442"/>
                  <a:pt x="685" y="443"/>
                </a:cubicBezTo>
                <a:cubicBezTo>
                  <a:pt x="685" y="443"/>
                  <a:pt x="685" y="443"/>
                  <a:pt x="685" y="443"/>
                </a:cubicBezTo>
                <a:cubicBezTo>
                  <a:pt x="685" y="443"/>
                  <a:pt x="686" y="443"/>
                  <a:pt x="686" y="443"/>
                </a:cubicBezTo>
                <a:cubicBezTo>
                  <a:pt x="686" y="443"/>
                  <a:pt x="686" y="443"/>
                  <a:pt x="686" y="443"/>
                </a:cubicBezTo>
                <a:cubicBezTo>
                  <a:pt x="686" y="443"/>
                  <a:pt x="686" y="443"/>
                  <a:pt x="686" y="444"/>
                </a:cubicBezTo>
                <a:cubicBezTo>
                  <a:pt x="685" y="444"/>
                  <a:pt x="685" y="444"/>
                  <a:pt x="685" y="445"/>
                </a:cubicBezTo>
                <a:cubicBezTo>
                  <a:pt x="686" y="444"/>
                  <a:pt x="686" y="445"/>
                  <a:pt x="686" y="445"/>
                </a:cubicBezTo>
                <a:cubicBezTo>
                  <a:pt x="686" y="445"/>
                  <a:pt x="686" y="445"/>
                  <a:pt x="686" y="445"/>
                </a:cubicBezTo>
                <a:cubicBezTo>
                  <a:pt x="687" y="446"/>
                  <a:pt x="687" y="446"/>
                  <a:pt x="687" y="446"/>
                </a:cubicBezTo>
                <a:cubicBezTo>
                  <a:pt x="687" y="446"/>
                  <a:pt x="687" y="445"/>
                  <a:pt x="687" y="445"/>
                </a:cubicBezTo>
                <a:cubicBezTo>
                  <a:pt x="688" y="445"/>
                  <a:pt x="688" y="445"/>
                  <a:pt x="688" y="445"/>
                </a:cubicBezTo>
                <a:cubicBezTo>
                  <a:pt x="688" y="445"/>
                  <a:pt x="688" y="445"/>
                  <a:pt x="688" y="445"/>
                </a:cubicBezTo>
                <a:cubicBezTo>
                  <a:pt x="688" y="446"/>
                  <a:pt x="688" y="446"/>
                  <a:pt x="688" y="447"/>
                </a:cubicBezTo>
                <a:cubicBezTo>
                  <a:pt x="688" y="447"/>
                  <a:pt x="688" y="447"/>
                  <a:pt x="688" y="447"/>
                </a:cubicBezTo>
                <a:cubicBezTo>
                  <a:pt x="688" y="448"/>
                  <a:pt x="688" y="448"/>
                  <a:pt x="688" y="449"/>
                </a:cubicBezTo>
                <a:cubicBezTo>
                  <a:pt x="688" y="449"/>
                  <a:pt x="688" y="448"/>
                  <a:pt x="687" y="448"/>
                </a:cubicBezTo>
                <a:cubicBezTo>
                  <a:pt x="687" y="448"/>
                  <a:pt x="686" y="448"/>
                  <a:pt x="686" y="448"/>
                </a:cubicBezTo>
                <a:cubicBezTo>
                  <a:pt x="686" y="448"/>
                  <a:pt x="686" y="448"/>
                  <a:pt x="686" y="449"/>
                </a:cubicBezTo>
                <a:cubicBezTo>
                  <a:pt x="685" y="449"/>
                  <a:pt x="685" y="449"/>
                  <a:pt x="685" y="450"/>
                </a:cubicBezTo>
                <a:cubicBezTo>
                  <a:pt x="685" y="450"/>
                  <a:pt x="685" y="450"/>
                  <a:pt x="685" y="450"/>
                </a:cubicBezTo>
                <a:cubicBezTo>
                  <a:pt x="685" y="451"/>
                  <a:pt x="685" y="451"/>
                  <a:pt x="685" y="451"/>
                </a:cubicBezTo>
                <a:cubicBezTo>
                  <a:pt x="685" y="451"/>
                  <a:pt x="686" y="451"/>
                  <a:pt x="686" y="451"/>
                </a:cubicBezTo>
                <a:cubicBezTo>
                  <a:pt x="686" y="450"/>
                  <a:pt x="686" y="450"/>
                  <a:pt x="686" y="450"/>
                </a:cubicBezTo>
                <a:cubicBezTo>
                  <a:pt x="686" y="450"/>
                  <a:pt x="686" y="450"/>
                  <a:pt x="686" y="450"/>
                </a:cubicBezTo>
                <a:cubicBezTo>
                  <a:pt x="686" y="451"/>
                  <a:pt x="685" y="452"/>
                  <a:pt x="686" y="453"/>
                </a:cubicBezTo>
                <a:cubicBezTo>
                  <a:pt x="686" y="453"/>
                  <a:pt x="686" y="453"/>
                  <a:pt x="686" y="453"/>
                </a:cubicBezTo>
                <a:cubicBezTo>
                  <a:pt x="685" y="453"/>
                  <a:pt x="686" y="454"/>
                  <a:pt x="686" y="454"/>
                </a:cubicBezTo>
                <a:cubicBezTo>
                  <a:pt x="686" y="454"/>
                  <a:pt x="686" y="454"/>
                  <a:pt x="686" y="454"/>
                </a:cubicBezTo>
                <a:cubicBezTo>
                  <a:pt x="685" y="455"/>
                  <a:pt x="686" y="455"/>
                  <a:pt x="686" y="455"/>
                </a:cubicBezTo>
                <a:cubicBezTo>
                  <a:pt x="686" y="455"/>
                  <a:pt x="686" y="456"/>
                  <a:pt x="686" y="456"/>
                </a:cubicBezTo>
                <a:cubicBezTo>
                  <a:pt x="686" y="456"/>
                  <a:pt x="687" y="456"/>
                  <a:pt x="687" y="457"/>
                </a:cubicBezTo>
                <a:cubicBezTo>
                  <a:pt x="687" y="457"/>
                  <a:pt x="687" y="457"/>
                  <a:pt x="687" y="457"/>
                </a:cubicBezTo>
                <a:cubicBezTo>
                  <a:pt x="687" y="457"/>
                  <a:pt x="687" y="457"/>
                  <a:pt x="687" y="457"/>
                </a:cubicBezTo>
                <a:cubicBezTo>
                  <a:pt x="687" y="456"/>
                  <a:pt x="687" y="456"/>
                  <a:pt x="688" y="455"/>
                </a:cubicBezTo>
                <a:cubicBezTo>
                  <a:pt x="688" y="455"/>
                  <a:pt x="688" y="454"/>
                  <a:pt x="687" y="454"/>
                </a:cubicBezTo>
                <a:cubicBezTo>
                  <a:pt x="687" y="454"/>
                  <a:pt x="686" y="454"/>
                  <a:pt x="686" y="454"/>
                </a:cubicBezTo>
                <a:cubicBezTo>
                  <a:pt x="686" y="453"/>
                  <a:pt x="687" y="453"/>
                  <a:pt x="687" y="454"/>
                </a:cubicBezTo>
                <a:cubicBezTo>
                  <a:pt x="687" y="454"/>
                  <a:pt x="688" y="453"/>
                  <a:pt x="688" y="453"/>
                </a:cubicBezTo>
                <a:cubicBezTo>
                  <a:pt x="688" y="453"/>
                  <a:pt x="687" y="452"/>
                  <a:pt x="688" y="452"/>
                </a:cubicBezTo>
                <a:cubicBezTo>
                  <a:pt x="688" y="452"/>
                  <a:pt x="688" y="451"/>
                  <a:pt x="688" y="451"/>
                </a:cubicBezTo>
                <a:cubicBezTo>
                  <a:pt x="688" y="451"/>
                  <a:pt x="688" y="450"/>
                  <a:pt x="688" y="450"/>
                </a:cubicBezTo>
                <a:cubicBezTo>
                  <a:pt x="688" y="450"/>
                  <a:pt x="688" y="451"/>
                  <a:pt x="688" y="451"/>
                </a:cubicBezTo>
                <a:cubicBezTo>
                  <a:pt x="688" y="451"/>
                  <a:pt x="688" y="451"/>
                  <a:pt x="688" y="451"/>
                </a:cubicBezTo>
                <a:cubicBezTo>
                  <a:pt x="688" y="452"/>
                  <a:pt x="688" y="453"/>
                  <a:pt x="688" y="455"/>
                </a:cubicBezTo>
                <a:cubicBezTo>
                  <a:pt x="688" y="455"/>
                  <a:pt x="689" y="455"/>
                  <a:pt x="689" y="455"/>
                </a:cubicBezTo>
                <a:cubicBezTo>
                  <a:pt x="689" y="456"/>
                  <a:pt x="689" y="455"/>
                  <a:pt x="689" y="455"/>
                </a:cubicBezTo>
                <a:cubicBezTo>
                  <a:pt x="690" y="454"/>
                  <a:pt x="690" y="454"/>
                  <a:pt x="689" y="453"/>
                </a:cubicBezTo>
                <a:cubicBezTo>
                  <a:pt x="689" y="453"/>
                  <a:pt x="689" y="453"/>
                  <a:pt x="690" y="452"/>
                </a:cubicBezTo>
                <a:cubicBezTo>
                  <a:pt x="690" y="452"/>
                  <a:pt x="690" y="452"/>
                  <a:pt x="690" y="452"/>
                </a:cubicBezTo>
                <a:cubicBezTo>
                  <a:pt x="690" y="452"/>
                  <a:pt x="690" y="451"/>
                  <a:pt x="690" y="451"/>
                </a:cubicBezTo>
                <a:cubicBezTo>
                  <a:pt x="689" y="451"/>
                  <a:pt x="689" y="451"/>
                  <a:pt x="689" y="451"/>
                </a:cubicBezTo>
                <a:cubicBezTo>
                  <a:pt x="689" y="451"/>
                  <a:pt x="689" y="451"/>
                  <a:pt x="689" y="451"/>
                </a:cubicBezTo>
                <a:cubicBezTo>
                  <a:pt x="689" y="450"/>
                  <a:pt x="689" y="450"/>
                  <a:pt x="689" y="450"/>
                </a:cubicBezTo>
                <a:cubicBezTo>
                  <a:pt x="689" y="450"/>
                  <a:pt x="689" y="450"/>
                  <a:pt x="689" y="450"/>
                </a:cubicBezTo>
                <a:cubicBezTo>
                  <a:pt x="689" y="450"/>
                  <a:pt x="690" y="450"/>
                  <a:pt x="690" y="450"/>
                </a:cubicBezTo>
                <a:cubicBezTo>
                  <a:pt x="690" y="450"/>
                  <a:pt x="690" y="451"/>
                  <a:pt x="690" y="451"/>
                </a:cubicBezTo>
                <a:cubicBezTo>
                  <a:pt x="690" y="451"/>
                  <a:pt x="690" y="451"/>
                  <a:pt x="691" y="450"/>
                </a:cubicBezTo>
                <a:cubicBezTo>
                  <a:pt x="691" y="450"/>
                  <a:pt x="691" y="450"/>
                  <a:pt x="690" y="449"/>
                </a:cubicBezTo>
                <a:close/>
                <a:moveTo>
                  <a:pt x="705" y="487"/>
                </a:moveTo>
                <a:cubicBezTo>
                  <a:pt x="705" y="486"/>
                  <a:pt x="705" y="486"/>
                  <a:pt x="705" y="486"/>
                </a:cubicBezTo>
                <a:cubicBezTo>
                  <a:pt x="705" y="486"/>
                  <a:pt x="705" y="485"/>
                  <a:pt x="705" y="485"/>
                </a:cubicBezTo>
                <a:cubicBezTo>
                  <a:pt x="705" y="485"/>
                  <a:pt x="705" y="484"/>
                  <a:pt x="705" y="484"/>
                </a:cubicBezTo>
                <a:cubicBezTo>
                  <a:pt x="704" y="484"/>
                  <a:pt x="704" y="483"/>
                  <a:pt x="704" y="484"/>
                </a:cubicBezTo>
                <a:cubicBezTo>
                  <a:pt x="704" y="483"/>
                  <a:pt x="704" y="482"/>
                  <a:pt x="703" y="482"/>
                </a:cubicBezTo>
                <a:cubicBezTo>
                  <a:pt x="703" y="482"/>
                  <a:pt x="703" y="481"/>
                  <a:pt x="702" y="481"/>
                </a:cubicBezTo>
                <a:cubicBezTo>
                  <a:pt x="702" y="481"/>
                  <a:pt x="702" y="481"/>
                  <a:pt x="702" y="481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2" y="479"/>
                  <a:pt x="701" y="479"/>
                  <a:pt x="701" y="479"/>
                </a:cubicBezTo>
                <a:cubicBezTo>
                  <a:pt x="701" y="479"/>
                  <a:pt x="701" y="479"/>
                  <a:pt x="701" y="479"/>
                </a:cubicBezTo>
                <a:cubicBezTo>
                  <a:pt x="701" y="478"/>
                  <a:pt x="701" y="478"/>
                  <a:pt x="701" y="478"/>
                </a:cubicBezTo>
                <a:cubicBezTo>
                  <a:pt x="701" y="478"/>
                  <a:pt x="700" y="478"/>
                  <a:pt x="700" y="478"/>
                </a:cubicBezTo>
                <a:cubicBezTo>
                  <a:pt x="701" y="478"/>
                  <a:pt x="701" y="478"/>
                  <a:pt x="701" y="478"/>
                </a:cubicBezTo>
                <a:cubicBezTo>
                  <a:pt x="701" y="478"/>
                  <a:pt x="701" y="478"/>
                  <a:pt x="701" y="478"/>
                </a:cubicBezTo>
                <a:cubicBezTo>
                  <a:pt x="702" y="478"/>
                  <a:pt x="701" y="477"/>
                  <a:pt x="701" y="477"/>
                </a:cubicBezTo>
                <a:cubicBezTo>
                  <a:pt x="701" y="477"/>
                  <a:pt x="701" y="477"/>
                  <a:pt x="701" y="477"/>
                </a:cubicBezTo>
                <a:cubicBezTo>
                  <a:pt x="701" y="477"/>
                  <a:pt x="700" y="476"/>
                  <a:pt x="700" y="476"/>
                </a:cubicBezTo>
                <a:cubicBezTo>
                  <a:pt x="701" y="476"/>
                  <a:pt x="700" y="476"/>
                  <a:pt x="700" y="476"/>
                </a:cubicBezTo>
                <a:cubicBezTo>
                  <a:pt x="700" y="475"/>
                  <a:pt x="700" y="475"/>
                  <a:pt x="700" y="475"/>
                </a:cubicBezTo>
                <a:cubicBezTo>
                  <a:pt x="700" y="475"/>
                  <a:pt x="700" y="474"/>
                  <a:pt x="700" y="474"/>
                </a:cubicBezTo>
                <a:cubicBezTo>
                  <a:pt x="699" y="474"/>
                  <a:pt x="699" y="474"/>
                  <a:pt x="699" y="475"/>
                </a:cubicBezTo>
                <a:cubicBezTo>
                  <a:pt x="699" y="475"/>
                  <a:pt x="699" y="475"/>
                  <a:pt x="699" y="475"/>
                </a:cubicBezTo>
                <a:cubicBezTo>
                  <a:pt x="699" y="476"/>
                  <a:pt x="699" y="476"/>
                  <a:pt x="699" y="476"/>
                </a:cubicBezTo>
                <a:cubicBezTo>
                  <a:pt x="699" y="476"/>
                  <a:pt x="699" y="477"/>
                  <a:pt x="699" y="477"/>
                </a:cubicBezTo>
                <a:cubicBezTo>
                  <a:pt x="699" y="477"/>
                  <a:pt x="699" y="477"/>
                  <a:pt x="700" y="478"/>
                </a:cubicBezTo>
                <a:cubicBezTo>
                  <a:pt x="699" y="478"/>
                  <a:pt x="699" y="478"/>
                  <a:pt x="699" y="478"/>
                </a:cubicBezTo>
                <a:cubicBezTo>
                  <a:pt x="699" y="478"/>
                  <a:pt x="699" y="478"/>
                  <a:pt x="699" y="478"/>
                </a:cubicBezTo>
                <a:cubicBezTo>
                  <a:pt x="699" y="478"/>
                  <a:pt x="699" y="479"/>
                  <a:pt x="699" y="479"/>
                </a:cubicBezTo>
                <a:cubicBezTo>
                  <a:pt x="698" y="479"/>
                  <a:pt x="699" y="479"/>
                  <a:pt x="699" y="480"/>
                </a:cubicBezTo>
                <a:cubicBezTo>
                  <a:pt x="699" y="480"/>
                  <a:pt x="700" y="480"/>
                  <a:pt x="700" y="480"/>
                </a:cubicBezTo>
                <a:cubicBezTo>
                  <a:pt x="699" y="481"/>
                  <a:pt x="700" y="481"/>
                  <a:pt x="701" y="481"/>
                </a:cubicBezTo>
                <a:cubicBezTo>
                  <a:pt x="701" y="481"/>
                  <a:pt x="701" y="481"/>
                  <a:pt x="701" y="481"/>
                </a:cubicBezTo>
                <a:cubicBezTo>
                  <a:pt x="701" y="482"/>
                  <a:pt x="700" y="481"/>
                  <a:pt x="700" y="482"/>
                </a:cubicBezTo>
                <a:cubicBezTo>
                  <a:pt x="700" y="482"/>
                  <a:pt x="701" y="482"/>
                  <a:pt x="701" y="482"/>
                </a:cubicBezTo>
                <a:cubicBezTo>
                  <a:pt x="701" y="482"/>
                  <a:pt x="701" y="482"/>
                  <a:pt x="701" y="482"/>
                </a:cubicBezTo>
                <a:cubicBezTo>
                  <a:pt x="701" y="483"/>
                  <a:pt x="701" y="483"/>
                  <a:pt x="701" y="483"/>
                </a:cubicBezTo>
                <a:cubicBezTo>
                  <a:pt x="701" y="484"/>
                  <a:pt x="702" y="484"/>
                  <a:pt x="702" y="484"/>
                </a:cubicBezTo>
                <a:cubicBezTo>
                  <a:pt x="702" y="484"/>
                  <a:pt x="702" y="483"/>
                  <a:pt x="703" y="483"/>
                </a:cubicBezTo>
                <a:cubicBezTo>
                  <a:pt x="703" y="484"/>
                  <a:pt x="702" y="484"/>
                  <a:pt x="702" y="484"/>
                </a:cubicBezTo>
                <a:cubicBezTo>
                  <a:pt x="702" y="485"/>
                  <a:pt x="703" y="485"/>
                  <a:pt x="703" y="485"/>
                </a:cubicBezTo>
                <a:cubicBezTo>
                  <a:pt x="703" y="485"/>
                  <a:pt x="703" y="486"/>
                  <a:pt x="704" y="486"/>
                </a:cubicBezTo>
                <a:cubicBezTo>
                  <a:pt x="704" y="486"/>
                  <a:pt x="703" y="486"/>
                  <a:pt x="703" y="486"/>
                </a:cubicBezTo>
                <a:cubicBezTo>
                  <a:pt x="703" y="486"/>
                  <a:pt x="703" y="487"/>
                  <a:pt x="704" y="487"/>
                </a:cubicBezTo>
                <a:cubicBezTo>
                  <a:pt x="704" y="487"/>
                  <a:pt x="704" y="486"/>
                  <a:pt x="704" y="487"/>
                </a:cubicBezTo>
                <a:cubicBezTo>
                  <a:pt x="704" y="487"/>
                  <a:pt x="705" y="487"/>
                  <a:pt x="706" y="487"/>
                </a:cubicBezTo>
                <a:cubicBezTo>
                  <a:pt x="705" y="487"/>
                  <a:pt x="705" y="487"/>
                  <a:pt x="705" y="487"/>
                </a:cubicBezTo>
                <a:close/>
                <a:moveTo>
                  <a:pt x="704" y="452"/>
                </a:moveTo>
                <a:cubicBezTo>
                  <a:pt x="704" y="452"/>
                  <a:pt x="705" y="452"/>
                  <a:pt x="705" y="451"/>
                </a:cubicBezTo>
                <a:cubicBezTo>
                  <a:pt x="706" y="451"/>
                  <a:pt x="706" y="451"/>
                  <a:pt x="706" y="450"/>
                </a:cubicBezTo>
                <a:cubicBezTo>
                  <a:pt x="706" y="450"/>
                  <a:pt x="706" y="449"/>
                  <a:pt x="706" y="449"/>
                </a:cubicBezTo>
                <a:cubicBezTo>
                  <a:pt x="707" y="448"/>
                  <a:pt x="706" y="448"/>
                  <a:pt x="706" y="447"/>
                </a:cubicBezTo>
                <a:cubicBezTo>
                  <a:pt x="706" y="447"/>
                  <a:pt x="705" y="447"/>
                  <a:pt x="705" y="447"/>
                </a:cubicBezTo>
                <a:cubicBezTo>
                  <a:pt x="704" y="447"/>
                  <a:pt x="704" y="447"/>
                  <a:pt x="703" y="447"/>
                </a:cubicBezTo>
                <a:cubicBezTo>
                  <a:pt x="702" y="447"/>
                  <a:pt x="702" y="447"/>
                  <a:pt x="701" y="448"/>
                </a:cubicBezTo>
                <a:cubicBezTo>
                  <a:pt x="701" y="448"/>
                  <a:pt x="701" y="449"/>
                  <a:pt x="701" y="449"/>
                </a:cubicBezTo>
                <a:cubicBezTo>
                  <a:pt x="701" y="449"/>
                  <a:pt x="701" y="450"/>
                  <a:pt x="701" y="450"/>
                </a:cubicBezTo>
                <a:cubicBezTo>
                  <a:pt x="702" y="451"/>
                  <a:pt x="702" y="451"/>
                  <a:pt x="703" y="452"/>
                </a:cubicBezTo>
                <a:cubicBezTo>
                  <a:pt x="703" y="452"/>
                  <a:pt x="703" y="452"/>
                  <a:pt x="704" y="452"/>
                </a:cubicBezTo>
                <a:close/>
                <a:moveTo>
                  <a:pt x="697" y="462"/>
                </a:moveTo>
                <a:cubicBezTo>
                  <a:pt x="696" y="462"/>
                  <a:pt x="695" y="462"/>
                  <a:pt x="695" y="462"/>
                </a:cubicBezTo>
                <a:cubicBezTo>
                  <a:pt x="695" y="461"/>
                  <a:pt x="695" y="461"/>
                  <a:pt x="694" y="461"/>
                </a:cubicBezTo>
                <a:cubicBezTo>
                  <a:pt x="694" y="461"/>
                  <a:pt x="694" y="462"/>
                  <a:pt x="694" y="462"/>
                </a:cubicBezTo>
                <a:cubicBezTo>
                  <a:pt x="694" y="462"/>
                  <a:pt x="694" y="461"/>
                  <a:pt x="693" y="461"/>
                </a:cubicBezTo>
                <a:cubicBezTo>
                  <a:pt x="693" y="462"/>
                  <a:pt x="693" y="462"/>
                  <a:pt x="693" y="463"/>
                </a:cubicBezTo>
                <a:cubicBezTo>
                  <a:pt x="693" y="463"/>
                  <a:pt x="693" y="463"/>
                  <a:pt x="693" y="463"/>
                </a:cubicBezTo>
                <a:cubicBezTo>
                  <a:pt x="693" y="464"/>
                  <a:pt x="694" y="464"/>
                  <a:pt x="694" y="464"/>
                </a:cubicBezTo>
                <a:cubicBezTo>
                  <a:pt x="695" y="464"/>
                  <a:pt x="695" y="464"/>
                  <a:pt x="695" y="464"/>
                </a:cubicBezTo>
                <a:cubicBezTo>
                  <a:pt x="695" y="464"/>
                  <a:pt x="695" y="464"/>
                  <a:pt x="695" y="463"/>
                </a:cubicBezTo>
                <a:cubicBezTo>
                  <a:pt x="695" y="463"/>
                  <a:pt x="695" y="463"/>
                  <a:pt x="695" y="463"/>
                </a:cubicBezTo>
                <a:cubicBezTo>
                  <a:pt x="696" y="463"/>
                  <a:pt x="696" y="464"/>
                  <a:pt x="697" y="463"/>
                </a:cubicBezTo>
                <a:cubicBezTo>
                  <a:pt x="697" y="463"/>
                  <a:pt x="697" y="463"/>
                  <a:pt x="697" y="462"/>
                </a:cubicBezTo>
                <a:cubicBezTo>
                  <a:pt x="697" y="462"/>
                  <a:pt x="697" y="462"/>
                  <a:pt x="697" y="462"/>
                </a:cubicBezTo>
                <a:close/>
                <a:moveTo>
                  <a:pt x="705" y="477"/>
                </a:moveTo>
                <a:cubicBezTo>
                  <a:pt x="705" y="477"/>
                  <a:pt x="704" y="476"/>
                  <a:pt x="704" y="476"/>
                </a:cubicBezTo>
                <a:cubicBezTo>
                  <a:pt x="704" y="476"/>
                  <a:pt x="704" y="476"/>
                  <a:pt x="704" y="476"/>
                </a:cubicBezTo>
                <a:cubicBezTo>
                  <a:pt x="703" y="476"/>
                  <a:pt x="703" y="476"/>
                  <a:pt x="703" y="477"/>
                </a:cubicBezTo>
                <a:cubicBezTo>
                  <a:pt x="703" y="477"/>
                  <a:pt x="703" y="478"/>
                  <a:pt x="703" y="478"/>
                </a:cubicBezTo>
                <a:cubicBezTo>
                  <a:pt x="704" y="478"/>
                  <a:pt x="704" y="478"/>
                  <a:pt x="703" y="479"/>
                </a:cubicBezTo>
                <a:cubicBezTo>
                  <a:pt x="703" y="479"/>
                  <a:pt x="703" y="479"/>
                  <a:pt x="703" y="479"/>
                </a:cubicBezTo>
                <a:cubicBezTo>
                  <a:pt x="703" y="479"/>
                  <a:pt x="704" y="480"/>
                  <a:pt x="704" y="480"/>
                </a:cubicBezTo>
                <a:cubicBezTo>
                  <a:pt x="704" y="479"/>
                  <a:pt x="704" y="480"/>
                  <a:pt x="704" y="480"/>
                </a:cubicBezTo>
                <a:cubicBezTo>
                  <a:pt x="704" y="480"/>
                  <a:pt x="705" y="480"/>
                  <a:pt x="705" y="480"/>
                </a:cubicBezTo>
                <a:cubicBezTo>
                  <a:pt x="705" y="480"/>
                  <a:pt x="705" y="480"/>
                  <a:pt x="705" y="480"/>
                </a:cubicBezTo>
                <a:cubicBezTo>
                  <a:pt x="706" y="479"/>
                  <a:pt x="706" y="479"/>
                  <a:pt x="705" y="479"/>
                </a:cubicBezTo>
                <a:cubicBezTo>
                  <a:pt x="705" y="478"/>
                  <a:pt x="705" y="478"/>
                  <a:pt x="705" y="478"/>
                </a:cubicBezTo>
                <a:cubicBezTo>
                  <a:pt x="706" y="477"/>
                  <a:pt x="705" y="477"/>
                  <a:pt x="705" y="477"/>
                </a:cubicBezTo>
                <a:close/>
                <a:moveTo>
                  <a:pt x="681" y="444"/>
                </a:moveTo>
                <a:cubicBezTo>
                  <a:pt x="681" y="444"/>
                  <a:pt x="681" y="444"/>
                  <a:pt x="681" y="445"/>
                </a:cubicBezTo>
                <a:cubicBezTo>
                  <a:pt x="680" y="444"/>
                  <a:pt x="680" y="444"/>
                  <a:pt x="680" y="444"/>
                </a:cubicBezTo>
                <a:cubicBezTo>
                  <a:pt x="680" y="444"/>
                  <a:pt x="680" y="444"/>
                  <a:pt x="680" y="444"/>
                </a:cubicBezTo>
                <a:cubicBezTo>
                  <a:pt x="680" y="445"/>
                  <a:pt x="680" y="445"/>
                  <a:pt x="680" y="445"/>
                </a:cubicBezTo>
                <a:cubicBezTo>
                  <a:pt x="679" y="445"/>
                  <a:pt x="680" y="445"/>
                  <a:pt x="680" y="445"/>
                </a:cubicBezTo>
                <a:cubicBezTo>
                  <a:pt x="680" y="445"/>
                  <a:pt x="680" y="445"/>
                  <a:pt x="680" y="445"/>
                </a:cubicBezTo>
                <a:cubicBezTo>
                  <a:pt x="680" y="445"/>
                  <a:pt x="680" y="445"/>
                  <a:pt x="680" y="445"/>
                </a:cubicBezTo>
                <a:cubicBezTo>
                  <a:pt x="680" y="446"/>
                  <a:pt x="681" y="446"/>
                  <a:pt x="680" y="447"/>
                </a:cubicBezTo>
                <a:cubicBezTo>
                  <a:pt x="681" y="447"/>
                  <a:pt x="680" y="447"/>
                  <a:pt x="680" y="448"/>
                </a:cubicBezTo>
                <a:cubicBezTo>
                  <a:pt x="681" y="448"/>
                  <a:pt x="681" y="448"/>
                  <a:pt x="680" y="449"/>
                </a:cubicBezTo>
                <a:cubicBezTo>
                  <a:pt x="680" y="449"/>
                  <a:pt x="681" y="449"/>
                  <a:pt x="681" y="449"/>
                </a:cubicBezTo>
                <a:cubicBezTo>
                  <a:pt x="681" y="449"/>
                  <a:pt x="681" y="450"/>
                  <a:pt x="680" y="450"/>
                </a:cubicBezTo>
                <a:cubicBezTo>
                  <a:pt x="680" y="450"/>
                  <a:pt x="680" y="450"/>
                  <a:pt x="680" y="450"/>
                </a:cubicBezTo>
                <a:cubicBezTo>
                  <a:pt x="680" y="450"/>
                  <a:pt x="680" y="450"/>
                  <a:pt x="680" y="450"/>
                </a:cubicBezTo>
                <a:cubicBezTo>
                  <a:pt x="680" y="451"/>
                  <a:pt x="680" y="451"/>
                  <a:pt x="680" y="452"/>
                </a:cubicBezTo>
                <a:cubicBezTo>
                  <a:pt x="681" y="452"/>
                  <a:pt x="680" y="453"/>
                  <a:pt x="680" y="454"/>
                </a:cubicBezTo>
                <a:cubicBezTo>
                  <a:pt x="680" y="453"/>
                  <a:pt x="679" y="454"/>
                  <a:pt x="680" y="453"/>
                </a:cubicBezTo>
                <a:cubicBezTo>
                  <a:pt x="680" y="453"/>
                  <a:pt x="680" y="453"/>
                  <a:pt x="680" y="452"/>
                </a:cubicBezTo>
                <a:cubicBezTo>
                  <a:pt x="680" y="452"/>
                  <a:pt x="680" y="452"/>
                  <a:pt x="679" y="452"/>
                </a:cubicBezTo>
                <a:cubicBezTo>
                  <a:pt x="679" y="453"/>
                  <a:pt x="679" y="452"/>
                  <a:pt x="679" y="452"/>
                </a:cubicBezTo>
                <a:cubicBezTo>
                  <a:pt x="679" y="452"/>
                  <a:pt x="678" y="451"/>
                  <a:pt x="678" y="450"/>
                </a:cubicBezTo>
                <a:cubicBezTo>
                  <a:pt x="678" y="450"/>
                  <a:pt x="678" y="450"/>
                  <a:pt x="678" y="450"/>
                </a:cubicBezTo>
                <a:cubicBezTo>
                  <a:pt x="678" y="450"/>
                  <a:pt x="678" y="450"/>
                  <a:pt x="678" y="450"/>
                </a:cubicBezTo>
                <a:cubicBezTo>
                  <a:pt x="677" y="450"/>
                  <a:pt x="677" y="450"/>
                  <a:pt x="677" y="449"/>
                </a:cubicBezTo>
                <a:cubicBezTo>
                  <a:pt x="677" y="449"/>
                  <a:pt x="677" y="448"/>
                  <a:pt x="676" y="447"/>
                </a:cubicBezTo>
                <a:cubicBezTo>
                  <a:pt x="676" y="447"/>
                  <a:pt x="676" y="447"/>
                  <a:pt x="677" y="447"/>
                </a:cubicBezTo>
                <a:cubicBezTo>
                  <a:pt x="676" y="446"/>
                  <a:pt x="676" y="447"/>
                  <a:pt x="676" y="446"/>
                </a:cubicBezTo>
                <a:cubicBezTo>
                  <a:pt x="676" y="446"/>
                  <a:pt x="676" y="445"/>
                  <a:pt x="675" y="445"/>
                </a:cubicBezTo>
                <a:cubicBezTo>
                  <a:pt x="675" y="445"/>
                  <a:pt x="676" y="445"/>
                  <a:pt x="675" y="444"/>
                </a:cubicBezTo>
                <a:cubicBezTo>
                  <a:pt x="675" y="444"/>
                  <a:pt x="676" y="444"/>
                  <a:pt x="676" y="444"/>
                </a:cubicBezTo>
                <a:cubicBezTo>
                  <a:pt x="677" y="443"/>
                  <a:pt x="677" y="443"/>
                  <a:pt x="677" y="443"/>
                </a:cubicBezTo>
                <a:cubicBezTo>
                  <a:pt x="676" y="443"/>
                  <a:pt x="676" y="443"/>
                  <a:pt x="676" y="442"/>
                </a:cubicBezTo>
                <a:cubicBezTo>
                  <a:pt x="676" y="442"/>
                  <a:pt x="676" y="442"/>
                  <a:pt x="676" y="442"/>
                </a:cubicBezTo>
                <a:cubicBezTo>
                  <a:pt x="676" y="442"/>
                  <a:pt x="676" y="442"/>
                  <a:pt x="676" y="442"/>
                </a:cubicBezTo>
                <a:cubicBezTo>
                  <a:pt x="676" y="442"/>
                  <a:pt x="676" y="442"/>
                  <a:pt x="676" y="442"/>
                </a:cubicBezTo>
                <a:cubicBezTo>
                  <a:pt x="676" y="442"/>
                  <a:pt x="676" y="443"/>
                  <a:pt x="675" y="443"/>
                </a:cubicBezTo>
                <a:cubicBezTo>
                  <a:pt x="675" y="444"/>
                  <a:pt x="675" y="444"/>
                  <a:pt x="674" y="444"/>
                </a:cubicBezTo>
                <a:cubicBezTo>
                  <a:pt x="674" y="443"/>
                  <a:pt x="674" y="443"/>
                  <a:pt x="674" y="443"/>
                </a:cubicBezTo>
                <a:cubicBezTo>
                  <a:pt x="674" y="443"/>
                  <a:pt x="674" y="443"/>
                  <a:pt x="674" y="443"/>
                </a:cubicBezTo>
                <a:cubicBezTo>
                  <a:pt x="674" y="442"/>
                  <a:pt x="674" y="441"/>
                  <a:pt x="675" y="441"/>
                </a:cubicBezTo>
                <a:cubicBezTo>
                  <a:pt x="675" y="441"/>
                  <a:pt x="675" y="440"/>
                  <a:pt x="676" y="440"/>
                </a:cubicBezTo>
                <a:cubicBezTo>
                  <a:pt x="675" y="440"/>
                  <a:pt x="675" y="440"/>
                  <a:pt x="675" y="440"/>
                </a:cubicBezTo>
                <a:cubicBezTo>
                  <a:pt x="675" y="440"/>
                  <a:pt x="675" y="441"/>
                  <a:pt x="674" y="441"/>
                </a:cubicBezTo>
                <a:cubicBezTo>
                  <a:pt x="674" y="441"/>
                  <a:pt x="674" y="442"/>
                  <a:pt x="674" y="442"/>
                </a:cubicBezTo>
                <a:cubicBezTo>
                  <a:pt x="674" y="442"/>
                  <a:pt x="673" y="442"/>
                  <a:pt x="673" y="442"/>
                </a:cubicBezTo>
                <a:cubicBezTo>
                  <a:pt x="673" y="442"/>
                  <a:pt x="673" y="441"/>
                  <a:pt x="673" y="441"/>
                </a:cubicBezTo>
                <a:cubicBezTo>
                  <a:pt x="673" y="441"/>
                  <a:pt x="674" y="441"/>
                  <a:pt x="674" y="441"/>
                </a:cubicBezTo>
                <a:cubicBezTo>
                  <a:pt x="673" y="441"/>
                  <a:pt x="674" y="440"/>
                  <a:pt x="674" y="439"/>
                </a:cubicBezTo>
                <a:cubicBezTo>
                  <a:pt x="673" y="440"/>
                  <a:pt x="673" y="440"/>
                  <a:pt x="673" y="441"/>
                </a:cubicBezTo>
                <a:cubicBezTo>
                  <a:pt x="673" y="441"/>
                  <a:pt x="673" y="441"/>
                  <a:pt x="673" y="441"/>
                </a:cubicBezTo>
                <a:cubicBezTo>
                  <a:pt x="673" y="441"/>
                  <a:pt x="673" y="441"/>
                  <a:pt x="673" y="441"/>
                </a:cubicBezTo>
                <a:cubicBezTo>
                  <a:pt x="672" y="441"/>
                  <a:pt x="673" y="441"/>
                  <a:pt x="673" y="441"/>
                </a:cubicBezTo>
                <a:cubicBezTo>
                  <a:pt x="673" y="441"/>
                  <a:pt x="673" y="440"/>
                  <a:pt x="673" y="440"/>
                </a:cubicBezTo>
                <a:cubicBezTo>
                  <a:pt x="672" y="440"/>
                  <a:pt x="673" y="440"/>
                  <a:pt x="673" y="439"/>
                </a:cubicBezTo>
                <a:cubicBezTo>
                  <a:pt x="673" y="439"/>
                  <a:pt x="673" y="439"/>
                  <a:pt x="673" y="439"/>
                </a:cubicBezTo>
                <a:cubicBezTo>
                  <a:pt x="672" y="439"/>
                  <a:pt x="672" y="439"/>
                  <a:pt x="671" y="439"/>
                </a:cubicBezTo>
                <a:cubicBezTo>
                  <a:pt x="671" y="438"/>
                  <a:pt x="671" y="438"/>
                  <a:pt x="671" y="437"/>
                </a:cubicBezTo>
                <a:cubicBezTo>
                  <a:pt x="671" y="437"/>
                  <a:pt x="671" y="437"/>
                  <a:pt x="671" y="437"/>
                </a:cubicBezTo>
                <a:cubicBezTo>
                  <a:pt x="672" y="437"/>
                  <a:pt x="672" y="437"/>
                  <a:pt x="672" y="437"/>
                </a:cubicBezTo>
                <a:cubicBezTo>
                  <a:pt x="672" y="436"/>
                  <a:pt x="672" y="436"/>
                  <a:pt x="671" y="435"/>
                </a:cubicBezTo>
                <a:cubicBezTo>
                  <a:pt x="671" y="435"/>
                  <a:pt x="671" y="435"/>
                  <a:pt x="671" y="435"/>
                </a:cubicBezTo>
                <a:cubicBezTo>
                  <a:pt x="672" y="435"/>
                  <a:pt x="672" y="434"/>
                  <a:pt x="673" y="434"/>
                </a:cubicBezTo>
                <a:cubicBezTo>
                  <a:pt x="673" y="434"/>
                  <a:pt x="673" y="434"/>
                  <a:pt x="673" y="434"/>
                </a:cubicBezTo>
                <a:cubicBezTo>
                  <a:pt x="673" y="434"/>
                  <a:pt x="674" y="434"/>
                  <a:pt x="674" y="433"/>
                </a:cubicBezTo>
                <a:cubicBezTo>
                  <a:pt x="674" y="433"/>
                  <a:pt x="674" y="433"/>
                  <a:pt x="674" y="433"/>
                </a:cubicBezTo>
                <a:cubicBezTo>
                  <a:pt x="674" y="433"/>
                  <a:pt x="673" y="433"/>
                  <a:pt x="673" y="433"/>
                </a:cubicBezTo>
                <a:cubicBezTo>
                  <a:pt x="672" y="434"/>
                  <a:pt x="671" y="433"/>
                  <a:pt x="671" y="432"/>
                </a:cubicBezTo>
                <a:cubicBezTo>
                  <a:pt x="671" y="432"/>
                  <a:pt x="671" y="431"/>
                  <a:pt x="672" y="431"/>
                </a:cubicBezTo>
                <a:cubicBezTo>
                  <a:pt x="672" y="431"/>
                  <a:pt x="672" y="430"/>
                  <a:pt x="672" y="430"/>
                </a:cubicBezTo>
                <a:cubicBezTo>
                  <a:pt x="672" y="430"/>
                  <a:pt x="672" y="430"/>
                  <a:pt x="672" y="430"/>
                </a:cubicBezTo>
                <a:cubicBezTo>
                  <a:pt x="672" y="430"/>
                  <a:pt x="672" y="430"/>
                  <a:pt x="672" y="430"/>
                </a:cubicBezTo>
                <a:cubicBezTo>
                  <a:pt x="672" y="430"/>
                  <a:pt x="672" y="430"/>
                  <a:pt x="671" y="430"/>
                </a:cubicBezTo>
                <a:cubicBezTo>
                  <a:pt x="671" y="430"/>
                  <a:pt x="671" y="431"/>
                  <a:pt x="671" y="431"/>
                </a:cubicBezTo>
                <a:cubicBezTo>
                  <a:pt x="671" y="431"/>
                  <a:pt x="671" y="430"/>
                  <a:pt x="671" y="430"/>
                </a:cubicBezTo>
                <a:cubicBezTo>
                  <a:pt x="672" y="430"/>
                  <a:pt x="671" y="429"/>
                  <a:pt x="672" y="428"/>
                </a:cubicBezTo>
                <a:cubicBezTo>
                  <a:pt x="671" y="428"/>
                  <a:pt x="670" y="428"/>
                  <a:pt x="669" y="429"/>
                </a:cubicBezTo>
                <a:cubicBezTo>
                  <a:pt x="669" y="429"/>
                  <a:pt x="669" y="428"/>
                  <a:pt x="669" y="428"/>
                </a:cubicBezTo>
                <a:cubicBezTo>
                  <a:pt x="669" y="428"/>
                  <a:pt x="669" y="428"/>
                  <a:pt x="669" y="428"/>
                </a:cubicBezTo>
                <a:cubicBezTo>
                  <a:pt x="669" y="429"/>
                  <a:pt x="668" y="428"/>
                  <a:pt x="668" y="429"/>
                </a:cubicBezTo>
                <a:cubicBezTo>
                  <a:pt x="668" y="429"/>
                  <a:pt x="668" y="430"/>
                  <a:pt x="668" y="430"/>
                </a:cubicBezTo>
                <a:cubicBezTo>
                  <a:pt x="668" y="431"/>
                  <a:pt x="669" y="431"/>
                  <a:pt x="669" y="431"/>
                </a:cubicBezTo>
                <a:cubicBezTo>
                  <a:pt x="669" y="432"/>
                  <a:pt x="668" y="433"/>
                  <a:pt x="668" y="434"/>
                </a:cubicBezTo>
                <a:cubicBezTo>
                  <a:pt x="668" y="434"/>
                  <a:pt x="667" y="434"/>
                  <a:pt x="666" y="434"/>
                </a:cubicBezTo>
                <a:cubicBezTo>
                  <a:pt x="666" y="434"/>
                  <a:pt x="666" y="435"/>
                  <a:pt x="665" y="434"/>
                </a:cubicBezTo>
                <a:cubicBezTo>
                  <a:pt x="665" y="434"/>
                  <a:pt x="665" y="434"/>
                  <a:pt x="665" y="433"/>
                </a:cubicBezTo>
                <a:cubicBezTo>
                  <a:pt x="665" y="432"/>
                  <a:pt x="665" y="432"/>
                  <a:pt x="666" y="432"/>
                </a:cubicBezTo>
                <a:cubicBezTo>
                  <a:pt x="667" y="431"/>
                  <a:pt x="666" y="431"/>
                  <a:pt x="666" y="430"/>
                </a:cubicBezTo>
                <a:cubicBezTo>
                  <a:pt x="666" y="430"/>
                  <a:pt x="666" y="430"/>
                  <a:pt x="666" y="430"/>
                </a:cubicBezTo>
                <a:cubicBezTo>
                  <a:pt x="665" y="430"/>
                  <a:pt x="665" y="430"/>
                  <a:pt x="665" y="430"/>
                </a:cubicBezTo>
                <a:cubicBezTo>
                  <a:pt x="666" y="430"/>
                  <a:pt x="665" y="429"/>
                  <a:pt x="666" y="429"/>
                </a:cubicBezTo>
                <a:cubicBezTo>
                  <a:pt x="665" y="429"/>
                  <a:pt x="665" y="428"/>
                  <a:pt x="665" y="428"/>
                </a:cubicBezTo>
                <a:cubicBezTo>
                  <a:pt x="665" y="428"/>
                  <a:pt x="665" y="428"/>
                  <a:pt x="665" y="428"/>
                </a:cubicBezTo>
                <a:cubicBezTo>
                  <a:pt x="665" y="427"/>
                  <a:pt x="666" y="427"/>
                  <a:pt x="665" y="427"/>
                </a:cubicBezTo>
                <a:cubicBezTo>
                  <a:pt x="665" y="427"/>
                  <a:pt x="665" y="426"/>
                  <a:pt x="665" y="426"/>
                </a:cubicBezTo>
                <a:cubicBezTo>
                  <a:pt x="667" y="426"/>
                  <a:pt x="667" y="426"/>
                  <a:pt x="667" y="428"/>
                </a:cubicBezTo>
                <a:cubicBezTo>
                  <a:pt x="667" y="428"/>
                  <a:pt x="667" y="428"/>
                  <a:pt x="667" y="428"/>
                </a:cubicBezTo>
                <a:cubicBezTo>
                  <a:pt x="668" y="428"/>
                  <a:pt x="667" y="427"/>
                  <a:pt x="668" y="427"/>
                </a:cubicBezTo>
                <a:cubicBezTo>
                  <a:pt x="668" y="427"/>
                  <a:pt x="668" y="427"/>
                  <a:pt x="668" y="427"/>
                </a:cubicBezTo>
                <a:cubicBezTo>
                  <a:pt x="668" y="427"/>
                  <a:pt x="668" y="427"/>
                  <a:pt x="668" y="427"/>
                </a:cubicBezTo>
                <a:cubicBezTo>
                  <a:pt x="668" y="426"/>
                  <a:pt x="667" y="426"/>
                  <a:pt x="667" y="426"/>
                </a:cubicBezTo>
                <a:cubicBezTo>
                  <a:pt x="667" y="426"/>
                  <a:pt x="667" y="426"/>
                  <a:pt x="668" y="426"/>
                </a:cubicBezTo>
                <a:cubicBezTo>
                  <a:pt x="668" y="426"/>
                  <a:pt x="669" y="426"/>
                  <a:pt x="669" y="426"/>
                </a:cubicBezTo>
                <a:cubicBezTo>
                  <a:pt x="669" y="426"/>
                  <a:pt x="670" y="426"/>
                  <a:pt x="670" y="426"/>
                </a:cubicBezTo>
                <a:cubicBezTo>
                  <a:pt x="669" y="425"/>
                  <a:pt x="669" y="425"/>
                  <a:pt x="669" y="425"/>
                </a:cubicBezTo>
                <a:cubicBezTo>
                  <a:pt x="668" y="425"/>
                  <a:pt x="668" y="425"/>
                  <a:pt x="669" y="425"/>
                </a:cubicBezTo>
                <a:cubicBezTo>
                  <a:pt x="669" y="424"/>
                  <a:pt x="669" y="424"/>
                  <a:pt x="669" y="423"/>
                </a:cubicBezTo>
                <a:cubicBezTo>
                  <a:pt x="669" y="423"/>
                  <a:pt x="669" y="424"/>
                  <a:pt x="668" y="424"/>
                </a:cubicBezTo>
                <a:cubicBezTo>
                  <a:pt x="668" y="424"/>
                  <a:pt x="668" y="424"/>
                  <a:pt x="668" y="424"/>
                </a:cubicBezTo>
                <a:cubicBezTo>
                  <a:pt x="668" y="424"/>
                  <a:pt x="668" y="424"/>
                  <a:pt x="668" y="425"/>
                </a:cubicBezTo>
                <a:cubicBezTo>
                  <a:pt x="667" y="425"/>
                  <a:pt x="667" y="425"/>
                  <a:pt x="667" y="425"/>
                </a:cubicBezTo>
                <a:cubicBezTo>
                  <a:pt x="667" y="425"/>
                  <a:pt x="667" y="426"/>
                  <a:pt x="666" y="425"/>
                </a:cubicBezTo>
                <a:cubicBezTo>
                  <a:pt x="666" y="425"/>
                  <a:pt x="666" y="425"/>
                  <a:pt x="666" y="425"/>
                </a:cubicBezTo>
                <a:cubicBezTo>
                  <a:pt x="665" y="425"/>
                  <a:pt x="665" y="425"/>
                  <a:pt x="665" y="424"/>
                </a:cubicBezTo>
                <a:cubicBezTo>
                  <a:pt x="665" y="424"/>
                  <a:pt x="664" y="424"/>
                  <a:pt x="664" y="423"/>
                </a:cubicBezTo>
                <a:cubicBezTo>
                  <a:pt x="664" y="423"/>
                  <a:pt x="663" y="423"/>
                  <a:pt x="663" y="422"/>
                </a:cubicBezTo>
                <a:cubicBezTo>
                  <a:pt x="663" y="422"/>
                  <a:pt x="663" y="422"/>
                  <a:pt x="663" y="422"/>
                </a:cubicBezTo>
                <a:cubicBezTo>
                  <a:pt x="663" y="422"/>
                  <a:pt x="663" y="422"/>
                  <a:pt x="663" y="422"/>
                </a:cubicBezTo>
                <a:cubicBezTo>
                  <a:pt x="663" y="422"/>
                  <a:pt x="664" y="422"/>
                  <a:pt x="664" y="422"/>
                </a:cubicBezTo>
                <a:cubicBezTo>
                  <a:pt x="664" y="423"/>
                  <a:pt x="665" y="423"/>
                  <a:pt x="665" y="424"/>
                </a:cubicBezTo>
                <a:cubicBezTo>
                  <a:pt x="665" y="423"/>
                  <a:pt x="665" y="423"/>
                  <a:pt x="664" y="422"/>
                </a:cubicBezTo>
                <a:cubicBezTo>
                  <a:pt x="664" y="422"/>
                  <a:pt x="664" y="422"/>
                  <a:pt x="663" y="421"/>
                </a:cubicBezTo>
                <a:cubicBezTo>
                  <a:pt x="663" y="421"/>
                  <a:pt x="663" y="421"/>
                  <a:pt x="663" y="421"/>
                </a:cubicBezTo>
                <a:cubicBezTo>
                  <a:pt x="663" y="421"/>
                  <a:pt x="662" y="421"/>
                  <a:pt x="663" y="419"/>
                </a:cubicBezTo>
                <a:cubicBezTo>
                  <a:pt x="662" y="419"/>
                  <a:pt x="663" y="420"/>
                  <a:pt x="662" y="420"/>
                </a:cubicBezTo>
                <a:cubicBezTo>
                  <a:pt x="662" y="419"/>
                  <a:pt x="662" y="419"/>
                  <a:pt x="662" y="419"/>
                </a:cubicBezTo>
                <a:cubicBezTo>
                  <a:pt x="662" y="419"/>
                  <a:pt x="662" y="420"/>
                  <a:pt x="662" y="419"/>
                </a:cubicBezTo>
                <a:cubicBezTo>
                  <a:pt x="661" y="419"/>
                  <a:pt x="661" y="419"/>
                  <a:pt x="661" y="419"/>
                </a:cubicBezTo>
                <a:cubicBezTo>
                  <a:pt x="661" y="419"/>
                  <a:pt x="661" y="419"/>
                  <a:pt x="661" y="419"/>
                </a:cubicBezTo>
                <a:cubicBezTo>
                  <a:pt x="660" y="419"/>
                  <a:pt x="660" y="418"/>
                  <a:pt x="660" y="418"/>
                </a:cubicBezTo>
                <a:cubicBezTo>
                  <a:pt x="660" y="418"/>
                  <a:pt x="661" y="417"/>
                  <a:pt x="661" y="418"/>
                </a:cubicBezTo>
                <a:cubicBezTo>
                  <a:pt x="661" y="417"/>
                  <a:pt x="660" y="417"/>
                  <a:pt x="661" y="416"/>
                </a:cubicBezTo>
                <a:cubicBezTo>
                  <a:pt x="661" y="416"/>
                  <a:pt x="660" y="416"/>
                  <a:pt x="660" y="416"/>
                </a:cubicBezTo>
                <a:cubicBezTo>
                  <a:pt x="660" y="416"/>
                  <a:pt x="660" y="416"/>
                  <a:pt x="660" y="416"/>
                </a:cubicBezTo>
                <a:cubicBezTo>
                  <a:pt x="660" y="416"/>
                  <a:pt x="660" y="417"/>
                  <a:pt x="660" y="417"/>
                </a:cubicBezTo>
                <a:cubicBezTo>
                  <a:pt x="659" y="417"/>
                  <a:pt x="659" y="416"/>
                  <a:pt x="659" y="416"/>
                </a:cubicBezTo>
                <a:cubicBezTo>
                  <a:pt x="659" y="415"/>
                  <a:pt x="659" y="415"/>
                  <a:pt x="658" y="415"/>
                </a:cubicBezTo>
                <a:cubicBezTo>
                  <a:pt x="658" y="414"/>
                  <a:pt x="658" y="414"/>
                  <a:pt x="658" y="414"/>
                </a:cubicBezTo>
                <a:cubicBezTo>
                  <a:pt x="658" y="414"/>
                  <a:pt x="658" y="414"/>
                  <a:pt x="658" y="414"/>
                </a:cubicBezTo>
                <a:cubicBezTo>
                  <a:pt x="658" y="414"/>
                  <a:pt x="658" y="414"/>
                  <a:pt x="657" y="414"/>
                </a:cubicBezTo>
                <a:cubicBezTo>
                  <a:pt x="657" y="414"/>
                  <a:pt x="657" y="413"/>
                  <a:pt x="657" y="413"/>
                </a:cubicBezTo>
                <a:cubicBezTo>
                  <a:pt x="657" y="413"/>
                  <a:pt x="657" y="413"/>
                  <a:pt x="657" y="413"/>
                </a:cubicBezTo>
                <a:cubicBezTo>
                  <a:pt x="656" y="412"/>
                  <a:pt x="656" y="412"/>
                  <a:pt x="656" y="411"/>
                </a:cubicBezTo>
                <a:cubicBezTo>
                  <a:pt x="656" y="411"/>
                  <a:pt x="657" y="410"/>
                  <a:pt x="656" y="410"/>
                </a:cubicBezTo>
                <a:cubicBezTo>
                  <a:pt x="656" y="410"/>
                  <a:pt x="656" y="408"/>
                  <a:pt x="657" y="408"/>
                </a:cubicBezTo>
                <a:cubicBezTo>
                  <a:pt x="657" y="408"/>
                  <a:pt x="657" y="408"/>
                  <a:pt x="657" y="408"/>
                </a:cubicBezTo>
                <a:cubicBezTo>
                  <a:pt x="658" y="409"/>
                  <a:pt x="658" y="409"/>
                  <a:pt x="658" y="410"/>
                </a:cubicBezTo>
                <a:cubicBezTo>
                  <a:pt x="659" y="410"/>
                  <a:pt x="659" y="410"/>
                  <a:pt x="659" y="410"/>
                </a:cubicBezTo>
                <a:cubicBezTo>
                  <a:pt x="659" y="410"/>
                  <a:pt x="659" y="411"/>
                  <a:pt x="659" y="411"/>
                </a:cubicBezTo>
                <a:cubicBezTo>
                  <a:pt x="660" y="411"/>
                  <a:pt x="661" y="412"/>
                  <a:pt x="662" y="413"/>
                </a:cubicBezTo>
                <a:cubicBezTo>
                  <a:pt x="662" y="414"/>
                  <a:pt x="662" y="414"/>
                  <a:pt x="662" y="414"/>
                </a:cubicBezTo>
                <a:cubicBezTo>
                  <a:pt x="662" y="414"/>
                  <a:pt x="662" y="414"/>
                  <a:pt x="663" y="414"/>
                </a:cubicBezTo>
                <a:cubicBezTo>
                  <a:pt x="663" y="414"/>
                  <a:pt x="663" y="414"/>
                  <a:pt x="663" y="414"/>
                </a:cubicBezTo>
                <a:cubicBezTo>
                  <a:pt x="662" y="414"/>
                  <a:pt x="662" y="414"/>
                  <a:pt x="662" y="414"/>
                </a:cubicBezTo>
                <a:cubicBezTo>
                  <a:pt x="662" y="414"/>
                  <a:pt x="662" y="414"/>
                  <a:pt x="662" y="414"/>
                </a:cubicBezTo>
                <a:cubicBezTo>
                  <a:pt x="662" y="413"/>
                  <a:pt x="661" y="413"/>
                  <a:pt x="661" y="412"/>
                </a:cubicBezTo>
                <a:cubicBezTo>
                  <a:pt x="660" y="412"/>
                  <a:pt x="660" y="411"/>
                  <a:pt x="659" y="410"/>
                </a:cubicBezTo>
                <a:cubicBezTo>
                  <a:pt x="659" y="410"/>
                  <a:pt x="659" y="409"/>
                  <a:pt x="658" y="409"/>
                </a:cubicBezTo>
                <a:cubicBezTo>
                  <a:pt x="658" y="409"/>
                  <a:pt x="658" y="408"/>
                  <a:pt x="658" y="408"/>
                </a:cubicBezTo>
                <a:cubicBezTo>
                  <a:pt x="657" y="407"/>
                  <a:pt x="658" y="407"/>
                  <a:pt x="658" y="407"/>
                </a:cubicBezTo>
                <a:cubicBezTo>
                  <a:pt x="658" y="407"/>
                  <a:pt x="658" y="407"/>
                  <a:pt x="659" y="407"/>
                </a:cubicBezTo>
                <a:cubicBezTo>
                  <a:pt x="659" y="407"/>
                  <a:pt x="659" y="407"/>
                  <a:pt x="659" y="408"/>
                </a:cubicBezTo>
                <a:cubicBezTo>
                  <a:pt x="659" y="408"/>
                  <a:pt x="659" y="408"/>
                  <a:pt x="660" y="408"/>
                </a:cubicBezTo>
                <a:cubicBezTo>
                  <a:pt x="659" y="407"/>
                  <a:pt x="659" y="407"/>
                  <a:pt x="659" y="406"/>
                </a:cubicBezTo>
                <a:cubicBezTo>
                  <a:pt x="659" y="405"/>
                  <a:pt x="659" y="405"/>
                  <a:pt x="659" y="405"/>
                </a:cubicBezTo>
                <a:cubicBezTo>
                  <a:pt x="659" y="405"/>
                  <a:pt x="659" y="405"/>
                  <a:pt x="660" y="405"/>
                </a:cubicBezTo>
                <a:cubicBezTo>
                  <a:pt x="660" y="406"/>
                  <a:pt x="660" y="406"/>
                  <a:pt x="660" y="406"/>
                </a:cubicBezTo>
                <a:cubicBezTo>
                  <a:pt x="660" y="407"/>
                  <a:pt x="661" y="407"/>
                  <a:pt x="661" y="408"/>
                </a:cubicBezTo>
                <a:cubicBezTo>
                  <a:pt x="661" y="408"/>
                  <a:pt x="661" y="409"/>
                  <a:pt x="662" y="409"/>
                </a:cubicBezTo>
                <a:cubicBezTo>
                  <a:pt x="662" y="409"/>
                  <a:pt x="662" y="409"/>
                  <a:pt x="662" y="409"/>
                </a:cubicBezTo>
                <a:cubicBezTo>
                  <a:pt x="662" y="409"/>
                  <a:pt x="662" y="409"/>
                  <a:pt x="662" y="409"/>
                </a:cubicBezTo>
                <a:cubicBezTo>
                  <a:pt x="661" y="408"/>
                  <a:pt x="661" y="408"/>
                  <a:pt x="661" y="407"/>
                </a:cubicBezTo>
                <a:cubicBezTo>
                  <a:pt x="661" y="407"/>
                  <a:pt x="661" y="407"/>
                  <a:pt x="661" y="407"/>
                </a:cubicBezTo>
                <a:cubicBezTo>
                  <a:pt x="661" y="406"/>
                  <a:pt x="661" y="406"/>
                  <a:pt x="661" y="405"/>
                </a:cubicBezTo>
                <a:cubicBezTo>
                  <a:pt x="662" y="405"/>
                  <a:pt x="662" y="405"/>
                  <a:pt x="663" y="405"/>
                </a:cubicBezTo>
                <a:cubicBezTo>
                  <a:pt x="663" y="406"/>
                  <a:pt x="663" y="406"/>
                  <a:pt x="663" y="406"/>
                </a:cubicBezTo>
                <a:cubicBezTo>
                  <a:pt x="663" y="406"/>
                  <a:pt x="664" y="406"/>
                  <a:pt x="664" y="406"/>
                </a:cubicBezTo>
                <a:cubicBezTo>
                  <a:pt x="664" y="405"/>
                  <a:pt x="664" y="405"/>
                  <a:pt x="664" y="405"/>
                </a:cubicBezTo>
                <a:cubicBezTo>
                  <a:pt x="665" y="404"/>
                  <a:pt x="665" y="404"/>
                  <a:pt x="666" y="404"/>
                </a:cubicBezTo>
                <a:cubicBezTo>
                  <a:pt x="666" y="404"/>
                  <a:pt x="666" y="404"/>
                  <a:pt x="666" y="404"/>
                </a:cubicBezTo>
                <a:cubicBezTo>
                  <a:pt x="667" y="404"/>
                  <a:pt x="667" y="405"/>
                  <a:pt x="668" y="405"/>
                </a:cubicBezTo>
                <a:cubicBezTo>
                  <a:pt x="668" y="405"/>
                  <a:pt x="668" y="405"/>
                  <a:pt x="669" y="406"/>
                </a:cubicBezTo>
                <a:cubicBezTo>
                  <a:pt x="669" y="406"/>
                  <a:pt x="669" y="406"/>
                  <a:pt x="669" y="406"/>
                </a:cubicBezTo>
                <a:cubicBezTo>
                  <a:pt x="670" y="407"/>
                  <a:pt x="669" y="407"/>
                  <a:pt x="669" y="407"/>
                </a:cubicBezTo>
                <a:cubicBezTo>
                  <a:pt x="669" y="408"/>
                  <a:pt x="669" y="409"/>
                  <a:pt x="668" y="409"/>
                </a:cubicBezTo>
                <a:cubicBezTo>
                  <a:pt x="668" y="409"/>
                  <a:pt x="667" y="409"/>
                  <a:pt x="667" y="409"/>
                </a:cubicBezTo>
                <a:cubicBezTo>
                  <a:pt x="667" y="409"/>
                  <a:pt x="666" y="409"/>
                  <a:pt x="666" y="409"/>
                </a:cubicBezTo>
                <a:cubicBezTo>
                  <a:pt x="666" y="410"/>
                  <a:pt x="666" y="409"/>
                  <a:pt x="667" y="409"/>
                </a:cubicBezTo>
                <a:cubicBezTo>
                  <a:pt x="667" y="409"/>
                  <a:pt x="667" y="409"/>
                  <a:pt x="667" y="410"/>
                </a:cubicBezTo>
                <a:cubicBezTo>
                  <a:pt x="667" y="410"/>
                  <a:pt x="667" y="410"/>
                  <a:pt x="668" y="410"/>
                </a:cubicBezTo>
                <a:cubicBezTo>
                  <a:pt x="668" y="410"/>
                  <a:pt x="668" y="410"/>
                  <a:pt x="668" y="410"/>
                </a:cubicBezTo>
                <a:cubicBezTo>
                  <a:pt x="668" y="411"/>
                  <a:pt x="667" y="411"/>
                  <a:pt x="667" y="411"/>
                </a:cubicBezTo>
                <a:cubicBezTo>
                  <a:pt x="667" y="410"/>
                  <a:pt x="666" y="410"/>
                  <a:pt x="666" y="411"/>
                </a:cubicBezTo>
                <a:cubicBezTo>
                  <a:pt x="666" y="411"/>
                  <a:pt x="667" y="411"/>
                  <a:pt x="667" y="411"/>
                </a:cubicBezTo>
                <a:cubicBezTo>
                  <a:pt x="667" y="411"/>
                  <a:pt x="668" y="411"/>
                  <a:pt x="668" y="411"/>
                </a:cubicBezTo>
                <a:cubicBezTo>
                  <a:pt x="668" y="411"/>
                  <a:pt x="668" y="411"/>
                  <a:pt x="668" y="411"/>
                </a:cubicBezTo>
                <a:cubicBezTo>
                  <a:pt x="669" y="411"/>
                  <a:pt x="669" y="410"/>
                  <a:pt x="669" y="410"/>
                </a:cubicBezTo>
                <a:cubicBezTo>
                  <a:pt x="669" y="409"/>
                  <a:pt x="670" y="409"/>
                  <a:pt x="670" y="408"/>
                </a:cubicBezTo>
                <a:cubicBezTo>
                  <a:pt x="671" y="408"/>
                  <a:pt x="671" y="408"/>
                  <a:pt x="670" y="408"/>
                </a:cubicBezTo>
                <a:cubicBezTo>
                  <a:pt x="670" y="408"/>
                  <a:pt x="670" y="408"/>
                  <a:pt x="670" y="407"/>
                </a:cubicBezTo>
                <a:cubicBezTo>
                  <a:pt x="670" y="407"/>
                  <a:pt x="671" y="407"/>
                  <a:pt x="671" y="407"/>
                </a:cubicBezTo>
                <a:cubicBezTo>
                  <a:pt x="671" y="407"/>
                  <a:pt x="672" y="407"/>
                  <a:pt x="672" y="408"/>
                </a:cubicBezTo>
                <a:cubicBezTo>
                  <a:pt x="672" y="409"/>
                  <a:pt x="673" y="408"/>
                  <a:pt x="674" y="408"/>
                </a:cubicBezTo>
                <a:cubicBezTo>
                  <a:pt x="674" y="408"/>
                  <a:pt x="674" y="408"/>
                  <a:pt x="674" y="408"/>
                </a:cubicBezTo>
                <a:cubicBezTo>
                  <a:pt x="675" y="408"/>
                  <a:pt x="675" y="408"/>
                  <a:pt x="675" y="409"/>
                </a:cubicBezTo>
                <a:cubicBezTo>
                  <a:pt x="675" y="409"/>
                  <a:pt x="675" y="409"/>
                  <a:pt x="674" y="409"/>
                </a:cubicBezTo>
                <a:cubicBezTo>
                  <a:pt x="675" y="409"/>
                  <a:pt x="676" y="409"/>
                  <a:pt x="677" y="410"/>
                </a:cubicBezTo>
                <a:cubicBezTo>
                  <a:pt x="677" y="410"/>
                  <a:pt x="677" y="411"/>
                  <a:pt x="677" y="411"/>
                </a:cubicBezTo>
                <a:cubicBezTo>
                  <a:pt x="677" y="412"/>
                  <a:pt x="677" y="413"/>
                  <a:pt x="676" y="413"/>
                </a:cubicBezTo>
                <a:cubicBezTo>
                  <a:pt x="676" y="413"/>
                  <a:pt x="676" y="413"/>
                  <a:pt x="676" y="413"/>
                </a:cubicBezTo>
                <a:cubicBezTo>
                  <a:pt x="675" y="413"/>
                  <a:pt x="675" y="413"/>
                  <a:pt x="674" y="412"/>
                </a:cubicBezTo>
                <a:cubicBezTo>
                  <a:pt x="674" y="412"/>
                  <a:pt x="674" y="412"/>
                  <a:pt x="674" y="412"/>
                </a:cubicBezTo>
                <a:cubicBezTo>
                  <a:pt x="673" y="412"/>
                  <a:pt x="673" y="412"/>
                  <a:pt x="673" y="412"/>
                </a:cubicBezTo>
                <a:cubicBezTo>
                  <a:pt x="673" y="412"/>
                  <a:pt x="673" y="412"/>
                  <a:pt x="674" y="412"/>
                </a:cubicBezTo>
                <a:cubicBezTo>
                  <a:pt x="674" y="412"/>
                  <a:pt x="674" y="412"/>
                  <a:pt x="674" y="412"/>
                </a:cubicBezTo>
                <a:cubicBezTo>
                  <a:pt x="674" y="413"/>
                  <a:pt x="674" y="413"/>
                  <a:pt x="675" y="413"/>
                </a:cubicBezTo>
                <a:cubicBezTo>
                  <a:pt x="675" y="414"/>
                  <a:pt x="676" y="414"/>
                  <a:pt x="676" y="414"/>
                </a:cubicBezTo>
                <a:cubicBezTo>
                  <a:pt x="676" y="414"/>
                  <a:pt x="676" y="414"/>
                  <a:pt x="676" y="415"/>
                </a:cubicBezTo>
                <a:cubicBezTo>
                  <a:pt x="676" y="415"/>
                  <a:pt x="677" y="415"/>
                  <a:pt x="676" y="415"/>
                </a:cubicBezTo>
                <a:cubicBezTo>
                  <a:pt x="676" y="415"/>
                  <a:pt x="676" y="416"/>
                  <a:pt x="675" y="416"/>
                </a:cubicBezTo>
                <a:cubicBezTo>
                  <a:pt x="675" y="416"/>
                  <a:pt x="674" y="416"/>
                  <a:pt x="674" y="416"/>
                </a:cubicBezTo>
                <a:cubicBezTo>
                  <a:pt x="673" y="416"/>
                  <a:pt x="673" y="416"/>
                  <a:pt x="672" y="415"/>
                </a:cubicBezTo>
                <a:cubicBezTo>
                  <a:pt x="672" y="415"/>
                  <a:pt x="671" y="414"/>
                  <a:pt x="671" y="414"/>
                </a:cubicBezTo>
                <a:cubicBezTo>
                  <a:pt x="670" y="414"/>
                  <a:pt x="670" y="414"/>
                  <a:pt x="670" y="413"/>
                </a:cubicBezTo>
                <a:cubicBezTo>
                  <a:pt x="668" y="413"/>
                  <a:pt x="667" y="412"/>
                  <a:pt x="666" y="411"/>
                </a:cubicBezTo>
                <a:cubicBezTo>
                  <a:pt x="666" y="411"/>
                  <a:pt x="665" y="411"/>
                  <a:pt x="665" y="411"/>
                </a:cubicBezTo>
                <a:cubicBezTo>
                  <a:pt x="666" y="412"/>
                  <a:pt x="667" y="412"/>
                  <a:pt x="667" y="412"/>
                </a:cubicBezTo>
                <a:cubicBezTo>
                  <a:pt x="668" y="413"/>
                  <a:pt x="668" y="413"/>
                  <a:pt x="668" y="413"/>
                </a:cubicBezTo>
                <a:cubicBezTo>
                  <a:pt x="668" y="414"/>
                  <a:pt x="668" y="414"/>
                  <a:pt x="668" y="414"/>
                </a:cubicBezTo>
                <a:cubicBezTo>
                  <a:pt x="668" y="414"/>
                  <a:pt x="668" y="414"/>
                  <a:pt x="669" y="414"/>
                </a:cubicBezTo>
                <a:cubicBezTo>
                  <a:pt x="669" y="414"/>
                  <a:pt x="669" y="414"/>
                  <a:pt x="669" y="414"/>
                </a:cubicBezTo>
                <a:cubicBezTo>
                  <a:pt x="669" y="414"/>
                  <a:pt x="669" y="414"/>
                  <a:pt x="669" y="415"/>
                </a:cubicBezTo>
                <a:cubicBezTo>
                  <a:pt x="669" y="414"/>
                  <a:pt x="670" y="414"/>
                  <a:pt x="670" y="415"/>
                </a:cubicBezTo>
                <a:cubicBezTo>
                  <a:pt x="671" y="415"/>
                  <a:pt x="671" y="415"/>
                  <a:pt x="671" y="416"/>
                </a:cubicBezTo>
                <a:cubicBezTo>
                  <a:pt x="671" y="416"/>
                  <a:pt x="671" y="416"/>
                  <a:pt x="671" y="416"/>
                </a:cubicBezTo>
                <a:cubicBezTo>
                  <a:pt x="671" y="416"/>
                  <a:pt x="672" y="416"/>
                  <a:pt x="672" y="416"/>
                </a:cubicBezTo>
                <a:cubicBezTo>
                  <a:pt x="671" y="417"/>
                  <a:pt x="671" y="417"/>
                  <a:pt x="671" y="417"/>
                </a:cubicBezTo>
                <a:cubicBezTo>
                  <a:pt x="671" y="417"/>
                  <a:pt x="671" y="417"/>
                  <a:pt x="671" y="417"/>
                </a:cubicBezTo>
                <a:cubicBezTo>
                  <a:pt x="671" y="417"/>
                  <a:pt x="671" y="417"/>
                  <a:pt x="672" y="417"/>
                </a:cubicBezTo>
                <a:cubicBezTo>
                  <a:pt x="672" y="417"/>
                  <a:pt x="673" y="417"/>
                  <a:pt x="673" y="417"/>
                </a:cubicBezTo>
                <a:cubicBezTo>
                  <a:pt x="673" y="417"/>
                  <a:pt x="673" y="417"/>
                  <a:pt x="673" y="417"/>
                </a:cubicBezTo>
                <a:cubicBezTo>
                  <a:pt x="673" y="417"/>
                  <a:pt x="674" y="417"/>
                  <a:pt x="674" y="417"/>
                </a:cubicBezTo>
                <a:cubicBezTo>
                  <a:pt x="674" y="417"/>
                  <a:pt x="674" y="417"/>
                  <a:pt x="675" y="417"/>
                </a:cubicBezTo>
                <a:cubicBezTo>
                  <a:pt x="675" y="416"/>
                  <a:pt x="675" y="416"/>
                  <a:pt x="675" y="416"/>
                </a:cubicBezTo>
                <a:cubicBezTo>
                  <a:pt x="676" y="417"/>
                  <a:pt x="676" y="417"/>
                  <a:pt x="676" y="416"/>
                </a:cubicBezTo>
                <a:cubicBezTo>
                  <a:pt x="677" y="416"/>
                  <a:pt x="677" y="416"/>
                  <a:pt x="677" y="417"/>
                </a:cubicBezTo>
                <a:cubicBezTo>
                  <a:pt x="677" y="417"/>
                  <a:pt x="678" y="418"/>
                  <a:pt x="677" y="418"/>
                </a:cubicBezTo>
                <a:cubicBezTo>
                  <a:pt x="677" y="418"/>
                  <a:pt x="677" y="419"/>
                  <a:pt x="677" y="419"/>
                </a:cubicBezTo>
                <a:cubicBezTo>
                  <a:pt x="677" y="419"/>
                  <a:pt x="677" y="419"/>
                  <a:pt x="677" y="419"/>
                </a:cubicBezTo>
                <a:cubicBezTo>
                  <a:pt x="677" y="419"/>
                  <a:pt x="677" y="419"/>
                  <a:pt x="677" y="419"/>
                </a:cubicBezTo>
                <a:cubicBezTo>
                  <a:pt x="678" y="419"/>
                  <a:pt x="678" y="420"/>
                  <a:pt x="678" y="420"/>
                </a:cubicBezTo>
                <a:cubicBezTo>
                  <a:pt x="678" y="420"/>
                  <a:pt x="678" y="421"/>
                  <a:pt x="678" y="421"/>
                </a:cubicBezTo>
                <a:cubicBezTo>
                  <a:pt x="678" y="421"/>
                  <a:pt x="678" y="421"/>
                  <a:pt x="678" y="421"/>
                </a:cubicBezTo>
                <a:cubicBezTo>
                  <a:pt x="678" y="421"/>
                  <a:pt x="678" y="421"/>
                  <a:pt x="678" y="422"/>
                </a:cubicBezTo>
                <a:cubicBezTo>
                  <a:pt x="678" y="422"/>
                  <a:pt x="678" y="422"/>
                  <a:pt x="678" y="423"/>
                </a:cubicBezTo>
                <a:cubicBezTo>
                  <a:pt x="678" y="423"/>
                  <a:pt x="677" y="422"/>
                  <a:pt x="677" y="422"/>
                </a:cubicBezTo>
                <a:cubicBezTo>
                  <a:pt x="677" y="422"/>
                  <a:pt x="677" y="422"/>
                  <a:pt x="676" y="421"/>
                </a:cubicBezTo>
                <a:cubicBezTo>
                  <a:pt x="677" y="422"/>
                  <a:pt x="677" y="422"/>
                  <a:pt x="677" y="423"/>
                </a:cubicBezTo>
                <a:cubicBezTo>
                  <a:pt x="678" y="423"/>
                  <a:pt x="677" y="423"/>
                  <a:pt x="677" y="423"/>
                </a:cubicBezTo>
                <a:cubicBezTo>
                  <a:pt x="676" y="423"/>
                  <a:pt x="676" y="424"/>
                  <a:pt x="675" y="423"/>
                </a:cubicBezTo>
                <a:cubicBezTo>
                  <a:pt x="675" y="423"/>
                  <a:pt x="675" y="423"/>
                  <a:pt x="675" y="423"/>
                </a:cubicBezTo>
                <a:cubicBezTo>
                  <a:pt x="674" y="423"/>
                  <a:pt x="674" y="422"/>
                  <a:pt x="674" y="422"/>
                </a:cubicBezTo>
                <a:cubicBezTo>
                  <a:pt x="673" y="422"/>
                  <a:pt x="673" y="421"/>
                  <a:pt x="673" y="421"/>
                </a:cubicBezTo>
                <a:cubicBezTo>
                  <a:pt x="672" y="421"/>
                  <a:pt x="672" y="421"/>
                  <a:pt x="672" y="421"/>
                </a:cubicBezTo>
                <a:cubicBezTo>
                  <a:pt x="671" y="420"/>
                  <a:pt x="670" y="419"/>
                  <a:pt x="669" y="419"/>
                </a:cubicBezTo>
                <a:cubicBezTo>
                  <a:pt x="669" y="418"/>
                  <a:pt x="669" y="418"/>
                  <a:pt x="669" y="418"/>
                </a:cubicBezTo>
                <a:cubicBezTo>
                  <a:pt x="668" y="418"/>
                  <a:pt x="668" y="418"/>
                  <a:pt x="668" y="418"/>
                </a:cubicBezTo>
                <a:cubicBezTo>
                  <a:pt x="668" y="418"/>
                  <a:pt x="667" y="417"/>
                  <a:pt x="667" y="417"/>
                </a:cubicBezTo>
                <a:cubicBezTo>
                  <a:pt x="667" y="417"/>
                  <a:pt x="667" y="417"/>
                  <a:pt x="666" y="417"/>
                </a:cubicBezTo>
                <a:cubicBezTo>
                  <a:pt x="666" y="416"/>
                  <a:pt x="666" y="416"/>
                  <a:pt x="666" y="416"/>
                </a:cubicBezTo>
                <a:cubicBezTo>
                  <a:pt x="666" y="416"/>
                  <a:pt x="666" y="416"/>
                  <a:pt x="666" y="416"/>
                </a:cubicBezTo>
                <a:cubicBezTo>
                  <a:pt x="665" y="416"/>
                  <a:pt x="666" y="416"/>
                  <a:pt x="666" y="417"/>
                </a:cubicBezTo>
                <a:cubicBezTo>
                  <a:pt x="666" y="417"/>
                  <a:pt x="666" y="417"/>
                  <a:pt x="666" y="417"/>
                </a:cubicBezTo>
                <a:cubicBezTo>
                  <a:pt x="667" y="418"/>
                  <a:pt x="667" y="418"/>
                  <a:pt x="666" y="419"/>
                </a:cubicBezTo>
                <a:cubicBezTo>
                  <a:pt x="666" y="419"/>
                  <a:pt x="666" y="419"/>
                  <a:pt x="667" y="419"/>
                </a:cubicBezTo>
                <a:cubicBezTo>
                  <a:pt x="667" y="419"/>
                  <a:pt x="667" y="419"/>
                  <a:pt x="667" y="419"/>
                </a:cubicBezTo>
                <a:cubicBezTo>
                  <a:pt x="668" y="419"/>
                  <a:pt x="668" y="420"/>
                  <a:pt x="668" y="420"/>
                </a:cubicBezTo>
                <a:cubicBezTo>
                  <a:pt x="669" y="420"/>
                  <a:pt x="669" y="420"/>
                  <a:pt x="669" y="420"/>
                </a:cubicBezTo>
                <a:cubicBezTo>
                  <a:pt x="669" y="421"/>
                  <a:pt x="668" y="421"/>
                  <a:pt x="668" y="421"/>
                </a:cubicBezTo>
                <a:cubicBezTo>
                  <a:pt x="668" y="421"/>
                  <a:pt x="668" y="421"/>
                  <a:pt x="668" y="421"/>
                </a:cubicBezTo>
                <a:cubicBezTo>
                  <a:pt x="668" y="421"/>
                  <a:pt x="668" y="421"/>
                  <a:pt x="668" y="421"/>
                </a:cubicBezTo>
                <a:cubicBezTo>
                  <a:pt x="668" y="421"/>
                  <a:pt x="669" y="421"/>
                  <a:pt x="669" y="422"/>
                </a:cubicBezTo>
                <a:cubicBezTo>
                  <a:pt x="669" y="422"/>
                  <a:pt x="669" y="422"/>
                  <a:pt x="669" y="423"/>
                </a:cubicBezTo>
                <a:cubicBezTo>
                  <a:pt x="669" y="422"/>
                  <a:pt x="669" y="422"/>
                  <a:pt x="669" y="422"/>
                </a:cubicBezTo>
                <a:cubicBezTo>
                  <a:pt x="670" y="422"/>
                  <a:pt x="670" y="422"/>
                  <a:pt x="670" y="421"/>
                </a:cubicBezTo>
                <a:cubicBezTo>
                  <a:pt x="670" y="421"/>
                  <a:pt x="671" y="421"/>
                  <a:pt x="671" y="421"/>
                </a:cubicBezTo>
                <a:cubicBezTo>
                  <a:pt x="672" y="421"/>
                  <a:pt x="672" y="422"/>
                  <a:pt x="672" y="422"/>
                </a:cubicBezTo>
                <a:cubicBezTo>
                  <a:pt x="672" y="422"/>
                  <a:pt x="672" y="423"/>
                  <a:pt x="672" y="423"/>
                </a:cubicBezTo>
                <a:cubicBezTo>
                  <a:pt x="672" y="423"/>
                  <a:pt x="671" y="423"/>
                  <a:pt x="671" y="423"/>
                </a:cubicBezTo>
                <a:cubicBezTo>
                  <a:pt x="671" y="424"/>
                  <a:pt x="671" y="424"/>
                  <a:pt x="671" y="424"/>
                </a:cubicBezTo>
                <a:cubicBezTo>
                  <a:pt x="671" y="423"/>
                  <a:pt x="671" y="423"/>
                  <a:pt x="672" y="423"/>
                </a:cubicBezTo>
                <a:cubicBezTo>
                  <a:pt x="672" y="423"/>
                  <a:pt x="672" y="423"/>
                  <a:pt x="672" y="423"/>
                </a:cubicBezTo>
                <a:cubicBezTo>
                  <a:pt x="672" y="423"/>
                  <a:pt x="673" y="423"/>
                  <a:pt x="673" y="423"/>
                </a:cubicBezTo>
                <a:cubicBezTo>
                  <a:pt x="673" y="423"/>
                  <a:pt x="674" y="423"/>
                  <a:pt x="674" y="423"/>
                </a:cubicBezTo>
                <a:cubicBezTo>
                  <a:pt x="674" y="423"/>
                  <a:pt x="674" y="423"/>
                  <a:pt x="674" y="424"/>
                </a:cubicBezTo>
                <a:cubicBezTo>
                  <a:pt x="674" y="424"/>
                  <a:pt x="674" y="424"/>
                  <a:pt x="673" y="424"/>
                </a:cubicBezTo>
                <a:cubicBezTo>
                  <a:pt x="674" y="424"/>
                  <a:pt x="675" y="424"/>
                  <a:pt x="676" y="425"/>
                </a:cubicBezTo>
                <a:cubicBezTo>
                  <a:pt x="676" y="425"/>
                  <a:pt x="676" y="425"/>
                  <a:pt x="676" y="425"/>
                </a:cubicBezTo>
                <a:cubicBezTo>
                  <a:pt x="677" y="424"/>
                  <a:pt x="678" y="424"/>
                  <a:pt x="678" y="425"/>
                </a:cubicBezTo>
                <a:cubicBezTo>
                  <a:pt x="678" y="426"/>
                  <a:pt x="678" y="426"/>
                  <a:pt x="678" y="427"/>
                </a:cubicBezTo>
                <a:cubicBezTo>
                  <a:pt x="678" y="427"/>
                  <a:pt x="678" y="427"/>
                  <a:pt x="678" y="427"/>
                </a:cubicBezTo>
                <a:cubicBezTo>
                  <a:pt x="677" y="426"/>
                  <a:pt x="677" y="426"/>
                  <a:pt x="676" y="426"/>
                </a:cubicBezTo>
                <a:cubicBezTo>
                  <a:pt x="676" y="426"/>
                  <a:pt x="676" y="426"/>
                  <a:pt x="676" y="426"/>
                </a:cubicBezTo>
                <a:cubicBezTo>
                  <a:pt x="676" y="426"/>
                  <a:pt x="677" y="426"/>
                  <a:pt x="676" y="427"/>
                </a:cubicBezTo>
                <a:cubicBezTo>
                  <a:pt x="676" y="427"/>
                  <a:pt x="676" y="427"/>
                  <a:pt x="676" y="427"/>
                </a:cubicBezTo>
                <a:cubicBezTo>
                  <a:pt x="677" y="427"/>
                  <a:pt x="677" y="429"/>
                  <a:pt x="678" y="428"/>
                </a:cubicBezTo>
                <a:cubicBezTo>
                  <a:pt x="678" y="428"/>
                  <a:pt x="678" y="428"/>
                  <a:pt x="678" y="428"/>
                </a:cubicBezTo>
                <a:cubicBezTo>
                  <a:pt x="678" y="428"/>
                  <a:pt x="678" y="429"/>
                  <a:pt x="678" y="429"/>
                </a:cubicBezTo>
                <a:cubicBezTo>
                  <a:pt x="678" y="429"/>
                  <a:pt x="678" y="429"/>
                  <a:pt x="678" y="429"/>
                </a:cubicBezTo>
                <a:cubicBezTo>
                  <a:pt x="678" y="429"/>
                  <a:pt x="678" y="429"/>
                  <a:pt x="678" y="429"/>
                </a:cubicBezTo>
                <a:cubicBezTo>
                  <a:pt x="678" y="430"/>
                  <a:pt x="678" y="430"/>
                  <a:pt x="678" y="430"/>
                </a:cubicBezTo>
                <a:cubicBezTo>
                  <a:pt x="679" y="430"/>
                  <a:pt x="679" y="431"/>
                  <a:pt x="678" y="431"/>
                </a:cubicBezTo>
                <a:cubicBezTo>
                  <a:pt x="678" y="431"/>
                  <a:pt x="678" y="431"/>
                  <a:pt x="678" y="431"/>
                </a:cubicBezTo>
                <a:cubicBezTo>
                  <a:pt x="679" y="431"/>
                  <a:pt x="679" y="432"/>
                  <a:pt x="679" y="432"/>
                </a:cubicBezTo>
                <a:cubicBezTo>
                  <a:pt x="679" y="432"/>
                  <a:pt x="678" y="432"/>
                  <a:pt x="678" y="432"/>
                </a:cubicBezTo>
                <a:cubicBezTo>
                  <a:pt x="679" y="432"/>
                  <a:pt x="679" y="432"/>
                  <a:pt x="679" y="433"/>
                </a:cubicBezTo>
                <a:cubicBezTo>
                  <a:pt x="679" y="433"/>
                  <a:pt x="679" y="433"/>
                  <a:pt x="679" y="433"/>
                </a:cubicBezTo>
                <a:cubicBezTo>
                  <a:pt x="679" y="434"/>
                  <a:pt x="679" y="434"/>
                  <a:pt x="679" y="435"/>
                </a:cubicBezTo>
                <a:cubicBezTo>
                  <a:pt x="679" y="435"/>
                  <a:pt x="679" y="435"/>
                  <a:pt x="679" y="435"/>
                </a:cubicBezTo>
                <a:cubicBezTo>
                  <a:pt x="680" y="436"/>
                  <a:pt x="680" y="437"/>
                  <a:pt x="680" y="438"/>
                </a:cubicBezTo>
                <a:cubicBezTo>
                  <a:pt x="680" y="438"/>
                  <a:pt x="680" y="438"/>
                  <a:pt x="680" y="438"/>
                </a:cubicBezTo>
                <a:cubicBezTo>
                  <a:pt x="680" y="439"/>
                  <a:pt x="680" y="439"/>
                  <a:pt x="680" y="440"/>
                </a:cubicBezTo>
                <a:cubicBezTo>
                  <a:pt x="680" y="440"/>
                  <a:pt x="680" y="440"/>
                  <a:pt x="680" y="440"/>
                </a:cubicBezTo>
                <a:cubicBezTo>
                  <a:pt x="681" y="440"/>
                  <a:pt x="681" y="441"/>
                  <a:pt x="681" y="441"/>
                </a:cubicBezTo>
                <a:cubicBezTo>
                  <a:pt x="681" y="441"/>
                  <a:pt x="681" y="441"/>
                  <a:pt x="681" y="441"/>
                </a:cubicBezTo>
                <a:cubicBezTo>
                  <a:pt x="681" y="441"/>
                  <a:pt x="681" y="441"/>
                  <a:pt x="681" y="441"/>
                </a:cubicBezTo>
                <a:cubicBezTo>
                  <a:pt x="681" y="442"/>
                  <a:pt x="681" y="443"/>
                  <a:pt x="681" y="444"/>
                </a:cubicBezTo>
                <a:close/>
                <a:moveTo>
                  <a:pt x="680" y="447"/>
                </a:moveTo>
                <a:cubicBezTo>
                  <a:pt x="680" y="447"/>
                  <a:pt x="680" y="447"/>
                  <a:pt x="680" y="447"/>
                </a:cubicBezTo>
                <a:close/>
                <a:moveTo>
                  <a:pt x="697" y="474"/>
                </a:moveTo>
                <a:cubicBezTo>
                  <a:pt x="697" y="473"/>
                  <a:pt x="697" y="473"/>
                  <a:pt x="697" y="473"/>
                </a:cubicBezTo>
                <a:cubicBezTo>
                  <a:pt x="698" y="473"/>
                  <a:pt x="698" y="473"/>
                  <a:pt x="697" y="473"/>
                </a:cubicBezTo>
                <a:cubicBezTo>
                  <a:pt x="697" y="472"/>
                  <a:pt x="697" y="472"/>
                  <a:pt x="697" y="473"/>
                </a:cubicBezTo>
                <a:cubicBezTo>
                  <a:pt x="697" y="473"/>
                  <a:pt x="696" y="473"/>
                  <a:pt x="696" y="473"/>
                </a:cubicBezTo>
                <a:cubicBezTo>
                  <a:pt x="696" y="473"/>
                  <a:pt x="696" y="473"/>
                  <a:pt x="696" y="474"/>
                </a:cubicBezTo>
                <a:cubicBezTo>
                  <a:pt x="696" y="474"/>
                  <a:pt x="696" y="474"/>
                  <a:pt x="696" y="474"/>
                </a:cubicBezTo>
                <a:cubicBezTo>
                  <a:pt x="695" y="474"/>
                  <a:pt x="696" y="475"/>
                  <a:pt x="696" y="475"/>
                </a:cubicBezTo>
                <a:cubicBezTo>
                  <a:pt x="696" y="475"/>
                  <a:pt x="696" y="475"/>
                  <a:pt x="696" y="475"/>
                </a:cubicBezTo>
                <a:cubicBezTo>
                  <a:pt x="697" y="475"/>
                  <a:pt x="697" y="475"/>
                  <a:pt x="697" y="475"/>
                </a:cubicBezTo>
                <a:cubicBezTo>
                  <a:pt x="697" y="476"/>
                  <a:pt x="698" y="475"/>
                  <a:pt x="698" y="475"/>
                </a:cubicBezTo>
                <a:cubicBezTo>
                  <a:pt x="698" y="475"/>
                  <a:pt x="699" y="474"/>
                  <a:pt x="698" y="474"/>
                </a:cubicBezTo>
                <a:cubicBezTo>
                  <a:pt x="698" y="473"/>
                  <a:pt x="698" y="473"/>
                  <a:pt x="697" y="474"/>
                </a:cubicBezTo>
                <a:close/>
                <a:moveTo>
                  <a:pt x="694" y="471"/>
                </a:moveTo>
                <a:cubicBezTo>
                  <a:pt x="694" y="470"/>
                  <a:pt x="694" y="471"/>
                  <a:pt x="694" y="471"/>
                </a:cubicBezTo>
                <a:cubicBezTo>
                  <a:pt x="694" y="471"/>
                  <a:pt x="694" y="471"/>
                  <a:pt x="693" y="471"/>
                </a:cubicBezTo>
                <a:cubicBezTo>
                  <a:pt x="693" y="471"/>
                  <a:pt x="693" y="472"/>
                  <a:pt x="693" y="472"/>
                </a:cubicBezTo>
                <a:cubicBezTo>
                  <a:pt x="694" y="472"/>
                  <a:pt x="693" y="473"/>
                  <a:pt x="693" y="473"/>
                </a:cubicBezTo>
                <a:cubicBezTo>
                  <a:pt x="693" y="474"/>
                  <a:pt x="693" y="474"/>
                  <a:pt x="694" y="475"/>
                </a:cubicBezTo>
                <a:cubicBezTo>
                  <a:pt x="694" y="474"/>
                  <a:pt x="694" y="473"/>
                  <a:pt x="694" y="472"/>
                </a:cubicBezTo>
                <a:cubicBezTo>
                  <a:pt x="695" y="472"/>
                  <a:pt x="695" y="472"/>
                  <a:pt x="695" y="471"/>
                </a:cubicBezTo>
                <a:cubicBezTo>
                  <a:pt x="695" y="472"/>
                  <a:pt x="696" y="472"/>
                  <a:pt x="696" y="471"/>
                </a:cubicBezTo>
                <a:cubicBezTo>
                  <a:pt x="695" y="470"/>
                  <a:pt x="695" y="471"/>
                  <a:pt x="694" y="471"/>
                </a:cubicBezTo>
                <a:close/>
                <a:moveTo>
                  <a:pt x="706" y="484"/>
                </a:moveTo>
                <a:cubicBezTo>
                  <a:pt x="706" y="484"/>
                  <a:pt x="705" y="484"/>
                  <a:pt x="706" y="483"/>
                </a:cubicBezTo>
                <a:cubicBezTo>
                  <a:pt x="706" y="483"/>
                  <a:pt x="706" y="483"/>
                  <a:pt x="706" y="483"/>
                </a:cubicBezTo>
                <a:cubicBezTo>
                  <a:pt x="706" y="483"/>
                  <a:pt x="706" y="482"/>
                  <a:pt x="706" y="482"/>
                </a:cubicBezTo>
                <a:cubicBezTo>
                  <a:pt x="706" y="483"/>
                  <a:pt x="706" y="481"/>
                  <a:pt x="705" y="482"/>
                </a:cubicBezTo>
                <a:cubicBezTo>
                  <a:pt x="705" y="482"/>
                  <a:pt x="705" y="482"/>
                  <a:pt x="705" y="482"/>
                </a:cubicBezTo>
                <a:cubicBezTo>
                  <a:pt x="705" y="481"/>
                  <a:pt x="704" y="481"/>
                  <a:pt x="704" y="482"/>
                </a:cubicBezTo>
                <a:cubicBezTo>
                  <a:pt x="704" y="482"/>
                  <a:pt x="704" y="483"/>
                  <a:pt x="704" y="483"/>
                </a:cubicBezTo>
                <a:cubicBezTo>
                  <a:pt x="705" y="484"/>
                  <a:pt x="706" y="484"/>
                  <a:pt x="706" y="485"/>
                </a:cubicBezTo>
                <a:cubicBezTo>
                  <a:pt x="706" y="485"/>
                  <a:pt x="706" y="486"/>
                  <a:pt x="706" y="485"/>
                </a:cubicBezTo>
                <a:cubicBezTo>
                  <a:pt x="706" y="485"/>
                  <a:pt x="707" y="485"/>
                  <a:pt x="706" y="485"/>
                </a:cubicBezTo>
                <a:cubicBezTo>
                  <a:pt x="706" y="484"/>
                  <a:pt x="706" y="484"/>
                  <a:pt x="706" y="484"/>
                </a:cubicBezTo>
                <a:close/>
                <a:moveTo>
                  <a:pt x="694" y="469"/>
                </a:moveTo>
                <a:cubicBezTo>
                  <a:pt x="694" y="469"/>
                  <a:pt x="694" y="469"/>
                  <a:pt x="694" y="469"/>
                </a:cubicBezTo>
                <a:cubicBezTo>
                  <a:pt x="694" y="468"/>
                  <a:pt x="694" y="468"/>
                  <a:pt x="694" y="468"/>
                </a:cubicBezTo>
                <a:cubicBezTo>
                  <a:pt x="693" y="468"/>
                  <a:pt x="693" y="468"/>
                  <a:pt x="692" y="468"/>
                </a:cubicBezTo>
                <a:cubicBezTo>
                  <a:pt x="692" y="468"/>
                  <a:pt x="692" y="468"/>
                  <a:pt x="692" y="468"/>
                </a:cubicBezTo>
                <a:cubicBezTo>
                  <a:pt x="692" y="468"/>
                  <a:pt x="692" y="468"/>
                  <a:pt x="692" y="468"/>
                </a:cubicBezTo>
                <a:cubicBezTo>
                  <a:pt x="692" y="468"/>
                  <a:pt x="692" y="468"/>
                  <a:pt x="692" y="468"/>
                </a:cubicBezTo>
                <a:cubicBezTo>
                  <a:pt x="692" y="469"/>
                  <a:pt x="692" y="469"/>
                  <a:pt x="691" y="470"/>
                </a:cubicBezTo>
                <a:cubicBezTo>
                  <a:pt x="692" y="470"/>
                  <a:pt x="692" y="469"/>
                  <a:pt x="692" y="470"/>
                </a:cubicBezTo>
                <a:cubicBezTo>
                  <a:pt x="693" y="470"/>
                  <a:pt x="693" y="470"/>
                  <a:pt x="694" y="469"/>
                </a:cubicBezTo>
                <a:close/>
                <a:moveTo>
                  <a:pt x="696" y="467"/>
                </a:moveTo>
                <a:cubicBezTo>
                  <a:pt x="696" y="467"/>
                  <a:pt x="696" y="467"/>
                  <a:pt x="696" y="468"/>
                </a:cubicBezTo>
                <a:cubicBezTo>
                  <a:pt x="696" y="468"/>
                  <a:pt x="696" y="468"/>
                  <a:pt x="696" y="468"/>
                </a:cubicBezTo>
                <a:cubicBezTo>
                  <a:pt x="696" y="469"/>
                  <a:pt x="696" y="469"/>
                  <a:pt x="697" y="470"/>
                </a:cubicBezTo>
                <a:cubicBezTo>
                  <a:pt x="697" y="470"/>
                  <a:pt x="697" y="470"/>
                  <a:pt x="697" y="470"/>
                </a:cubicBezTo>
                <a:cubicBezTo>
                  <a:pt x="698" y="469"/>
                  <a:pt x="698" y="469"/>
                  <a:pt x="698" y="468"/>
                </a:cubicBezTo>
                <a:cubicBezTo>
                  <a:pt x="698" y="468"/>
                  <a:pt x="697" y="467"/>
                  <a:pt x="696" y="467"/>
                </a:cubicBezTo>
                <a:close/>
                <a:moveTo>
                  <a:pt x="671" y="429"/>
                </a:moveTo>
                <a:cubicBezTo>
                  <a:pt x="671" y="429"/>
                  <a:pt x="671" y="429"/>
                  <a:pt x="671" y="428"/>
                </a:cubicBezTo>
                <a:cubicBezTo>
                  <a:pt x="670" y="428"/>
                  <a:pt x="670" y="428"/>
                  <a:pt x="670" y="429"/>
                </a:cubicBezTo>
                <a:cubicBezTo>
                  <a:pt x="670" y="429"/>
                  <a:pt x="669" y="429"/>
                  <a:pt x="669" y="429"/>
                </a:cubicBezTo>
                <a:cubicBezTo>
                  <a:pt x="669" y="429"/>
                  <a:pt x="669" y="430"/>
                  <a:pt x="669" y="430"/>
                </a:cubicBezTo>
                <a:cubicBezTo>
                  <a:pt x="669" y="431"/>
                  <a:pt x="669" y="431"/>
                  <a:pt x="669" y="431"/>
                </a:cubicBezTo>
                <a:cubicBezTo>
                  <a:pt x="669" y="431"/>
                  <a:pt x="670" y="431"/>
                  <a:pt x="670" y="431"/>
                </a:cubicBezTo>
                <a:cubicBezTo>
                  <a:pt x="670" y="430"/>
                  <a:pt x="670" y="430"/>
                  <a:pt x="670" y="430"/>
                </a:cubicBezTo>
                <a:cubicBezTo>
                  <a:pt x="670" y="430"/>
                  <a:pt x="670" y="430"/>
                  <a:pt x="671" y="430"/>
                </a:cubicBezTo>
                <a:cubicBezTo>
                  <a:pt x="671" y="430"/>
                  <a:pt x="671" y="429"/>
                  <a:pt x="671" y="429"/>
                </a:cubicBezTo>
                <a:close/>
                <a:moveTo>
                  <a:pt x="698" y="462"/>
                </a:moveTo>
                <a:cubicBezTo>
                  <a:pt x="698" y="462"/>
                  <a:pt x="698" y="462"/>
                  <a:pt x="698" y="462"/>
                </a:cubicBezTo>
                <a:cubicBezTo>
                  <a:pt x="699" y="462"/>
                  <a:pt x="699" y="462"/>
                  <a:pt x="699" y="461"/>
                </a:cubicBezTo>
                <a:cubicBezTo>
                  <a:pt x="699" y="461"/>
                  <a:pt x="699" y="461"/>
                  <a:pt x="699" y="461"/>
                </a:cubicBezTo>
                <a:cubicBezTo>
                  <a:pt x="699" y="460"/>
                  <a:pt x="698" y="460"/>
                  <a:pt x="698" y="460"/>
                </a:cubicBezTo>
                <a:cubicBezTo>
                  <a:pt x="698" y="461"/>
                  <a:pt x="698" y="460"/>
                  <a:pt x="698" y="460"/>
                </a:cubicBezTo>
                <a:cubicBezTo>
                  <a:pt x="698" y="460"/>
                  <a:pt x="698" y="460"/>
                  <a:pt x="698" y="460"/>
                </a:cubicBezTo>
                <a:cubicBezTo>
                  <a:pt x="697" y="460"/>
                  <a:pt x="697" y="461"/>
                  <a:pt x="698" y="462"/>
                </a:cubicBezTo>
                <a:close/>
                <a:moveTo>
                  <a:pt x="687" y="459"/>
                </a:moveTo>
                <a:cubicBezTo>
                  <a:pt x="686" y="459"/>
                  <a:pt x="686" y="460"/>
                  <a:pt x="686" y="460"/>
                </a:cubicBezTo>
                <a:cubicBezTo>
                  <a:pt x="686" y="460"/>
                  <a:pt x="686" y="460"/>
                  <a:pt x="686" y="460"/>
                </a:cubicBezTo>
                <a:cubicBezTo>
                  <a:pt x="685" y="459"/>
                  <a:pt x="685" y="459"/>
                  <a:pt x="685" y="459"/>
                </a:cubicBezTo>
                <a:cubicBezTo>
                  <a:pt x="685" y="460"/>
                  <a:pt x="685" y="459"/>
                  <a:pt x="684" y="459"/>
                </a:cubicBezTo>
                <a:cubicBezTo>
                  <a:pt x="684" y="460"/>
                  <a:pt x="684" y="460"/>
                  <a:pt x="685" y="460"/>
                </a:cubicBezTo>
                <a:cubicBezTo>
                  <a:pt x="685" y="460"/>
                  <a:pt x="685" y="461"/>
                  <a:pt x="684" y="461"/>
                </a:cubicBezTo>
                <a:cubicBezTo>
                  <a:pt x="685" y="461"/>
                  <a:pt x="685" y="461"/>
                  <a:pt x="685" y="461"/>
                </a:cubicBezTo>
                <a:cubicBezTo>
                  <a:pt x="686" y="461"/>
                  <a:pt x="686" y="460"/>
                  <a:pt x="687" y="460"/>
                </a:cubicBezTo>
                <a:cubicBezTo>
                  <a:pt x="687" y="460"/>
                  <a:pt x="687" y="459"/>
                  <a:pt x="687" y="459"/>
                </a:cubicBezTo>
                <a:cubicBezTo>
                  <a:pt x="687" y="459"/>
                  <a:pt x="687" y="459"/>
                  <a:pt x="687" y="459"/>
                </a:cubicBezTo>
                <a:close/>
                <a:moveTo>
                  <a:pt x="694" y="470"/>
                </a:moveTo>
                <a:cubicBezTo>
                  <a:pt x="694" y="470"/>
                  <a:pt x="694" y="470"/>
                  <a:pt x="695" y="470"/>
                </a:cubicBezTo>
                <a:cubicBezTo>
                  <a:pt x="695" y="470"/>
                  <a:pt x="695" y="470"/>
                  <a:pt x="695" y="470"/>
                </a:cubicBezTo>
                <a:cubicBezTo>
                  <a:pt x="696" y="470"/>
                  <a:pt x="696" y="470"/>
                  <a:pt x="696" y="470"/>
                </a:cubicBezTo>
                <a:cubicBezTo>
                  <a:pt x="696" y="469"/>
                  <a:pt x="696" y="468"/>
                  <a:pt x="695" y="468"/>
                </a:cubicBezTo>
                <a:cubicBezTo>
                  <a:pt x="695" y="468"/>
                  <a:pt x="695" y="469"/>
                  <a:pt x="695" y="469"/>
                </a:cubicBezTo>
                <a:cubicBezTo>
                  <a:pt x="694" y="469"/>
                  <a:pt x="694" y="469"/>
                  <a:pt x="694" y="469"/>
                </a:cubicBezTo>
                <a:cubicBezTo>
                  <a:pt x="694" y="470"/>
                  <a:pt x="694" y="470"/>
                  <a:pt x="694" y="470"/>
                </a:cubicBezTo>
                <a:close/>
                <a:moveTo>
                  <a:pt x="690" y="459"/>
                </a:moveTo>
                <a:cubicBezTo>
                  <a:pt x="690" y="459"/>
                  <a:pt x="690" y="459"/>
                  <a:pt x="690" y="460"/>
                </a:cubicBezTo>
                <a:cubicBezTo>
                  <a:pt x="690" y="460"/>
                  <a:pt x="690" y="460"/>
                  <a:pt x="690" y="461"/>
                </a:cubicBezTo>
                <a:cubicBezTo>
                  <a:pt x="690" y="461"/>
                  <a:pt x="690" y="461"/>
                  <a:pt x="690" y="461"/>
                </a:cubicBezTo>
                <a:cubicBezTo>
                  <a:pt x="691" y="461"/>
                  <a:pt x="691" y="461"/>
                  <a:pt x="691" y="461"/>
                </a:cubicBezTo>
                <a:cubicBezTo>
                  <a:pt x="691" y="460"/>
                  <a:pt x="690" y="460"/>
                  <a:pt x="691" y="460"/>
                </a:cubicBezTo>
                <a:cubicBezTo>
                  <a:pt x="691" y="460"/>
                  <a:pt x="691" y="459"/>
                  <a:pt x="691" y="459"/>
                </a:cubicBezTo>
                <a:cubicBezTo>
                  <a:pt x="690" y="459"/>
                  <a:pt x="690" y="459"/>
                  <a:pt x="690" y="459"/>
                </a:cubicBezTo>
                <a:close/>
                <a:moveTo>
                  <a:pt x="662" y="404"/>
                </a:moveTo>
                <a:cubicBezTo>
                  <a:pt x="663" y="404"/>
                  <a:pt x="663" y="404"/>
                  <a:pt x="663" y="403"/>
                </a:cubicBezTo>
                <a:cubicBezTo>
                  <a:pt x="663" y="403"/>
                  <a:pt x="663" y="403"/>
                  <a:pt x="663" y="403"/>
                </a:cubicBezTo>
                <a:cubicBezTo>
                  <a:pt x="662" y="403"/>
                  <a:pt x="661" y="404"/>
                  <a:pt x="661" y="404"/>
                </a:cubicBezTo>
                <a:cubicBezTo>
                  <a:pt x="662" y="404"/>
                  <a:pt x="662" y="404"/>
                  <a:pt x="662" y="404"/>
                </a:cubicBezTo>
                <a:close/>
                <a:moveTo>
                  <a:pt x="701" y="455"/>
                </a:moveTo>
                <a:cubicBezTo>
                  <a:pt x="701" y="455"/>
                  <a:pt x="701" y="455"/>
                  <a:pt x="701" y="455"/>
                </a:cubicBezTo>
                <a:cubicBezTo>
                  <a:pt x="701" y="456"/>
                  <a:pt x="701" y="456"/>
                  <a:pt x="701" y="456"/>
                </a:cubicBezTo>
                <a:cubicBezTo>
                  <a:pt x="702" y="456"/>
                  <a:pt x="702" y="456"/>
                  <a:pt x="702" y="456"/>
                </a:cubicBezTo>
                <a:cubicBezTo>
                  <a:pt x="702" y="455"/>
                  <a:pt x="702" y="455"/>
                  <a:pt x="701" y="455"/>
                </a:cubicBezTo>
                <a:close/>
                <a:moveTo>
                  <a:pt x="667" y="418"/>
                </a:moveTo>
                <a:cubicBezTo>
                  <a:pt x="667" y="418"/>
                  <a:pt x="668" y="419"/>
                  <a:pt x="668" y="419"/>
                </a:cubicBezTo>
                <a:cubicBezTo>
                  <a:pt x="668" y="419"/>
                  <a:pt x="668" y="419"/>
                  <a:pt x="668" y="419"/>
                </a:cubicBezTo>
                <a:cubicBezTo>
                  <a:pt x="668" y="418"/>
                  <a:pt x="667" y="418"/>
                  <a:pt x="667" y="418"/>
                </a:cubicBezTo>
                <a:cubicBezTo>
                  <a:pt x="667" y="418"/>
                  <a:pt x="667" y="418"/>
                  <a:pt x="667" y="418"/>
                </a:cubicBezTo>
                <a:close/>
                <a:moveTo>
                  <a:pt x="714" y="484"/>
                </a:moveTo>
                <a:cubicBezTo>
                  <a:pt x="714" y="484"/>
                  <a:pt x="714" y="484"/>
                  <a:pt x="715" y="483"/>
                </a:cubicBezTo>
                <a:cubicBezTo>
                  <a:pt x="715" y="483"/>
                  <a:pt x="714" y="483"/>
                  <a:pt x="714" y="483"/>
                </a:cubicBezTo>
                <a:cubicBezTo>
                  <a:pt x="713" y="483"/>
                  <a:pt x="713" y="483"/>
                  <a:pt x="713" y="482"/>
                </a:cubicBezTo>
                <a:cubicBezTo>
                  <a:pt x="714" y="482"/>
                  <a:pt x="714" y="482"/>
                  <a:pt x="715" y="481"/>
                </a:cubicBezTo>
                <a:cubicBezTo>
                  <a:pt x="715" y="481"/>
                  <a:pt x="715" y="480"/>
                  <a:pt x="714" y="481"/>
                </a:cubicBezTo>
                <a:cubicBezTo>
                  <a:pt x="714" y="481"/>
                  <a:pt x="714" y="481"/>
                  <a:pt x="714" y="481"/>
                </a:cubicBezTo>
                <a:cubicBezTo>
                  <a:pt x="714" y="481"/>
                  <a:pt x="714" y="480"/>
                  <a:pt x="714" y="480"/>
                </a:cubicBezTo>
                <a:cubicBezTo>
                  <a:pt x="715" y="480"/>
                  <a:pt x="714" y="480"/>
                  <a:pt x="714" y="480"/>
                </a:cubicBezTo>
                <a:cubicBezTo>
                  <a:pt x="714" y="479"/>
                  <a:pt x="714" y="479"/>
                  <a:pt x="714" y="480"/>
                </a:cubicBezTo>
                <a:cubicBezTo>
                  <a:pt x="713" y="480"/>
                  <a:pt x="713" y="480"/>
                  <a:pt x="713" y="480"/>
                </a:cubicBezTo>
                <a:cubicBezTo>
                  <a:pt x="713" y="481"/>
                  <a:pt x="712" y="481"/>
                  <a:pt x="712" y="481"/>
                </a:cubicBezTo>
                <a:cubicBezTo>
                  <a:pt x="712" y="481"/>
                  <a:pt x="712" y="481"/>
                  <a:pt x="712" y="481"/>
                </a:cubicBezTo>
                <a:cubicBezTo>
                  <a:pt x="712" y="480"/>
                  <a:pt x="712" y="480"/>
                  <a:pt x="712" y="480"/>
                </a:cubicBezTo>
                <a:cubicBezTo>
                  <a:pt x="711" y="480"/>
                  <a:pt x="711" y="480"/>
                  <a:pt x="711" y="480"/>
                </a:cubicBezTo>
                <a:cubicBezTo>
                  <a:pt x="712" y="480"/>
                  <a:pt x="712" y="480"/>
                  <a:pt x="713" y="479"/>
                </a:cubicBezTo>
                <a:cubicBezTo>
                  <a:pt x="713" y="479"/>
                  <a:pt x="713" y="479"/>
                  <a:pt x="713" y="478"/>
                </a:cubicBezTo>
                <a:cubicBezTo>
                  <a:pt x="713" y="478"/>
                  <a:pt x="713" y="478"/>
                  <a:pt x="713" y="477"/>
                </a:cubicBezTo>
                <a:cubicBezTo>
                  <a:pt x="713" y="477"/>
                  <a:pt x="713" y="478"/>
                  <a:pt x="713" y="478"/>
                </a:cubicBezTo>
                <a:cubicBezTo>
                  <a:pt x="713" y="478"/>
                  <a:pt x="714" y="478"/>
                  <a:pt x="714" y="478"/>
                </a:cubicBezTo>
                <a:cubicBezTo>
                  <a:pt x="714" y="478"/>
                  <a:pt x="714" y="478"/>
                  <a:pt x="714" y="478"/>
                </a:cubicBezTo>
                <a:cubicBezTo>
                  <a:pt x="714" y="477"/>
                  <a:pt x="714" y="478"/>
                  <a:pt x="714" y="477"/>
                </a:cubicBezTo>
                <a:cubicBezTo>
                  <a:pt x="714" y="477"/>
                  <a:pt x="714" y="477"/>
                  <a:pt x="714" y="477"/>
                </a:cubicBezTo>
                <a:cubicBezTo>
                  <a:pt x="715" y="476"/>
                  <a:pt x="715" y="475"/>
                  <a:pt x="714" y="474"/>
                </a:cubicBezTo>
                <a:cubicBezTo>
                  <a:pt x="714" y="474"/>
                  <a:pt x="714" y="474"/>
                  <a:pt x="714" y="474"/>
                </a:cubicBezTo>
                <a:cubicBezTo>
                  <a:pt x="714" y="474"/>
                  <a:pt x="714" y="474"/>
                  <a:pt x="714" y="474"/>
                </a:cubicBezTo>
                <a:cubicBezTo>
                  <a:pt x="713" y="475"/>
                  <a:pt x="713" y="476"/>
                  <a:pt x="712" y="476"/>
                </a:cubicBezTo>
                <a:cubicBezTo>
                  <a:pt x="712" y="475"/>
                  <a:pt x="712" y="475"/>
                  <a:pt x="711" y="475"/>
                </a:cubicBezTo>
                <a:cubicBezTo>
                  <a:pt x="711" y="475"/>
                  <a:pt x="711" y="475"/>
                  <a:pt x="711" y="475"/>
                </a:cubicBezTo>
                <a:cubicBezTo>
                  <a:pt x="711" y="475"/>
                  <a:pt x="711" y="475"/>
                  <a:pt x="711" y="475"/>
                </a:cubicBezTo>
                <a:cubicBezTo>
                  <a:pt x="710" y="476"/>
                  <a:pt x="710" y="476"/>
                  <a:pt x="710" y="477"/>
                </a:cubicBezTo>
                <a:cubicBezTo>
                  <a:pt x="710" y="476"/>
                  <a:pt x="710" y="476"/>
                  <a:pt x="710" y="476"/>
                </a:cubicBezTo>
                <a:cubicBezTo>
                  <a:pt x="710" y="476"/>
                  <a:pt x="710" y="475"/>
                  <a:pt x="710" y="475"/>
                </a:cubicBezTo>
                <a:cubicBezTo>
                  <a:pt x="711" y="475"/>
                  <a:pt x="711" y="475"/>
                  <a:pt x="710" y="474"/>
                </a:cubicBezTo>
                <a:cubicBezTo>
                  <a:pt x="711" y="474"/>
                  <a:pt x="711" y="474"/>
                  <a:pt x="711" y="474"/>
                </a:cubicBezTo>
                <a:cubicBezTo>
                  <a:pt x="712" y="475"/>
                  <a:pt x="712" y="475"/>
                  <a:pt x="713" y="474"/>
                </a:cubicBezTo>
                <a:cubicBezTo>
                  <a:pt x="713" y="474"/>
                  <a:pt x="713" y="474"/>
                  <a:pt x="713" y="473"/>
                </a:cubicBezTo>
                <a:cubicBezTo>
                  <a:pt x="713" y="473"/>
                  <a:pt x="712" y="474"/>
                  <a:pt x="712" y="473"/>
                </a:cubicBezTo>
                <a:cubicBezTo>
                  <a:pt x="713" y="472"/>
                  <a:pt x="712" y="472"/>
                  <a:pt x="712" y="472"/>
                </a:cubicBezTo>
                <a:cubicBezTo>
                  <a:pt x="711" y="471"/>
                  <a:pt x="711" y="471"/>
                  <a:pt x="711" y="471"/>
                </a:cubicBezTo>
                <a:cubicBezTo>
                  <a:pt x="711" y="471"/>
                  <a:pt x="710" y="471"/>
                  <a:pt x="710" y="471"/>
                </a:cubicBezTo>
                <a:cubicBezTo>
                  <a:pt x="710" y="471"/>
                  <a:pt x="710" y="471"/>
                  <a:pt x="710" y="471"/>
                </a:cubicBezTo>
                <a:cubicBezTo>
                  <a:pt x="710" y="472"/>
                  <a:pt x="710" y="472"/>
                  <a:pt x="710" y="473"/>
                </a:cubicBezTo>
                <a:cubicBezTo>
                  <a:pt x="710" y="472"/>
                  <a:pt x="710" y="472"/>
                  <a:pt x="709" y="471"/>
                </a:cubicBezTo>
                <a:cubicBezTo>
                  <a:pt x="710" y="471"/>
                  <a:pt x="709" y="471"/>
                  <a:pt x="709" y="471"/>
                </a:cubicBezTo>
                <a:cubicBezTo>
                  <a:pt x="709" y="470"/>
                  <a:pt x="709" y="471"/>
                  <a:pt x="709" y="470"/>
                </a:cubicBezTo>
                <a:cubicBezTo>
                  <a:pt x="710" y="470"/>
                  <a:pt x="710" y="470"/>
                  <a:pt x="711" y="470"/>
                </a:cubicBezTo>
                <a:cubicBezTo>
                  <a:pt x="710" y="470"/>
                  <a:pt x="710" y="469"/>
                  <a:pt x="710" y="469"/>
                </a:cubicBezTo>
                <a:cubicBezTo>
                  <a:pt x="709" y="469"/>
                  <a:pt x="709" y="469"/>
                  <a:pt x="709" y="469"/>
                </a:cubicBezTo>
                <a:cubicBezTo>
                  <a:pt x="709" y="469"/>
                  <a:pt x="709" y="468"/>
                  <a:pt x="709" y="469"/>
                </a:cubicBezTo>
                <a:cubicBezTo>
                  <a:pt x="709" y="469"/>
                  <a:pt x="708" y="469"/>
                  <a:pt x="708" y="469"/>
                </a:cubicBezTo>
                <a:cubicBezTo>
                  <a:pt x="708" y="469"/>
                  <a:pt x="707" y="469"/>
                  <a:pt x="707" y="469"/>
                </a:cubicBezTo>
                <a:cubicBezTo>
                  <a:pt x="707" y="470"/>
                  <a:pt x="706" y="470"/>
                  <a:pt x="706" y="470"/>
                </a:cubicBezTo>
                <a:cubicBezTo>
                  <a:pt x="706" y="470"/>
                  <a:pt x="706" y="469"/>
                  <a:pt x="706" y="469"/>
                </a:cubicBezTo>
                <a:cubicBezTo>
                  <a:pt x="707" y="469"/>
                  <a:pt x="707" y="469"/>
                  <a:pt x="707" y="469"/>
                </a:cubicBezTo>
                <a:cubicBezTo>
                  <a:pt x="707" y="469"/>
                  <a:pt x="707" y="468"/>
                  <a:pt x="707" y="468"/>
                </a:cubicBezTo>
                <a:cubicBezTo>
                  <a:pt x="707" y="468"/>
                  <a:pt x="708" y="468"/>
                  <a:pt x="707" y="467"/>
                </a:cubicBezTo>
                <a:cubicBezTo>
                  <a:pt x="707" y="467"/>
                  <a:pt x="707" y="467"/>
                  <a:pt x="707" y="467"/>
                </a:cubicBezTo>
                <a:cubicBezTo>
                  <a:pt x="707" y="466"/>
                  <a:pt x="708" y="466"/>
                  <a:pt x="708" y="467"/>
                </a:cubicBezTo>
                <a:cubicBezTo>
                  <a:pt x="708" y="467"/>
                  <a:pt x="708" y="467"/>
                  <a:pt x="708" y="467"/>
                </a:cubicBezTo>
                <a:cubicBezTo>
                  <a:pt x="708" y="467"/>
                  <a:pt x="709" y="468"/>
                  <a:pt x="709" y="468"/>
                </a:cubicBezTo>
                <a:cubicBezTo>
                  <a:pt x="710" y="468"/>
                  <a:pt x="711" y="469"/>
                  <a:pt x="712" y="470"/>
                </a:cubicBezTo>
                <a:cubicBezTo>
                  <a:pt x="712" y="470"/>
                  <a:pt x="712" y="470"/>
                  <a:pt x="712" y="470"/>
                </a:cubicBezTo>
                <a:cubicBezTo>
                  <a:pt x="712" y="470"/>
                  <a:pt x="712" y="469"/>
                  <a:pt x="712" y="469"/>
                </a:cubicBezTo>
                <a:cubicBezTo>
                  <a:pt x="712" y="469"/>
                  <a:pt x="712" y="469"/>
                  <a:pt x="712" y="468"/>
                </a:cubicBezTo>
                <a:cubicBezTo>
                  <a:pt x="711" y="468"/>
                  <a:pt x="710" y="467"/>
                  <a:pt x="710" y="467"/>
                </a:cubicBezTo>
                <a:cubicBezTo>
                  <a:pt x="710" y="466"/>
                  <a:pt x="710" y="466"/>
                  <a:pt x="710" y="466"/>
                </a:cubicBezTo>
                <a:cubicBezTo>
                  <a:pt x="710" y="465"/>
                  <a:pt x="710" y="465"/>
                  <a:pt x="709" y="465"/>
                </a:cubicBezTo>
                <a:cubicBezTo>
                  <a:pt x="709" y="465"/>
                  <a:pt x="709" y="465"/>
                  <a:pt x="709" y="466"/>
                </a:cubicBezTo>
                <a:cubicBezTo>
                  <a:pt x="709" y="466"/>
                  <a:pt x="709" y="466"/>
                  <a:pt x="708" y="466"/>
                </a:cubicBezTo>
                <a:cubicBezTo>
                  <a:pt x="709" y="465"/>
                  <a:pt x="708" y="465"/>
                  <a:pt x="708" y="465"/>
                </a:cubicBezTo>
                <a:cubicBezTo>
                  <a:pt x="708" y="465"/>
                  <a:pt x="709" y="465"/>
                  <a:pt x="708" y="464"/>
                </a:cubicBezTo>
                <a:cubicBezTo>
                  <a:pt x="708" y="464"/>
                  <a:pt x="708" y="464"/>
                  <a:pt x="708" y="464"/>
                </a:cubicBezTo>
                <a:cubicBezTo>
                  <a:pt x="709" y="464"/>
                  <a:pt x="708" y="464"/>
                  <a:pt x="708" y="463"/>
                </a:cubicBezTo>
                <a:cubicBezTo>
                  <a:pt x="708" y="463"/>
                  <a:pt x="708" y="463"/>
                  <a:pt x="708" y="463"/>
                </a:cubicBezTo>
                <a:cubicBezTo>
                  <a:pt x="709" y="462"/>
                  <a:pt x="708" y="462"/>
                  <a:pt x="708" y="462"/>
                </a:cubicBezTo>
                <a:cubicBezTo>
                  <a:pt x="707" y="461"/>
                  <a:pt x="707" y="460"/>
                  <a:pt x="707" y="460"/>
                </a:cubicBezTo>
                <a:cubicBezTo>
                  <a:pt x="706" y="460"/>
                  <a:pt x="706" y="460"/>
                  <a:pt x="706" y="460"/>
                </a:cubicBezTo>
                <a:cubicBezTo>
                  <a:pt x="707" y="459"/>
                  <a:pt x="706" y="459"/>
                  <a:pt x="706" y="459"/>
                </a:cubicBezTo>
                <a:cubicBezTo>
                  <a:pt x="706" y="459"/>
                  <a:pt x="705" y="459"/>
                  <a:pt x="705" y="458"/>
                </a:cubicBezTo>
                <a:cubicBezTo>
                  <a:pt x="705" y="458"/>
                  <a:pt x="704" y="457"/>
                  <a:pt x="704" y="457"/>
                </a:cubicBezTo>
                <a:cubicBezTo>
                  <a:pt x="703" y="457"/>
                  <a:pt x="702" y="457"/>
                  <a:pt x="702" y="456"/>
                </a:cubicBezTo>
                <a:cubicBezTo>
                  <a:pt x="702" y="457"/>
                  <a:pt x="701" y="456"/>
                  <a:pt x="701" y="457"/>
                </a:cubicBezTo>
                <a:cubicBezTo>
                  <a:pt x="701" y="457"/>
                  <a:pt x="700" y="457"/>
                  <a:pt x="700" y="456"/>
                </a:cubicBezTo>
                <a:cubicBezTo>
                  <a:pt x="700" y="456"/>
                  <a:pt x="700" y="455"/>
                  <a:pt x="700" y="454"/>
                </a:cubicBezTo>
                <a:cubicBezTo>
                  <a:pt x="700" y="455"/>
                  <a:pt x="700" y="455"/>
                  <a:pt x="701" y="454"/>
                </a:cubicBezTo>
                <a:cubicBezTo>
                  <a:pt x="701" y="454"/>
                  <a:pt x="701" y="453"/>
                  <a:pt x="701" y="453"/>
                </a:cubicBezTo>
                <a:cubicBezTo>
                  <a:pt x="700" y="453"/>
                  <a:pt x="701" y="453"/>
                  <a:pt x="701" y="453"/>
                </a:cubicBezTo>
                <a:cubicBezTo>
                  <a:pt x="701" y="452"/>
                  <a:pt x="701" y="452"/>
                  <a:pt x="700" y="452"/>
                </a:cubicBezTo>
                <a:cubicBezTo>
                  <a:pt x="700" y="452"/>
                  <a:pt x="700" y="451"/>
                  <a:pt x="700" y="450"/>
                </a:cubicBezTo>
                <a:cubicBezTo>
                  <a:pt x="700" y="450"/>
                  <a:pt x="699" y="450"/>
                  <a:pt x="699" y="450"/>
                </a:cubicBezTo>
                <a:cubicBezTo>
                  <a:pt x="699" y="450"/>
                  <a:pt x="699" y="450"/>
                  <a:pt x="698" y="450"/>
                </a:cubicBezTo>
                <a:cubicBezTo>
                  <a:pt x="698" y="450"/>
                  <a:pt x="698" y="450"/>
                  <a:pt x="698" y="450"/>
                </a:cubicBezTo>
                <a:cubicBezTo>
                  <a:pt x="698" y="450"/>
                  <a:pt x="697" y="451"/>
                  <a:pt x="698" y="451"/>
                </a:cubicBezTo>
                <a:cubicBezTo>
                  <a:pt x="698" y="451"/>
                  <a:pt x="697" y="451"/>
                  <a:pt x="697" y="451"/>
                </a:cubicBezTo>
                <a:cubicBezTo>
                  <a:pt x="697" y="451"/>
                  <a:pt x="697" y="451"/>
                  <a:pt x="697" y="451"/>
                </a:cubicBezTo>
                <a:cubicBezTo>
                  <a:pt x="697" y="451"/>
                  <a:pt x="697" y="451"/>
                  <a:pt x="697" y="450"/>
                </a:cubicBezTo>
                <a:cubicBezTo>
                  <a:pt x="698" y="450"/>
                  <a:pt x="697" y="450"/>
                  <a:pt x="697" y="450"/>
                </a:cubicBezTo>
                <a:cubicBezTo>
                  <a:pt x="697" y="450"/>
                  <a:pt x="696" y="450"/>
                  <a:pt x="696" y="450"/>
                </a:cubicBezTo>
                <a:cubicBezTo>
                  <a:pt x="695" y="449"/>
                  <a:pt x="695" y="450"/>
                  <a:pt x="694" y="449"/>
                </a:cubicBezTo>
                <a:cubicBezTo>
                  <a:pt x="694" y="449"/>
                  <a:pt x="694" y="449"/>
                  <a:pt x="694" y="449"/>
                </a:cubicBezTo>
                <a:cubicBezTo>
                  <a:pt x="693" y="450"/>
                  <a:pt x="694" y="450"/>
                  <a:pt x="694" y="450"/>
                </a:cubicBezTo>
                <a:cubicBezTo>
                  <a:pt x="694" y="450"/>
                  <a:pt x="693" y="450"/>
                  <a:pt x="693" y="450"/>
                </a:cubicBezTo>
                <a:cubicBezTo>
                  <a:pt x="693" y="450"/>
                  <a:pt x="693" y="450"/>
                  <a:pt x="693" y="451"/>
                </a:cubicBezTo>
                <a:cubicBezTo>
                  <a:pt x="693" y="451"/>
                  <a:pt x="693" y="451"/>
                  <a:pt x="693" y="451"/>
                </a:cubicBezTo>
                <a:cubicBezTo>
                  <a:pt x="693" y="451"/>
                  <a:pt x="693" y="452"/>
                  <a:pt x="693" y="452"/>
                </a:cubicBezTo>
                <a:cubicBezTo>
                  <a:pt x="693" y="453"/>
                  <a:pt x="694" y="453"/>
                  <a:pt x="695" y="453"/>
                </a:cubicBezTo>
                <a:cubicBezTo>
                  <a:pt x="695" y="453"/>
                  <a:pt x="695" y="453"/>
                  <a:pt x="695" y="453"/>
                </a:cubicBezTo>
                <a:cubicBezTo>
                  <a:pt x="695" y="454"/>
                  <a:pt x="696" y="454"/>
                  <a:pt x="696" y="454"/>
                </a:cubicBezTo>
                <a:cubicBezTo>
                  <a:pt x="696" y="454"/>
                  <a:pt x="696" y="454"/>
                  <a:pt x="695" y="454"/>
                </a:cubicBezTo>
                <a:cubicBezTo>
                  <a:pt x="695" y="455"/>
                  <a:pt x="695" y="455"/>
                  <a:pt x="694" y="454"/>
                </a:cubicBezTo>
                <a:cubicBezTo>
                  <a:pt x="694" y="454"/>
                  <a:pt x="694" y="454"/>
                  <a:pt x="694" y="455"/>
                </a:cubicBezTo>
                <a:cubicBezTo>
                  <a:pt x="694" y="455"/>
                  <a:pt x="694" y="455"/>
                  <a:pt x="694" y="455"/>
                </a:cubicBezTo>
                <a:cubicBezTo>
                  <a:pt x="694" y="455"/>
                  <a:pt x="694" y="455"/>
                  <a:pt x="695" y="455"/>
                </a:cubicBezTo>
                <a:cubicBezTo>
                  <a:pt x="695" y="455"/>
                  <a:pt x="695" y="455"/>
                  <a:pt x="695" y="456"/>
                </a:cubicBezTo>
                <a:cubicBezTo>
                  <a:pt x="695" y="456"/>
                  <a:pt x="695" y="456"/>
                  <a:pt x="695" y="456"/>
                </a:cubicBezTo>
                <a:cubicBezTo>
                  <a:pt x="694" y="456"/>
                  <a:pt x="694" y="456"/>
                  <a:pt x="694" y="456"/>
                </a:cubicBezTo>
                <a:cubicBezTo>
                  <a:pt x="693" y="456"/>
                  <a:pt x="693" y="455"/>
                  <a:pt x="693" y="456"/>
                </a:cubicBezTo>
                <a:cubicBezTo>
                  <a:pt x="692" y="457"/>
                  <a:pt x="692" y="457"/>
                  <a:pt x="692" y="457"/>
                </a:cubicBezTo>
                <a:cubicBezTo>
                  <a:pt x="692" y="458"/>
                  <a:pt x="691" y="458"/>
                  <a:pt x="691" y="459"/>
                </a:cubicBezTo>
                <a:cubicBezTo>
                  <a:pt x="691" y="459"/>
                  <a:pt x="692" y="459"/>
                  <a:pt x="692" y="459"/>
                </a:cubicBezTo>
                <a:cubicBezTo>
                  <a:pt x="693" y="460"/>
                  <a:pt x="693" y="459"/>
                  <a:pt x="693" y="459"/>
                </a:cubicBezTo>
                <a:cubicBezTo>
                  <a:pt x="693" y="458"/>
                  <a:pt x="694" y="458"/>
                  <a:pt x="694" y="458"/>
                </a:cubicBezTo>
                <a:cubicBezTo>
                  <a:pt x="694" y="458"/>
                  <a:pt x="695" y="458"/>
                  <a:pt x="695" y="457"/>
                </a:cubicBezTo>
                <a:cubicBezTo>
                  <a:pt x="695" y="457"/>
                  <a:pt x="695" y="457"/>
                  <a:pt x="695" y="457"/>
                </a:cubicBezTo>
                <a:cubicBezTo>
                  <a:pt x="696" y="457"/>
                  <a:pt x="696" y="457"/>
                  <a:pt x="696" y="457"/>
                </a:cubicBezTo>
                <a:cubicBezTo>
                  <a:pt x="697" y="457"/>
                  <a:pt x="697" y="457"/>
                  <a:pt x="697" y="457"/>
                </a:cubicBezTo>
                <a:cubicBezTo>
                  <a:pt x="697" y="458"/>
                  <a:pt x="696" y="458"/>
                  <a:pt x="696" y="458"/>
                </a:cubicBezTo>
                <a:cubicBezTo>
                  <a:pt x="696" y="458"/>
                  <a:pt x="696" y="458"/>
                  <a:pt x="696" y="458"/>
                </a:cubicBezTo>
                <a:cubicBezTo>
                  <a:pt x="696" y="458"/>
                  <a:pt x="695" y="458"/>
                  <a:pt x="696" y="458"/>
                </a:cubicBezTo>
                <a:cubicBezTo>
                  <a:pt x="696" y="458"/>
                  <a:pt x="695" y="459"/>
                  <a:pt x="696" y="459"/>
                </a:cubicBezTo>
                <a:cubicBezTo>
                  <a:pt x="696" y="459"/>
                  <a:pt x="696" y="459"/>
                  <a:pt x="696" y="459"/>
                </a:cubicBezTo>
                <a:cubicBezTo>
                  <a:pt x="696" y="459"/>
                  <a:pt x="696" y="459"/>
                  <a:pt x="697" y="460"/>
                </a:cubicBezTo>
                <a:cubicBezTo>
                  <a:pt x="697" y="459"/>
                  <a:pt x="696" y="459"/>
                  <a:pt x="697" y="458"/>
                </a:cubicBezTo>
                <a:cubicBezTo>
                  <a:pt x="698" y="458"/>
                  <a:pt x="698" y="457"/>
                  <a:pt x="698" y="456"/>
                </a:cubicBezTo>
                <a:cubicBezTo>
                  <a:pt x="698" y="456"/>
                  <a:pt x="698" y="455"/>
                  <a:pt x="698" y="455"/>
                </a:cubicBezTo>
                <a:cubicBezTo>
                  <a:pt x="698" y="454"/>
                  <a:pt x="698" y="454"/>
                  <a:pt x="697" y="454"/>
                </a:cubicBezTo>
                <a:cubicBezTo>
                  <a:pt x="697" y="454"/>
                  <a:pt x="697" y="454"/>
                  <a:pt x="697" y="454"/>
                </a:cubicBezTo>
                <a:cubicBezTo>
                  <a:pt x="698" y="454"/>
                  <a:pt x="698" y="454"/>
                  <a:pt x="698" y="454"/>
                </a:cubicBezTo>
                <a:cubicBezTo>
                  <a:pt x="698" y="455"/>
                  <a:pt x="698" y="456"/>
                  <a:pt x="698" y="457"/>
                </a:cubicBezTo>
                <a:cubicBezTo>
                  <a:pt x="698" y="457"/>
                  <a:pt x="698" y="457"/>
                  <a:pt x="698" y="457"/>
                </a:cubicBezTo>
                <a:cubicBezTo>
                  <a:pt x="698" y="458"/>
                  <a:pt x="698" y="459"/>
                  <a:pt x="698" y="460"/>
                </a:cubicBezTo>
                <a:cubicBezTo>
                  <a:pt x="698" y="460"/>
                  <a:pt x="699" y="460"/>
                  <a:pt x="699" y="461"/>
                </a:cubicBezTo>
                <a:cubicBezTo>
                  <a:pt x="699" y="461"/>
                  <a:pt x="699" y="460"/>
                  <a:pt x="699" y="460"/>
                </a:cubicBezTo>
                <a:cubicBezTo>
                  <a:pt x="699" y="460"/>
                  <a:pt x="699" y="460"/>
                  <a:pt x="700" y="460"/>
                </a:cubicBezTo>
                <a:cubicBezTo>
                  <a:pt x="700" y="460"/>
                  <a:pt x="700" y="460"/>
                  <a:pt x="700" y="460"/>
                </a:cubicBezTo>
                <a:cubicBezTo>
                  <a:pt x="700" y="461"/>
                  <a:pt x="699" y="461"/>
                  <a:pt x="699" y="461"/>
                </a:cubicBezTo>
                <a:cubicBezTo>
                  <a:pt x="700" y="461"/>
                  <a:pt x="699" y="462"/>
                  <a:pt x="699" y="462"/>
                </a:cubicBezTo>
                <a:cubicBezTo>
                  <a:pt x="699" y="462"/>
                  <a:pt x="699" y="462"/>
                  <a:pt x="699" y="462"/>
                </a:cubicBezTo>
                <a:cubicBezTo>
                  <a:pt x="699" y="463"/>
                  <a:pt x="698" y="463"/>
                  <a:pt x="698" y="463"/>
                </a:cubicBezTo>
                <a:cubicBezTo>
                  <a:pt x="698" y="463"/>
                  <a:pt x="697" y="464"/>
                  <a:pt x="697" y="464"/>
                </a:cubicBezTo>
                <a:cubicBezTo>
                  <a:pt x="697" y="464"/>
                  <a:pt x="697" y="464"/>
                  <a:pt x="697" y="464"/>
                </a:cubicBezTo>
                <a:cubicBezTo>
                  <a:pt x="696" y="465"/>
                  <a:pt x="697" y="466"/>
                  <a:pt x="698" y="467"/>
                </a:cubicBezTo>
                <a:cubicBezTo>
                  <a:pt x="698" y="467"/>
                  <a:pt x="698" y="467"/>
                  <a:pt x="698" y="467"/>
                </a:cubicBezTo>
                <a:cubicBezTo>
                  <a:pt x="699" y="467"/>
                  <a:pt x="699" y="467"/>
                  <a:pt x="700" y="466"/>
                </a:cubicBezTo>
                <a:cubicBezTo>
                  <a:pt x="700" y="466"/>
                  <a:pt x="700" y="466"/>
                  <a:pt x="701" y="466"/>
                </a:cubicBezTo>
                <a:cubicBezTo>
                  <a:pt x="701" y="466"/>
                  <a:pt x="701" y="466"/>
                  <a:pt x="701" y="466"/>
                </a:cubicBezTo>
                <a:cubicBezTo>
                  <a:pt x="701" y="466"/>
                  <a:pt x="701" y="466"/>
                  <a:pt x="701" y="466"/>
                </a:cubicBezTo>
                <a:cubicBezTo>
                  <a:pt x="700" y="467"/>
                  <a:pt x="701" y="467"/>
                  <a:pt x="700" y="468"/>
                </a:cubicBezTo>
                <a:cubicBezTo>
                  <a:pt x="700" y="468"/>
                  <a:pt x="700" y="469"/>
                  <a:pt x="700" y="469"/>
                </a:cubicBezTo>
                <a:cubicBezTo>
                  <a:pt x="700" y="470"/>
                  <a:pt x="700" y="470"/>
                  <a:pt x="701" y="470"/>
                </a:cubicBezTo>
                <a:cubicBezTo>
                  <a:pt x="701" y="470"/>
                  <a:pt x="701" y="470"/>
                  <a:pt x="702" y="470"/>
                </a:cubicBezTo>
                <a:cubicBezTo>
                  <a:pt x="701" y="470"/>
                  <a:pt x="701" y="470"/>
                  <a:pt x="701" y="470"/>
                </a:cubicBezTo>
                <a:cubicBezTo>
                  <a:pt x="701" y="471"/>
                  <a:pt x="701" y="471"/>
                  <a:pt x="701" y="471"/>
                </a:cubicBezTo>
                <a:cubicBezTo>
                  <a:pt x="701" y="471"/>
                  <a:pt x="702" y="472"/>
                  <a:pt x="702" y="472"/>
                </a:cubicBezTo>
                <a:cubicBezTo>
                  <a:pt x="702" y="472"/>
                  <a:pt x="703" y="472"/>
                  <a:pt x="703" y="472"/>
                </a:cubicBezTo>
                <a:cubicBezTo>
                  <a:pt x="702" y="472"/>
                  <a:pt x="701" y="472"/>
                  <a:pt x="701" y="472"/>
                </a:cubicBezTo>
                <a:cubicBezTo>
                  <a:pt x="700" y="472"/>
                  <a:pt x="700" y="471"/>
                  <a:pt x="700" y="472"/>
                </a:cubicBezTo>
                <a:cubicBezTo>
                  <a:pt x="700" y="472"/>
                  <a:pt x="700" y="472"/>
                  <a:pt x="699" y="472"/>
                </a:cubicBezTo>
                <a:cubicBezTo>
                  <a:pt x="699" y="471"/>
                  <a:pt x="698" y="472"/>
                  <a:pt x="698" y="472"/>
                </a:cubicBezTo>
                <a:cubicBezTo>
                  <a:pt x="698" y="473"/>
                  <a:pt x="699" y="474"/>
                  <a:pt x="699" y="474"/>
                </a:cubicBezTo>
                <a:cubicBezTo>
                  <a:pt x="700" y="474"/>
                  <a:pt x="701" y="474"/>
                  <a:pt x="702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4"/>
                  <a:pt x="701" y="475"/>
                  <a:pt x="701" y="475"/>
                </a:cubicBezTo>
                <a:cubicBezTo>
                  <a:pt x="701" y="475"/>
                  <a:pt x="701" y="475"/>
                  <a:pt x="701" y="475"/>
                </a:cubicBezTo>
                <a:cubicBezTo>
                  <a:pt x="701" y="475"/>
                  <a:pt x="701" y="475"/>
                  <a:pt x="702" y="475"/>
                </a:cubicBezTo>
                <a:cubicBezTo>
                  <a:pt x="702" y="475"/>
                  <a:pt x="702" y="475"/>
                  <a:pt x="702" y="476"/>
                </a:cubicBezTo>
                <a:cubicBezTo>
                  <a:pt x="702" y="476"/>
                  <a:pt x="702" y="476"/>
                  <a:pt x="703" y="476"/>
                </a:cubicBezTo>
                <a:cubicBezTo>
                  <a:pt x="703" y="476"/>
                  <a:pt x="703" y="476"/>
                  <a:pt x="703" y="476"/>
                </a:cubicBezTo>
                <a:cubicBezTo>
                  <a:pt x="703" y="475"/>
                  <a:pt x="703" y="475"/>
                  <a:pt x="703" y="475"/>
                </a:cubicBezTo>
                <a:cubicBezTo>
                  <a:pt x="703" y="475"/>
                  <a:pt x="703" y="475"/>
                  <a:pt x="703" y="475"/>
                </a:cubicBezTo>
                <a:cubicBezTo>
                  <a:pt x="703" y="475"/>
                  <a:pt x="703" y="474"/>
                  <a:pt x="703" y="474"/>
                </a:cubicBezTo>
                <a:cubicBezTo>
                  <a:pt x="704" y="474"/>
                  <a:pt x="704" y="475"/>
                  <a:pt x="704" y="475"/>
                </a:cubicBezTo>
                <a:cubicBezTo>
                  <a:pt x="704" y="475"/>
                  <a:pt x="704" y="475"/>
                  <a:pt x="704" y="475"/>
                </a:cubicBezTo>
                <a:cubicBezTo>
                  <a:pt x="704" y="476"/>
                  <a:pt x="705" y="476"/>
                  <a:pt x="705" y="476"/>
                </a:cubicBezTo>
                <a:cubicBezTo>
                  <a:pt x="705" y="477"/>
                  <a:pt x="706" y="477"/>
                  <a:pt x="706" y="477"/>
                </a:cubicBezTo>
                <a:cubicBezTo>
                  <a:pt x="706" y="476"/>
                  <a:pt x="706" y="476"/>
                  <a:pt x="706" y="476"/>
                </a:cubicBezTo>
                <a:cubicBezTo>
                  <a:pt x="706" y="475"/>
                  <a:pt x="706" y="475"/>
                  <a:pt x="706" y="474"/>
                </a:cubicBezTo>
                <a:cubicBezTo>
                  <a:pt x="706" y="474"/>
                  <a:pt x="706" y="474"/>
                  <a:pt x="706" y="474"/>
                </a:cubicBezTo>
                <a:cubicBezTo>
                  <a:pt x="706" y="474"/>
                  <a:pt x="706" y="475"/>
                  <a:pt x="706" y="475"/>
                </a:cubicBezTo>
                <a:cubicBezTo>
                  <a:pt x="707" y="476"/>
                  <a:pt x="707" y="476"/>
                  <a:pt x="707" y="477"/>
                </a:cubicBezTo>
                <a:cubicBezTo>
                  <a:pt x="706" y="477"/>
                  <a:pt x="706" y="478"/>
                  <a:pt x="706" y="478"/>
                </a:cubicBezTo>
                <a:cubicBezTo>
                  <a:pt x="707" y="478"/>
                  <a:pt x="707" y="478"/>
                  <a:pt x="707" y="477"/>
                </a:cubicBezTo>
                <a:cubicBezTo>
                  <a:pt x="707" y="478"/>
                  <a:pt x="707" y="478"/>
                  <a:pt x="707" y="478"/>
                </a:cubicBezTo>
                <a:cubicBezTo>
                  <a:pt x="707" y="478"/>
                  <a:pt x="707" y="479"/>
                  <a:pt x="707" y="479"/>
                </a:cubicBezTo>
                <a:cubicBezTo>
                  <a:pt x="708" y="479"/>
                  <a:pt x="708" y="479"/>
                  <a:pt x="708" y="479"/>
                </a:cubicBezTo>
                <a:cubicBezTo>
                  <a:pt x="708" y="479"/>
                  <a:pt x="708" y="479"/>
                  <a:pt x="707" y="479"/>
                </a:cubicBezTo>
                <a:cubicBezTo>
                  <a:pt x="707" y="479"/>
                  <a:pt x="707" y="479"/>
                  <a:pt x="707" y="479"/>
                </a:cubicBezTo>
                <a:cubicBezTo>
                  <a:pt x="707" y="480"/>
                  <a:pt x="707" y="480"/>
                  <a:pt x="707" y="480"/>
                </a:cubicBezTo>
                <a:cubicBezTo>
                  <a:pt x="707" y="480"/>
                  <a:pt x="707" y="480"/>
                  <a:pt x="707" y="480"/>
                </a:cubicBezTo>
                <a:cubicBezTo>
                  <a:pt x="707" y="481"/>
                  <a:pt x="707" y="481"/>
                  <a:pt x="707" y="481"/>
                </a:cubicBezTo>
                <a:cubicBezTo>
                  <a:pt x="707" y="481"/>
                  <a:pt x="707" y="481"/>
                  <a:pt x="707" y="481"/>
                </a:cubicBezTo>
                <a:cubicBezTo>
                  <a:pt x="708" y="481"/>
                  <a:pt x="708" y="481"/>
                  <a:pt x="708" y="480"/>
                </a:cubicBezTo>
                <a:cubicBezTo>
                  <a:pt x="709" y="481"/>
                  <a:pt x="709" y="481"/>
                  <a:pt x="708" y="482"/>
                </a:cubicBezTo>
                <a:cubicBezTo>
                  <a:pt x="708" y="482"/>
                  <a:pt x="708" y="482"/>
                  <a:pt x="708" y="482"/>
                </a:cubicBezTo>
                <a:cubicBezTo>
                  <a:pt x="708" y="482"/>
                  <a:pt x="708" y="482"/>
                  <a:pt x="708" y="482"/>
                </a:cubicBezTo>
                <a:cubicBezTo>
                  <a:pt x="709" y="482"/>
                  <a:pt x="709" y="482"/>
                  <a:pt x="709" y="481"/>
                </a:cubicBezTo>
                <a:cubicBezTo>
                  <a:pt x="709" y="481"/>
                  <a:pt x="709" y="479"/>
                  <a:pt x="709" y="479"/>
                </a:cubicBezTo>
                <a:cubicBezTo>
                  <a:pt x="709" y="479"/>
                  <a:pt x="709" y="479"/>
                  <a:pt x="709" y="479"/>
                </a:cubicBezTo>
                <a:cubicBezTo>
                  <a:pt x="709" y="480"/>
                  <a:pt x="709" y="481"/>
                  <a:pt x="710" y="481"/>
                </a:cubicBezTo>
                <a:cubicBezTo>
                  <a:pt x="710" y="481"/>
                  <a:pt x="710" y="481"/>
                  <a:pt x="710" y="482"/>
                </a:cubicBezTo>
                <a:cubicBezTo>
                  <a:pt x="710" y="481"/>
                  <a:pt x="709" y="481"/>
                  <a:pt x="709" y="481"/>
                </a:cubicBezTo>
                <a:cubicBezTo>
                  <a:pt x="709" y="482"/>
                  <a:pt x="709" y="482"/>
                  <a:pt x="709" y="482"/>
                </a:cubicBezTo>
                <a:cubicBezTo>
                  <a:pt x="710" y="482"/>
                  <a:pt x="710" y="482"/>
                  <a:pt x="710" y="483"/>
                </a:cubicBezTo>
                <a:cubicBezTo>
                  <a:pt x="710" y="483"/>
                  <a:pt x="710" y="484"/>
                  <a:pt x="710" y="484"/>
                </a:cubicBezTo>
                <a:cubicBezTo>
                  <a:pt x="710" y="484"/>
                  <a:pt x="711" y="485"/>
                  <a:pt x="710" y="486"/>
                </a:cubicBezTo>
                <a:cubicBezTo>
                  <a:pt x="710" y="486"/>
                  <a:pt x="710" y="486"/>
                  <a:pt x="711" y="486"/>
                </a:cubicBezTo>
                <a:cubicBezTo>
                  <a:pt x="711" y="486"/>
                  <a:pt x="711" y="486"/>
                  <a:pt x="711" y="486"/>
                </a:cubicBezTo>
                <a:cubicBezTo>
                  <a:pt x="711" y="486"/>
                  <a:pt x="712" y="486"/>
                  <a:pt x="712" y="487"/>
                </a:cubicBezTo>
                <a:cubicBezTo>
                  <a:pt x="712" y="487"/>
                  <a:pt x="712" y="487"/>
                  <a:pt x="712" y="487"/>
                </a:cubicBezTo>
                <a:cubicBezTo>
                  <a:pt x="713" y="487"/>
                  <a:pt x="713" y="486"/>
                  <a:pt x="712" y="486"/>
                </a:cubicBezTo>
                <a:cubicBezTo>
                  <a:pt x="713" y="486"/>
                  <a:pt x="713" y="486"/>
                  <a:pt x="713" y="486"/>
                </a:cubicBezTo>
                <a:cubicBezTo>
                  <a:pt x="713" y="487"/>
                  <a:pt x="714" y="487"/>
                  <a:pt x="714" y="487"/>
                </a:cubicBezTo>
                <a:cubicBezTo>
                  <a:pt x="714" y="486"/>
                  <a:pt x="714" y="486"/>
                  <a:pt x="714" y="486"/>
                </a:cubicBezTo>
                <a:cubicBezTo>
                  <a:pt x="714" y="485"/>
                  <a:pt x="714" y="485"/>
                  <a:pt x="714" y="485"/>
                </a:cubicBezTo>
                <a:cubicBezTo>
                  <a:pt x="714" y="485"/>
                  <a:pt x="714" y="485"/>
                  <a:pt x="714" y="485"/>
                </a:cubicBezTo>
                <a:cubicBezTo>
                  <a:pt x="714" y="484"/>
                  <a:pt x="714" y="484"/>
                  <a:pt x="714" y="484"/>
                </a:cubicBezTo>
                <a:cubicBezTo>
                  <a:pt x="714" y="485"/>
                  <a:pt x="714" y="484"/>
                  <a:pt x="715" y="484"/>
                </a:cubicBezTo>
                <a:cubicBezTo>
                  <a:pt x="715" y="484"/>
                  <a:pt x="715" y="484"/>
                  <a:pt x="714" y="484"/>
                </a:cubicBezTo>
                <a:close/>
                <a:moveTo>
                  <a:pt x="698" y="471"/>
                </a:moveTo>
                <a:cubicBezTo>
                  <a:pt x="698" y="471"/>
                  <a:pt x="698" y="471"/>
                  <a:pt x="699" y="470"/>
                </a:cubicBezTo>
                <a:cubicBezTo>
                  <a:pt x="699" y="470"/>
                  <a:pt x="698" y="470"/>
                  <a:pt x="698" y="470"/>
                </a:cubicBezTo>
                <a:cubicBezTo>
                  <a:pt x="698" y="470"/>
                  <a:pt x="698" y="470"/>
                  <a:pt x="698" y="471"/>
                </a:cubicBezTo>
                <a:cubicBezTo>
                  <a:pt x="698" y="471"/>
                  <a:pt x="697" y="471"/>
                  <a:pt x="698" y="471"/>
                </a:cubicBezTo>
                <a:close/>
                <a:moveTo>
                  <a:pt x="659" y="405"/>
                </a:moveTo>
                <a:cubicBezTo>
                  <a:pt x="659" y="405"/>
                  <a:pt x="660" y="405"/>
                  <a:pt x="659" y="405"/>
                </a:cubicBezTo>
                <a:cubicBezTo>
                  <a:pt x="659" y="404"/>
                  <a:pt x="659" y="404"/>
                  <a:pt x="659" y="404"/>
                </a:cubicBezTo>
                <a:cubicBezTo>
                  <a:pt x="659" y="404"/>
                  <a:pt x="659" y="404"/>
                  <a:pt x="659" y="404"/>
                </a:cubicBezTo>
                <a:cubicBezTo>
                  <a:pt x="659" y="405"/>
                  <a:pt x="659" y="405"/>
                  <a:pt x="659" y="405"/>
                </a:cubicBezTo>
                <a:close/>
                <a:moveTo>
                  <a:pt x="702" y="453"/>
                </a:moveTo>
                <a:cubicBezTo>
                  <a:pt x="702" y="453"/>
                  <a:pt x="703" y="453"/>
                  <a:pt x="703" y="452"/>
                </a:cubicBezTo>
                <a:cubicBezTo>
                  <a:pt x="702" y="452"/>
                  <a:pt x="702" y="452"/>
                  <a:pt x="702" y="452"/>
                </a:cubicBezTo>
                <a:cubicBezTo>
                  <a:pt x="702" y="452"/>
                  <a:pt x="702" y="452"/>
                  <a:pt x="702" y="452"/>
                </a:cubicBezTo>
                <a:cubicBezTo>
                  <a:pt x="702" y="453"/>
                  <a:pt x="702" y="453"/>
                  <a:pt x="702" y="453"/>
                </a:cubicBezTo>
                <a:close/>
                <a:moveTo>
                  <a:pt x="703" y="454"/>
                </a:moveTo>
                <a:cubicBezTo>
                  <a:pt x="703" y="455"/>
                  <a:pt x="703" y="455"/>
                  <a:pt x="703" y="455"/>
                </a:cubicBezTo>
                <a:cubicBezTo>
                  <a:pt x="703" y="455"/>
                  <a:pt x="703" y="455"/>
                  <a:pt x="703" y="455"/>
                </a:cubicBezTo>
                <a:cubicBezTo>
                  <a:pt x="703" y="454"/>
                  <a:pt x="703" y="454"/>
                  <a:pt x="703" y="454"/>
                </a:cubicBezTo>
                <a:cubicBezTo>
                  <a:pt x="703" y="454"/>
                  <a:pt x="703" y="454"/>
                  <a:pt x="703" y="454"/>
                </a:cubicBezTo>
                <a:close/>
                <a:moveTo>
                  <a:pt x="694" y="466"/>
                </a:moveTo>
                <a:cubicBezTo>
                  <a:pt x="694" y="466"/>
                  <a:pt x="694" y="466"/>
                  <a:pt x="694" y="466"/>
                </a:cubicBezTo>
                <a:cubicBezTo>
                  <a:pt x="694" y="466"/>
                  <a:pt x="694" y="466"/>
                  <a:pt x="694" y="466"/>
                </a:cubicBezTo>
                <a:cubicBezTo>
                  <a:pt x="695" y="466"/>
                  <a:pt x="695" y="465"/>
                  <a:pt x="695" y="465"/>
                </a:cubicBezTo>
                <a:cubicBezTo>
                  <a:pt x="695" y="465"/>
                  <a:pt x="694" y="465"/>
                  <a:pt x="694" y="465"/>
                </a:cubicBezTo>
                <a:cubicBezTo>
                  <a:pt x="694" y="465"/>
                  <a:pt x="695" y="465"/>
                  <a:pt x="694" y="466"/>
                </a:cubicBezTo>
                <a:close/>
                <a:moveTo>
                  <a:pt x="692" y="447"/>
                </a:moveTo>
                <a:cubicBezTo>
                  <a:pt x="692" y="446"/>
                  <a:pt x="691" y="446"/>
                  <a:pt x="691" y="446"/>
                </a:cubicBezTo>
                <a:cubicBezTo>
                  <a:pt x="691" y="446"/>
                  <a:pt x="691" y="447"/>
                  <a:pt x="691" y="447"/>
                </a:cubicBezTo>
                <a:cubicBezTo>
                  <a:pt x="692" y="447"/>
                  <a:pt x="692" y="447"/>
                  <a:pt x="692" y="447"/>
                </a:cubicBezTo>
                <a:close/>
                <a:moveTo>
                  <a:pt x="696" y="471"/>
                </a:moveTo>
                <a:cubicBezTo>
                  <a:pt x="696" y="471"/>
                  <a:pt x="696" y="471"/>
                  <a:pt x="696" y="471"/>
                </a:cubicBezTo>
                <a:cubicBezTo>
                  <a:pt x="696" y="471"/>
                  <a:pt x="696" y="471"/>
                  <a:pt x="696" y="471"/>
                </a:cubicBezTo>
                <a:cubicBezTo>
                  <a:pt x="696" y="471"/>
                  <a:pt x="696" y="470"/>
                  <a:pt x="696" y="471"/>
                </a:cubicBezTo>
                <a:cubicBezTo>
                  <a:pt x="696" y="471"/>
                  <a:pt x="696" y="471"/>
                  <a:pt x="696" y="471"/>
                </a:cubicBezTo>
                <a:cubicBezTo>
                  <a:pt x="696" y="471"/>
                  <a:pt x="696" y="471"/>
                  <a:pt x="696" y="471"/>
                </a:cubicBezTo>
                <a:close/>
                <a:moveTo>
                  <a:pt x="706" y="446"/>
                </a:moveTo>
                <a:cubicBezTo>
                  <a:pt x="706" y="447"/>
                  <a:pt x="706" y="447"/>
                  <a:pt x="707" y="447"/>
                </a:cubicBezTo>
                <a:cubicBezTo>
                  <a:pt x="707" y="447"/>
                  <a:pt x="707" y="447"/>
                  <a:pt x="707" y="447"/>
                </a:cubicBezTo>
                <a:cubicBezTo>
                  <a:pt x="707" y="447"/>
                  <a:pt x="707" y="446"/>
                  <a:pt x="706" y="446"/>
                </a:cubicBezTo>
                <a:cubicBezTo>
                  <a:pt x="706" y="446"/>
                  <a:pt x="706" y="446"/>
                  <a:pt x="706" y="446"/>
                </a:cubicBezTo>
                <a:close/>
                <a:moveTo>
                  <a:pt x="708" y="445"/>
                </a:moveTo>
                <a:cubicBezTo>
                  <a:pt x="708" y="445"/>
                  <a:pt x="708" y="445"/>
                  <a:pt x="707" y="445"/>
                </a:cubicBezTo>
                <a:cubicBezTo>
                  <a:pt x="707" y="445"/>
                  <a:pt x="707" y="445"/>
                  <a:pt x="707" y="445"/>
                </a:cubicBezTo>
                <a:cubicBezTo>
                  <a:pt x="707" y="445"/>
                  <a:pt x="708" y="445"/>
                  <a:pt x="708" y="445"/>
                </a:cubicBezTo>
                <a:close/>
                <a:moveTo>
                  <a:pt x="695" y="454"/>
                </a:moveTo>
                <a:cubicBezTo>
                  <a:pt x="695" y="454"/>
                  <a:pt x="695" y="454"/>
                  <a:pt x="695" y="454"/>
                </a:cubicBezTo>
                <a:cubicBezTo>
                  <a:pt x="695" y="454"/>
                  <a:pt x="695" y="454"/>
                  <a:pt x="694" y="454"/>
                </a:cubicBezTo>
                <a:cubicBezTo>
                  <a:pt x="695" y="454"/>
                  <a:pt x="695" y="455"/>
                  <a:pt x="695" y="454"/>
                </a:cubicBezTo>
                <a:close/>
                <a:moveTo>
                  <a:pt x="697" y="459"/>
                </a:moveTo>
                <a:cubicBezTo>
                  <a:pt x="698" y="459"/>
                  <a:pt x="698" y="459"/>
                  <a:pt x="697" y="459"/>
                </a:cubicBezTo>
                <a:cubicBezTo>
                  <a:pt x="697" y="459"/>
                  <a:pt x="697" y="459"/>
                  <a:pt x="697" y="459"/>
                </a:cubicBezTo>
                <a:close/>
                <a:moveTo>
                  <a:pt x="707" y="446"/>
                </a:moveTo>
                <a:cubicBezTo>
                  <a:pt x="707" y="446"/>
                  <a:pt x="707" y="446"/>
                  <a:pt x="707" y="446"/>
                </a:cubicBezTo>
                <a:cubicBezTo>
                  <a:pt x="707" y="446"/>
                  <a:pt x="707" y="446"/>
                  <a:pt x="707" y="446"/>
                </a:cubicBezTo>
                <a:cubicBezTo>
                  <a:pt x="707" y="446"/>
                  <a:pt x="707" y="446"/>
                  <a:pt x="707" y="446"/>
                </a:cubicBezTo>
                <a:cubicBezTo>
                  <a:pt x="707" y="446"/>
                  <a:pt x="707" y="446"/>
                  <a:pt x="707" y="446"/>
                </a:cubicBezTo>
                <a:close/>
                <a:moveTo>
                  <a:pt x="702" y="451"/>
                </a:moveTo>
                <a:cubicBezTo>
                  <a:pt x="702" y="451"/>
                  <a:pt x="702" y="451"/>
                  <a:pt x="702" y="451"/>
                </a:cubicBezTo>
                <a:cubicBezTo>
                  <a:pt x="702" y="451"/>
                  <a:pt x="702" y="451"/>
                  <a:pt x="702" y="452"/>
                </a:cubicBezTo>
                <a:cubicBezTo>
                  <a:pt x="702" y="452"/>
                  <a:pt x="702" y="452"/>
                  <a:pt x="702" y="451"/>
                </a:cubicBezTo>
                <a:close/>
                <a:moveTo>
                  <a:pt x="709" y="445"/>
                </a:moveTo>
                <a:cubicBezTo>
                  <a:pt x="709" y="445"/>
                  <a:pt x="709" y="445"/>
                  <a:pt x="709" y="445"/>
                </a:cubicBezTo>
                <a:cubicBezTo>
                  <a:pt x="709" y="445"/>
                  <a:pt x="708" y="445"/>
                  <a:pt x="708" y="445"/>
                </a:cubicBezTo>
                <a:cubicBezTo>
                  <a:pt x="708" y="445"/>
                  <a:pt x="708" y="445"/>
                  <a:pt x="709" y="445"/>
                </a:cubicBezTo>
                <a:close/>
                <a:moveTo>
                  <a:pt x="701" y="474"/>
                </a:moveTo>
                <a:cubicBezTo>
                  <a:pt x="701" y="474"/>
                  <a:pt x="701" y="474"/>
                  <a:pt x="701" y="474"/>
                </a:cubicBezTo>
                <a:cubicBezTo>
                  <a:pt x="701" y="474"/>
                  <a:pt x="701" y="474"/>
                  <a:pt x="701" y="474"/>
                </a:cubicBezTo>
                <a:cubicBezTo>
                  <a:pt x="701" y="474"/>
                  <a:pt x="701" y="474"/>
                  <a:pt x="701" y="474"/>
                </a:cubicBezTo>
                <a:cubicBezTo>
                  <a:pt x="701" y="474"/>
                  <a:pt x="701" y="474"/>
                  <a:pt x="701" y="474"/>
                </a:cubicBezTo>
                <a:close/>
                <a:moveTo>
                  <a:pt x="660" y="417"/>
                </a:moveTo>
                <a:cubicBezTo>
                  <a:pt x="660" y="417"/>
                  <a:pt x="660" y="417"/>
                  <a:pt x="660" y="418"/>
                </a:cubicBezTo>
                <a:cubicBezTo>
                  <a:pt x="660" y="418"/>
                  <a:pt x="660" y="418"/>
                  <a:pt x="660" y="418"/>
                </a:cubicBezTo>
                <a:cubicBezTo>
                  <a:pt x="660" y="418"/>
                  <a:pt x="660" y="418"/>
                  <a:pt x="660" y="418"/>
                </a:cubicBezTo>
                <a:cubicBezTo>
                  <a:pt x="660" y="417"/>
                  <a:pt x="660" y="417"/>
                  <a:pt x="660" y="417"/>
                </a:cubicBezTo>
                <a:close/>
                <a:moveTo>
                  <a:pt x="700" y="467"/>
                </a:moveTo>
                <a:cubicBezTo>
                  <a:pt x="700" y="468"/>
                  <a:pt x="700" y="468"/>
                  <a:pt x="699" y="468"/>
                </a:cubicBezTo>
                <a:cubicBezTo>
                  <a:pt x="700" y="468"/>
                  <a:pt x="700" y="468"/>
                  <a:pt x="700" y="467"/>
                </a:cubicBezTo>
                <a:close/>
                <a:moveTo>
                  <a:pt x="691" y="420"/>
                </a:moveTo>
                <a:cubicBezTo>
                  <a:pt x="691" y="420"/>
                  <a:pt x="691" y="420"/>
                  <a:pt x="691" y="420"/>
                </a:cubicBezTo>
                <a:cubicBezTo>
                  <a:pt x="691" y="420"/>
                  <a:pt x="691" y="420"/>
                  <a:pt x="691" y="420"/>
                </a:cubicBezTo>
                <a:cubicBezTo>
                  <a:pt x="691" y="419"/>
                  <a:pt x="690" y="418"/>
                  <a:pt x="689" y="418"/>
                </a:cubicBezTo>
                <a:cubicBezTo>
                  <a:pt x="689" y="417"/>
                  <a:pt x="689" y="416"/>
                  <a:pt x="689" y="415"/>
                </a:cubicBezTo>
                <a:cubicBezTo>
                  <a:pt x="689" y="415"/>
                  <a:pt x="689" y="415"/>
                  <a:pt x="688" y="414"/>
                </a:cubicBezTo>
                <a:cubicBezTo>
                  <a:pt x="687" y="414"/>
                  <a:pt x="687" y="413"/>
                  <a:pt x="687" y="412"/>
                </a:cubicBezTo>
                <a:cubicBezTo>
                  <a:pt x="687" y="412"/>
                  <a:pt x="687" y="411"/>
                  <a:pt x="687" y="411"/>
                </a:cubicBezTo>
                <a:cubicBezTo>
                  <a:pt x="686" y="411"/>
                  <a:pt x="686" y="410"/>
                  <a:pt x="686" y="410"/>
                </a:cubicBezTo>
                <a:cubicBezTo>
                  <a:pt x="686" y="409"/>
                  <a:pt x="686" y="409"/>
                  <a:pt x="685" y="409"/>
                </a:cubicBezTo>
                <a:cubicBezTo>
                  <a:pt x="685" y="409"/>
                  <a:pt x="686" y="410"/>
                  <a:pt x="685" y="410"/>
                </a:cubicBezTo>
                <a:cubicBezTo>
                  <a:pt x="685" y="410"/>
                  <a:pt x="685" y="410"/>
                  <a:pt x="686" y="410"/>
                </a:cubicBezTo>
                <a:cubicBezTo>
                  <a:pt x="686" y="411"/>
                  <a:pt x="686" y="411"/>
                  <a:pt x="686" y="411"/>
                </a:cubicBezTo>
                <a:cubicBezTo>
                  <a:pt x="686" y="411"/>
                  <a:pt x="685" y="411"/>
                  <a:pt x="685" y="411"/>
                </a:cubicBezTo>
                <a:cubicBezTo>
                  <a:pt x="685" y="411"/>
                  <a:pt x="685" y="411"/>
                  <a:pt x="685" y="412"/>
                </a:cubicBezTo>
                <a:cubicBezTo>
                  <a:pt x="685" y="412"/>
                  <a:pt x="685" y="412"/>
                  <a:pt x="685" y="412"/>
                </a:cubicBezTo>
                <a:cubicBezTo>
                  <a:pt x="686" y="412"/>
                  <a:pt x="686" y="413"/>
                  <a:pt x="685" y="413"/>
                </a:cubicBezTo>
                <a:cubicBezTo>
                  <a:pt x="685" y="414"/>
                  <a:pt x="685" y="414"/>
                  <a:pt x="685" y="414"/>
                </a:cubicBezTo>
                <a:cubicBezTo>
                  <a:pt x="685" y="414"/>
                  <a:pt x="685" y="414"/>
                  <a:pt x="685" y="414"/>
                </a:cubicBezTo>
                <a:cubicBezTo>
                  <a:pt x="686" y="414"/>
                  <a:pt x="686" y="413"/>
                  <a:pt x="686" y="414"/>
                </a:cubicBezTo>
                <a:cubicBezTo>
                  <a:pt x="687" y="415"/>
                  <a:pt x="687" y="416"/>
                  <a:pt x="688" y="418"/>
                </a:cubicBezTo>
                <a:cubicBezTo>
                  <a:pt x="688" y="418"/>
                  <a:pt x="688" y="418"/>
                  <a:pt x="689" y="419"/>
                </a:cubicBezTo>
                <a:cubicBezTo>
                  <a:pt x="689" y="419"/>
                  <a:pt x="689" y="419"/>
                  <a:pt x="689" y="419"/>
                </a:cubicBezTo>
                <a:cubicBezTo>
                  <a:pt x="690" y="419"/>
                  <a:pt x="690" y="419"/>
                  <a:pt x="690" y="420"/>
                </a:cubicBezTo>
                <a:cubicBezTo>
                  <a:pt x="689" y="421"/>
                  <a:pt x="690" y="421"/>
                  <a:pt x="690" y="422"/>
                </a:cubicBezTo>
                <a:cubicBezTo>
                  <a:pt x="690" y="422"/>
                  <a:pt x="690" y="422"/>
                  <a:pt x="690" y="423"/>
                </a:cubicBezTo>
                <a:cubicBezTo>
                  <a:pt x="690" y="422"/>
                  <a:pt x="690" y="422"/>
                  <a:pt x="690" y="422"/>
                </a:cubicBezTo>
                <a:cubicBezTo>
                  <a:pt x="689" y="423"/>
                  <a:pt x="689" y="422"/>
                  <a:pt x="689" y="422"/>
                </a:cubicBezTo>
                <a:cubicBezTo>
                  <a:pt x="688" y="422"/>
                  <a:pt x="688" y="422"/>
                  <a:pt x="688" y="423"/>
                </a:cubicBezTo>
                <a:cubicBezTo>
                  <a:pt x="688" y="423"/>
                  <a:pt x="688" y="423"/>
                  <a:pt x="688" y="423"/>
                </a:cubicBezTo>
                <a:cubicBezTo>
                  <a:pt x="688" y="423"/>
                  <a:pt x="688" y="423"/>
                  <a:pt x="688" y="423"/>
                </a:cubicBezTo>
                <a:cubicBezTo>
                  <a:pt x="689" y="423"/>
                  <a:pt x="689" y="423"/>
                  <a:pt x="689" y="424"/>
                </a:cubicBezTo>
                <a:cubicBezTo>
                  <a:pt x="689" y="424"/>
                  <a:pt x="689" y="424"/>
                  <a:pt x="690" y="424"/>
                </a:cubicBezTo>
                <a:cubicBezTo>
                  <a:pt x="690" y="424"/>
                  <a:pt x="690" y="424"/>
                  <a:pt x="690" y="424"/>
                </a:cubicBezTo>
                <a:cubicBezTo>
                  <a:pt x="691" y="425"/>
                  <a:pt x="691" y="425"/>
                  <a:pt x="690" y="426"/>
                </a:cubicBezTo>
                <a:cubicBezTo>
                  <a:pt x="690" y="426"/>
                  <a:pt x="690" y="426"/>
                  <a:pt x="689" y="426"/>
                </a:cubicBezTo>
                <a:cubicBezTo>
                  <a:pt x="689" y="427"/>
                  <a:pt x="689" y="427"/>
                  <a:pt x="689" y="426"/>
                </a:cubicBezTo>
                <a:cubicBezTo>
                  <a:pt x="689" y="426"/>
                  <a:pt x="688" y="426"/>
                  <a:pt x="688" y="425"/>
                </a:cubicBezTo>
                <a:cubicBezTo>
                  <a:pt x="688" y="425"/>
                  <a:pt x="688" y="426"/>
                  <a:pt x="688" y="426"/>
                </a:cubicBezTo>
                <a:cubicBezTo>
                  <a:pt x="688" y="426"/>
                  <a:pt x="688" y="426"/>
                  <a:pt x="688" y="426"/>
                </a:cubicBezTo>
                <a:cubicBezTo>
                  <a:pt x="687" y="425"/>
                  <a:pt x="687" y="425"/>
                  <a:pt x="687" y="425"/>
                </a:cubicBezTo>
                <a:cubicBezTo>
                  <a:pt x="687" y="425"/>
                  <a:pt x="687" y="425"/>
                  <a:pt x="687" y="425"/>
                </a:cubicBezTo>
                <a:cubicBezTo>
                  <a:pt x="687" y="425"/>
                  <a:pt x="687" y="425"/>
                  <a:pt x="687" y="425"/>
                </a:cubicBezTo>
                <a:cubicBezTo>
                  <a:pt x="687" y="426"/>
                  <a:pt x="687" y="426"/>
                  <a:pt x="687" y="427"/>
                </a:cubicBezTo>
                <a:cubicBezTo>
                  <a:pt x="688" y="427"/>
                  <a:pt x="688" y="427"/>
                  <a:pt x="688" y="428"/>
                </a:cubicBezTo>
                <a:cubicBezTo>
                  <a:pt x="688" y="428"/>
                  <a:pt x="688" y="428"/>
                  <a:pt x="687" y="428"/>
                </a:cubicBezTo>
                <a:cubicBezTo>
                  <a:pt x="687" y="427"/>
                  <a:pt x="687" y="428"/>
                  <a:pt x="687" y="428"/>
                </a:cubicBezTo>
                <a:cubicBezTo>
                  <a:pt x="687" y="428"/>
                  <a:pt x="687" y="429"/>
                  <a:pt x="687" y="429"/>
                </a:cubicBezTo>
                <a:cubicBezTo>
                  <a:pt x="687" y="429"/>
                  <a:pt x="687" y="429"/>
                  <a:pt x="686" y="429"/>
                </a:cubicBezTo>
                <a:cubicBezTo>
                  <a:pt x="686" y="430"/>
                  <a:pt x="686" y="429"/>
                  <a:pt x="686" y="429"/>
                </a:cubicBezTo>
                <a:cubicBezTo>
                  <a:pt x="685" y="430"/>
                  <a:pt x="685" y="429"/>
                  <a:pt x="685" y="429"/>
                </a:cubicBezTo>
                <a:cubicBezTo>
                  <a:pt x="685" y="429"/>
                  <a:pt x="686" y="428"/>
                  <a:pt x="685" y="428"/>
                </a:cubicBezTo>
                <a:cubicBezTo>
                  <a:pt x="685" y="429"/>
                  <a:pt x="685" y="429"/>
                  <a:pt x="685" y="430"/>
                </a:cubicBezTo>
                <a:cubicBezTo>
                  <a:pt x="685" y="430"/>
                  <a:pt x="685" y="430"/>
                  <a:pt x="685" y="430"/>
                </a:cubicBezTo>
                <a:cubicBezTo>
                  <a:pt x="685" y="430"/>
                  <a:pt x="685" y="431"/>
                  <a:pt x="684" y="431"/>
                </a:cubicBezTo>
                <a:cubicBezTo>
                  <a:pt x="684" y="431"/>
                  <a:pt x="684" y="431"/>
                  <a:pt x="684" y="431"/>
                </a:cubicBezTo>
                <a:cubicBezTo>
                  <a:pt x="684" y="432"/>
                  <a:pt x="684" y="432"/>
                  <a:pt x="684" y="432"/>
                </a:cubicBezTo>
                <a:cubicBezTo>
                  <a:pt x="683" y="432"/>
                  <a:pt x="683" y="432"/>
                  <a:pt x="683" y="433"/>
                </a:cubicBezTo>
                <a:cubicBezTo>
                  <a:pt x="683" y="433"/>
                  <a:pt x="683" y="433"/>
                  <a:pt x="683" y="433"/>
                </a:cubicBezTo>
                <a:cubicBezTo>
                  <a:pt x="682" y="433"/>
                  <a:pt x="682" y="433"/>
                  <a:pt x="681" y="433"/>
                </a:cubicBezTo>
                <a:cubicBezTo>
                  <a:pt x="681" y="432"/>
                  <a:pt x="681" y="432"/>
                  <a:pt x="681" y="431"/>
                </a:cubicBezTo>
                <a:cubicBezTo>
                  <a:pt x="681" y="431"/>
                  <a:pt x="681" y="431"/>
                  <a:pt x="681" y="431"/>
                </a:cubicBezTo>
                <a:cubicBezTo>
                  <a:pt x="681" y="430"/>
                  <a:pt x="681" y="430"/>
                  <a:pt x="681" y="429"/>
                </a:cubicBezTo>
                <a:cubicBezTo>
                  <a:pt x="681" y="429"/>
                  <a:pt x="681" y="428"/>
                  <a:pt x="681" y="428"/>
                </a:cubicBezTo>
                <a:cubicBezTo>
                  <a:pt x="681" y="428"/>
                  <a:pt x="681" y="428"/>
                  <a:pt x="681" y="428"/>
                </a:cubicBezTo>
                <a:cubicBezTo>
                  <a:pt x="682" y="428"/>
                  <a:pt x="682" y="428"/>
                  <a:pt x="682" y="428"/>
                </a:cubicBezTo>
                <a:cubicBezTo>
                  <a:pt x="682" y="428"/>
                  <a:pt x="682" y="428"/>
                  <a:pt x="682" y="428"/>
                </a:cubicBezTo>
                <a:cubicBezTo>
                  <a:pt x="681" y="427"/>
                  <a:pt x="681" y="427"/>
                  <a:pt x="682" y="427"/>
                </a:cubicBezTo>
                <a:cubicBezTo>
                  <a:pt x="682" y="427"/>
                  <a:pt x="682" y="427"/>
                  <a:pt x="682" y="426"/>
                </a:cubicBezTo>
                <a:cubicBezTo>
                  <a:pt x="683" y="426"/>
                  <a:pt x="683" y="426"/>
                  <a:pt x="683" y="426"/>
                </a:cubicBezTo>
                <a:cubicBezTo>
                  <a:pt x="683" y="426"/>
                  <a:pt x="683" y="426"/>
                  <a:pt x="682" y="426"/>
                </a:cubicBezTo>
                <a:cubicBezTo>
                  <a:pt x="682" y="426"/>
                  <a:pt x="682" y="425"/>
                  <a:pt x="682" y="425"/>
                </a:cubicBezTo>
                <a:cubicBezTo>
                  <a:pt x="682" y="424"/>
                  <a:pt x="682" y="424"/>
                  <a:pt x="682" y="425"/>
                </a:cubicBezTo>
                <a:cubicBezTo>
                  <a:pt x="683" y="425"/>
                  <a:pt x="683" y="425"/>
                  <a:pt x="684" y="425"/>
                </a:cubicBezTo>
                <a:cubicBezTo>
                  <a:pt x="684" y="425"/>
                  <a:pt x="684" y="425"/>
                  <a:pt x="684" y="426"/>
                </a:cubicBezTo>
                <a:cubicBezTo>
                  <a:pt x="684" y="426"/>
                  <a:pt x="684" y="426"/>
                  <a:pt x="685" y="426"/>
                </a:cubicBezTo>
                <a:cubicBezTo>
                  <a:pt x="685" y="426"/>
                  <a:pt x="685" y="425"/>
                  <a:pt x="684" y="425"/>
                </a:cubicBezTo>
                <a:cubicBezTo>
                  <a:pt x="684" y="425"/>
                  <a:pt x="684" y="425"/>
                  <a:pt x="683" y="425"/>
                </a:cubicBezTo>
                <a:cubicBezTo>
                  <a:pt x="683" y="425"/>
                  <a:pt x="683" y="425"/>
                  <a:pt x="683" y="425"/>
                </a:cubicBezTo>
                <a:cubicBezTo>
                  <a:pt x="683" y="424"/>
                  <a:pt x="683" y="424"/>
                  <a:pt x="683" y="424"/>
                </a:cubicBezTo>
                <a:cubicBezTo>
                  <a:pt x="682" y="424"/>
                  <a:pt x="682" y="423"/>
                  <a:pt x="682" y="423"/>
                </a:cubicBezTo>
                <a:cubicBezTo>
                  <a:pt x="682" y="423"/>
                  <a:pt x="682" y="423"/>
                  <a:pt x="682" y="422"/>
                </a:cubicBezTo>
                <a:cubicBezTo>
                  <a:pt x="682" y="421"/>
                  <a:pt x="681" y="421"/>
                  <a:pt x="681" y="420"/>
                </a:cubicBezTo>
                <a:cubicBezTo>
                  <a:pt x="680" y="419"/>
                  <a:pt x="680" y="419"/>
                  <a:pt x="680" y="418"/>
                </a:cubicBezTo>
                <a:cubicBezTo>
                  <a:pt x="680" y="418"/>
                  <a:pt x="680" y="418"/>
                  <a:pt x="680" y="418"/>
                </a:cubicBezTo>
                <a:cubicBezTo>
                  <a:pt x="679" y="417"/>
                  <a:pt x="681" y="415"/>
                  <a:pt x="680" y="414"/>
                </a:cubicBezTo>
                <a:cubicBezTo>
                  <a:pt x="679" y="412"/>
                  <a:pt x="680" y="411"/>
                  <a:pt x="679" y="410"/>
                </a:cubicBezTo>
                <a:cubicBezTo>
                  <a:pt x="679" y="409"/>
                  <a:pt x="679" y="409"/>
                  <a:pt x="679" y="409"/>
                </a:cubicBezTo>
                <a:cubicBezTo>
                  <a:pt x="679" y="408"/>
                  <a:pt x="679" y="408"/>
                  <a:pt x="679" y="407"/>
                </a:cubicBezTo>
                <a:cubicBezTo>
                  <a:pt x="679" y="408"/>
                  <a:pt x="679" y="408"/>
                  <a:pt x="679" y="408"/>
                </a:cubicBezTo>
                <a:cubicBezTo>
                  <a:pt x="679" y="408"/>
                  <a:pt x="679" y="407"/>
                  <a:pt x="679" y="407"/>
                </a:cubicBezTo>
                <a:cubicBezTo>
                  <a:pt x="678" y="407"/>
                  <a:pt x="678" y="406"/>
                  <a:pt x="678" y="406"/>
                </a:cubicBezTo>
                <a:cubicBezTo>
                  <a:pt x="678" y="405"/>
                  <a:pt x="677" y="405"/>
                  <a:pt x="678" y="405"/>
                </a:cubicBezTo>
                <a:cubicBezTo>
                  <a:pt x="678" y="405"/>
                  <a:pt x="678" y="405"/>
                  <a:pt x="678" y="404"/>
                </a:cubicBezTo>
                <a:cubicBezTo>
                  <a:pt x="678" y="405"/>
                  <a:pt x="677" y="405"/>
                  <a:pt x="677" y="404"/>
                </a:cubicBezTo>
                <a:cubicBezTo>
                  <a:pt x="677" y="403"/>
                  <a:pt x="677" y="402"/>
                  <a:pt x="677" y="401"/>
                </a:cubicBezTo>
                <a:cubicBezTo>
                  <a:pt x="677" y="401"/>
                  <a:pt x="677" y="401"/>
                  <a:pt x="677" y="401"/>
                </a:cubicBezTo>
                <a:cubicBezTo>
                  <a:pt x="677" y="401"/>
                  <a:pt x="677" y="401"/>
                  <a:pt x="677" y="401"/>
                </a:cubicBezTo>
                <a:cubicBezTo>
                  <a:pt x="678" y="402"/>
                  <a:pt x="678" y="402"/>
                  <a:pt x="679" y="403"/>
                </a:cubicBezTo>
                <a:cubicBezTo>
                  <a:pt x="679" y="403"/>
                  <a:pt x="679" y="404"/>
                  <a:pt x="680" y="404"/>
                </a:cubicBezTo>
                <a:cubicBezTo>
                  <a:pt x="680" y="405"/>
                  <a:pt x="680" y="405"/>
                  <a:pt x="680" y="406"/>
                </a:cubicBezTo>
                <a:cubicBezTo>
                  <a:pt x="680" y="407"/>
                  <a:pt x="680" y="407"/>
                  <a:pt x="681" y="407"/>
                </a:cubicBezTo>
                <a:cubicBezTo>
                  <a:pt x="681" y="406"/>
                  <a:pt x="681" y="406"/>
                  <a:pt x="682" y="406"/>
                </a:cubicBezTo>
                <a:cubicBezTo>
                  <a:pt x="682" y="406"/>
                  <a:pt x="682" y="406"/>
                  <a:pt x="682" y="406"/>
                </a:cubicBezTo>
                <a:cubicBezTo>
                  <a:pt x="683" y="407"/>
                  <a:pt x="683" y="406"/>
                  <a:pt x="684" y="407"/>
                </a:cubicBezTo>
                <a:cubicBezTo>
                  <a:pt x="684" y="407"/>
                  <a:pt x="685" y="407"/>
                  <a:pt x="686" y="407"/>
                </a:cubicBezTo>
                <a:cubicBezTo>
                  <a:pt x="686" y="407"/>
                  <a:pt x="686" y="407"/>
                  <a:pt x="687" y="407"/>
                </a:cubicBezTo>
                <a:cubicBezTo>
                  <a:pt x="687" y="407"/>
                  <a:pt x="687" y="407"/>
                  <a:pt x="686" y="408"/>
                </a:cubicBezTo>
                <a:cubicBezTo>
                  <a:pt x="686" y="408"/>
                  <a:pt x="686" y="408"/>
                  <a:pt x="687" y="409"/>
                </a:cubicBezTo>
                <a:cubicBezTo>
                  <a:pt x="687" y="409"/>
                  <a:pt x="688" y="410"/>
                  <a:pt x="688" y="411"/>
                </a:cubicBezTo>
                <a:cubicBezTo>
                  <a:pt x="688" y="411"/>
                  <a:pt x="688" y="411"/>
                  <a:pt x="688" y="411"/>
                </a:cubicBezTo>
                <a:cubicBezTo>
                  <a:pt x="689" y="412"/>
                  <a:pt x="689" y="412"/>
                  <a:pt x="689" y="413"/>
                </a:cubicBezTo>
                <a:cubicBezTo>
                  <a:pt x="689" y="414"/>
                  <a:pt x="690" y="414"/>
                  <a:pt x="690" y="414"/>
                </a:cubicBezTo>
                <a:cubicBezTo>
                  <a:pt x="690" y="415"/>
                  <a:pt x="690" y="415"/>
                  <a:pt x="690" y="415"/>
                </a:cubicBezTo>
                <a:cubicBezTo>
                  <a:pt x="690" y="416"/>
                  <a:pt x="690" y="416"/>
                  <a:pt x="690" y="416"/>
                </a:cubicBezTo>
                <a:cubicBezTo>
                  <a:pt x="690" y="417"/>
                  <a:pt x="690" y="417"/>
                  <a:pt x="690" y="417"/>
                </a:cubicBezTo>
                <a:cubicBezTo>
                  <a:pt x="690" y="418"/>
                  <a:pt x="690" y="418"/>
                  <a:pt x="691" y="419"/>
                </a:cubicBezTo>
                <a:cubicBezTo>
                  <a:pt x="691" y="419"/>
                  <a:pt x="691" y="420"/>
                  <a:pt x="691" y="420"/>
                </a:cubicBezTo>
                <a:close/>
                <a:moveTo>
                  <a:pt x="687" y="415"/>
                </a:moveTo>
                <a:cubicBezTo>
                  <a:pt x="687" y="416"/>
                  <a:pt x="687" y="416"/>
                  <a:pt x="688" y="416"/>
                </a:cubicBezTo>
                <a:cubicBezTo>
                  <a:pt x="688" y="416"/>
                  <a:pt x="688" y="415"/>
                  <a:pt x="688" y="415"/>
                </a:cubicBezTo>
                <a:cubicBezTo>
                  <a:pt x="687" y="415"/>
                  <a:pt x="687" y="414"/>
                  <a:pt x="687" y="414"/>
                </a:cubicBezTo>
                <a:cubicBezTo>
                  <a:pt x="687" y="414"/>
                  <a:pt x="687" y="414"/>
                  <a:pt x="686" y="413"/>
                </a:cubicBezTo>
                <a:cubicBezTo>
                  <a:pt x="687" y="414"/>
                  <a:pt x="687" y="414"/>
                  <a:pt x="687" y="414"/>
                </a:cubicBezTo>
                <a:cubicBezTo>
                  <a:pt x="686" y="415"/>
                  <a:pt x="687" y="415"/>
                  <a:pt x="687" y="415"/>
                </a:cubicBezTo>
                <a:close/>
                <a:moveTo>
                  <a:pt x="686" y="412"/>
                </a:moveTo>
                <a:cubicBezTo>
                  <a:pt x="686" y="412"/>
                  <a:pt x="686" y="412"/>
                  <a:pt x="686" y="412"/>
                </a:cubicBezTo>
                <a:cubicBezTo>
                  <a:pt x="686" y="412"/>
                  <a:pt x="686" y="412"/>
                  <a:pt x="685" y="412"/>
                </a:cubicBezTo>
                <a:cubicBezTo>
                  <a:pt x="686" y="412"/>
                  <a:pt x="686" y="412"/>
                  <a:pt x="686" y="412"/>
                </a:cubicBezTo>
                <a:cubicBezTo>
                  <a:pt x="686" y="412"/>
                  <a:pt x="686" y="412"/>
                  <a:pt x="686" y="413"/>
                </a:cubicBezTo>
                <a:cubicBezTo>
                  <a:pt x="686" y="413"/>
                  <a:pt x="686" y="412"/>
                  <a:pt x="686" y="412"/>
                </a:cubicBezTo>
                <a:close/>
                <a:moveTo>
                  <a:pt x="686" y="413"/>
                </a:moveTo>
                <a:cubicBezTo>
                  <a:pt x="687" y="413"/>
                  <a:pt x="687" y="413"/>
                  <a:pt x="686" y="413"/>
                </a:cubicBezTo>
                <a:cubicBezTo>
                  <a:pt x="686" y="413"/>
                  <a:pt x="686" y="413"/>
                  <a:pt x="686" y="413"/>
                </a:cubicBezTo>
                <a:cubicBezTo>
                  <a:pt x="686" y="413"/>
                  <a:pt x="686" y="413"/>
                  <a:pt x="686" y="413"/>
                </a:cubicBezTo>
                <a:close/>
                <a:moveTo>
                  <a:pt x="721" y="475"/>
                </a:moveTo>
                <a:cubicBezTo>
                  <a:pt x="721" y="475"/>
                  <a:pt x="721" y="475"/>
                  <a:pt x="721" y="475"/>
                </a:cubicBezTo>
                <a:cubicBezTo>
                  <a:pt x="720" y="475"/>
                  <a:pt x="720" y="475"/>
                  <a:pt x="720" y="476"/>
                </a:cubicBezTo>
                <a:cubicBezTo>
                  <a:pt x="720" y="476"/>
                  <a:pt x="720" y="476"/>
                  <a:pt x="720" y="476"/>
                </a:cubicBezTo>
                <a:cubicBezTo>
                  <a:pt x="720" y="477"/>
                  <a:pt x="720" y="477"/>
                  <a:pt x="720" y="478"/>
                </a:cubicBezTo>
                <a:cubicBezTo>
                  <a:pt x="720" y="478"/>
                  <a:pt x="719" y="478"/>
                  <a:pt x="719" y="479"/>
                </a:cubicBezTo>
                <a:cubicBezTo>
                  <a:pt x="719" y="479"/>
                  <a:pt x="719" y="480"/>
                  <a:pt x="720" y="480"/>
                </a:cubicBezTo>
                <a:cubicBezTo>
                  <a:pt x="720" y="480"/>
                  <a:pt x="720" y="480"/>
                  <a:pt x="720" y="480"/>
                </a:cubicBezTo>
                <a:cubicBezTo>
                  <a:pt x="720" y="480"/>
                  <a:pt x="720" y="480"/>
                  <a:pt x="720" y="480"/>
                </a:cubicBezTo>
                <a:cubicBezTo>
                  <a:pt x="720" y="480"/>
                  <a:pt x="720" y="479"/>
                  <a:pt x="721" y="479"/>
                </a:cubicBezTo>
                <a:cubicBezTo>
                  <a:pt x="721" y="479"/>
                  <a:pt x="721" y="479"/>
                  <a:pt x="721" y="479"/>
                </a:cubicBezTo>
                <a:cubicBezTo>
                  <a:pt x="721" y="480"/>
                  <a:pt x="722" y="480"/>
                  <a:pt x="722" y="480"/>
                </a:cubicBezTo>
                <a:cubicBezTo>
                  <a:pt x="722" y="479"/>
                  <a:pt x="723" y="479"/>
                  <a:pt x="723" y="479"/>
                </a:cubicBezTo>
                <a:cubicBezTo>
                  <a:pt x="723" y="479"/>
                  <a:pt x="722" y="479"/>
                  <a:pt x="722" y="479"/>
                </a:cubicBezTo>
                <a:cubicBezTo>
                  <a:pt x="722" y="479"/>
                  <a:pt x="723" y="478"/>
                  <a:pt x="723" y="478"/>
                </a:cubicBezTo>
                <a:cubicBezTo>
                  <a:pt x="723" y="478"/>
                  <a:pt x="722" y="478"/>
                  <a:pt x="722" y="478"/>
                </a:cubicBezTo>
                <a:cubicBezTo>
                  <a:pt x="722" y="477"/>
                  <a:pt x="722" y="477"/>
                  <a:pt x="722" y="477"/>
                </a:cubicBezTo>
                <a:cubicBezTo>
                  <a:pt x="722" y="476"/>
                  <a:pt x="722" y="476"/>
                  <a:pt x="722" y="476"/>
                </a:cubicBezTo>
                <a:cubicBezTo>
                  <a:pt x="722" y="476"/>
                  <a:pt x="722" y="476"/>
                  <a:pt x="722" y="476"/>
                </a:cubicBezTo>
                <a:cubicBezTo>
                  <a:pt x="722" y="476"/>
                  <a:pt x="721" y="476"/>
                  <a:pt x="721" y="475"/>
                </a:cubicBezTo>
                <a:cubicBezTo>
                  <a:pt x="721" y="475"/>
                  <a:pt x="721" y="475"/>
                  <a:pt x="721" y="475"/>
                </a:cubicBezTo>
                <a:close/>
                <a:moveTo>
                  <a:pt x="722" y="483"/>
                </a:moveTo>
                <a:cubicBezTo>
                  <a:pt x="722" y="483"/>
                  <a:pt x="723" y="483"/>
                  <a:pt x="723" y="483"/>
                </a:cubicBezTo>
                <a:cubicBezTo>
                  <a:pt x="723" y="483"/>
                  <a:pt x="723" y="483"/>
                  <a:pt x="723" y="483"/>
                </a:cubicBezTo>
                <a:cubicBezTo>
                  <a:pt x="723" y="483"/>
                  <a:pt x="723" y="483"/>
                  <a:pt x="724" y="483"/>
                </a:cubicBezTo>
                <a:cubicBezTo>
                  <a:pt x="724" y="483"/>
                  <a:pt x="724" y="483"/>
                  <a:pt x="724" y="483"/>
                </a:cubicBezTo>
                <a:cubicBezTo>
                  <a:pt x="724" y="483"/>
                  <a:pt x="724" y="483"/>
                  <a:pt x="724" y="483"/>
                </a:cubicBezTo>
                <a:cubicBezTo>
                  <a:pt x="724" y="483"/>
                  <a:pt x="724" y="483"/>
                  <a:pt x="724" y="483"/>
                </a:cubicBezTo>
                <a:cubicBezTo>
                  <a:pt x="724" y="482"/>
                  <a:pt x="724" y="482"/>
                  <a:pt x="724" y="482"/>
                </a:cubicBezTo>
                <a:cubicBezTo>
                  <a:pt x="724" y="481"/>
                  <a:pt x="724" y="481"/>
                  <a:pt x="724" y="481"/>
                </a:cubicBezTo>
                <a:cubicBezTo>
                  <a:pt x="724" y="481"/>
                  <a:pt x="724" y="481"/>
                  <a:pt x="724" y="481"/>
                </a:cubicBezTo>
                <a:cubicBezTo>
                  <a:pt x="724" y="481"/>
                  <a:pt x="724" y="481"/>
                  <a:pt x="723" y="481"/>
                </a:cubicBezTo>
                <a:cubicBezTo>
                  <a:pt x="723" y="481"/>
                  <a:pt x="723" y="481"/>
                  <a:pt x="723" y="481"/>
                </a:cubicBezTo>
                <a:cubicBezTo>
                  <a:pt x="723" y="481"/>
                  <a:pt x="723" y="481"/>
                  <a:pt x="723" y="481"/>
                </a:cubicBezTo>
                <a:cubicBezTo>
                  <a:pt x="723" y="481"/>
                  <a:pt x="722" y="481"/>
                  <a:pt x="722" y="481"/>
                </a:cubicBezTo>
                <a:cubicBezTo>
                  <a:pt x="722" y="481"/>
                  <a:pt x="722" y="481"/>
                  <a:pt x="722" y="482"/>
                </a:cubicBezTo>
                <a:cubicBezTo>
                  <a:pt x="722" y="482"/>
                  <a:pt x="722" y="482"/>
                  <a:pt x="722" y="482"/>
                </a:cubicBezTo>
                <a:cubicBezTo>
                  <a:pt x="722" y="482"/>
                  <a:pt x="722" y="482"/>
                  <a:pt x="722" y="483"/>
                </a:cubicBezTo>
                <a:close/>
                <a:moveTo>
                  <a:pt x="740" y="458"/>
                </a:moveTo>
                <a:cubicBezTo>
                  <a:pt x="740" y="458"/>
                  <a:pt x="739" y="455"/>
                  <a:pt x="739" y="455"/>
                </a:cubicBezTo>
                <a:cubicBezTo>
                  <a:pt x="738" y="455"/>
                  <a:pt x="738" y="455"/>
                  <a:pt x="738" y="455"/>
                </a:cubicBezTo>
                <a:cubicBezTo>
                  <a:pt x="736" y="455"/>
                  <a:pt x="736" y="455"/>
                  <a:pt x="736" y="455"/>
                </a:cubicBezTo>
                <a:cubicBezTo>
                  <a:pt x="735" y="454"/>
                  <a:pt x="735" y="454"/>
                  <a:pt x="735" y="454"/>
                </a:cubicBezTo>
                <a:cubicBezTo>
                  <a:pt x="734" y="452"/>
                  <a:pt x="734" y="452"/>
                  <a:pt x="734" y="452"/>
                </a:cubicBezTo>
                <a:cubicBezTo>
                  <a:pt x="734" y="452"/>
                  <a:pt x="733" y="451"/>
                  <a:pt x="733" y="451"/>
                </a:cubicBezTo>
                <a:cubicBezTo>
                  <a:pt x="732" y="451"/>
                  <a:pt x="730" y="449"/>
                  <a:pt x="730" y="449"/>
                </a:cubicBezTo>
                <a:cubicBezTo>
                  <a:pt x="728" y="448"/>
                  <a:pt x="728" y="448"/>
                  <a:pt x="728" y="448"/>
                </a:cubicBezTo>
                <a:cubicBezTo>
                  <a:pt x="726" y="448"/>
                  <a:pt x="726" y="448"/>
                  <a:pt x="726" y="448"/>
                </a:cubicBezTo>
                <a:cubicBezTo>
                  <a:pt x="726" y="448"/>
                  <a:pt x="720" y="443"/>
                  <a:pt x="720" y="443"/>
                </a:cubicBezTo>
                <a:cubicBezTo>
                  <a:pt x="720" y="443"/>
                  <a:pt x="716" y="443"/>
                  <a:pt x="716" y="443"/>
                </a:cubicBezTo>
                <a:cubicBezTo>
                  <a:pt x="716" y="439"/>
                  <a:pt x="716" y="439"/>
                  <a:pt x="716" y="439"/>
                </a:cubicBezTo>
                <a:cubicBezTo>
                  <a:pt x="713" y="437"/>
                  <a:pt x="713" y="437"/>
                  <a:pt x="713" y="437"/>
                </a:cubicBezTo>
                <a:cubicBezTo>
                  <a:pt x="713" y="435"/>
                  <a:pt x="713" y="435"/>
                  <a:pt x="713" y="435"/>
                </a:cubicBezTo>
                <a:cubicBezTo>
                  <a:pt x="714" y="434"/>
                  <a:pt x="714" y="434"/>
                  <a:pt x="714" y="434"/>
                </a:cubicBezTo>
                <a:cubicBezTo>
                  <a:pt x="714" y="432"/>
                  <a:pt x="714" y="432"/>
                  <a:pt x="714" y="432"/>
                </a:cubicBezTo>
                <a:cubicBezTo>
                  <a:pt x="710" y="432"/>
                  <a:pt x="710" y="432"/>
                  <a:pt x="710" y="432"/>
                </a:cubicBezTo>
                <a:cubicBezTo>
                  <a:pt x="710" y="432"/>
                  <a:pt x="710" y="430"/>
                  <a:pt x="710" y="430"/>
                </a:cubicBezTo>
                <a:cubicBezTo>
                  <a:pt x="711" y="430"/>
                  <a:pt x="711" y="429"/>
                  <a:pt x="711" y="429"/>
                </a:cubicBezTo>
                <a:cubicBezTo>
                  <a:pt x="696" y="401"/>
                  <a:pt x="696" y="401"/>
                  <a:pt x="696" y="401"/>
                </a:cubicBezTo>
                <a:cubicBezTo>
                  <a:pt x="697" y="399"/>
                  <a:pt x="697" y="399"/>
                  <a:pt x="697" y="399"/>
                </a:cubicBezTo>
                <a:cubicBezTo>
                  <a:pt x="691" y="392"/>
                  <a:pt x="691" y="392"/>
                  <a:pt x="691" y="392"/>
                </a:cubicBezTo>
                <a:cubicBezTo>
                  <a:pt x="686" y="389"/>
                  <a:pt x="686" y="389"/>
                  <a:pt x="686" y="389"/>
                </a:cubicBezTo>
                <a:cubicBezTo>
                  <a:pt x="685" y="388"/>
                  <a:pt x="685" y="388"/>
                  <a:pt x="685" y="388"/>
                </a:cubicBezTo>
                <a:cubicBezTo>
                  <a:pt x="684" y="386"/>
                  <a:pt x="684" y="386"/>
                  <a:pt x="684" y="386"/>
                </a:cubicBezTo>
                <a:cubicBezTo>
                  <a:pt x="684" y="384"/>
                  <a:pt x="684" y="384"/>
                  <a:pt x="684" y="384"/>
                </a:cubicBezTo>
                <a:cubicBezTo>
                  <a:pt x="680" y="380"/>
                  <a:pt x="680" y="380"/>
                  <a:pt x="680" y="380"/>
                </a:cubicBezTo>
                <a:cubicBezTo>
                  <a:pt x="680" y="379"/>
                  <a:pt x="680" y="379"/>
                  <a:pt x="680" y="379"/>
                </a:cubicBezTo>
                <a:cubicBezTo>
                  <a:pt x="676" y="377"/>
                  <a:pt x="676" y="377"/>
                  <a:pt x="676" y="377"/>
                </a:cubicBezTo>
                <a:cubicBezTo>
                  <a:pt x="676" y="375"/>
                  <a:pt x="676" y="375"/>
                  <a:pt x="676" y="375"/>
                </a:cubicBezTo>
                <a:cubicBezTo>
                  <a:pt x="675" y="375"/>
                  <a:pt x="675" y="375"/>
                  <a:pt x="675" y="375"/>
                </a:cubicBezTo>
                <a:cubicBezTo>
                  <a:pt x="675" y="373"/>
                  <a:pt x="675" y="373"/>
                  <a:pt x="675" y="373"/>
                </a:cubicBezTo>
                <a:cubicBezTo>
                  <a:pt x="675" y="373"/>
                  <a:pt x="675" y="373"/>
                  <a:pt x="675" y="373"/>
                </a:cubicBezTo>
                <a:cubicBezTo>
                  <a:pt x="675" y="371"/>
                  <a:pt x="675" y="371"/>
                  <a:pt x="675" y="371"/>
                </a:cubicBezTo>
                <a:cubicBezTo>
                  <a:pt x="670" y="365"/>
                  <a:pt x="670" y="365"/>
                  <a:pt x="670" y="365"/>
                </a:cubicBezTo>
                <a:cubicBezTo>
                  <a:pt x="669" y="365"/>
                  <a:pt x="669" y="365"/>
                  <a:pt x="669" y="365"/>
                </a:cubicBezTo>
                <a:cubicBezTo>
                  <a:pt x="662" y="369"/>
                  <a:pt x="662" y="369"/>
                  <a:pt x="662" y="369"/>
                </a:cubicBezTo>
                <a:cubicBezTo>
                  <a:pt x="658" y="370"/>
                  <a:pt x="658" y="370"/>
                  <a:pt x="658" y="370"/>
                </a:cubicBezTo>
                <a:cubicBezTo>
                  <a:pt x="659" y="370"/>
                  <a:pt x="659" y="370"/>
                  <a:pt x="659" y="370"/>
                </a:cubicBezTo>
                <a:cubicBezTo>
                  <a:pt x="660" y="371"/>
                  <a:pt x="660" y="371"/>
                  <a:pt x="660" y="371"/>
                </a:cubicBezTo>
                <a:cubicBezTo>
                  <a:pt x="660" y="371"/>
                  <a:pt x="660" y="372"/>
                  <a:pt x="660" y="372"/>
                </a:cubicBezTo>
                <a:cubicBezTo>
                  <a:pt x="660" y="372"/>
                  <a:pt x="659" y="374"/>
                  <a:pt x="659" y="374"/>
                </a:cubicBezTo>
                <a:cubicBezTo>
                  <a:pt x="657" y="374"/>
                  <a:pt x="657" y="374"/>
                  <a:pt x="657" y="374"/>
                </a:cubicBezTo>
                <a:cubicBezTo>
                  <a:pt x="657" y="378"/>
                  <a:pt x="657" y="378"/>
                  <a:pt x="657" y="378"/>
                </a:cubicBezTo>
                <a:cubicBezTo>
                  <a:pt x="656" y="381"/>
                  <a:pt x="656" y="381"/>
                  <a:pt x="656" y="381"/>
                </a:cubicBezTo>
                <a:cubicBezTo>
                  <a:pt x="652" y="381"/>
                  <a:pt x="652" y="381"/>
                  <a:pt x="652" y="381"/>
                </a:cubicBezTo>
                <a:cubicBezTo>
                  <a:pt x="643" y="388"/>
                  <a:pt x="643" y="388"/>
                  <a:pt x="643" y="388"/>
                </a:cubicBezTo>
                <a:cubicBezTo>
                  <a:pt x="642" y="379"/>
                  <a:pt x="642" y="379"/>
                  <a:pt x="642" y="379"/>
                </a:cubicBezTo>
                <a:cubicBezTo>
                  <a:pt x="629" y="365"/>
                  <a:pt x="629" y="365"/>
                  <a:pt x="629" y="365"/>
                </a:cubicBezTo>
                <a:cubicBezTo>
                  <a:pt x="629" y="364"/>
                  <a:pt x="629" y="364"/>
                  <a:pt x="629" y="364"/>
                </a:cubicBezTo>
                <a:cubicBezTo>
                  <a:pt x="628" y="362"/>
                  <a:pt x="628" y="362"/>
                  <a:pt x="628" y="362"/>
                </a:cubicBezTo>
                <a:cubicBezTo>
                  <a:pt x="624" y="360"/>
                  <a:pt x="624" y="360"/>
                  <a:pt x="624" y="360"/>
                </a:cubicBezTo>
                <a:cubicBezTo>
                  <a:pt x="622" y="358"/>
                  <a:pt x="622" y="358"/>
                  <a:pt x="622" y="358"/>
                </a:cubicBezTo>
                <a:cubicBezTo>
                  <a:pt x="622" y="358"/>
                  <a:pt x="622" y="356"/>
                  <a:pt x="622" y="356"/>
                </a:cubicBezTo>
                <a:cubicBezTo>
                  <a:pt x="622" y="356"/>
                  <a:pt x="623" y="353"/>
                  <a:pt x="623" y="353"/>
                </a:cubicBezTo>
                <a:cubicBezTo>
                  <a:pt x="623" y="353"/>
                  <a:pt x="623" y="351"/>
                  <a:pt x="623" y="351"/>
                </a:cubicBezTo>
                <a:cubicBezTo>
                  <a:pt x="615" y="351"/>
                  <a:pt x="615" y="351"/>
                  <a:pt x="615" y="351"/>
                </a:cubicBezTo>
                <a:cubicBezTo>
                  <a:pt x="612" y="355"/>
                  <a:pt x="612" y="355"/>
                  <a:pt x="612" y="355"/>
                </a:cubicBezTo>
                <a:cubicBezTo>
                  <a:pt x="612" y="355"/>
                  <a:pt x="606" y="351"/>
                  <a:pt x="606" y="352"/>
                </a:cubicBezTo>
                <a:cubicBezTo>
                  <a:pt x="606" y="352"/>
                  <a:pt x="605" y="354"/>
                  <a:pt x="605" y="354"/>
                </a:cubicBezTo>
                <a:cubicBezTo>
                  <a:pt x="599" y="352"/>
                  <a:pt x="599" y="352"/>
                  <a:pt x="599" y="352"/>
                </a:cubicBezTo>
                <a:cubicBezTo>
                  <a:pt x="599" y="64"/>
                  <a:pt x="599" y="64"/>
                  <a:pt x="599" y="64"/>
                </a:cubicBezTo>
                <a:cubicBezTo>
                  <a:pt x="598" y="64"/>
                  <a:pt x="598" y="64"/>
                  <a:pt x="598" y="64"/>
                </a:cubicBezTo>
                <a:cubicBezTo>
                  <a:pt x="597" y="64"/>
                  <a:pt x="597" y="63"/>
                  <a:pt x="597" y="64"/>
                </a:cubicBezTo>
                <a:cubicBezTo>
                  <a:pt x="596" y="64"/>
                  <a:pt x="596" y="65"/>
                  <a:pt x="595" y="65"/>
                </a:cubicBezTo>
                <a:cubicBezTo>
                  <a:pt x="595" y="65"/>
                  <a:pt x="594" y="65"/>
                  <a:pt x="594" y="64"/>
                </a:cubicBezTo>
                <a:cubicBezTo>
                  <a:pt x="593" y="63"/>
                  <a:pt x="592" y="63"/>
                  <a:pt x="591" y="62"/>
                </a:cubicBezTo>
                <a:cubicBezTo>
                  <a:pt x="591" y="62"/>
                  <a:pt x="591" y="61"/>
                  <a:pt x="590" y="60"/>
                </a:cubicBezTo>
                <a:cubicBezTo>
                  <a:pt x="590" y="61"/>
                  <a:pt x="589" y="61"/>
                  <a:pt x="588" y="61"/>
                </a:cubicBezTo>
                <a:cubicBezTo>
                  <a:pt x="589" y="61"/>
                  <a:pt x="589" y="60"/>
                  <a:pt x="590" y="60"/>
                </a:cubicBezTo>
                <a:cubicBezTo>
                  <a:pt x="588" y="60"/>
                  <a:pt x="587" y="59"/>
                  <a:pt x="586" y="59"/>
                </a:cubicBezTo>
                <a:cubicBezTo>
                  <a:pt x="586" y="59"/>
                  <a:pt x="585" y="59"/>
                  <a:pt x="585" y="59"/>
                </a:cubicBezTo>
                <a:cubicBezTo>
                  <a:pt x="585" y="58"/>
                  <a:pt x="585" y="58"/>
                  <a:pt x="585" y="58"/>
                </a:cubicBezTo>
                <a:cubicBezTo>
                  <a:pt x="586" y="58"/>
                  <a:pt x="585" y="57"/>
                  <a:pt x="584" y="57"/>
                </a:cubicBezTo>
                <a:cubicBezTo>
                  <a:pt x="584" y="57"/>
                  <a:pt x="583" y="57"/>
                  <a:pt x="583" y="57"/>
                </a:cubicBezTo>
                <a:cubicBezTo>
                  <a:pt x="583" y="57"/>
                  <a:pt x="583" y="56"/>
                  <a:pt x="583" y="56"/>
                </a:cubicBezTo>
                <a:cubicBezTo>
                  <a:pt x="583" y="56"/>
                  <a:pt x="582" y="56"/>
                  <a:pt x="582" y="55"/>
                </a:cubicBezTo>
                <a:cubicBezTo>
                  <a:pt x="581" y="55"/>
                  <a:pt x="581" y="54"/>
                  <a:pt x="581" y="54"/>
                </a:cubicBezTo>
                <a:cubicBezTo>
                  <a:pt x="581" y="54"/>
                  <a:pt x="580" y="54"/>
                  <a:pt x="580" y="54"/>
                </a:cubicBezTo>
                <a:cubicBezTo>
                  <a:pt x="579" y="53"/>
                  <a:pt x="579" y="53"/>
                  <a:pt x="579" y="53"/>
                </a:cubicBezTo>
                <a:cubicBezTo>
                  <a:pt x="579" y="52"/>
                  <a:pt x="579" y="52"/>
                  <a:pt x="579" y="51"/>
                </a:cubicBezTo>
                <a:cubicBezTo>
                  <a:pt x="579" y="51"/>
                  <a:pt x="579" y="51"/>
                  <a:pt x="578" y="51"/>
                </a:cubicBezTo>
                <a:cubicBezTo>
                  <a:pt x="578" y="51"/>
                  <a:pt x="577" y="50"/>
                  <a:pt x="576" y="50"/>
                </a:cubicBezTo>
                <a:cubicBezTo>
                  <a:pt x="576" y="49"/>
                  <a:pt x="576" y="49"/>
                  <a:pt x="575" y="49"/>
                </a:cubicBezTo>
                <a:cubicBezTo>
                  <a:pt x="574" y="49"/>
                  <a:pt x="573" y="49"/>
                  <a:pt x="573" y="48"/>
                </a:cubicBezTo>
                <a:cubicBezTo>
                  <a:pt x="572" y="48"/>
                  <a:pt x="572" y="48"/>
                  <a:pt x="572" y="48"/>
                </a:cubicBezTo>
                <a:cubicBezTo>
                  <a:pt x="571" y="48"/>
                  <a:pt x="571" y="48"/>
                  <a:pt x="571" y="48"/>
                </a:cubicBezTo>
                <a:cubicBezTo>
                  <a:pt x="570" y="48"/>
                  <a:pt x="570" y="48"/>
                  <a:pt x="570" y="48"/>
                </a:cubicBezTo>
                <a:cubicBezTo>
                  <a:pt x="569" y="49"/>
                  <a:pt x="568" y="48"/>
                  <a:pt x="568" y="48"/>
                </a:cubicBezTo>
                <a:cubicBezTo>
                  <a:pt x="567" y="48"/>
                  <a:pt x="566" y="49"/>
                  <a:pt x="565" y="48"/>
                </a:cubicBezTo>
                <a:cubicBezTo>
                  <a:pt x="565" y="48"/>
                  <a:pt x="565" y="47"/>
                  <a:pt x="565" y="46"/>
                </a:cubicBezTo>
                <a:cubicBezTo>
                  <a:pt x="565" y="46"/>
                  <a:pt x="564" y="46"/>
                  <a:pt x="564" y="47"/>
                </a:cubicBezTo>
                <a:cubicBezTo>
                  <a:pt x="564" y="47"/>
                  <a:pt x="564" y="48"/>
                  <a:pt x="564" y="48"/>
                </a:cubicBezTo>
                <a:cubicBezTo>
                  <a:pt x="564" y="48"/>
                  <a:pt x="563" y="48"/>
                  <a:pt x="563" y="49"/>
                </a:cubicBezTo>
                <a:cubicBezTo>
                  <a:pt x="562" y="49"/>
                  <a:pt x="561" y="49"/>
                  <a:pt x="561" y="49"/>
                </a:cubicBezTo>
                <a:cubicBezTo>
                  <a:pt x="560" y="49"/>
                  <a:pt x="560" y="50"/>
                  <a:pt x="559" y="50"/>
                </a:cubicBezTo>
                <a:cubicBezTo>
                  <a:pt x="558" y="50"/>
                  <a:pt x="557" y="50"/>
                  <a:pt x="557" y="51"/>
                </a:cubicBezTo>
                <a:cubicBezTo>
                  <a:pt x="556" y="51"/>
                  <a:pt x="556" y="52"/>
                  <a:pt x="555" y="52"/>
                </a:cubicBezTo>
                <a:cubicBezTo>
                  <a:pt x="555" y="52"/>
                  <a:pt x="555" y="51"/>
                  <a:pt x="555" y="51"/>
                </a:cubicBezTo>
                <a:cubicBezTo>
                  <a:pt x="554" y="51"/>
                  <a:pt x="554" y="51"/>
                  <a:pt x="554" y="52"/>
                </a:cubicBezTo>
                <a:cubicBezTo>
                  <a:pt x="552" y="52"/>
                  <a:pt x="551" y="52"/>
                  <a:pt x="549" y="53"/>
                </a:cubicBezTo>
                <a:cubicBezTo>
                  <a:pt x="549" y="53"/>
                  <a:pt x="548" y="53"/>
                  <a:pt x="548" y="53"/>
                </a:cubicBezTo>
                <a:cubicBezTo>
                  <a:pt x="548" y="53"/>
                  <a:pt x="548" y="52"/>
                  <a:pt x="548" y="52"/>
                </a:cubicBezTo>
                <a:cubicBezTo>
                  <a:pt x="546" y="52"/>
                  <a:pt x="545" y="52"/>
                  <a:pt x="543" y="51"/>
                </a:cubicBezTo>
                <a:cubicBezTo>
                  <a:pt x="543" y="51"/>
                  <a:pt x="543" y="50"/>
                  <a:pt x="542" y="50"/>
                </a:cubicBezTo>
                <a:cubicBezTo>
                  <a:pt x="541" y="50"/>
                  <a:pt x="541" y="50"/>
                  <a:pt x="540" y="50"/>
                </a:cubicBezTo>
                <a:cubicBezTo>
                  <a:pt x="540" y="49"/>
                  <a:pt x="540" y="49"/>
                  <a:pt x="540" y="49"/>
                </a:cubicBezTo>
                <a:cubicBezTo>
                  <a:pt x="539" y="48"/>
                  <a:pt x="539" y="48"/>
                  <a:pt x="538" y="47"/>
                </a:cubicBezTo>
                <a:cubicBezTo>
                  <a:pt x="538" y="47"/>
                  <a:pt x="538" y="47"/>
                  <a:pt x="538" y="47"/>
                </a:cubicBezTo>
                <a:cubicBezTo>
                  <a:pt x="538" y="47"/>
                  <a:pt x="538" y="47"/>
                  <a:pt x="537" y="47"/>
                </a:cubicBezTo>
                <a:cubicBezTo>
                  <a:pt x="536" y="48"/>
                  <a:pt x="535" y="48"/>
                  <a:pt x="534" y="49"/>
                </a:cubicBezTo>
                <a:cubicBezTo>
                  <a:pt x="534" y="48"/>
                  <a:pt x="535" y="48"/>
                  <a:pt x="535" y="48"/>
                </a:cubicBezTo>
                <a:cubicBezTo>
                  <a:pt x="535" y="48"/>
                  <a:pt x="535" y="48"/>
                  <a:pt x="536" y="47"/>
                </a:cubicBezTo>
                <a:cubicBezTo>
                  <a:pt x="536" y="47"/>
                  <a:pt x="535" y="47"/>
                  <a:pt x="535" y="47"/>
                </a:cubicBezTo>
                <a:cubicBezTo>
                  <a:pt x="533" y="45"/>
                  <a:pt x="532" y="45"/>
                  <a:pt x="530" y="45"/>
                </a:cubicBezTo>
                <a:cubicBezTo>
                  <a:pt x="528" y="45"/>
                  <a:pt x="526" y="45"/>
                  <a:pt x="523" y="45"/>
                </a:cubicBezTo>
                <a:cubicBezTo>
                  <a:pt x="522" y="46"/>
                  <a:pt x="521" y="46"/>
                  <a:pt x="520" y="46"/>
                </a:cubicBezTo>
                <a:cubicBezTo>
                  <a:pt x="519" y="46"/>
                  <a:pt x="519" y="45"/>
                  <a:pt x="518" y="45"/>
                </a:cubicBezTo>
                <a:cubicBezTo>
                  <a:pt x="518" y="46"/>
                  <a:pt x="518" y="47"/>
                  <a:pt x="518" y="48"/>
                </a:cubicBezTo>
                <a:cubicBezTo>
                  <a:pt x="518" y="48"/>
                  <a:pt x="518" y="47"/>
                  <a:pt x="518" y="46"/>
                </a:cubicBezTo>
                <a:cubicBezTo>
                  <a:pt x="518" y="45"/>
                  <a:pt x="517" y="45"/>
                  <a:pt x="516" y="45"/>
                </a:cubicBezTo>
                <a:cubicBezTo>
                  <a:pt x="515" y="45"/>
                  <a:pt x="514" y="45"/>
                  <a:pt x="514" y="44"/>
                </a:cubicBezTo>
                <a:cubicBezTo>
                  <a:pt x="513" y="44"/>
                  <a:pt x="512" y="43"/>
                  <a:pt x="510" y="43"/>
                </a:cubicBezTo>
                <a:cubicBezTo>
                  <a:pt x="510" y="43"/>
                  <a:pt x="509" y="44"/>
                  <a:pt x="509" y="44"/>
                </a:cubicBezTo>
                <a:cubicBezTo>
                  <a:pt x="508" y="46"/>
                  <a:pt x="507" y="47"/>
                  <a:pt x="505" y="49"/>
                </a:cubicBezTo>
                <a:cubicBezTo>
                  <a:pt x="504" y="50"/>
                  <a:pt x="503" y="51"/>
                  <a:pt x="502" y="52"/>
                </a:cubicBezTo>
                <a:cubicBezTo>
                  <a:pt x="502" y="52"/>
                  <a:pt x="501" y="53"/>
                  <a:pt x="500" y="54"/>
                </a:cubicBezTo>
                <a:cubicBezTo>
                  <a:pt x="499" y="55"/>
                  <a:pt x="500" y="57"/>
                  <a:pt x="500" y="59"/>
                </a:cubicBezTo>
                <a:cubicBezTo>
                  <a:pt x="500" y="60"/>
                  <a:pt x="500" y="61"/>
                  <a:pt x="501" y="62"/>
                </a:cubicBezTo>
                <a:cubicBezTo>
                  <a:pt x="501" y="65"/>
                  <a:pt x="502" y="67"/>
                  <a:pt x="503" y="70"/>
                </a:cubicBezTo>
                <a:cubicBezTo>
                  <a:pt x="503" y="70"/>
                  <a:pt x="504" y="71"/>
                  <a:pt x="504" y="72"/>
                </a:cubicBezTo>
                <a:cubicBezTo>
                  <a:pt x="504" y="72"/>
                  <a:pt x="504" y="72"/>
                  <a:pt x="504" y="73"/>
                </a:cubicBezTo>
                <a:cubicBezTo>
                  <a:pt x="504" y="73"/>
                  <a:pt x="505" y="73"/>
                  <a:pt x="505" y="74"/>
                </a:cubicBezTo>
                <a:cubicBezTo>
                  <a:pt x="505" y="74"/>
                  <a:pt x="505" y="74"/>
                  <a:pt x="504" y="73"/>
                </a:cubicBezTo>
                <a:cubicBezTo>
                  <a:pt x="504" y="73"/>
                  <a:pt x="504" y="73"/>
                  <a:pt x="504" y="72"/>
                </a:cubicBezTo>
                <a:cubicBezTo>
                  <a:pt x="504" y="72"/>
                  <a:pt x="503" y="71"/>
                  <a:pt x="503" y="71"/>
                </a:cubicBezTo>
                <a:cubicBezTo>
                  <a:pt x="502" y="70"/>
                  <a:pt x="502" y="70"/>
                  <a:pt x="502" y="69"/>
                </a:cubicBezTo>
                <a:cubicBezTo>
                  <a:pt x="502" y="68"/>
                  <a:pt x="501" y="68"/>
                  <a:pt x="501" y="67"/>
                </a:cubicBezTo>
                <a:cubicBezTo>
                  <a:pt x="500" y="63"/>
                  <a:pt x="499" y="60"/>
                  <a:pt x="499" y="56"/>
                </a:cubicBezTo>
                <a:cubicBezTo>
                  <a:pt x="499" y="55"/>
                  <a:pt x="500" y="53"/>
                  <a:pt x="500" y="51"/>
                </a:cubicBezTo>
                <a:cubicBezTo>
                  <a:pt x="501" y="50"/>
                  <a:pt x="502" y="48"/>
                  <a:pt x="502" y="47"/>
                </a:cubicBezTo>
                <a:cubicBezTo>
                  <a:pt x="503" y="46"/>
                  <a:pt x="503" y="44"/>
                  <a:pt x="504" y="44"/>
                </a:cubicBezTo>
                <a:cubicBezTo>
                  <a:pt x="504" y="43"/>
                  <a:pt x="505" y="43"/>
                  <a:pt x="505" y="43"/>
                </a:cubicBezTo>
                <a:cubicBezTo>
                  <a:pt x="505" y="42"/>
                  <a:pt x="506" y="41"/>
                  <a:pt x="506" y="40"/>
                </a:cubicBezTo>
                <a:cubicBezTo>
                  <a:pt x="506" y="40"/>
                  <a:pt x="506" y="39"/>
                  <a:pt x="505" y="39"/>
                </a:cubicBezTo>
                <a:cubicBezTo>
                  <a:pt x="505" y="40"/>
                  <a:pt x="505" y="40"/>
                  <a:pt x="504" y="40"/>
                </a:cubicBezTo>
                <a:cubicBezTo>
                  <a:pt x="504" y="40"/>
                  <a:pt x="504" y="40"/>
                  <a:pt x="503" y="40"/>
                </a:cubicBezTo>
                <a:cubicBezTo>
                  <a:pt x="503" y="40"/>
                  <a:pt x="502" y="40"/>
                  <a:pt x="502" y="40"/>
                </a:cubicBezTo>
                <a:cubicBezTo>
                  <a:pt x="502" y="40"/>
                  <a:pt x="503" y="39"/>
                  <a:pt x="503" y="39"/>
                </a:cubicBezTo>
                <a:cubicBezTo>
                  <a:pt x="503" y="38"/>
                  <a:pt x="503" y="38"/>
                  <a:pt x="503" y="38"/>
                </a:cubicBezTo>
                <a:cubicBezTo>
                  <a:pt x="503" y="37"/>
                  <a:pt x="503" y="37"/>
                  <a:pt x="502" y="37"/>
                </a:cubicBezTo>
                <a:cubicBezTo>
                  <a:pt x="502" y="37"/>
                  <a:pt x="502" y="37"/>
                  <a:pt x="501" y="37"/>
                </a:cubicBezTo>
                <a:cubicBezTo>
                  <a:pt x="501" y="36"/>
                  <a:pt x="500" y="36"/>
                  <a:pt x="500" y="36"/>
                </a:cubicBezTo>
                <a:cubicBezTo>
                  <a:pt x="499" y="36"/>
                  <a:pt x="499" y="36"/>
                  <a:pt x="498" y="37"/>
                </a:cubicBezTo>
                <a:cubicBezTo>
                  <a:pt x="498" y="37"/>
                  <a:pt x="498" y="37"/>
                  <a:pt x="497" y="37"/>
                </a:cubicBezTo>
                <a:cubicBezTo>
                  <a:pt x="497" y="38"/>
                  <a:pt x="497" y="39"/>
                  <a:pt x="497" y="41"/>
                </a:cubicBezTo>
                <a:cubicBezTo>
                  <a:pt x="497" y="42"/>
                  <a:pt x="496" y="43"/>
                  <a:pt x="496" y="44"/>
                </a:cubicBezTo>
                <a:cubicBezTo>
                  <a:pt x="496" y="45"/>
                  <a:pt x="496" y="46"/>
                  <a:pt x="495" y="47"/>
                </a:cubicBezTo>
                <a:cubicBezTo>
                  <a:pt x="494" y="48"/>
                  <a:pt x="494" y="48"/>
                  <a:pt x="493" y="49"/>
                </a:cubicBezTo>
                <a:cubicBezTo>
                  <a:pt x="493" y="49"/>
                  <a:pt x="493" y="50"/>
                  <a:pt x="492" y="50"/>
                </a:cubicBezTo>
                <a:cubicBezTo>
                  <a:pt x="492" y="50"/>
                  <a:pt x="491" y="50"/>
                  <a:pt x="491" y="50"/>
                </a:cubicBezTo>
                <a:cubicBezTo>
                  <a:pt x="491" y="50"/>
                  <a:pt x="491" y="50"/>
                  <a:pt x="491" y="50"/>
                </a:cubicBezTo>
                <a:cubicBezTo>
                  <a:pt x="492" y="49"/>
                  <a:pt x="493" y="48"/>
                  <a:pt x="493" y="47"/>
                </a:cubicBezTo>
                <a:cubicBezTo>
                  <a:pt x="494" y="46"/>
                  <a:pt x="495" y="45"/>
                  <a:pt x="495" y="44"/>
                </a:cubicBezTo>
                <a:cubicBezTo>
                  <a:pt x="495" y="43"/>
                  <a:pt x="496" y="42"/>
                  <a:pt x="496" y="41"/>
                </a:cubicBezTo>
                <a:cubicBezTo>
                  <a:pt x="496" y="40"/>
                  <a:pt x="495" y="39"/>
                  <a:pt x="496" y="39"/>
                </a:cubicBezTo>
                <a:cubicBezTo>
                  <a:pt x="496" y="38"/>
                  <a:pt x="496" y="38"/>
                  <a:pt x="496" y="38"/>
                </a:cubicBezTo>
                <a:cubicBezTo>
                  <a:pt x="496" y="37"/>
                  <a:pt x="496" y="36"/>
                  <a:pt x="496" y="36"/>
                </a:cubicBezTo>
                <a:cubicBezTo>
                  <a:pt x="496" y="35"/>
                  <a:pt x="496" y="35"/>
                  <a:pt x="496" y="35"/>
                </a:cubicBezTo>
                <a:cubicBezTo>
                  <a:pt x="496" y="35"/>
                  <a:pt x="496" y="35"/>
                  <a:pt x="496" y="35"/>
                </a:cubicBezTo>
                <a:cubicBezTo>
                  <a:pt x="495" y="34"/>
                  <a:pt x="495" y="34"/>
                  <a:pt x="494" y="33"/>
                </a:cubicBezTo>
                <a:cubicBezTo>
                  <a:pt x="492" y="33"/>
                  <a:pt x="489" y="32"/>
                  <a:pt x="487" y="33"/>
                </a:cubicBezTo>
                <a:cubicBezTo>
                  <a:pt x="486" y="33"/>
                  <a:pt x="486" y="33"/>
                  <a:pt x="485" y="32"/>
                </a:cubicBezTo>
                <a:cubicBezTo>
                  <a:pt x="485" y="32"/>
                  <a:pt x="485" y="32"/>
                  <a:pt x="485" y="32"/>
                </a:cubicBezTo>
                <a:cubicBezTo>
                  <a:pt x="485" y="32"/>
                  <a:pt x="485" y="32"/>
                  <a:pt x="484" y="32"/>
                </a:cubicBezTo>
                <a:cubicBezTo>
                  <a:pt x="484" y="33"/>
                  <a:pt x="483" y="33"/>
                  <a:pt x="483" y="34"/>
                </a:cubicBezTo>
                <a:cubicBezTo>
                  <a:pt x="483" y="34"/>
                  <a:pt x="482" y="35"/>
                  <a:pt x="482" y="35"/>
                </a:cubicBezTo>
                <a:cubicBezTo>
                  <a:pt x="481" y="35"/>
                  <a:pt x="481" y="35"/>
                  <a:pt x="480" y="35"/>
                </a:cubicBezTo>
                <a:cubicBezTo>
                  <a:pt x="479" y="36"/>
                  <a:pt x="478" y="37"/>
                  <a:pt x="477" y="37"/>
                </a:cubicBezTo>
                <a:cubicBezTo>
                  <a:pt x="476" y="38"/>
                  <a:pt x="475" y="38"/>
                  <a:pt x="475" y="39"/>
                </a:cubicBezTo>
                <a:cubicBezTo>
                  <a:pt x="474" y="39"/>
                  <a:pt x="474" y="40"/>
                  <a:pt x="474" y="40"/>
                </a:cubicBezTo>
                <a:cubicBezTo>
                  <a:pt x="474" y="41"/>
                  <a:pt x="474" y="41"/>
                  <a:pt x="473" y="42"/>
                </a:cubicBezTo>
                <a:cubicBezTo>
                  <a:pt x="473" y="42"/>
                  <a:pt x="472" y="42"/>
                  <a:pt x="472" y="41"/>
                </a:cubicBezTo>
                <a:cubicBezTo>
                  <a:pt x="472" y="41"/>
                  <a:pt x="472" y="40"/>
                  <a:pt x="472" y="40"/>
                </a:cubicBezTo>
                <a:cubicBezTo>
                  <a:pt x="472" y="40"/>
                  <a:pt x="473" y="39"/>
                  <a:pt x="473" y="39"/>
                </a:cubicBezTo>
                <a:cubicBezTo>
                  <a:pt x="473" y="38"/>
                  <a:pt x="473" y="38"/>
                  <a:pt x="473" y="37"/>
                </a:cubicBezTo>
                <a:cubicBezTo>
                  <a:pt x="473" y="37"/>
                  <a:pt x="474" y="36"/>
                  <a:pt x="474" y="36"/>
                </a:cubicBezTo>
                <a:cubicBezTo>
                  <a:pt x="475" y="35"/>
                  <a:pt x="474" y="34"/>
                  <a:pt x="474" y="34"/>
                </a:cubicBezTo>
                <a:cubicBezTo>
                  <a:pt x="475" y="34"/>
                  <a:pt x="475" y="34"/>
                  <a:pt x="476" y="33"/>
                </a:cubicBezTo>
                <a:cubicBezTo>
                  <a:pt x="476" y="33"/>
                  <a:pt x="476" y="33"/>
                  <a:pt x="475" y="32"/>
                </a:cubicBezTo>
                <a:cubicBezTo>
                  <a:pt x="475" y="32"/>
                  <a:pt x="475" y="32"/>
                  <a:pt x="475" y="32"/>
                </a:cubicBezTo>
                <a:cubicBezTo>
                  <a:pt x="474" y="33"/>
                  <a:pt x="474" y="33"/>
                  <a:pt x="473" y="33"/>
                </a:cubicBezTo>
                <a:cubicBezTo>
                  <a:pt x="473" y="34"/>
                  <a:pt x="472" y="34"/>
                  <a:pt x="472" y="34"/>
                </a:cubicBezTo>
                <a:cubicBezTo>
                  <a:pt x="471" y="34"/>
                  <a:pt x="470" y="35"/>
                  <a:pt x="470" y="36"/>
                </a:cubicBezTo>
                <a:cubicBezTo>
                  <a:pt x="470" y="36"/>
                  <a:pt x="470" y="36"/>
                  <a:pt x="470" y="37"/>
                </a:cubicBezTo>
                <a:cubicBezTo>
                  <a:pt x="469" y="37"/>
                  <a:pt x="469" y="37"/>
                  <a:pt x="468" y="37"/>
                </a:cubicBezTo>
                <a:cubicBezTo>
                  <a:pt x="468" y="37"/>
                  <a:pt x="468" y="37"/>
                  <a:pt x="468" y="37"/>
                </a:cubicBezTo>
                <a:cubicBezTo>
                  <a:pt x="468" y="37"/>
                  <a:pt x="467" y="37"/>
                  <a:pt x="467" y="37"/>
                </a:cubicBezTo>
                <a:cubicBezTo>
                  <a:pt x="466" y="36"/>
                  <a:pt x="466" y="36"/>
                  <a:pt x="465" y="36"/>
                </a:cubicBezTo>
                <a:cubicBezTo>
                  <a:pt x="464" y="35"/>
                  <a:pt x="463" y="35"/>
                  <a:pt x="462" y="35"/>
                </a:cubicBezTo>
                <a:cubicBezTo>
                  <a:pt x="461" y="35"/>
                  <a:pt x="460" y="35"/>
                  <a:pt x="458" y="35"/>
                </a:cubicBezTo>
                <a:cubicBezTo>
                  <a:pt x="458" y="34"/>
                  <a:pt x="459" y="34"/>
                  <a:pt x="459" y="34"/>
                </a:cubicBezTo>
                <a:cubicBezTo>
                  <a:pt x="460" y="33"/>
                  <a:pt x="461" y="32"/>
                  <a:pt x="460" y="31"/>
                </a:cubicBezTo>
                <a:cubicBezTo>
                  <a:pt x="460" y="30"/>
                  <a:pt x="459" y="30"/>
                  <a:pt x="458" y="30"/>
                </a:cubicBezTo>
                <a:cubicBezTo>
                  <a:pt x="457" y="30"/>
                  <a:pt x="456" y="31"/>
                  <a:pt x="455" y="31"/>
                </a:cubicBezTo>
                <a:cubicBezTo>
                  <a:pt x="453" y="31"/>
                  <a:pt x="452" y="31"/>
                  <a:pt x="450" y="30"/>
                </a:cubicBezTo>
                <a:cubicBezTo>
                  <a:pt x="451" y="30"/>
                  <a:pt x="452" y="30"/>
                  <a:pt x="453" y="30"/>
                </a:cubicBezTo>
                <a:cubicBezTo>
                  <a:pt x="454" y="30"/>
                  <a:pt x="454" y="30"/>
                  <a:pt x="455" y="30"/>
                </a:cubicBezTo>
                <a:cubicBezTo>
                  <a:pt x="456" y="30"/>
                  <a:pt x="456" y="30"/>
                  <a:pt x="456" y="29"/>
                </a:cubicBezTo>
                <a:cubicBezTo>
                  <a:pt x="455" y="29"/>
                  <a:pt x="455" y="29"/>
                  <a:pt x="454" y="29"/>
                </a:cubicBezTo>
                <a:cubicBezTo>
                  <a:pt x="454" y="28"/>
                  <a:pt x="454" y="28"/>
                  <a:pt x="453" y="28"/>
                </a:cubicBezTo>
                <a:cubicBezTo>
                  <a:pt x="452" y="28"/>
                  <a:pt x="451" y="27"/>
                  <a:pt x="451" y="26"/>
                </a:cubicBezTo>
                <a:cubicBezTo>
                  <a:pt x="451" y="26"/>
                  <a:pt x="452" y="25"/>
                  <a:pt x="452" y="24"/>
                </a:cubicBezTo>
                <a:cubicBezTo>
                  <a:pt x="453" y="23"/>
                  <a:pt x="453" y="22"/>
                  <a:pt x="454" y="21"/>
                </a:cubicBezTo>
                <a:cubicBezTo>
                  <a:pt x="454" y="21"/>
                  <a:pt x="455" y="20"/>
                  <a:pt x="454" y="20"/>
                </a:cubicBezTo>
                <a:cubicBezTo>
                  <a:pt x="454" y="20"/>
                  <a:pt x="454" y="20"/>
                  <a:pt x="454" y="20"/>
                </a:cubicBezTo>
                <a:cubicBezTo>
                  <a:pt x="452" y="19"/>
                  <a:pt x="450" y="18"/>
                  <a:pt x="448" y="18"/>
                </a:cubicBezTo>
                <a:cubicBezTo>
                  <a:pt x="449" y="18"/>
                  <a:pt x="449" y="19"/>
                  <a:pt x="448" y="20"/>
                </a:cubicBezTo>
                <a:cubicBezTo>
                  <a:pt x="448" y="20"/>
                  <a:pt x="447" y="19"/>
                  <a:pt x="448" y="18"/>
                </a:cubicBezTo>
                <a:cubicBezTo>
                  <a:pt x="447" y="19"/>
                  <a:pt x="446" y="18"/>
                  <a:pt x="445" y="17"/>
                </a:cubicBezTo>
                <a:cubicBezTo>
                  <a:pt x="444" y="16"/>
                  <a:pt x="443" y="16"/>
                  <a:pt x="441" y="16"/>
                </a:cubicBezTo>
                <a:cubicBezTo>
                  <a:pt x="441" y="16"/>
                  <a:pt x="440" y="17"/>
                  <a:pt x="439" y="17"/>
                </a:cubicBezTo>
                <a:cubicBezTo>
                  <a:pt x="437" y="18"/>
                  <a:pt x="434" y="17"/>
                  <a:pt x="432" y="18"/>
                </a:cubicBezTo>
                <a:cubicBezTo>
                  <a:pt x="433" y="19"/>
                  <a:pt x="432" y="20"/>
                  <a:pt x="431" y="21"/>
                </a:cubicBezTo>
                <a:cubicBezTo>
                  <a:pt x="430" y="21"/>
                  <a:pt x="430" y="21"/>
                  <a:pt x="430" y="22"/>
                </a:cubicBezTo>
                <a:cubicBezTo>
                  <a:pt x="429" y="22"/>
                  <a:pt x="429" y="22"/>
                  <a:pt x="429" y="22"/>
                </a:cubicBezTo>
                <a:cubicBezTo>
                  <a:pt x="429" y="22"/>
                  <a:pt x="429" y="22"/>
                  <a:pt x="429" y="22"/>
                </a:cubicBezTo>
                <a:cubicBezTo>
                  <a:pt x="429" y="21"/>
                  <a:pt x="428" y="21"/>
                  <a:pt x="427" y="22"/>
                </a:cubicBezTo>
                <a:cubicBezTo>
                  <a:pt x="427" y="22"/>
                  <a:pt x="427" y="23"/>
                  <a:pt x="426" y="24"/>
                </a:cubicBezTo>
                <a:cubicBezTo>
                  <a:pt x="426" y="24"/>
                  <a:pt x="425" y="24"/>
                  <a:pt x="425" y="24"/>
                </a:cubicBezTo>
                <a:cubicBezTo>
                  <a:pt x="424" y="24"/>
                  <a:pt x="424" y="23"/>
                  <a:pt x="425" y="23"/>
                </a:cubicBezTo>
                <a:cubicBezTo>
                  <a:pt x="424" y="23"/>
                  <a:pt x="424" y="23"/>
                  <a:pt x="423" y="22"/>
                </a:cubicBezTo>
                <a:cubicBezTo>
                  <a:pt x="423" y="22"/>
                  <a:pt x="424" y="22"/>
                  <a:pt x="424" y="21"/>
                </a:cubicBezTo>
                <a:cubicBezTo>
                  <a:pt x="424" y="21"/>
                  <a:pt x="425" y="21"/>
                  <a:pt x="424" y="20"/>
                </a:cubicBezTo>
                <a:cubicBezTo>
                  <a:pt x="424" y="20"/>
                  <a:pt x="424" y="20"/>
                  <a:pt x="424" y="20"/>
                </a:cubicBezTo>
                <a:cubicBezTo>
                  <a:pt x="423" y="19"/>
                  <a:pt x="423" y="18"/>
                  <a:pt x="424" y="18"/>
                </a:cubicBezTo>
                <a:cubicBezTo>
                  <a:pt x="423" y="18"/>
                  <a:pt x="423" y="18"/>
                  <a:pt x="423" y="17"/>
                </a:cubicBezTo>
                <a:cubicBezTo>
                  <a:pt x="423" y="17"/>
                  <a:pt x="424" y="16"/>
                  <a:pt x="424" y="15"/>
                </a:cubicBezTo>
                <a:cubicBezTo>
                  <a:pt x="424" y="14"/>
                  <a:pt x="424" y="12"/>
                  <a:pt x="423" y="12"/>
                </a:cubicBezTo>
                <a:cubicBezTo>
                  <a:pt x="423" y="12"/>
                  <a:pt x="423" y="12"/>
                  <a:pt x="423" y="11"/>
                </a:cubicBezTo>
                <a:cubicBezTo>
                  <a:pt x="422" y="11"/>
                  <a:pt x="422" y="11"/>
                  <a:pt x="422" y="11"/>
                </a:cubicBezTo>
                <a:cubicBezTo>
                  <a:pt x="422" y="10"/>
                  <a:pt x="421" y="10"/>
                  <a:pt x="420" y="9"/>
                </a:cubicBezTo>
                <a:cubicBezTo>
                  <a:pt x="419" y="9"/>
                  <a:pt x="418" y="8"/>
                  <a:pt x="418" y="8"/>
                </a:cubicBezTo>
                <a:cubicBezTo>
                  <a:pt x="418" y="7"/>
                  <a:pt x="417" y="8"/>
                  <a:pt x="418" y="8"/>
                </a:cubicBezTo>
                <a:cubicBezTo>
                  <a:pt x="418" y="9"/>
                  <a:pt x="418" y="9"/>
                  <a:pt x="418" y="9"/>
                </a:cubicBezTo>
                <a:cubicBezTo>
                  <a:pt x="419" y="10"/>
                  <a:pt x="419" y="10"/>
                  <a:pt x="418" y="11"/>
                </a:cubicBezTo>
                <a:cubicBezTo>
                  <a:pt x="418" y="11"/>
                  <a:pt x="417" y="10"/>
                  <a:pt x="417" y="10"/>
                </a:cubicBezTo>
                <a:cubicBezTo>
                  <a:pt x="417" y="9"/>
                  <a:pt x="416" y="9"/>
                  <a:pt x="416" y="9"/>
                </a:cubicBezTo>
                <a:cubicBezTo>
                  <a:pt x="416" y="9"/>
                  <a:pt x="415" y="9"/>
                  <a:pt x="415" y="10"/>
                </a:cubicBezTo>
                <a:cubicBezTo>
                  <a:pt x="416" y="10"/>
                  <a:pt x="416" y="10"/>
                  <a:pt x="416" y="11"/>
                </a:cubicBezTo>
                <a:cubicBezTo>
                  <a:pt x="416" y="11"/>
                  <a:pt x="417" y="12"/>
                  <a:pt x="417" y="12"/>
                </a:cubicBezTo>
                <a:cubicBezTo>
                  <a:pt x="417" y="13"/>
                  <a:pt x="416" y="14"/>
                  <a:pt x="415" y="14"/>
                </a:cubicBezTo>
                <a:cubicBezTo>
                  <a:pt x="416" y="13"/>
                  <a:pt x="415" y="13"/>
                  <a:pt x="415" y="12"/>
                </a:cubicBezTo>
                <a:cubicBezTo>
                  <a:pt x="414" y="13"/>
                  <a:pt x="413" y="14"/>
                  <a:pt x="413" y="16"/>
                </a:cubicBezTo>
                <a:cubicBezTo>
                  <a:pt x="412" y="17"/>
                  <a:pt x="412" y="17"/>
                  <a:pt x="412" y="18"/>
                </a:cubicBezTo>
                <a:cubicBezTo>
                  <a:pt x="412" y="19"/>
                  <a:pt x="411" y="19"/>
                  <a:pt x="411" y="20"/>
                </a:cubicBezTo>
                <a:cubicBezTo>
                  <a:pt x="410" y="20"/>
                  <a:pt x="410" y="20"/>
                  <a:pt x="409" y="19"/>
                </a:cubicBezTo>
                <a:cubicBezTo>
                  <a:pt x="408" y="19"/>
                  <a:pt x="408" y="20"/>
                  <a:pt x="407" y="20"/>
                </a:cubicBezTo>
                <a:cubicBezTo>
                  <a:pt x="407" y="20"/>
                  <a:pt x="406" y="21"/>
                  <a:pt x="406" y="20"/>
                </a:cubicBezTo>
                <a:cubicBezTo>
                  <a:pt x="406" y="20"/>
                  <a:pt x="406" y="20"/>
                  <a:pt x="406" y="20"/>
                </a:cubicBezTo>
                <a:cubicBezTo>
                  <a:pt x="406" y="19"/>
                  <a:pt x="407" y="19"/>
                  <a:pt x="407" y="19"/>
                </a:cubicBezTo>
                <a:cubicBezTo>
                  <a:pt x="406" y="19"/>
                  <a:pt x="406" y="19"/>
                  <a:pt x="406" y="19"/>
                </a:cubicBezTo>
                <a:cubicBezTo>
                  <a:pt x="405" y="19"/>
                  <a:pt x="404" y="19"/>
                  <a:pt x="404" y="18"/>
                </a:cubicBezTo>
                <a:cubicBezTo>
                  <a:pt x="404" y="18"/>
                  <a:pt x="404" y="18"/>
                  <a:pt x="404" y="18"/>
                </a:cubicBezTo>
                <a:cubicBezTo>
                  <a:pt x="404" y="18"/>
                  <a:pt x="404" y="18"/>
                  <a:pt x="404" y="18"/>
                </a:cubicBezTo>
                <a:cubicBezTo>
                  <a:pt x="404" y="18"/>
                  <a:pt x="404" y="18"/>
                  <a:pt x="405" y="18"/>
                </a:cubicBezTo>
                <a:cubicBezTo>
                  <a:pt x="405" y="18"/>
                  <a:pt x="406" y="18"/>
                  <a:pt x="406" y="17"/>
                </a:cubicBezTo>
                <a:cubicBezTo>
                  <a:pt x="406" y="17"/>
                  <a:pt x="406" y="17"/>
                  <a:pt x="406" y="17"/>
                </a:cubicBezTo>
                <a:cubicBezTo>
                  <a:pt x="406" y="17"/>
                  <a:pt x="406" y="17"/>
                  <a:pt x="406" y="17"/>
                </a:cubicBezTo>
                <a:cubicBezTo>
                  <a:pt x="406" y="16"/>
                  <a:pt x="405" y="17"/>
                  <a:pt x="405" y="17"/>
                </a:cubicBezTo>
                <a:cubicBezTo>
                  <a:pt x="405" y="17"/>
                  <a:pt x="404" y="16"/>
                  <a:pt x="404" y="16"/>
                </a:cubicBezTo>
                <a:cubicBezTo>
                  <a:pt x="404" y="16"/>
                  <a:pt x="404" y="16"/>
                  <a:pt x="404" y="16"/>
                </a:cubicBezTo>
                <a:cubicBezTo>
                  <a:pt x="405" y="16"/>
                  <a:pt x="405" y="16"/>
                  <a:pt x="405" y="16"/>
                </a:cubicBezTo>
                <a:cubicBezTo>
                  <a:pt x="406" y="16"/>
                  <a:pt x="406" y="15"/>
                  <a:pt x="406" y="15"/>
                </a:cubicBezTo>
                <a:cubicBezTo>
                  <a:pt x="406" y="15"/>
                  <a:pt x="407" y="15"/>
                  <a:pt x="408" y="14"/>
                </a:cubicBezTo>
                <a:cubicBezTo>
                  <a:pt x="408" y="14"/>
                  <a:pt x="409" y="14"/>
                  <a:pt x="409" y="14"/>
                </a:cubicBezTo>
                <a:cubicBezTo>
                  <a:pt x="409" y="13"/>
                  <a:pt x="409" y="13"/>
                  <a:pt x="409" y="13"/>
                </a:cubicBezTo>
                <a:cubicBezTo>
                  <a:pt x="410" y="12"/>
                  <a:pt x="410" y="12"/>
                  <a:pt x="410" y="12"/>
                </a:cubicBezTo>
                <a:cubicBezTo>
                  <a:pt x="410" y="12"/>
                  <a:pt x="411" y="11"/>
                  <a:pt x="411" y="11"/>
                </a:cubicBezTo>
                <a:cubicBezTo>
                  <a:pt x="411" y="10"/>
                  <a:pt x="412" y="10"/>
                  <a:pt x="412" y="10"/>
                </a:cubicBezTo>
                <a:cubicBezTo>
                  <a:pt x="412" y="10"/>
                  <a:pt x="412" y="10"/>
                  <a:pt x="412" y="9"/>
                </a:cubicBezTo>
                <a:cubicBezTo>
                  <a:pt x="412" y="9"/>
                  <a:pt x="412" y="9"/>
                  <a:pt x="412" y="9"/>
                </a:cubicBezTo>
                <a:cubicBezTo>
                  <a:pt x="412" y="9"/>
                  <a:pt x="411" y="8"/>
                  <a:pt x="411" y="7"/>
                </a:cubicBezTo>
                <a:cubicBezTo>
                  <a:pt x="411" y="7"/>
                  <a:pt x="411" y="7"/>
                  <a:pt x="411" y="7"/>
                </a:cubicBezTo>
                <a:cubicBezTo>
                  <a:pt x="411" y="6"/>
                  <a:pt x="411" y="6"/>
                  <a:pt x="411" y="6"/>
                </a:cubicBezTo>
                <a:cubicBezTo>
                  <a:pt x="410" y="6"/>
                  <a:pt x="410" y="6"/>
                  <a:pt x="410" y="6"/>
                </a:cubicBezTo>
                <a:cubicBezTo>
                  <a:pt x="409" y="5"/>
                  <a:pt x="408" y="5"/>
                  <a:pt x="407" y="5"/>
                </a:cubicBezTo>
                <a:cubicBezTo>
                  <a:pt x="407" y="5"/>
                  <a:pt x="407" y="5"/>
                  <a:pt x="406" y="6"/>
                </a:cubicBezTo>
                <a:cubicBezTo>
                  <a:pt x="406" y="6"/>
                  <a:pt x="405" y="6"/>
                  <a:pt x="405" y="6"/>
                </a:cubicBezTo>
                <a:cubicBezTo>
                  <a:pt x="405" y="5"/>
                  <a:pt x="405" y="5"/>
                  <a:pt x="405" y="5"/>
                </a:cubicBezTo>
                <a:cubicBezTo>
                  <a:pt x="406" y="5"/>
                  <a:pt x="405" y="4"/>
                  <a:pt x="405" y="4"/>
                </a:cubicBezTo>
                <a:cubicBezTo>
                  <a:pt x="405" y="4"/>
                  <a:pt x="404" y="3"/>
                  <a:pt x="404" y="3"/>
                </a:cubicBezTo>
                <a:cubicBezTo>
                  <a:pt x="404" y="3"/>
                  <a:pt x="404" y="3"/>
                  <a:pt x="404" y="3"/>
                </a:cubicBezTo>
                <a:cubicBezTo>
                  <a:pt x="403" y="2"/>
                  <a:pt x="403" y="2"/>
                  <a:pt x="403" y="2"/>
                </a:cubicBezTo>
                <a:cubicBezTo>
                  <a:pt x="402" y="2"/>
                  <a:pt x="401" y="2"/>
                  <a:pt x="400" y="2"/>
                </a:cubicBezTo>
                <a:cubicBezTo>
                  <a:pt x="399" y="2"/>
                  <a:pt x="399" y="1"/>
                  <a:pt x="398" y="1"/>
                </a:cubicBezTo>
                <a:cubicBezTo>
                  <a:pt x="398" y="1"/>
                  <a:pt x="397" y="0"/>
                  <a:pt x="398" y="0"/>
                </a:cubicBezTo>
                <a:cubicBezTo>
                  <a:pt x="394" y="3"/>
                  <a:pt x="393" y="7"/>
                  <a:pt x="390" y="11"/>
                </a:cubicBezTo>
                <a:cubicBezTo>
                  <a:pt x="388" y="14"/>
                  <a:pt x="385" y="18"/>
                  <a:pt x="380" y="19"/>
                </a:cubicBezTo>
                <a:cubicBezTo>
                  <a:pt x="379" y="19"/>
                  <a:pt x="378" y="19"/>
                  <a:pt x="376" y="20"/>
                </a:cubicBezTo>
                <a:cubicBezTo>
                  <a:pt x="376" y="20"/>
                  <a:pt x="375" y="21"/>
                  <a:pt x="375" y="21"/>
                </a:cubicBezTo>
                <a:cubicBezTo>
                  <a:pt x="375" y="21"/>
                  <a:pt x="374" y="21"/>
                  <a:pt x="374" y="21"/>
                </a:cubicBezTo>
                <a:cubicBezTo>
                  <a:pt x="373" y="20"/>
                  <a:pt x="372" y="22"/>
                  <a:pt x="371" y="22"/>
                </a:cubicBezTo>
                <a:cubicBezTo>
                  <a:pt x="370" y="22"/>
                  <a:pt x="369" y="21"/>
                  <a:pt x="368" y="21"/>
                </a:cubicBezTo>
                <a:cubicBezTo>
                  <a:pt x="368" y="21"/>
                  <a:pt x="368" y="22"/>
                  <a:pt x="367" y="22"/>
                </a:cubicBezTo>
                <a:cubicBezTo>
                  <a:pt x="367" y="22"/>
                  <a:pt x="366" y="22"/>
                  <a:pt x="366" y="22"/>
                </a:cubicBezTo>
                <a:cubicBezTo>
                  <a:pt x="365" y="22"/>
                  <a:pt x="364" y="22"/>
                  <a:pt x="364" y="23"/>
                </a:cubicBezTo>
                <a:cubicBezTo>
                  <a:pt x="364" y="23"/>
                  <a:pt x="364" y="24"/>
                  <a:pt x="365" y="24"/>
                </a:cubicBezTo>
                <a:cubicBezTo>
                  <a:pt x="365" y="25"/>
                  <a:pt x="365" y="25"/>
                  <a:pt x="365" y="26"/>
                </a:cubicBezTo>
                <a:cubicBezTo>
                  <a:pt x="364" y="25"/>
                  <a:pt x="363" y="24"/>
                  <a:pt x="363" y="23"/>
                </a:cubicBezTo>
                <a:cubicBezTo>
                  <a:pt x="363" y="22"/>
                  <a:pt x="363" y="21"/>
                  <a:pt x="362" y="21"/>
                </a:cubicBezTo>
                <a:cubicBezTo>
                  <a:pt x="364" y="21"/>
                  <a:pt x="365" y="20"/>
                  <a:pt x="365" y="19"/>
                </a:cubicBezTo>
                <a:cubicBezTo>
                  <a:pt x="364" y="19"/>
                  <a:pt x="362" y="19"/>
                  <a:pt x="360" y="20"/>
                </a:cubicBezTo>
                <a:cubicBezTo>
                  <a:pt x="359" y="21"/>
                  <a:pt x="358" y="23"/>
                  <a:pt x="356" y="24"/>
                </a:cubicBezTo>
                <a:cubicBezTo>
                  <a:pt x="356" y="24"/>
                  <a:pt x="355" y="25"/>
                  <a:pt x="355" y="26"/>
                </a:cubicBezTo>
                <a:cubicBezTo>
                  <a:pt x="354" y="26"/>
                  <a:pt x="354" y="26"/>
                  <a:pt x="354" y="27"/>
                </a:cubicBezTo>
                <a:cubicBezTo>
                  <a:pt x="354" y="27"/>
                  <a:pt x="354" y="28"/>
                  <a:pt x="354" y="28"/>
                </a:cubicBezTo>
                <a:cubicBezTo>
                  <a:pt x="354" y="28"/>
                  <a:pt x="355" y="28"/>
                  <a:pt x="356" y="29"/>
                </a:cubicBezTo>
                <a:cubicBezTo>
                  <a:pt x="356" y="30"/>
                  <a:pt x="356" y="31"/>
                  <a:pt x="357" y="32"/>
                </a:cubicBezTo>
                <a:cubicBezTo>
                  <a:pt x="357" y="32"/>
                  <a:pt x="358" y="33"/>
                  <a:pt x="359" y="33"/>
                </a:cubicBezTo>
                <a:cubicBezTo>
                  <a:pt x="359" y="33"/>
                  <a:pt x="360" y="33"/>
                  <a:pt x="360" y="32"/>
                </a:cubicBezTo>
                <a:cubicBezTo>
                  <a:pt x="361" y="32"/>
                  <a:pt x="362" y="32"/>
                  <a:pt x="364" y="32"/>
                </a:cubicBezTo>
                <a:cubicBezTo>
                  <a:pt x="363" y="33"/>
                  <a:pt x="362" y="33"/>
                  <a:pt x="361" y="33"/>
                </a:cubicBezTo>
                <a:cubicBezTo>
                  <a:pt x="360" y="33"/>
                  <a:pt x="360" y="33"/>
                  <a:pt x="359" y="34"/>
                </a:cubicBezTo>
                <a:cubicBezTo>
                  <a:pt x="359" y="34"/>
                  <a:pt x="358" y="34"/>
                  <a:pt x="357" y="34"/>
                </a:cubicBezTo>
                <a:cubicBezTo>
                  <a:pt x="357" y="34"/>
                  <a:pt x="356" y="35"/>
                  <a:pt x="356" y="36"/>
                </a:cubicBezTo>
                <a:cubicBezTo>
                  <a:pt x="356" y="37"/>
                  <a:pt x="356" y="38"/>
                  <a:pt x="356" y="39"/>
                </a:cubicBezTo>
                <a:cubicBezTo>
                  <a:pt x="357" y="40"/>
                  <a:pt x="357" y="41"/>
                  <a:pt x="356" y="42"/>
                </a:cubicBezTo>
                <a:cubicBezTo>
                  <a:pt x="355" y="41"/>
                  <a:pt x="355" y="39"/>
                  <a:pt x="355" y="37"/>
                </a:cubicBezTo>
                <a:cubicBezTo>
                  <a:pt x="354" y="38"/>
                  <a:pt x="353" y="39"/>
                  <a:pt x="352" y="39"/>
                </a:cubicBezTo>
                <a:cubicBezTo>
                  <a:pt x="354" y="37"/>
                  <a:pt x="355" y="35"/>
                  <a:pt x="355" y="33"/>
                </a:cubicBezTo>
                <a:cubicBezTo>
                  <a:pt x="355" y="33"/>
                  <a:pt x="354" y="34"/>
                  <a:pt x="353" y="33"/>
                </a:cubicBezTo>
                <a:cubicBezTo>
                  <a:pt x="354" y="33"/>
                  <a:pt x="354" y="33"/>
                  <a:pt x="355" y="32"/>
                </a:cubicBezTo>
                <a:cubicBezTo>
                  <a:pt x="356" y="31"/>
                  <a:pt x="356" y="30"/>
                  <a:pt x="355" y="30"/>
                </a:cubicBezTo>
                <a:cubicBezTo>
                  <a:pt x="354" y="30"/>
                  <a:pt x="354" y="30"/>
                  <a:pt x="354" y="30"/>
                </a:cubicBezTo>
                <a:cubicBezTo>
                  <a:pt x="353" y="30"/>
                  <a:pt x="353" y="30"/>
                  <a:pt x="352" y="30"/>
                </a:cubicBezTo>
                <a:cubicBezTo>
                  <a:pt x="352" y="30"/>
                  <a:pt x="352" y="30"/>
                  <a:pt x="351" y="30"/>
                </a:cubicBezTo>
                <a:cubicBezTo>
                  <a:pt x="349" y="32"/>
                  <a:pt x="347" y="36"/>
                  <a:pt x="345" y="38"/>
                </a:cubicBezTo>
                <a:cubicBezTo>
                  <a:pt x="343" y="39"/>
                  <a:pt x="342" y="39"/>
                  <a:pt x="340" y="40"/>
                </a:cubicBezTo>
                <a:cubicBezTo>
                  <a:pt x="339" y="41"/>
                  <a:pt x="338" y="42"/>
                  <a:pt x="336" y="43"/>
                </a:cubicBezTo>
                <a:cubicBezTo>
                  <a:pt x="335" y="43"/>
                  <a:pt x="333" y="42"/>
                  <a:pt x="333" y="43"/>
                </a:cubicBezTo>
                <a:cubicBezTo>
                  <a:pt x="332" y="44"/>
                  <a:pt x="332" y="45"/>
                  <a:pt x="331" y="44"/>
                </a:cubicBezTo>
                <a:cubicBezTo>
                  <a:pt x="330" y="44"/>
                  <a:pt x="330" y="44"/>
                  <a:pt x="330" y="43"/>
                </a:cubicBezTo>
                <a:cubicBezTo>
                  <a:pt x="331" y="43"/>
                  <a:pt x="331" y="42"/>
                  <a:pt x="332" y="42"/>
                </a:cubicBezTo>
                <a:cubicBezTo>
                  <a:pt x="332" y="42"/>
                  <a:pt x="332" y="42"/>
                  <a:pt x="332" y="42"/>
                </a:cubicBezTo>
                <a:cubicBezTo>
                  <a:pt x="333" y="42"/>
                  <a:pt x="333" y="42"/>
                  <a:pt x="333" y="42"/>
                </a:cubicBezTo>
                <a:cubicBezTo>
                  <a:pt x="332" y="42"/>
                  <a:pt x="330" y="41"/>
                  <a:pt x="330" y="40"/>
                </a:cubicBezTo>
                <a:cubicBezTo>
                  <a:pt x="329" y="43"/>
                  <a:pt x="327" y="45"/>
                  <a:pt x="325" y="46"/>
                </a:cubicBezTo>
                <a:cubicBezTo>
                  <a:pt x="325" y="47"/>
                  <a:pt x="324" y="48"/>
                  <a:pt x="324" y="49"/>
                </a:cubicBezTo>
                <a:cubicBezTo>
                  <a:pt x="324" y="49"/>
                  <a:pt x="325" y="49"/>
                  <a:pt x="325" y="50"/>
                </a:cubicBezTo>
                <a:cubicBezTo>
                  <a:pt x="327" y="51"/>
                  <a:pt x="328" y="52"/>
                  <a:pt x="329" y="54"/>
                </a:cubicBezTo>
                <a:cubicBezTo>
                  <a:pt x="327" y="53"/>
                  <a:pt x="326" y="51"/>
                  <a:pt x="324" y="50"/>
                </a:cubicBezTo>
                <a:cubicBezTo>
                  <a:pt x="324" y="50"/>
                  <a:pt x="324" y="50"/>
                  <a:pt x="324" y="50"/>
                </a:cubicBezTo>
                <a:cubicBezTo>
                  <a:pt x="323" y="50"/>
                  <a:pt x="323" y="50"/>
                  <a:pt x="323" y="50"/>
                </a:cubicBezTo>
                <a:cubicBezTo>
                  <a:pt x="323" y="52"/>
                  <a:pt x="321" y="54"/>
                  <a:pt x="320" y="56"/>
                </a:cubicBezTo>
                <a:cubicBezTo>
                  <a:pt x="320" y="56"/>
                  <a:pt x="320" y="56"/>
                  <a:pt x="319" y="57"/>
                </a:cubicBezTo>
                <a:cubicBezTo>
                  <a:pt x="319" y="57"/>
                  <a:pt x="319" y="58"/>
                  <a:pt x="318" y="58"/>
                </a:cubicBezTo>
                <a:cubicBezTo>
                  <a:pt x="318" y="59"/>
                  <a:pt x="317" y="60"/>
                  <a:pt x="316" y="60"/>
                </a:cubicBezTo>
                <a:cubicBezTo>
                  <a:pt x="316" y="61"/>
                  <a:pt x="316" y="61"/>
                  <a:pt x="315" y="61"/>
                </a:cubicBezTo>
                <a:cubicBezTo>
                  <a:pt x="315" y="61"/>
                  <a:pt x="315" y="61"/>
                  <a:pt x="316" y="62"/>
                </a:cubicBezTo>
                <a:cubicBezTo>
                  <a:pt x="316" y="62"/>
                  <a:pt x="316" y="62"/>
                  <a:pt x="316" y="62"/>
                </a:cubicBezTo>
                <a:cubicBezTo>
                  <a:pt x="316" y="62"/>
                  <a:pt x="316" y="62"/>
                  <a:pt x="317" y="63"/>
                </a:cubicBezTo>
                <a:cubicBezTo>
                  <a:pt x="317" y="63"/>
                  <a:pt x="316" y="64"/>
                  <a:pt x="316" y="64"/>
                </a:cubicBezTo>
                <a:cubicBezTo>
                  <a:pt x="316" y="64"/>
                  <a:pt x="316" y="64"/>
                  <a:pt x="316" y="64"/>
                </a:cubicBezTo>
                <a:cubicBezTo>
                  <a:pt x="316" y="64"/>
                  <a:pt x="316" y="64"/>
                  <a:pt x="316" y="64"/>
                </a:cubicBezTo>
                <a:cubicBezTo>
                  <a:pt x="316" y="64"/>
                  <a:pt x="316" y="64"/>
                  <a:pt x="316" y="65"/>
                </a:cubicBezTo>
                <a:cubicBezTo>
                  <a:pt x="316" y="65"/>
                  <a:pt x="316" y="65"/>
                  <a:pt x="316" y="65"/>
                </a:cubicBezTo>
                <a:cubicBezTo>
                  <a:pt x="316" y="65"/>
                  <a:pt x="315" y="65"/>
                  <a:pt x="315" y="65"/>
                </a:cubicBezTo>
                <a:cubicBezTo>
                  <a:pt x="315" y="65"/>
                  <a:pt x="315" y="65"/>
                  <a:pt x="315" y="66"/>
                </a:cubicBezTo>
                <a:cubicBezTo>
                  <a:pt x="315" y="66"/>
                  <a:pt x="315" y="66"/>
                  <a:pt x="315" y="67"/>
                </a:cubicBezTo>
                <a:cubicBezTo>
                  <a:pt x="315" y="67"/>
                  <a:pt x="315" y="67"/>
                  <a:pt x="315" y="67"/>
                </a:cubicBezTo>
                <a:cubicBezTo>
                  <a:pt x="315" y="67"/>
                  <a:pt x="315" y="67"/>
                  <a:pt x="315" y="68"/>
                </a:cubicBezTo>
                <a:cubicBezTo>
                  <a:pt x="316" y="68"/>
                  <a:pt x="315" y="69"/>
                  <a:pt x="315" y="69"/>
                </a:cubicBezTo>
                <a:cubicBezTo>
                  <a:pt x="316" y="70"/>
                  <a:pt x="316" y="70"/>
                  <a:pt x="316" y="70"/>
                </a:cubicBezTo>
                <a:cubicBezTo>
                  <a:pt x="315" y="70"/>
                  <a:pt x="315" y="70"/>
                  <a:pt x="315" y="71"/>
                </a:cubicBezTo>
                <a:cubicBezTo>
                  <a:pt x="315" y="71"/>
                  <a:pt x="315" y="71"/>
                  <a:pt x="315" y="71"/>
                </a:cubicBezTo>
                <a:cubicBezTo>
                  <a:pt x="315" y="71"/>
                  <a:pt x="315" y="71"/>
                  <a:pt x="315" y="71"/>
                </a:cubicBezTo>
                <a:cubicBezTo>
                  <a:pt x="315" y="71"/>
                  <a:pt x="315" y="71"/>
                  <a:pt x="315" y="71"/>
                </a:cubicBezTo>
                <a:cubicBezTo>
                  <a:pt x="315" y="71"/>
                  <a:pt x="315" y="72"/>
                  <a:pt x="315" y="72"/>
                </a:cubicBezTo>
                <a:cubicBezTo>
                  <a:pt x="315" y="73"/>
                  <a:pt x="314" y="75"/>
                  <a:pt x="314" y="76"/>
                </a:cubicBezTo>
                <a:cubicBezTo>
                  <a:pt x="313" y="77"/>
                  <a:pt x="313" y="78"/>
                  <a:pt x="312" y="79"/>
                </a:cubicBezTo>
                <a:cubicBezTo>
                  <a:pt x="310" y="82"/>
                  <a:pt x="308" y="85"/>
                  <a:pt x="305" y="87"/>
                </a:cubicBezTo>
                <a:cubicBezTo>
                  <a:pt x="302" y="89"/>
                  <a:pt x="299" y="91"/>
                  <a:pt x="295" y="91"/>
                </a:cubicBezTo>
                <a:cubicBezTo>
                  <a:pt x="296" y="92"/>
                  <a:pt x="296" y="92"/>
                  <a:pt x="296" y="93"/>
                </a:cubicBezTo>
                <a:cubicBezTo>
                  <a:pt x="293" y="91"/>
                  <a:pt x="290" y="92"/>
                  <a:pt x="287" y="93"/>
                </a:cubicBezTo>
                <a:cubicBezTo>
                  <a:pt x="283" y="94"/>
                  <a:pt x="279" y="94"/>
                  <a:pt x="275" y="93"/>
                </a:cubicBezTo>
                <a:cubicBezTo>
                  <a:pt x="275" y="92"/>
                  <a:pt x="274" y="92"/>
                  <a:pt x="274" y="93"/>
                </a:cubicBezTo>
                <a:cubicBezTo>
                  <a:pt x="274" y="93"/>
                  <a:pt x="274" y="93"/>
                  <a:pt x="274" y="94"/>
                </a:cubicBezTo>
                <a:cubicBezTo>
                  <a:pt x="275" y="97"/>
                  <a:pt x="275" y="100"/>
                  <a:pt x="274" y="103"/>
                </a:cubicBezTo>
                <a:cubicBezTo>
                  <a:pt x="273" y="106"/>
                  <a:pt x="272" y="109"/>
                  <a:pt x="270" y="111"/>
                </a:cubicBezTo>
                <a:cubicBezTo>
                  <a:pt x="270" y="111"/>
                  <a:pt x="269" y="111"/>
                  <a:pt x="268" y="112"/>
                </a:cubicBezTo>
                <a:cubicBezTo>
                  <a:pt x="271" y="111"/>
                  <a:pt x="273" y="112"/>
                  <a:pt x="275" y="114"/>
                </a:cubicBezTo>
                <a:cubicBezTo>
                  <a:pt x="276" y="116"/>
                  <a:pt x="277" y="119"/>
                  <a:pt x="279" y="120"/>
                </a:cubicBezTo>
                <a:cubicBezTo>
                  <a:pt x="280" y="121"/>
                  <a:pt x="281" y="121"/>
                  <a:pt x="283" y="121"/>
                </a:cubicBezTo>
                <a:cubicBezTo>
                  <a:pt x="285" y="122"/>
                  <a:pt x="287" y="124"/>
                  <a:pt x="289" y="126"/>
                </a:cubicBezTo>
                <a:cubicBezTo>
                  <a:pt x="290" y="127"/>
                  <a:pt x="292" y="129"/>
                  <a:pt x="294" y="130"/>
                </a:cubicBezTo>
                <a:cubicBezTo>
                  <a:pt x="294" y="131"/>
                  <a:pt x="295" y="131"/>
                  <a:pt x="295" y="131"/>
                </a:cubicBezTo>
                <a:cubicBezTo>
                  <a:pt x="296" y="132"/>
                  <a:pt x="296" y="132"/>
                  <a:pt x="296" y="133"/>
                </a:cubicBezTo>
                <a:cubicBezTo>
                  <a:pt x="297" y="134"/>
                  <a:pt x="300" y="134"/>
                  <a:pt x="301" y="136"/>
                </a:cubicBezTo>
                <a:cubicBezTo>
                  <a:pt x="302" y="137"/>
                  <a:pt x="302" y="139"/>
                  <a:pt x="303" y="140"/>
                </a:cubicBezTo>
                <a:cubicBezTo>
                  <a:pt x="304" y="140"/>
                  <a:pt x="304" y="140"/>
                  <a:pt x="304" y="140"/>
                </a:cubicBezTo>
                <a:cubicBezTo>
                  <a:pt x="304" y="141"/>
                  <a:pt x="303" y="141"/>
                  <a:pt x="303" y="142"/>
                </a:cubicBezTo>
                <a:cubicBezTo>
                  <a:pt x="303" y="142"/>
                  <a:pt x="304" y="143"/>
                  <a:pt x="304" y="143"/>
                </a:cubicBezTo>
                <a:cubicBezTo>
                  <a:pt x="305" y="143"/>
                  <a:pt x="306" y="143"/>
                  <a:pt x="306" y="144"/>
                </a:cubicBezTo>
                <a:cubicBezTo>
                  <a:pt x="306" y="144"/>
                  <a:pt x="306" y="144"/>
                  <a:pt x="305" y="145"/>
                </a:cubicBezTo>
                <a:cubicBezTo>
                  <a:pt x="305" y="146"/>
                  <a:pt x="306" y="148"/>
                  <a:pt x="306" y="149"/>
                </a:cubicBezTo>
                <a:cubicBezTo>
                  <a:pt x="306" y="149"/>
                  <a:pt x="306" y="150"/>
                  <a:pt x="306" y="150"/>
                </a:cubicBezTo>
                <a:cubicBezTo>
                  <a:pt x="306" y="151"/>
                  <a:pt x="306" y="151"/>
                  <a:pt x="306" y="151"/>
                </a:cubicBezTo>
                <a:cubicBezTo>
                  <a:pt x="306" y="151"/>
                  <a:pt x="306" y="151"/>
                  <a:pt x="307" y="151"/>
                </a:cubicBezTo>
                <a:cubicBezTo>
                  <a:pt x="307" y="151"/>
                  <a:pt x="308" y="152"/>
                  <a:pt x="308" y="152"/>
                </a:cubicBezTo>
                <a:cubicBezTo>
                  <a:pt x="309" y="152"/>
                  <a:pt x="309" y="152"/>
                  <a:pt x="309" y="152"/>
                </a:cubicBezTo>
                <a:cubicBezTo>
                  <a:pt x="310" y="153"/>
                  <a:pt x="309" y="153"/>
                  <a:pt x="309" y="153"/>
                </a:cubicBezTo>
                <a:cubicBezTo>
                  <a:pt x="309" y="153"/>
                  <a:pt x="309" y="153"/>
                  <a:pt x="308" y="153"/>
                </a:cubicBezTo>
                <a:cubicBezTo>
                  <a:pt x="308" y="153"/>
                  <a:pt x="307" y="153"/>
                  <a:pt x="307" y="153"/>
                </a:cubicBezTo>
                <a:cubicBezTo>
                  <a:pt x="307" y="153"/>
                  <a:pt x="307" y="154"/>
                  <a:pt x="307" y="154"/>
                </a:cubicBezTo>
                <a:cubicBezTo>
                  <a:pt x="308" y="154"/>
                  <a:pt x="308" y="154"/>
                  <a:pt x="309" y="154"/>
                </a:cubicBezTo>
                <a:cubicBezTo>
                  <a:pt x="309" y="155"/>
                  <a:pt x="310" y="154"/>
                  <a:pt x="311" y="155"/>
                </a:cubicBezTo>
                <a:cubicBezTo>
                  <a:pt x="312" y="155"/>
                  <a:pt x="313" y="156"/>
                  <a:pt x="313" y="156"/>
                </a:cubicBezTo>
                <a:cubicBezTo>
                  <a:pt x="314" y="156"/>
                  <a:pt x="314" y="156"/>
                  <a:pt x="315" y="156"/>
                </a:cubicBezTo>
                <a:cubicBezTo>
                  <a:pt x="315" y="156"/>
                  <a:pt x="315" y="156"/>
                  <a:pt x="316" y="156"/>
                </a:cubicBezTo>
                <a:cubicBezTo>
                  <a:pt x="316" y="156"/>
                  <a:pt x="317" y="156"/>
                  <a:pt x="317" y="156"/>
                </a:cubicBezTo>
                <a:cubicBezTo>
                  <a:pt x="318" y="155"/>
                  <a:pt x="319" y="155"/>
                  <a:pt x="319" y="156"/>
                </a:cubicBezTo>
                <a:cubicBezTo>
                  <a:pt x="320" y="156"/>
                  <a:pt x="320" y="157"/>
                  <a:pt x="321" y="157"/>
                </a:cubicBezTo>
                <a:cubicBezTo>
                  <a:pt x="321" y="156"/>
                  <a:pt x="322" y="156"/>
                  <a:pt x="322" y="155"/>
                </a:cubicBezTo>
                <a:cubicBezTo>
                  <a:pt x="323" y="155"/>
                  <a:pt x="323" y="154"/>
                  <a:pt x="323" y="153"/>
                </a:cubicBezTo>
                <a:cubicBezTo>
                  <a:pt x="322" y="152"/>
                  <a:pt x="321" y="153"/>
                  <a:pt x="320" y="152"/>
                </a:cubicBezTo>
                <a:cubicBezTo>
                  <a:pt x="320" y="151"/>
                  <a:pt x="321" y="151"/>
                  <a:pt x="322" y="150"/>
                </a:cubicBezTo>
                <a:cubicBezTo>
                  <a:pt x="322" y="151"/>
                  <a:pt x="321" y="151"/>
                  <a:pt x="321" y="152"/>
                </a:cubicBezTo>
                <a:cubicBezTo>
                  <a:pt x="321" y="152"/>
                  <a:pt x="321" y="152"/>
                  <a:pt x="322" y="152"/>
                </a:cubicBezTo>
                <a:cubicBezTo>
                  <a:pt x="322" y="152"/>
                  <a:pt x="323" y="152"/>
                  <a:pt x="324" y="153"/>
                </a:cubicBezTo>
                <a:cubicBezTo>
                  <a:pt x="324" y="154"/>
                  <a:pt x="323" y="154"/>
                  <a:pt x="323" y="155"/>
                </a:cubicBezTo>
                <a:cubicBezTo>
                  <a:pt x="322" y="156"/>
                  <a:pt x="322" y="157"/>
                  <a:pt x="323" y="158"/>
                </a:cubicBezTo>
                <a:cubicBezTo>
                  <a:pt x="325" y="158"/>
                  <a:pt x="328" y="156"/>
                  <a:pt x="330" y="156"/>
                </a:cubicBezTo>
                <a:cubicBezTo>
                  <a:pt x="331" y="156"/>
                  <a:pt x="332" y="156"/>
                  <a:pt x="332" y="157"/>
                </a:cubicBezTo>
                <a:cubicBezTo>
                  <a:pt x="333" y="157"/>
                  <a:pt x="334" y="157"/>
                  <a:pt x="334" y="158"/>
                </a:cubicBezTo>
                <a:cubicBezTo>
                  <a:pt x="335" y="159"/>
                  <a:pt x="335" y="160"/>
                  <a:pt x="334" y="160"/>
                </a:cubicBezTo>
                <a:cubicBezTo>
                  <a:pt x="333" y="160"/>
                  <a:pt x="333" y="159"/>
                  <a:pt x="333" y="159"/>
                </a:cubicBezTo>
                <a:cubicBezTo>
                  <a:pt x="332" y="160"/>
                  <a:pt x="332" y="161"/>
                  <a:pt x="331" y="162"/>
                </a:cubicBezTo>
                <a:cubicBezTo>
                  <a:pt x="331" y="163"/>
                  <a:pt x="331" y="164"/>
                  <a:pt x="331" y="165"/>
                </a:cubicBezTo>
                <a:cubicBezTo>
                  <a:pt x="330" y="165"/>
                  <a:pt x="330" y="166"/>
                  <a:pt x="330" y="166"/>
                </a:cubicBezTo>
                <a:cubicBezTo>
                  <a:pt x="330" y="166"/>
                  <a:pt x="331" y="167"/>
                  <a:pt x="331" y="167"/>
                </a:cubicBezTo>
                <a:cubicBezTo>
                  <a:pt x="332" y="169"/>
                  <a:pt x="333" y="170"/>
                  <a:pt x="335" y="170"/>
                </a:cubicBezTo>
                <a:cubicBezTo>
                  <a:pt x="335" y="170"/>
                  <a:pt x="334" y="170"/>
                  <a:pt x="334" y="171"/>
                </a:cubicBezTo>
                <a:cubicBezTo>
                  <a:pt x="335" y="171"/>
                  <a:pt x="335" y="171"/>
                  <a:pt x="336" y="171"/>
                </a:cubicBezTo>
                <a:cubicBezTo>
                  <a:pt x="336" y="172"/>
                  <a:pt x="336" y="172"/>
                  <a:pt x="335" y="173"/>
                </a:cubicBezTo>
                <a:cubicBezTo>
                  <a:pt x="336" y="173"/>
                  <a:pt x="336" y="173"/>
                  <a:pt x="337" y="173"/>
                </a:cubicBezTo>
                <a:cubicBezTo>
                  <a:pt x="337" y="173"/>
                  <a:pt x="338" y="172"/>
                  <a:pt x="338" y="171"/>
                </a:cubicBezTo>
                <a:cubicBezTo>
                  <a:pt x="338" y="170"/>
                  <a:pt x="339" y="169"/>
                  <a:pt x="341" y="169"/>
                </a:cubicBezTo>
                <a:cubicBezTo>
                  <a:pt x="341" y="169"/>
                  <a:pt x="342" y="169"/>
                  <a:pt x="342" y="168"/>
                </a:cubicBezTo>
                <a:cubicBezTo>
                  <a:pt x="343" y="168"/>
                  <a:pt x="343" y="168"/>
                  <a:pt x="343" y="168"/>
                </a:cubicBezTo>
                <a:cubicBezTo>
                  <a:pt x="343" y="168"/>
                  <a:pt x="344" y="169"/>
                  <a:pt x="344" y="169"/>
                </a:cubicBezTo>
                <a:cubicBezTo>
                  <a:pt x="345" y="170"/>
                  <a:pt x="347" y="170"/>
                  <a:pt x="348" y="170"/>
                </a:cubicBezTo>
                <a:cubicBezTo>
                  <a:pt x="349" y="170"/>
                  <a:pt x="351" y="169"/>
                  <a:pt x="352" y="168"/>
                </a:cubicBezTo>
                <a:cubicBezTo>
                  <a:pt x="353" y="168"/>
                  <a:pt x="355" y="168"/>
                  <a:pt x="355" y="169"/>
                </a:cubicBezTo>
                <a:cubicBezTo>
                  <a:pt x="355" y="169"/>
                  <a:pt x="356" y="168"/>
                  <a:pt x="356" y="168"/>
                </a:cubicBezTo>
                <a:cubicBezTo>
                  <a:pt x="357" y="168"/>
                  <a:pt x="358" y="168"/>
                  <a:pt x="358" y="168"/>
                </a:cubicBezTo>
                <a:cubicBezTo>
                  <a:pt x="358" y="169"/>
                  <a:pt x="358" y="170"/>
                  <a:pt x="357" y="169"/>
                </a:cubicBezTo>
                <a:cubicBezTo>
                  <a:pt x="357" y="169"/>
                  <a:pt x="357" y="169"/>
                  <a:pt x="357" y="169"/>
                </a:cubicBezTo>
                <a:cubicBezTo>
                  <a:pt x="356" y="169"/>
                  <a:pt x="356" y="170"/>
                  <a:pt x="356" y="170"/>
                </a:cubicBezTo>
                <a:cubicBezTo>
                  <a:pt x="355" y="171"/>
                  <a:pt x="355" y="171"/>
                  <a:pt x="354" y="170"/>
                </a:cubicBezTo>
                <a:cubicBezTo>
                  <a:pt x="354" y="170"/>
                  <a:pt x="354" y="169"/>
                  <a:pt x="354" y="169"/>
                </a:cubicBezTo>
                <a:cubicBezTo>
                  <a:pt x="352" y="169"/>
                  <a:pt x="351" y="170"/>
                  <a:pt x="351" y="171"/>
                </a:cubicBezTo>
                <a:cubicBezTo>
                  <a:pt x="352" y="172"/>
                  <a:pt x="352" y="173"/>
                  <a:pt x="352" y="174"/>
                </a:cubicBezTo>
                <a:cubicBezTo>
                  <a:pt x="352" y="175"/>
                  <a:pt x="351" y="176"/>
                  <a:pt x="351" y="177"/>
                </a:cubicBezTo>
                <a:cubicBezTo>
                  <a:pt x="350" y="177"/>
                  <a:pt x="350" y="177"/>
                  <a:pt x="349" y="178"/>
                </a:cubicBezTo>
                <a:cubicBezTo>
                  <a:pt x="347" y="178"/>
                  <a:pt x="344" y="178"/>
                  <a:pt x="343" y="176"/>
                </a:cubicBezTo>
                <a:cubicBezTo>
                  <a:pt x="342" y="175"/>
                  <a:pt x="341" y="173"/>
                  <a:pt x="339" y="173"/>
                </a:cubicBezTo>
                <a:cubicBezTo>
                  <a:pt x="338" y="173"/>
                  <a:pt x="337" y="174"/>
                  <a:pt x="336" y="174"/>
                </a:cubicBezTo>
                <a:cubicBezTo>
                  <a:pt x="336" y="175"/>
                  <a:pt x="335" y="175"/>
                  <a:pt x="334" y="175"/>
                </a:cubicBezTo>
                <a:cubicBezTo>
                  <a:pt x="332" y="175"/>
                  <a:pt x="332" y="174"/>
                  <a:pt x="331" y="173"/>
                </a:cubicBezTo>
                <a:cubicBezTo>
                  <a:pt x="330" y="172"/>
                  <a:pt x="330" y="172"/>
                  <a:pt x="330" y="172"/>
                </a:cubicBezTo>
                <a:cubicBezTo>
                  <a:pt x="330" y="172"/>
                  <a:pt x="330" y="171"/>
                  <a:pt x="330" y="171"/>
                </a:cubicBezTo>
                <a:cubicBezTo>
                  <a:pt x="329" y="170"/>
                  <a:pt x="329" y="170"/>
                  <a:pt x="328" y="169"/>
                </a:cubicBezTo>
                <a:cubicBezTo>
                  <a:pt x="328" y="169"/>
                  <a:pt x="328" y="169"/>
                  <a:pt x="327" y="169"/>
                </a:cubicBezTo>
                <a:cubicBezTo>
                  <a:pt x="327" y="168"/>
                  <a:pt x="327" y="168"/>
                  <a:pt x="327" y="167"/>
                </a:cubicBezTo>
                <a:cubicBezTo>
                  <a:pt x="328" y="167"/>
                  <a:pt x="328" y="166"/>
                  <a:pt x="328" y="166"/>
                </a:cubicBezTo>
                <a:cubicBezTo>
                  <a:pt x="329" y="166"/>
                  <a:pt x="329" y="165"/>
                  <a:pt x="329" y="165"/>
                </a:cubicBezTo>
                <a:cubicBezTo>
                  <a:pt x="328" y="164"/>
                  <a:pt x="328" y="164"/>
                  <a:pt x="327" y="164"/>
                </a:cubicBezTo>
                <a:cubicBezTo>
                  <a:pt x="327" y="164"/>
                  <a:pt x="327" y="163"/>
                  <a:pt x="326" y="163"/>
                </a:cubicBezTo>
                <a:cubicBezTo>
                  <a:pt x="326" y="162"/>
                  <a:pt x="325" y="161"/>
                  <a:pt x="325" y="160"/>
                </a:cubicBezTo>
                <a:cubicBezTo>
                  <a:pt x="325" y="160"/>
                  <a:pt x="325" y="159"/>
                  <a:pt x="324" y="159"/>
                </a:cubicBezTo>
                <a:cubicBezTo>
                  <a:pt x="324" y="159"/>
                  <a:pt x="324" y="159"/>
                  <a:pt x="324" y="159"/>
                </a:cubicBezTo>
                <a:cubicBezTo>
                  <a:pt x="324" y="159"/>
                  <a:pt x="323" y="159"/>
                  <a:pt x="323" y="159"/>
                </a:cubicBezTo>
                <a:cubicBezTo>
                  <a:pt x="322" y="159"/>
                  <a:pt x="322" y="159"/>
                  <a:pt x="322" y="159"/>
                </a:cubicBezTo>
                <a:cubicBezTo>
                  <a:pt x="322" y="159"/>
                  <a:pt x="322" y="160"/>
                  <a:pt x="322" y="160"/>
                </a:cubicBezTo>
                <a:cubicBezTo>
                  <a:pt x="322" y="160"/>
                  <a:pt x="321" y="161"/>
                  <a:pt x="321" y="161"/>
                </a:cubicBezTo>
                <a:cubicBezTo>
                  <a:pt x="321" y="161"/>
                  <a:pt x="321" y="162"/>
                  <a:pt x="321" y="162"/>
                </a:cubicBezTo>
                <a:cubicBezTo>
                  <a:pt x="321" y="162"/>
                  <a:pt x="321" y="162"/>
                  <a:pt x="321" y="163"/>
                </a:cubicBezTo>
                <a:cubicBezTo>
                  <a:pt x="321" y="163"/>
                  <a:pt x="322" y="164"/>
                  <a:pt x="322" y="164"/>
                </a:cubicBezTo>
                <a:cubicBezTo>
                  <a:pt x="322" y="165"/>
                  <a:pt x="322" y="165"/>
                  <a:pt x="322" y="165"/>
                </a:cubicBezTo>
                <a:cubicBezTo>
                  <a:pt x="323" y="165"/>
                  <a:pt x="323" y="166"/>
                  <a:pt x="323" y="166"/>
                </a:cubicBezTo>
                <a:cubicBezTo>
                  <a:pt x="324" y="166"/>
                  <a:pt x="326" y="167"/>
                  <a:pt x="326" y="168"/>
                </a:cubicBezTo>
                <a:cubicBezTo>
                  <a:pt x="327" y="168"/>
                  <a:pt x="327" y="169"/>
                  <a:pt x="328" y="170"/>
                </a:cubicBezTo>
                <a:cubicBezTo>
                  <a:pt x="328" y="170"/>
                  <a:pt x="329" y="171"/>
                  <a:pt x="329" y="171"/>
                </a:cubicBezTo>
                <a:cubicBezTo>
                  <a:pt x="329" y="172"/>
                  <a:pt x="330" y="173"/>
                  <a:pt x="330" y="173"/>
                </a:cubicBezTo>
                <a:cubicBezTo>
                  <a:pt x="330" y="174"/>
                  <a:pt x="330" y="175"/>
                  <a:pt x="330" y="176"/>
                </a:cubicBezTo>
                <a:cubicBezTo>
                  <a:pt x="330" y="176"/>
                  <a:pt x="330" y="178"/>
                  <a:pt x="330" y="178"/>
                </a:cubicBezTo>
                <a:cubicBezTo>
                  <a:pt x="331" y="178"/>
                  <a:pt x="331" y="177"/>
                  <a:pt x="332" y="177"/>
                </a:cubicBezTo>
                <a:cubicBezTo>
                  <a:pt x="332" y="177"/>
                  <a:pt x="333" y="176"/>
                  <a:pt x="334" y="177"/>
                </a:cubicBezTo>
                <a:cubicBezTo>
                  <a:pt x="337" y="177"/>
                  <a:pt x="340" y="179"/>
                  <a:pt x="341" y="181"/>
                </a:cubicBezTo>
                <a:cubicBezTo>
                  <a:pt x="341" y="181"/>
                  <a:pt x="341" y="182"/>
                  <a:pt x="341" y="182"/>
                </a:cubicBezTo>
                <a:cubicBezTo>
                  <a:pt x="341" y="182"/>
                  <a:pt x="341" y="182"/>
                  <a:pt x="341" y="183"/>
                </a:cubicBezTo>
                <a:cubicBezTo>
                  <a:pt x="341" y="183"/>
                  <a:pt x="341" y="184"/>
                  <a:pt x="340" y="185"/>
                </a:cubicBezTo>
                <a:cubicBezTo>
                  <a:pt x="339" y="185"/>
                  <a:pt x="340" y="184"/>
                  <a:pt x="340" y="183"/>
                </a:cubicBezTo>
                <a:cubicBezTo>
                  <a:pt x="340" y="183"/>
                  <a:pt x="340" y="182"/>
                  <a:pt x="340" y="182"/>
                </a:cubicBezTo>
                <a:cubicBezTo>
                  <a:pt x="340" y="183"/>
                  <a:pt x="339" y="183"/>
                  <a:pt x="338" y="183"/>
                </a:cubicBezTo>
                <a:cubicBezTo>
                  <a:pt x="338" y="182"/>
                  <a:pt x="338" y="182"/>
                  <a:pt x="337" y="182"/>
                </a:cubicBezTo>
                <a:cubicBezTo>
                  <a:pt x="337" y="181"/>
                  <a:pt x="336" y="181"/>
                  <a:pt x="336" y="181"/>
                </a:cubicBezTo>
                <a:cubicBezTo>
                  <a:pt x="335" y="181"/>
                  <a:pt x="335" y="182"/>
                  <a:pt x="335" y="182"/>
                </a:cubicBezTo>
                <a:cubicBezTo>
                  <a:pt x="333" y="185"/>
                  <a:pt x="332" y="187"/>
                  <a:pt x="331" y="190"/>
                </a:cubicBezTo>
                <a:cubicBezTo>
                  <a:pt x="330" y="190"/>
                  <a:pt x="330" y="190"/>
                  <a:pt x="330" y="190"/>
                </a:cubicBezTo>
                <a:cubicBezTo>
                  <a:pt x="330" y="189"/>
                  <a:pt x="330" y="189"/>
                  <a:pt x="330" y="189"/>
                </a:cubicBezTo>
                <a:cubicBezTo>
                  <a:pt x="329" y="189"/>
                  <a:pt x="329" y="187"/>
                  <a:pt x="328" y="187"/>
                </a:cubicBezTo>
                <a:cubicBezTo>
                  <a:pt x="327" y="187"/>
                  <a:pt x="326" y="188"/>
                  <a:pt x="324" y="188"/>
                </a:cubicBezTo>
                <a:cubicBezTo>
                  <a:pt x="323" y="189"/>
                  <a:pt x="321" y="187"/>
                  <a:pt x="320" y="188"/>
                </a:cubicBezTo>
                <a:cubicBezTo>
                  <a:pt x="320" y="188"/>
                  <a:pt x="320" y="187"/>
                  <a:pt x="319" y="187"/>
                </a:cubicBezTo>
                <a:cubicBezTo>
                  <a:pt x="318" y="187"/>
                  <a:pt x="318" y="187"/>
                  <a:pt x="317" y="187"/>
                </a:cubicBezTo>
                <a:cubicBezTo>
                  <a:pt x="316" y="187"/>
                  <a:pt x="315" y="187"/>
                  <a:pt x="313" y="187"/>
                </a:cubicBezTo>
                <a:cubicBezTo>
                  <a:pt x="311" y="187"/>
                  <a:pt x="308" y="187"/>
                  <a:pt x="305" y="188"/>
                </a:cubicBezTo>
                <a:cubicBezTo>
                  <a:pt x="305" y="187"/>
                  <a:pt x="305" y="187"/>
                  <a:pt x="305" y="186"/>
                </a:cubicBezTo>
                <a:cubicBezTo>
                  <a:pt x="305" y="186"/>
                  <a:pt x="305" y="185"/>
                  <a:pt x="305" y="184"/>
                </a:cubicBezTo>
                <a:cubicBezTo>
                  <a:pt x="304" y="184"/>
                  <a:pt x="304" y="183"/>
                  <a:pt x="303" y="183"/>
                </a:cubicBezTo>
                <a:cubicBezTo>
                  <a:pt x="303" y="184"/>
                  <a:pt x="302" y="184"/>
                  <a:pt x="302" y="183"/>
                </a:cubicBezTo>
                <a:cubicBezTo>
                  <a:pt x="302" y="182"/>
                  <a:pt x="304" y="182"/>
                  <a:pt x="304" y="182"/>
                </a:cubicBezTo>
                <a:cubicBezTo>
                  <a:pt x="305" y="181"/>
                  <a:pt x="305" y="179"/>
                  <a:pt x="305" y="178"/>
                </a:cubicBezTo>
                <a:cubicBezTo>
                  <a:pt x="305" y="177"/>
                  <a:pt x="305" y="175"/>
                  <a:pt x="307" y="174"/>
                </a:cubicBezTo>
                <a:cubicBezTo>
                  <a:pt x="306" y="174"/>
                  <a:pt x="306" y="173"/>
                  <a:pt x="306" y="172"/>
                </a:cubicBezTo>
                <a:cubicBezTo>
                  <a:pt x="305" y="171"/>
                  <a:pt x="305" y="171"/>
                  <a:pt x="304" y="171"/>
                </a:cubicBezTo>
                <a:cubicBezTo>
                  <a:pt x="305" y="171"/>
                  <a:pt x="305" y="171"/>
                  <a:pt x="306" y="170"/>
                </a:cubicBezTo>
                <a:cubicBezTo>
                  <a:pt x="304" y="170"/>
                  <a:pt x="302" y="170"/>
                  <a:pt x="300" y="170"/>
                </a:cubicBezTo>
                <a:cubicBezTo>
                  <a:pt x="298" y="170"/>
                  <a:pt x="297" y="171"/>
                  <a:pt x="295" y="171"/>
                </a:cubicBezTo>
                <a:cubicBezTo>
                  <a:pt x="294" y="172"/>
                  <a:pt x="293" y="173"/>
                  <a:pt x="292" y="174"/>
                </a:cubicBezTo>
                <a:cubicBezTo>
                  <a:pt x="291" y="175"/>
                  <a:pt x="291" y="175"/>
                  <a:pt x="291" y="176"/>
                </a:cubicBezTo>
                <a:cubicBezTo>
                  <a:pt x="290" y="176"/>
                  <a:pt x="290" y="176"/>
                  <a:pt x="290" y="177"/>
                </a:cubicBezTo>
                <a:cubicBezTo>
                  <a:pt x="290" y="177"/>
                  <a:pt x="290" y="177"/>
                  <a:pt x="289" y="177"/>
                </a:cubicBezTo>
                <a:cubicBezTo>
                  <a:pt x="289" y="177"/>
                  <a:pt x="289" y="176"/>
                  <a:pt x="289" y="175"/>
                </a:cubicBezTo>
                <a:cubicBezTo>
                  <a:pt x="288" y="176"/>
                  <a:pt x="288" y="176"/>
                  <a:pt x="287" y="176"/>
                </a:cubicBezTo>
                <a:cubicBezTo>
                  <a:pt x="288" y="175"/>
                  <a:pt x="288" y="175"/>
                  <a:pt x="288" y="175"/>
                </a:cubicBezTo>
                <a:cubicBezTo>
                  <a:pt x="288" y="174"/>
                  <a:pt x="287" y="174"/>
                  <a:pt x="287" y="175"/>
                </a:cubicBezTo>
                <a:cubicBezTo>
                  <a:pt x="286" y="175"/>
                  <a:pt x="285" y="177"/>
                  <a:pt x="283" y="177"/>
                </a:cubicBezTo>
                <a:cubicBezTo>
                  <a:pt x="282" y="177"/>
                  <a:pt x="282" y="177"/>
                  <a:pt x="281" y="178"/>
                </a:cubicBezTo>
                <a:cubicBezTo>
                  <a:pt x="281" y="178"/>
                  <a:pt x="281" y="178"/>
                  <a:pt x="281" y="179"/>
                </a:cubicBezTo>
                <a:cubicBezTo>
                  <a:pt x="281" y="179"/>
                  <a:pt x="280" y="179"/>
                  <a:pt x="280" y="180"/>
                </a:cubicBezTo>
                <a:cubicBezTo>
                  <a:pt x="279" y="180"/>
                  <a:pt x="279" y="180"/>
                  <a:pt x="279" y="181"/>
                </a:cubicBezTo>
                <a:cubicBezTo>
                  <a:pt x="279" y="181"/>
                  <a:pt x="279" y="182"/>
                  <a:pt x="279" y="182"/>
                </a:cubicBezTo>
                <a:cubicBezTo>
                  <a:pt x="279" y="182"/>
                  <a:pt x="279" y="182"/>
                  <a:pt x="279" y="182"/>
                </a:cubicBezTo>
                <a:cubicBezTo>
                  <a:pt x="279" y="182"/>
                  <a:pt x="279" y="183"/>
                  <a:pt x="280" y="183"/>
                </a:cubicBezTo>
                <a:cubicBezTo>
                  <a:pt x="280" y="183"/>
                  <a:pt x="280" y="183"/>
                  <a:pt x="280" y="183"/>
                </a:cubicBezTo>
                <a:cubicBezTo>
                  <a:pt x="281" y="183"/>
                  <a:pt x="282" y="184"/>
                  <a:pt x="283" y="184"/>
                </a:cubicBezTo>
                <a:cubicBezTo>
                  <a:pt x="283" y="185"/>
                  <a:pt x="283" y="185"/>
                  <a:pt x="283" y="185"/>
                </a:cubicBezTo>
                <a:cubicBezTo>
                  <a:pt x="283" y="185"/>
                  <a:pt x="283" y="185"/>
                  <a:pt x="283" y="185"/>
                </a:cubicBezTo>
                <a:cubicBezTo>
                  <a:pt x="282" y="186"/>
                  <a:pt x="281" y="186"/>
                  <a:pt x="280" y="186"/>
                </a:cubicBezTo>
                <a:cubicBezTo>
                  <a:pt x="279" y="186"/>
                  <a:pt x="278" y="186"/>
                  <a:pt x="277" y="186"/>
                </a:cubicBezTo>
                <a:cubicBezTo>
                  <a:pt x="276" y="186"/>
                  <a:pt x="276" y="185"/>
                  <a:pt x="275" y="185"/>
                </a:cubicBezTo>
                <a:cubicBezTo>
                  <a:pt x="275" y="185"/>
                  <a:pt x="275" y="184"/>
                  <a:pt x="275" y="184"/>
                </a:cubicBezTo>
                <a:cubicBezTo>
                  <a:pt x="272" y="185"/>
                  <a:pt x="271" y="186"/>
                  <a:pt x="268" y="187"/>
                </a:cubicBezTo>
                <a:cubicBezTo>
                  <a:pt x="268" y="187"/>
                  <a:pt x="268" y="188"/>
                  <a:pt x="267" y="188"/>
                </a:cubicBezTo>
                <a:cubicBezTo>
                  <a:pt x="267" y="188"/>
                  <a:pt x="267" y="188"/>
                  <a:pt x="267" y="189"/>
                </a:cubicBezTo>
                <a:cubicBezTo>
                  <a:pt x="267" y="189"/>
                  <a:pt x="267" y="189"/>
                  <a:pt x="267" y="189"/>
                </a:cubicBezTo>
                <a:cubicBezTo>
                  <a:pt x="267" y="190"/>
                  <a:pt x="266" y="190"/>
                  <a:pt x="266" y="190"/>
                </a:cubicBezTo>
                <a:cubicBezTo>
                  <a:pt x="266" y="190"/>
                  <a:pt x="265" y="190"/>
                  <a:pt x="265" y="190"/>
                </a:cubicBezTo>
                <a:cubicBezTo>
                  <a:pt x="264" y="190"/>
                  <a:pt x="265" y="190"/>
                  <a:pt x="265" y="191"/>
                </a:cubicBezTo>
                <a:cubicBezTo>
                  <a:pt x="265" y="191"/>
                  <a:pt x="265" y="191"/>
                  <a:pt x="265" y="192"/>
                </a:cubicBezTo>
                <a:cubicBezTo>
                  <a:pt x="265" y="192"/>
                  <a:pt x="265" y="192"/>
                  <a:pt x="265" y="192"/>
                </a:cubicBezTo>
                <a:cubicBezTo>
                  <a:pt x="264" y="193"/>
                  <a:pt x="263" y="194"/>
                  <a:pt x="262" y="194"/>
                </a:cubicBezTo>
                <a:cubicBezTo>
                  <a:pt x="261" y="194"/>
                  <a:pt x="261" y="194"/>
                  <a:pt x="261" y="193"/>
                </a:cubicBezTo>
                <a:cubicBezTo>
                  <a:pt x="260" y="194"/>
                  <a:pt x="259" y="194"/>
                  <a:pt x="258" y="195"/>
                </a:cubicBezTo>
                <a:cubicBezTo>
                  <a:pt x="257" y="195"/>
                  <a:pt x="257" y="195"/>
                  <a:pt x="257" y="195"/>
                </a:cubicBezTo>
                <a:cubicBezTo>
                  <a:pt x="257" y="195"/>
                  <a:pt x="258" y="195"/>
                  <a:pt x="258" y="195"/>
                </a:cubicBezTo>
                <a:cubicBezTo>
                  <a:pt x="257" y="196"/>
                  <a:pt x="257" y="196"/>
                  <a:pt x="257" y="196"/>
                </a:cubicBezTo>
                <a:cubicBezTo>
                  <a:pt x="257" y="196"/>
                  <a:pt x="258" y="196"/>
                  <a:pt x="258" y="197"/>
                </a:cubicBezTo>
                <a:cubicBezTo>
                  <a:pt x="258" y="197"/>
                  <a:pt x="258" y="197"/>
                  <a:pt x="258" y="198"/>
                </a:cubicBezTo>
                <a:cubicBezTo>
                  <a:pt x="257" y="198"/>
                  <a:pt x="257" y="198"/>
                  <a:pt x="257" y="198"/>
                </a:cubicBezTo>
                <a:cubicBezTo>
                  <a:pt x="256" y="198"/>
                  <a:pt x="256" y="199"/>
                  <a:pt x="256" y="199"/>
                </a:cubicBezTo>
                <a:cubicBezTo>
                  <a:pt x="255" y="199"/>
                  <a:pt x="255" y="199"/>
                  <a:pt x="254" y="199"/>
                </a:cubicBezTo>
                <a:cubicBezTo>
                  <a:pt x="253" y="199"/>
                  <a:pt x="253" y="201"/>
                  <a:pt x="252" y="201"/>
                </a:cubicBezTo>
                <a:cubicBezTo>
                  <a:pt x="252" y="201"/>
                  <a:pt x="251" y="201"/>
                  <a:pt x="251" y="200"/>
                </a:cubicBezTo>
                <a:cubicBezTo>
                  <a:pt x="251" y="200"/>
                  <a:pt x="251" y="200"/>
                  <a:pt x="251" y="200"/>
                </a:cubicBezTo>
                <a:cubicBezTo>
                  <a:pt x="251" y="200"/>
                  <a:pt x="251" y="199"/>
                  <a:pt x="251" y="199"/>
                </a:cubicBezTo>
                <a:cubicBezTo>
                  <a:pt x="252" y="198"/>
                  <a:pt x="253" y="198"/>
                  <a:pt x="253" y="198"/>
                </a:cubicBezTo>
                <a:cubicBezTo>
                  <a:pt x="254" y="197"/>
                  <a:pt x="255" y="197"/>
                  <a:pt x="255" y="196"/>
                </a:cubicBezTo>
                <a:cubicBezTo>
                  <a:pt x="255" y="196"/>
                  <a:pt x="255" y="196"/>
                  <a:pt x="255" y="196"/>
                </a:cubicBezTo>
                <a:cubicBezTo>
                  <a:pt x="255" y="196"/>
                  <a:pt x="255" y="196"/>
                  <a:pt x="255" y="196"/>
                </a:cubicBezTo>
                <a:cubicBezTo>
                  <a:pt x="254" y="196"/>
                  <a:pt x="253" y="197"/>
                  <a:pt x="252" y="198"/>
                </a:cubicBezTo>
                <a:cubicBezTo>
                  <a:pt x="251" y="198"/>
                  <a:pt x="251" y="198"/>
                  <a:pt x="250" y="199"/>
                </a:cubicBezTo>
                <a:cubicBezTo>
                  <a:pt x="250" y="200"/>
                  <a:pt x="250" y="200"/>
                  <a:pt x="250" y="201"/>
                </a:cubicBezTo>
                <a:cubicBezTo>
                  <a:pt x="250" y="202"/>
                  <a:pt x="251" y="203"/>
                  <a:pt x="252" y="204"/>
                </a:cubicBezTo>
                <a:cubicBezTo>
                  <a:pt x="254" y="205"/>
                  <a:pt x="255" y="206"/>
                  <a:pt x="256" y="207"/>
                </a:cubicBezTo>
                <a:cubicBezTo>
                  <a:pt x="257" y="208"/>
                  <a:pt x="259" y="208"/>
                  <a:pt x="260" y="208"/>
                </a:cubicBezTo>
                <a:cubicBezTo>
                  <a:pt x="262" y="209"/>
                  <a:pt x="263" y="209"/>
                  <a:pt x="265" y="209"/>
                </a:cubicBezTo>
                <a:cubicBezTo>
                  <a:pt x="266" y="209"/>
                  <a:pt x="268" y="209"/>
                  <a:pt x="269" y="210"/>
                </a:cubicBezTo>
                <a:cubicBezTo>
                  <a:pt x="271" y="211"/>
                  <a:pt x="273" y="211"/>
                  <a:pt x="275" y="212"/>
                </a:cubicBezTo>
                <a:cubicBezTo>
                  <a:pt x="275" y="212"/>
                  <a:pt x="276" y="213"/>
                  <a:pt x="277" y="213"/>
                </a:cubicBezTo>
                <a:cubicBezTo>
                  <a:pt x="277" y="214"/>
                  <a:pt x="277" y="214"/>
                  <a:pt x="277" y="215"/>
                </a:cubicBezTo>
                <a:cubicBezTo>
                  <a:pt x="278" y="215"/>
                  <a:pt x="278" y="215"/>
                  <a:pt x="279" y="215"/>
                </a:cubicBezTo>
                <a:cubicBezTo>
                  <a:pt x="280" y="215"/>
                  <a:pt x="280" y="215"/>
                  <a:pt x="280" y="215"/>
                </a:cubicBezTo>
                <a:cubicBezTo>
                  <a:pt x="281" y="215"/>
                  <a:pt x="281" y="214"/>
                  <a:pt x="280" y="214"/>
                </a:cubicBezTo>
                <a:cubicBezTo>
                  <a:pt x="280" y="213"/>
                  <a:pt x="279" y="213"/>
                  <a:pt x="279" y="212"/>
                </a:cubicBezTo>
                <a:cubicBezTo>
                  <a:pt x="279" y="212"/>
                  <a:pt x="280" y="211"/>
                  <a:pt x="280" y="211"/>
                </a:cubicBezTo>
                <a:cubicBezTo>
                  <a:pt x="280" y="212"/>
                  <a:pt x="280" y="213"/>
                  <a:pt x="281" y="213"/>
                </a:cubicBezTo>
                <a:cubicBezTo>
                  <a:pt x="281" y="214"/>
                  <a:pt x="282" y="214"/>
                  <a:pt x="282" y="215"/>
                </a:cubicBezTo>
                <a:cubicBezTo>
                  <a:pt x="283" y="215"/>
                  <a:pt x="284" y="215"/>
                  <a:pt x="284" y="215"/>
                </a:cubicBezTo>
                <a:cubicBezTo>
                  <a:pt x="284" y="215"/>
                  <a:pt x="284" y="214"/>
                  <a:pt x="284" y="214"/>
                </a:cubicBezTo>
                <a:cubicBezTo>
                  <a:pt x="285" y="214"/>
                  <a:pt x="285" y="214"/>
                  <a:pt x="285" y="215"/>
                </a:cubicBezTo>
                <a:cubicBezTo>
                  <a:pt x="285" y="215"/>
                  <a:pt x="285" y="216"/>
                  <a:pt x="285" y="216"/>
                </a:cubicBezTo>
                <a:cubicBezTo>
                  <a:pt x="284" y="217"/>
                  <a:pt x="283" y="218"/>
                  <a:pt x="282" y="219"/>
                </a:cubicBezTo>
                <a:cubicBezTo>
                  <a:pt x="281" y="219"/>
                  <a:pt x="281" y="219"/>
                  <a:pt x="281" y="219"/>
                </a:cubicBezTo>
                <a:cubicBezTo>
                  <a:pt x="281" y="219"/>
                  <a:pt x="281" y="219"/>
                  <a:pt x="281" y="219"/>
                </a:cubicBezTo>
                <a:cubicBezTo>
                  <a:pt x="280" y="218"/>
                  <a:pt x="279" y="217"/>
                  <a:pt x="278" y="217"/>
                </a:cubicBezTo>
                <a:cubicBezTo>
                  <a:pt x="278" y="216"/>
                  <a:pt x="277" y="215"/>
                  <a:pt x="276" y="215"/>
                </a:cubicBezTo>
                <a:cubicBezTo>
                  <a:pt x="276" y="215"/>
                  <a:pt x="276" y="214"/>
                  <a:pt x="276" y="214"/>
                </a:cubicBezTo>
                <a:cubicBezTo>
                  <a:pt x="276" y="213"/>
                  <a:pt x="275" y="213"/>
                  <a:pt x="274" y="213"/>
                </a:cubicBezTo>
                <a:cubicBezTo>
                  <a:pt x="273" y="212"/>
                  <a:pt x="272" y="212"/>
                  <a:pt x="272" y="213"/>
                </a:cubicBezTo>
                <a:cubicBezTo>
                  <a:pt x="271" y="214"/>
                  <a:pt x="271" y="215"/>
                  <a:pt x="270" y="216"/>
                </a:cubicBezTo>
                <a:cubicBezTo>
                  <a:pt x="269" y="217"/>
                  <a:pt x="267" y="217"/>
                  <a:pt x="266" y="216"/>
                </a:cubicBezTo>
                <a:cubicBezTo>
                  <a:pt x="266" y="216"/>
                  <a:pt x="266" y="216"/>
                  <a:pt x="266" y="216"/>
                </a:cubicBezTo>
                <a:cubicBezTo>
                  <a:pt x="266" y="216"/>
                  <a:pt x="265" y="217"/>
                  <a:pt x="266" y="217"/>
                </a:cubicBezTo>
                <a:cubicBezTo>
                  <a:pt x="266" y="217"/>
                  <a:pt x="266" y="218"/>
                  <a:pt x="266" y="218"/>
                </a:cubicBezTo>
                <a:cubicBezTo>
                  <a:pt x="267" y="218"/>
                  <a:pt x="268" y="219"/>
                  <a:pt x="268" y="219"/>
                </a:cubicBezTo>
                <a:cubicBezTo>
                  <a:pt x="268" y="220"/>
                  <a:pt x="268" y="220"/>
                  <a:pt x="268" y="221"/>
                </a:cubicBezTo>
                <a:cubicBezTo>
                  <a:pt x="269" y="222"/>
                  <a:pt x="271" y="222"/>
                  <a:pt x="272" y="224"/>
                </a:cubicBezTo>
                <a:cubicBezTo>
                  <a:pt x="272" y="225"/>
                  <a:pt x="272" y="225"/>
                  <a:pt x="272" y="225"/>
                </a:cubicBezTo>
                <a:cubicBezTo>
                  <a:pt x="272" y="226"/>
                  <a:pt x="272" y="226"/>
                  <a:pt x="273" y="226"/>
                </a:cubicBezTo>
                <a:cubicBezTo>
                  <a:pt x="272" y="227"/>
                  <a:pt x="271" y="226"/>
                  <a:pt x="271" y="227"/>
                </a:cubicBezTo>
                <a:cubicBezTo>
                  <a:pt x="270" y="227"/>
                  <a:pt x="270" y="227"/>
                  <a:pt x="271" y="227"/>
                </a:cubicBezTo>
                <a:cubicBezTo>
                  <a:pt x="271" y="230"/>
                  <a:pt x="272" y="232"/>
                  <a:pt x="274" y="233"/>
                </a:cubicBezTo>
                <a:cubicBezTo>
                  <a:pt x="275" y="233"/>
                  <a:pt x="277" y="234"/>
                  <a:pt x="278" y="234"/>
                </a:cubicBezTo>
                <a:cubicBezTo>
                  <a:pt x="282" y="235"/>
                  <a:pt x="286" y="235"/>
                  <a:pt x="289" y="238"/>
                </a:cubicBezTo>
                <a:cubicBezTo>
                  <a:pt x="290" y="238"/>
                  <a:pt x="291" y="237"/>
                  <a:pt x="291" y="236"/>
                </a:cubicBezTo>
                <a:cubicBezTo>
                  <a:pt x="292" y="236"/>
                  <a:pt x="293" y="235"/>
                  <a:pt x="293" y="235"/>
                </a:cubicBezTo>
                <a:cubicBezTo>
                  <a:pt x="294" y="235"/>
                  <a:pt x="294" y="235"/>
                  <a:pt x="294" y="235"/>
                </a:cubicBezTo>
                <a:cubicBezTo>
                  <a:pt x="295" y="236"/>
                  <a:pt x="296" y="235"/>
                  <a:pt x="297" y="235"/>
                </a:cubicBezTo>
                <a:cubicBezTo>
                  <a:pt x="297" y="234"/>
                  <a:pt x="298" y="233"/>
                  <a:pt x="299" y="233"/>
                </a:cubicBezTo>
                <a:cubicBezTo>
                  <a:pt x="300" y="233"/>
                  <a:pt x="301" y="234"/>
                  <a:pt x="302" y="234"/>
                </a:cubicBezTo>
                <a:cubicBezTo>
                  <a:pt x="304" y="234"/>
                  <a:pt x="305" y="233"/>
                  <a:pt x="307" y="233"/>
                </a:cubicBezTo>
                <a:cubicBezTo>
                  <a:pt x="309" y="233"/>
                  <a:pt x="311" y="235"/>
                  <a:pt x="313" y="237"/>
                </a:cubicBezTo>
                <a:cubicBezTo>
                  <a:pt x="313" y="238"/>
                  <a:pt x="313" y="238"/>
                  <a:pt x="313" y="238"/>
                </a:cubicBezTo>
                <a:cubicBezTo>
                  <a:pt x="314" y="238"/>
                  <a:pt x="315" y="237"/>
                  <a:pt x="315" y="236"/>
                </a:cubicBezTo>
                <a:cubicBezTo>
                  <a:pt x="315" y="236"/>
                  <a:pt x="314" y="235"/>
                  <a:pt x="313" y="235"/>
                </a:cubicBezTo>
                <a:cubicBezTo>
                  <a:pt x="312" y="234"/>
                  <a:pt x="311" y="234"/>
                  <a:pt x="311" y="233"/>
                </a:cubicBezTo>
                <a:cubicBezTo>
                  <a:pt x="311" y="233"/>
                  <a:pt x="311" y="232"/>
                  <a:pt x="311" y="232"/>
                </a:cubicBezTo>
                <a:cubicBezTo>
                  <a:pt x="311" y="231"/>
                  <a:pt x="312" y="231"/>
                  <a:pt x="313" y="231"/>
                </a:cubicBezTo>
                <a:cubicBezTo>
                  <a:pt x="313" y="231"/>
                  <a:pt x="314" y="232"/>
                  <a:pt x="314" y="232"/>
                </a:cubicBezTo>
                <a:cubicBezTo>
                  <a:pt x="315" y="233"/>
                  <a:pt x="316" y="234"/>
                  <a:pt x="317" y="235"/>
                </a:cubicBezTo>
                <a:cubicBezTo>
                  <a:pt x="317" y="237"/>
                  <a:pt x="318" y="238"/>
                  <a:pt x="318" y="239"/>
                </a:cubicBezTo>
                <a:cubicBezTo>
                  <a:pt x="318" y="239"/>
                  <a:pt x="318" y="240"/>
                  <a:pt x="318" y="240"/>
                </a:cubicBezTo>
                <a:cubicBezTo>
                  <a:pt x="319" y="241"/>
                  <a:pt x="320" y="240"/>
                  <a:pt x="320" y="240"/>
                </a:cubicBezTo>
                <a:cubicBezTo>
                  <a:pt x="321" y="239"/>
                  <a:pt x="321" y="239"/>
                  <a:pt x="321" y="238"/>
                </a:cubicBezTo>
                <a:cubicBezTo>
                  <a:pt x="321" y="237"/>
                  <a:pt x="321" y="237"/>
                  <a:pt x="321" y="236"/>
                </a:cubicBezTo>
                <a:cubicBezTo>
                  <a:pt x="321" y="236"/>
                  <a:pt x="322" y="235"/>
                  <a:pt x="322" y="235"/>
                </a:cubicBezTo>
                <a:cubicBezTo>
                  <a:pt x="323" y="234"/>
                  <a:pt x="324" y="233"/>
                  <a:pt x="325" y="232"/>
                </a:cubicBezTo>
                <a:cubicBezTo>
                  <a:pt x="326" y="231"/>
                  <a:pt x="327" y="230"/>
                  <a:pt x="328" y="229"/>
                </a:cubicBezTo>
                <a:cubicBezTo>
                  <a:pt x="327" y="229"/>
                  <a:pt x="327" y="229"/>
                  <a:pt x="327" y="228"/>
                </a:cubicBezTo>
                <a:cubicBezTo>
                  <a:pt x="327" y="228"/>
                  <a:pt x="327" y="227"/>
                  <a:pt x="328" y="228"/>
                </a:cubicBezTo>
                <a:cubicBezTo>
                  <a:pt x="328" y="228"/>
                  <a:pt x="328" y="228"/>
                  <a:pt x="328" y="228"/>
                </a:cubicBezTo>
                <a:cubicBezTo>
                  <a:pt x="328" y="228"/>
                  <a:pt x="328" y="229"/>
                  <a:pt x="329" y="229"/>
                </a:cubicBezTo>
                <a:cubicBezTo>
                  <a:pt x="330" y="229"/>
                  <a:pt x="330" y="228"/>
                  <a:pt x="331" y="228"/>
                </a:cubicBezTo>
                <a:cubicBezTo>
                  <a:pt x="331" y="228"/>
                  <a:pt x="332" y="227"/>
                  <a:pt x="332" y="227"/>
                </a:cubicBezTo>
                <a:cubicBezTo>
                  <a:pt x="332" y="227"/>
                  <a:pt x="332" y="227"/>
                  <a:pt x="331" y="227"/>
                </a:cubicBezTo>
                <a:cubicBezTo>
                  <a:pt x="331" y="226"/>
                  <a:pt x="332" y="226"/>
                  <a:pt x="332" y="226"/>
                </a:cubicBezTo>
                <a:cubicBezTo>
                  <a:pt x="332" y="226"/>
                  <a:pt x="332" y="226"/>
                  <a:pt x="333" y="227"/>
                </a:cubicBezTo>
                <a:cubicBezTo>
                  <a:pt x="333" y="228"/>
                  <a:pt x="335" y="228"/>
                  <a:pt x="336" y="227"/>
                </a:cubicBezTo>
                <a:cubicBezTo>
                  <a:pt x="336" y="227"/>
                  <a:pt x="337" y="226"/>
                  <a:pt x="337" y="226"/>
                </a:cubicBezTo>
                <a:cubicBezTo>
                  <a:pt x="338" y="225"/>
                  <a:pt x="338" y="224"/>
                  <a:pt x="339" y="222"/>
                </a:cubicBezTo>
                <a:cubicBezTo>
                  <a:pt x="340" y="225"/>
                  <a:pt x="342" y="227"/>
                  <a:pt x="344" y="229"/>
                </a:cubicBezTo>
                <a:cubicBezTo>
                  <a:pt x="345" y="230"/>
                  <a:pt x="345" y="231"/>
                  <a:pt x="344" y="232"/>
                </a:cubicBezTo>
                <a:cubicBezTo>
                  <a:pt x="343" y="233"/>
                  <a:pt x="342" y="233"/>
                  <a:pt x="342" y="234"/>
                </a:cubicBezTo>
                <a:cubicBezTo>
                  <a:pt x="342" y="234"/>
                  <a:pt x="342" y="235"/>
                  <a:pt x="342" y="235"/>
                </a:cubicBezTo>
                <a:cubicBezTo>
                  <a:pt x="341" y="235"/>
                  <a:pt x="341" y="235"/>
                  <a:pt x="341" y="235"/>
                </a:cubicBezTo>
                <a:cubicBezTo>
                  <a:pt x="340" y="235"/>
                  <a:pt x="339" y="235"/>
                  <a:pt x="338" y="235"/>
                </a:cubicBezTo>
                <a:cubicBezTo>
                  <a:pt x="338" y="235"/>
                  <a:pt x="337" y="235"/>
                  <a:pt x="337" y="235"/>
                </a:cubicBezTo>
                <a:cubicBezTo>
                  <a:pt x="337" y="235"/>
                  <a:pt x="337" y="234"/>
                  <a:pt x="337" y="234"/>
                </a:cubicBezTo>
                <a:cubicBezTo>
                  <a:pt x="337" y="234"/>
                  <a:pt x="337" y="234"/>
                  <a:pt x="336" y="234"/>
                </a:cubicBezTo>
                <a:cubicBezTo>
                  <a:pt x="336" y="235"/>
                  <a:pt x="336" y="235"/>
                  <a:pt x="335" y="236"/>
                </a:cubicBezTo>
                <a:cubicBezTo>
                  <a:pt x="335" y="236"/>
                  <a:pt x="336" y="237"/>
                  <a:pt x="335" y="238"/>
                </a:cubicBezTo>
                <a:cubicBezTo>
                  <a:pt x="335" y="238"/>
                  <a:pt x="334" y="238"/>
                  <a:pt x="334" y="238"/>
                </a:cubicBezTo>
                <a:cubicBezTo>
                  <a:pt x="335" y="239"/>
                  <a:pt x="335" y="238"/>
                  <a:pt x="336" y="238"/>
                </a:cubicBezTo>
                <a:cubicBezTo>
                  <a:pt x="336" y="238"/>
                  <a:pt x="336" y="237"/>
                  <a:pt x="337" y="237"/>
                </a:cubicBezTo>
                <a:cubicBezTo>
                  <a:pt x="337" y="237"/>
                  <a:pt x="337" y="237"/>
                  <a:pt x="337" y="237"/>
                </a:cubicBezTo>
                <a:cubicBezTo>
                  <a:pt x="337" y="237"/>
                  <a:pt x="337" y="237"/>
                  <a:pt x="337" y="237"/>
                </a:cubicBezTo>
                <a:cubicBezTo>
                  <a:pt x="337" y="238"/>
                  <a:pt x="338" y="239"/>
                  <a:pt x="338" y="239"/>
                </a:cubicBezTo>
                <a:cubicBezTo>
                  <a:pt x="339" y="240"/>
                  <a:pt x="340" y="242"/>
                  <a:pt x="341" y="243"/>
                </a:cubicBezTo>
                <a:cubicBezTo>
                  <a:pt x="341" y="243"/>
                  <a:pt x="342" y="244"/>
                  <a:pt x="342" y="244"/>
                </a:cubicBezTo>
                <a:cubicBezTo>
                  <a:pt x="342" y="245"/>
                  <a:pt x="342" y="246"/>
                  <a:pt x="342" y="247"/>
                </a:cubicBezTo>
                <a:cubicBezTo>
                  <a:pt x="342" y="248"/>
                  <a:pt x="342" y="249"/>
                  <a:pt x="342" y="249"/>
                </a:cubicBezTo>
                <a:cubicBezTo>
                  <a:pt x="343" y="249"/>
                  <a:pt x="343" y="250"/>
                  <a:pt x="343" y="250"/>
                </a:cubicBezTo>
                <a:cubicBezTo>
                  <a:pt x="343" y="251"/>
                  <a:pt x="344" y="252"/>
                  <a:pt x="344" y="253"/>
                </a:cubicBezTo>
                <a:cubicBezTo>
                  <a:pt x="344" y="253"/>
                  <a:pt x="344" y="254"/>
                  <a:pt x="345" y="254"/>
                </a:cubicBezTo>
                <a:cubicBezTo>
                  <a:pt x="345" y="254"/>
                  <a:pt x="345" y="254"/>
                  <a:pt x="345" y="254"/>
                </a:cubicBezTo>
                <a:cubicBezTo>
                  <a:pt x="345" y="255"/>
                  <a:pt x="345" y="255"/>
                  <a:pt x="345" y="255"/>
                </a:cubicBezTo>
                <a:cubicBezTo>
                  <a:pt x="344" y="255"/>
                  <a:pt x="345" y="256"/>
                  <a:pt x="345" y="256"/>
                </a:cubicBezTo>
                <a:cubicBezTo>
                  <a:pt x="345" y="257"/>
                  <a:pt x="344" y="257"/>
                  <a:pt x="344" y="258"/>
                </a:cubicBezTo>
                <a:cubicBezTo>
                  <a:pt x="344" y="259"/>
                  <a:pt x="343" y="260"/>
                  <a:pt x="342" y="261"/>
                </a:cubicBezTo>
                <a:cubicBezTo>
                  <a:pt x="342" y="262"/>
                  <a:pt x="341" y="263"/>
                  <a:pt x="340" y="264"/>
                </a:cubicBezTo>
                <a:cubicBezTo>
                  <a:pt x="339" y="265"/>
                  <a:pt x="338" y="266"/>
                  <a:pt x="336" y="266"/>
                </a:cubicBezTo>
                <a:cubicBezTo>
                  <a:pt x="336" y="266"/>
                  <a:pt x="335" y="266"/>
                  <a:pt x="335" y="266"/>
                </a:cubicBezTo>
                <a:cubicBezTo>
                  <a:pt x="334" y="266"/>
                  <a:pt x="334" y="267"/>
                  <a:pt x="333" y="266"/>
                </a:cubicBezTo>
                <a:cubicBezTo>
                  <a:pt x="333" y="266"/>
                  <a:pt x="333" y="266"/>
                  <a:pt x="333" y="266"/>
                </a:cubicBezTo>
                <a:cubicBezTo>
                  <a:pt x="333" y="266"/>
                  <a:pt x="332" y="266"/>
                  <a:pt x="332" y="266"/>
                </a:cubicBezTo>
                <a:cubicBezTo>
                  <a:pt x="330" y="267"/>
                  <a:pt x="329" y="267"/>
                  <a:pt x="328" y="266"/>
                </a:cubicBezTo>
                <a:cubicBezTo>
                  <a:pt x="328" y="266"/>
                  <a:pt x="328" y="265"/>
                  <a:pt x="329" y="265"/>
                </a:cubicBezTo>
                <a:cubicBezTo>
                  <a:pt x="328" y="265"/>
                  <a:pt x="327" y="265"/>
                  <a:pt x="327" y="265"/>
                </a:cubicBezTo>
                <a:cubicBezTo>
                  <a:pt x="326" y="264"/>
                  <a:pt x="326" y="264"/>
                  <a:pt x="325" y="265"/>
                </a:cubicBezTo>
                <a:cubicBezTo>
                  <a:pt x="325" y="265"/>
                  <a:pt x="325" y="265"/>
                  <a:pt x="325" y="265"/>
                </a:cubicBezTo>
                <a:cubicBezTo>
                  <a:pt x="325" y="266"/>
                  <a:pt x="324" y="267"/>
                  <a:pt x="324" y="267"/>
                </a:cubicBezTo>
                <a:cubicBezTo>
                  <a:pt x="323" y="267"/>
                  <a:pt x="323" y="268"/>
                  <a:pt x="323" y="268"/>
                </a:cubicBezTo>
                <a:cubicBezTo>
                  <a:pt x="323" y="268"/>
                  <a:pt x="323" y="269"/>
                  <a:pt x="323" y="269"/>
                </a:cubicBezTo>
                <a:cubicBezTo>
                  <a:pt x="323" y="269"/>
                  <a:pt x="323" y="269"/>
                  <a:pt x="323" y="269"/>
                </a:cubicBezTo>
                <a:cubicBezTo>
                  <a:pt x="323" y="269"/>
                  <a:pt x="323" y="270"/>
                  <a:pt x="322" y="270"/>
                </a:cubicBezTo>
                <a:cubicBezTo>
                  <a:pt x="322" y="270"/>
                  <a:pt x="322" y="270"/>
                  <a:pt x="321" y="271"/>
                </a:cubicBezTo>
                <a:cubicBezTo>
                  <a:pt x="319" y="273"/>
                  <a:pt x="318" y="275"/>
                  <a:pt x="316" y="276"/>
                </a:cubicBezTo>
                <a:cubicBezTo>
                  <a:pt x="316" y="277"/>
                  <a:pt x="315" y="277"/>
                  <a:pt x="315" y="277"/>
                </a:cubicBezTo>
                <a:cubicBezTo>
                  <a:pt x="315" y="277"/>
                  <a:pt x="314" y="278"/>
                  <a:pt x="314" y="278"/>
                </a:cubicBezTo>
                <a:cubicBezTo>
                  <a:pt x="313" y="278"/>
                  <a:pt x="312" y="278"/>
                  <a:pt x="311" y="278"/>
                </a:cubicBezTo>
                <a:cubicBezTo>
                  <a:pt x="311" y="277"/>
                  <a:pt x="311" y="277"/>
                  <a:pt x="311" y="277"/>
                </a:cubicBezTo>
                <a:cubicBezTo>
                  <a:pt x="310" y="277"/>
                  <a:pt x="310" y="277"/>
                  <a:pt x="310" y="277"/>
                </a:cubicBezTo>
                <a:cubicBezTo>
                  <a:pt x="310" y="278"/>
                  <a:pt x="310" y="278"/>
                  <a:pt x="310" y="278"/>
                </a:cubicBezTo>
                <a:cubicBezTo>
                  <a:pt x="309" y="278"/>
                  <a:pt x="309" y="278"/>
                  <a:pt x="309" y="278"/>
                </a:cubicBezTo>
                <a:cubicBezTo>
                  <a:pt x="309" y="278"/>
                  <a:pt x="308" y="278"/>
                  <a:pt x="307" y="278"/>
                </a:cubicBezTo>
                <a:cubicBezTo>
                  <a:pt x="307" y="278"/>
                  <a:pt x="307" y="278"/>
                  <a:pt x="307" y="278"/>
                </a:cubicBezTo>
                <a:cubicBezTo>
                  <a:pt x="307" y="277"/>
                  <a:pt x="308" y="277"/>
                  <a:pt x="308" y="277"/>
                </a:cubicBezTo>
                <a:cubicBezTo>
                  <a:pt x="308" y="276"/>
                  <a:pt x="309" y="276"/>
                  <a:pt x="309" y="275"/>
                </a:cubicBezTo>
                <a:cubicBezTo>
                  <a:pt x="309" y="275"/>
                  <a:pt x="309" y="275"/>
                  <a:pt x="309" y="275"/>
                </a:cubicBezTo>
                <a:cubicBezTo>
                  <a:pt x="308" y="275"/>
                  <a:pt x="308" y="275"/>
                  <a:pt x="308" y="275"/>
                </a:cubicBezTo>
                <a:cubicBezTo>
                  <a:pt x="308" y="275"/>
                  <a:pt x="307" y="275"/>
                  <a:pt x="307" y="275"/>
                </a:cubicBezTo>
                <a:cubicBezTo>
                  <a:pt x="306" y="275"/>
                  <a:pt x="306" y="274"/>
                  <a:pt x="306" y="274"/>
                </a:cubicBezTo>
                <a:cubicBezTo>
                  <a:pt x="306" y="274"/>
                  <a:pt x="306" y="275"/>
                  <a:pt x="306" y="275"/>
                </a:cubicBezTo>
                <a:cubicBezTo>
                  <a:pt x="306" y="275"/>
                  <a:pt x="306" y="275"/>
                  <a:pt x="306" y="275"/>
                </a:cubicBezTo>
                <a:cubicBezTo>
                  <a:pt x="306" y="276"/>
                  <a:pt x="306" y="276"/>
                  <a:pt x="306" y="276"/>
                </a:cubicBezTo>
                <a:cubicBezTo>
                  <a:pt x="306" y="277"/>
                  <a:pt x="305" y="277"/>
                  <a:pt x="305" y="277"/>
                </a:cubicBezTo>
                <a:cubicBezTo>
                  <a:pt x="304" y="277"/>
                  <a:pt x="304" y="277"/>
                  <a:pt x="304" y="276"/>
                </a:cubicBezTo>
                <a:cubicBezTo>
                  <a:pt x="304" y="276"/>
                  <a:pt x="304" y="276"/>
                  <a:pt x="304" y="276"/>
                </a:cubicBezTo>
                <a:cubicBezTo>
                  <a:pt x="304" y="276"/>
                  <a:pt x="305" y="275"/>
                  <a:pt x="305" y="275"/>
                </a:cubicBezTo>
                <a:cubicBezTo>
                  <a:pt x="305" y="275"/>
                  <a:pt x="305" y="274"/>
                  <a:pt x="305" y="274"/>
                </a:cubicBezTo>
                <a:cubicBezTo>
                  <a:pt x="304" y="273"/>
                  <a:pt x="303" y="272"/>
                  <a:pt x="302" y="272"/>
                </a:cubicBezTo>
                <a:cubicBezTo>
                  <a:pt x="302" y="272"/>
                  <a:pt x="301" y="272"/>
                  <a:pt x="301" y="272"/>
                </a:cubicBezTo>
                <a:cubicBezTo>
                  <a:pt x="299" y="272"/>
                  <a:pt x="297" y="273"/>
                  <a:pt x="295" y="275"/>
                </a:cubicBezTo>
                <a:cubicBezTo>
                  <a:pt x="296" y="275"/>
                  <a:pt x="296" y="275"/>
                  <a:pt x="297" y="275"/>
                </a:cubicBezTo>
                <a:cubicBezTo>
                  <a:pt x="297" y="275"/>
                  <a:pt x="296" y="276"/>
                  <a:pt x="296" y="276"/>
                </a:cubicBezTo>
                <a:cubicBezTo>
                  <a:pt x="296" y="277"/>
                  <a:pt x="297" y="276"/>
                  <a:pt x="297" y="276"/>
                </a:cubicBezTo>
                <a:cubicBezTo>
                  <a:pt x="297" y="277"/>
                  <a:pt x="297" y="277"/>
                  <a:pt x="298" y="277"/>
                </a:cubicBezTo>
                <a:cubicBezTo>
                  <a:pt x="298" y="278"/>
                  <a:pt x="299" y="278"/>
                  <a:pt x="300" y="278"/>
                </a:cubicBezTo>
                <a:cubicBezTo>
                  <a:pt x="301" y="278"/>
                  <a:pt x="302" y="279"/>
                  <a:pt x="302" y="280"/>
                </a:cubicBezTo>
                <a:cubicBezTo>
                  <a:pt x="302" y="281"/>
                  <a:pt x="302" y="281"/>
                  <a:pt x="302" y="281"/>
                </a:cubicBezTo>
                <a:cubicBezTo>
                  <a:pt x="302" y="281"/>
                  <a:pt x="303" y="281"/>
                  <a:pt x="303" y="281"/>
                </a:cubicBezTo>
                <a:cubicBezTo>
                  <a:pt x="304" y="281"/>
                  <a:pt x="304" y="281"/>
                  <a:pt x="305" y="281"/>
                </a:cubicBezTo>
                <a:cubicBezTo>
                  <a:pt x="305" y="282"/>
                  <a:pt x="304" y="283"/>
                  <a:pt x="304" y="283"/>
                </a:cubicBezTo>
                <a:cubicBezTo>
                  <a:pt x="304" y="283"/>
                  <a:pt x="303" y="283"/>
                  <a:pt x="303" y="283"/>
                </a:cubicBezTo>
                <a:cubicBezTo>
                  <a:pt x="303" y="284"/>
                  <a:pt x="302" y="284"/>
                  <a:pt x="302" y="284"/>
                </a:cubicBezTo>
                <a:cubicBezTo>
                  <a:pt x="301" y="284"/>
                  <a:pt x="301" y="283"/>
                  <a:pt x="301" y="283"/>
                </a:cubicBezTo>
                <a:cubicBezTo>
                  <a:pt x="301" y="282"/>
                  <a:pt x="301" y="281"/>
                  <a:pt x="300" y="281"/>
                </a:cubicBezTo>
                <a:cubicBezTo>
                  <a:pt x="300" y="281"/>
                  <a:pt x="300" y="281"/>
                  <a:pt x="299" y="281"/>
                </a:cubicBezTo>
                <a:cubicBezTo>
                  <a:pt x="299" y="281"/>
                  <a:pt x="298" y="281"/>
                  <a:pt x="298" y="280"/>
                </a:cubicBezTo>
                <a:cubicBezTo>
                  <a:pt x="298" y="280"/>
                  <a:pt x="298" y="280"/>
                  <a:pt x="298" y="279"/>
                </a:cubicBezTo>
                <a:cubicBezTo>
                  <a:pt x="297" y="280"/>
                  <a:pt x="296" y="279"/>
                  <a:pt x="295" y="278"/>
                </a:cubicBezTo>
                <a:cubicBezTo>
                  <a:pt x="294" y="278"/>
                  <a:pt x="294" y="279"/>
                  <a:pt x="293" y="280"/>
                </a:cubicBezTo>
                <a:cubicBezTo>
                  <a:pt x="293" y="281"/>
                  <a:pt x="292" y="281"/>
                  <a:pt x="292" y="282"/>
                </a:cubicBezTo>
                <a:cubicBezTo>
                  <a:pt x="292" y="283"/>
                  <a:pt x="293" y="283"/>
                  <a:pt x="293" y="284"/>
                </a:cubicBezTo>
                <a:cubicBezTo>
                  <a:pt x="293" y="285"/>
                  <a:pt x="293" y="286"/>
                  <a:pt x="292" y="286"/>
                </a:cubicBezTo>
                <a:cubicBezTo>
                  <a:pt x="292" y="286"/>
                  <a:pt x="292" y="287"/>
                  <a:pt x="292" y="287"/>
                </a:cubicBezTo>
                <a:cubicBezTo>
                  <a:pt x="291" y="287"/>
                  <a:pt x="291" y="287"/>
                  <a:pt x="291" y="288"/>
                </a:cubicBezTo>
                <a:cubicBezTo>
                  <a:pt x="292" y="288"/>
                  <a:pt x="292" y="288"/>
                  <a:pt x="292" y="288"/>
                </a:cubicBezTo>
                <a:cubicBezTo>
                  <a:pt x="292" y="288"/>
                  <a:pt x="292" y="289"/>
                  <a:pt x="292" y="289"/>
                </a:cubicBezTo>
                <a:cubicBezTo>
                  <a:pt x="291" y="289"/>
                  <a:pt x="291" y="290"/>
                  <a:pt x="291" y="290"/>
                </a:cubicBezTo>
                <a:cubicBezTo>
                  <a:pt x="291" y="290"/>
                  <a:pt x="292" y="290"/>
                  <a:pt x="293" y="290"/>
                </a:cubicBezTo>
                <a:cubicBezTo>
                  <a:pt x="294" y="289"/>
                  <a:pt x="295" y="288"/>
                  <a:pt x="296" y="288"/>
                </a:cubicBezTo>
                <a:cubicBezTo>
                  <a:pt x="296" y="288"/>
                  <a:pt x="295" y="289"/>
                  <a:pt x="294" y="290"/>
                </a:cubicBezTo>
                <a:cubicBezTo>
                  <a:pt x="294" y="290"/>
                  <a:pt x="293" y="290"/>
                  <a:pt x="293" y="291"/>
                </a:cubicBezTo>
                <a:cubicBezTo>
                  <a:pt x="292" y="292"/>
                  <a:pt x="293" y="293"/>
                  <a:pt x="293" y="293"/>
                </a:cubicBezTo>
                <a:cubicBezTo>
                  <a:pt x="293" y="294"/>
                  <a:pt x="293" y="294"/>
                  <a:pt x="293" y="294"/>
                </a:cubicBezTo>
                <a:cubicBezTo>
                  <a:pt x="293" y="294"/>
                  <a:pt x="293" y="294"/>
                  <a:pt x="293" y="294"/>
                </a:cubicBezTo>
                <a:cubicBezTo>
                  <a:pt x="292" y="294"/>
                  <a:pt x="291" y="293"/>
                  <a:pt x="291" y="292"/>
                </a:cubicBezTo>
                <a:cubicBezTo>
                  <a:pt x="290" y="292"/>
                  <a:pt x="289" y="292"/>
                  <a:pt x="288" y="293"/>
                </a:cubicBezTo>
                <a:cubicBezTo>
                  <a:pt x="288" y="294"/>
                  <a:pt x="287" y="294"/>
                  <a:pt x="287" y="295"/>
                </a:cubicBezTo>
                <a:cubicBezTo>
                  <a:pt x="286" y="296"/>
                  <a:pt x="286" y="296"/>
                  <a:pt x="286" y="296"/>
                </a:cubicBezTo>
                <a:cubicBezTo>
                  <a:pt x="286" y="297"/>
                  <a:pt x="286" y="297"/>
                  <a:pt x="286" y="297"/>
                </a:cubicBezTo>
                <a:cubicBezTo>
                  <a:pt x="283" y="300"/>
                  <a:pt x="281" y="303"/>
                  <a:pt x="280" y="306"/>
                </a:cubicBezTo>
                <a:cubicBezTo>
                  <a:pt x="280" y="307"/>
                  <a:pt x="280" y="307"/>
                  <a:pt x="280" y="308"/>
                </a:cubicBezTo>
                <a:cubicBezTo>
                  <a:pt x="281" y="309"/>
                  <a:pt x="281" y="310"/>
                  <a:pt x="282" y="310"/>
                </a:cubicBezTo>
                <a:cubicBezTo>
                  <a:pt x="282" y="311"/>
                  <a:pt x="282" y="311"/>
                  <a:pt x="282" y="311"/>
                </a:cubicBezTo>
                <a:cubicBezTo>
                  <a:pt x="282" y="311"/>
                  <a:pt x="281" y="311"/>
                  <a:pt x="281" y="311"/>
                </a:cubicBezTo>
                <a:cubicBezTo>
                  <a:pt x="281" y="311"/>
                  <a:pt x="280" y="311"/>
                  <a:pt x="280" y="311"/>
                </a:cubicBezTo>
                <a:cubicBezTo>
                  <a:pt x="280" y="312"/>
                  <a:pt x="280" y="312"/>
                  <a:pt x="280" y="312"/>
                </a:cubicBezTo>
                <a:cubicBezTo>
                  <a:pt x="280" y="312"/>
                  <a:pt x="279" y="312"/>
                  <a:pt x="279" y="312"/>
                </a:cubicBezTo>
                <a:cubicBezTo>
                  <a:pt x="278" y="312"/>
                  <a:pt x="277" y="312"/>
                  <a:pt x="276" y="312"/>
                </a:cubicBezTo>
                <a:cubicBezTo>
                  <a:pt x="276" y="312"/>
                  <a:pt x="276" y="313"/>
                  <a:pt x="276" y="313"/>
                </a:cubicBezTo>
                <a:cubicBezTo>
                  <a:pt x="276" y="313"/>
                  <a:pt x="277" y="313"/>
                  <a:pt x="277" y="313"/>
                </a:cubicBezTo>
                <a:cubicBezTo>
                  <a:pt x="277" y="313"/>
                  <a:pt x="277" y="314"/>
                  <a:pt x="277" y="314"/>
                </a:cubicBezTo>
                <a:cubicBezTo>
                  <a:pt x="277" y="314"/>
                  <a:pt x="278" y="315"/>
                  <a:pt x="278" y="315"/>
                </a:cubicBezTo>
                <a:cubicBezTo>
                  <a:pt x="279" y="316"/>
                  <a:pt x="279" y="316"/>
                  <a:pt x="279" y="316"/>
                </a:cubicBezTo>
                <a:cubicBezTo>
                  <a:pt x="279" y="316"/>
                  <a:pt x="279" y="316"/>
                  <a:pt x="278" y="316"/>
                </a:cubicBezTo>
                <a:cubicBezTo>
                  <a:pt x="278" y="316"/>
                  <a:pt x="277" y="317"/>
                  <a:pt x="276" y="317"/>
                </a:cubicBezTo>
                <a:cubicBezTo>
                  <a:pt x="276" y="317"/>
                  <a:pt x="276" y="316"/>
                  <a:pt x="275" y="317"/>
                </a:cubicBezTo>
                <a:cubicBezTo>
                  <a:pt x="275" y="317"/>
                  <a:pt x="275" y="317"/>
                  <a:pt x="275" y="318"/>
                </a:cubicBezTo>
                <a:cubicBezTo>
                  <a:pt x="275" y="318"/>
                  <a:pt x="275" y="318"/>
                  <a:pt x="275" y="319"/>
                </a:cubicBezTo>
                <a:cubicBezTo>
                  <a:pt x="275" y="319"/>
                  <a:pt x="275" y="319"/>
                  <a:pt x="275" y="319"/>
                </a:cubicBezTo>
                <a:cubicBezTo>
                  <a:pt x="275" y="319"/>
                  <a:pt x="275" y="320"/>
                  <a:pt x="275" y="320"/>
                </a:cubicBezTo>
                <a:cubicBezTo>
                  <a:pt x="275" y="320"/>
                  <a:pt x="275" y="320"/>
                  <a:pt x="276" y="320"/>
                </a:cubicBezTo>
                <a:cubicBezTo>
                  <a:pt x="276" y="320"/>
                  <a:pt x="276" y="320"/>
                  <a:pt x="276" y="320"/>
                </a:cubicBezTo>
                <a:cubicBezTo>
                  <a:pt x="276" y="320"/>
                  <a:pt x="277" y="320"/>
                  <a:pt x="277" y="319"/>
                </a:cubicBezTo>
                <a:cubicBezTo>
                  <a:pt x="277" y="319"/>
                  <a:pt x="278" y="319"/>
                  <a:pt x="278" y="319"/>
                </a:cubicBezTo>
                <a:cubicBezTo>
                  <a:pt x="278" y="319"/>
                  <a:pt x="278" y="319"/>
                  <a:pt x="278" y="320"/>
                </a:cubicBezTo>
                <a:cubicBezTo>
                  <a:pt x="278" y="320"/>
                  <a:pt x="279" y="320"/>
                  <a:pt x="279" y="320"/>
                </a:cubicBezTo>
                <a:cubicBezTo>
                  <a:pt x="279" y="320"/>
                  <a:pt x="280" y="320"/>
                  <a:pt x="280" y="320"/>
                </a:cubicBezTo>
                <a:cubicBezTo>
                  <a:pt x="280" y="321"/>
                  <a:pt x="280" y="321"/>
                  <a:pt x="280" y="321"/>
                </a:cubicBezTo>
                <a:cubicBezTo>
                  <a:pt x="280" y="322"/>
                  <a:pt x="279" y="322"/>
                  <a:pt x="279" y="323"/>
                </a:cubicBezTo>
                <a:cubicBezTo>
                  <a:pt x="278" y="323"/>
                  <a:pt x="278" y="323"/>
                  <a:pt x="278" y="324"/>
                </a:cubicBezTo>
                <a:cubicBezTo>
                  <a:pt x="278" y="324"/>
                  <a:pt x="278" y="324"/>
                  <a:pt x="278" y="324"/>
                </a:cubicBezTo>
                <a:cubicBezTo>
                  <a:pt x="278" y="325"/>
                  <a:pt x="278" y="325"/>
                  <a:pt x="278" y="325"/>
                </a:cubicBezTo>
                <a:cubicBezTo>
                  <a:pt x="278" y="325"/>
                  <a:pt x="278" y="325"/>
                  <a:pt x="279" y="325"/>
                </a:cubicBezTo>
                <a:cubicBezTo>
                  <a:pt x="279" y="326"/>
                  <a:pt x="279" y="326"/>
                  <a:pt x="279" y="326"/>
                </a:cubicBezTo>
                <a:cubicBezTo>
                  <a:pt x="279" y="326"/>
                  <a:pt x="280" y="326"/>
                  <a:pt x="280" y="326"/>
                </a:cubicBezTo>
                <a:cubicBezTo>
                  <a:pt x="280" y="326"/>
                  <a:pt x="281" y="326"/>
                  <a:pt x="281" y="327"/>
                </a:cubicBezTo>
                <a:cubicBezTo>
                  <a:pt x="282" y="328"/>
                  <a:pt x="281" y="330"/>
                  <a:pt x="282" y="331"/>
                </a:cubicBezTo>
                <a:cubicBezTo>
                  <a:pt x="283" y="331"/>
                  <a:pt x="283" y="331"/>
                  <a:pt x="283" y="332"/>
                </a:cubicBezTo>
                <a:cubicBezTo>
                  <a:pt x="284" y="332"/>
                  <a:pt x="285" y="332"/>
                  <a:pt x="285" y="331"/>
                </a:cubicBezTo>
                <a:cubicBezTo>
                  <a:pt x="286" y="331"/>
                  <a:pt x="285" y="330"/>
                  <a:pt x="285" y="328"/>
                </a:cubicBezTo>
                <a:cubicBezTo>
                  <a:pt x="284" y="327"/>
                  <a:pt x="286" y="327"/>
                  <a:pt x="287" y="327"/>
                </a:cubicBezTo>
                <a:cubicBezTo>
                  <a:pt x="286" y="328"/>
                  <a:pt x="286" y="328"/>
                  <a:pt x="286" y="328"/>
                </a:cubicBezTo>
                <a:cubicBezTo>
                  <a:pt x="286" y="329"/>
                  <a:pt x="286" y="329"/>
                  <a:pt x="286" y="329"/>
                </a:cubicBezTo>
                <a:cubicBezTo>
                  <a:pt x="286" y="329"/>
                  <a:pt x="286" y="329"/>
                  <a:pt x="286" y="329"/>
                </a:cubicBezTo>
                <a:cubicBezTo>
                  <a:pt x="286" y="329"/>
                  <a:pt x="287" y="330"/>
                  <a:pt x="286" y="330"/>
                </a:cubicBezTo>
                <a:cubicBezTo>
                  <a:pt x="287" y="330"/>
                  <a:pt x="288" y="330"/>
                  <a:pt x="288" y="330"/>
                </a:cubicBezTo>
                <a:cubicBezTo>
                  <a:pt x="288" y="330"/>
                  <a:pt x="288" y="331"/>
                  <a:pt x="288" y="332"/>
                </a:cubicBezTo>
                <a:cubicBezTo>
                  <a:pt x="288" y="332"/>
                  <a:pt x="289" y="333"/>
                  <a:pt x="290" y="332"/>
                </a:cubicBezTo>
                <a:cubicBezTo>
                  <a:pt x="290" y="332"/>
                  <a:pt x="290" y="331"/>
                  <a:pt x="291" y="331"/>
                </a:cubicBezTo>
                <a:cubicBezTo>
                  <a:pt x="291" y="331"/>
                  <a:pt x="291" y="331"/>
                  <a:pt x="291" y="331"/>
                </a:cubicBezTo>
                <a:cubicBezTo>
                  <a:pt x="292" y="331"/>
                  <a:pt x="292" y="331"/>
                  <a:pt x="292" y="331"/>
                </a:cubicBezTo>
                <a:cubicBezTo>
                  <a:pt x="292" y="332"/>
                  <a:pt x="293" y="332"/>
                  <a:pt x="294" y="333"/>
                </a:cubicBezTo>
                <a:cubicBezTo>
                  <a:pt x="293" y="333"/>
                  <a:pt x="293" y="333"/>
                  <a:pt x="292" y="333"/>
                </a:cubicBezTo>
                <a:cubicBezTo>
                  <a:pt x="291" y="333"/>
                  <a:pt x="291" y="333"/>
                  <a:pt x="290" y="333"/>
                </a:cubicBezTo>
                <a:cubicBezTo>
                  <a:pt x="290" y="333"/>
                  <a:pt x="290" y="333"/>
                  <a:pt x="289" y="334"/>
                </a:cubicBezTo>
                <a:cubicBezTo>
                  <a:pt x="289" y="334"/>
                  <a:pt x="290" y="334"/>
                  <a:pt x="290" y="335"/>
                </a:cubicBezTo>
                <a:cubicBezTo>
                  <a:pt x="290" y="335"/>
                  <a:pt x="289" y="335"/>
                  <a:pt x="289" y="335"/>
                </a:cubicBezTo>
                <a:cubicBezTo>
                  <a:pt x="289" y="334"/>
                  <a:pt x="288" y="334"/>
                  <a:pt x="288" y="334"/>
                </a:cubicBezTo>
                <a:cubicBezTo>
                  <a:pt x="287" y="334"/>
                  <a:pt x="288" y="335"/>
                  <a:pt x="288" y="335"/>
                </a:cubicBezTo>
                <a:cubicBezTo>
                  <a:pt x="288" y="335"/>
                  <a:pt x="288" y="336"/>
                  <a:pt x="288" y="336"/>
                </a:cubicBezTo>
                <a:cubicBezTo>
                  <a:pt x="289" y="337"/>
                  <a:pt x="290" y="335"/>
                  <a:pt x="291" y="336"/>
                </a:cubicBezTo>
                <a:cubicBezTo>
                  <a:pt x="292" y="336"/>
                  <a:pt x="292" y="336"/>
                  <a:pt x="292" y="336"/>
                </a:cubicBezTo>
                <a:cubicBezTo>
                  <a:pt x="293" y="336"/>
                  <a:pt x="293" y="336"/>
                  <a:pt x="294" y="336"/>
                </a:cubicBezTo>
                <a:cubicBezTo>
                  <a:pt x="294" y="336"/>
                  <a:pt x="294" y="336"/>
                  <a:pt x="295" y="337"/>
                </a:cubicBezTo>
                <a:cubicBezTo>
                  <a:pt x="295" y="337"/>
                  <a:pt x="295" y="337"/>
                  <a:pt x="295" y="337"/>
                </a:cubicBezTo>
                <a:cubicBezTo>
                  <a:pt x="295" y="338"/>
                  <a:pt x="296" y="338"/>
                  <a:pt x="296" y="338"/>
                </a:cubicBezTo>
                <a:cubicBezTo>
                  <a:pt x="297" y="338"/>
                  <a:pt x="297" y="337"/>
                  <a:pt x="298" y="337"/>
                </a:cubicBezTo>
                <a:cubicBezTo>
                  <a:pt x="298" y="337"/>
                  <a:pt x="299" y="338"/>
                  <a:pt x="299" y="338"/>
                </a:cubicBezTo>
                <a:cubicBezTo>
                  <a:pt x="300" y="338"/>
                  <a:pt x="301" y="338"/>
                  <a:pt x="301" y="337"/>
                </a:cubicBezTo>
                <a:cubicBezTo>
                  <a:pt x="301" y="337"/>
                  <a:pt x="301" y="336"/>
                  <a:pt x="301" y="336"/>
                </a:cubicBezTo>
                <a:cubicBezTo>
                  <a:pt x="301" y="335"/>
                  <a:pt x="302" y="335"/>
                  <a:pt x="302" y="334"/>
                </a:cubicBezTo>
                <a:cubicBezTo>
                  <a:pt x="302" y="334"/>
                  <a:pt x="302" y="334"/>
                  <a:pt x="302" y="333"/>
                </a:cubicBezTo>
                <a:cubicBezTo>
                  <a:pt x="302" y="333"/>
                  <a:pt x="302" y="333"/>
                  <a:pt x="302" y="333"/>
                </a:cubicBezTo>
                <a:cubicBezTo>
                  <a:pt x="303" y="333"/>
                  <a:pt x="303" y="333"/>
                  <a:pt x="303" y="334"/>
                </a:cubicBezTo>
                <a:cubicBezTo>
                  <a:pt x="303" y="334"/>
                  <a:pt x="303" y="334"/>
                  <a:pt x="303" y="335"/>
                </a:cubicBezTo>
                <a:cubicBezTo>
                  <a:pt x="303" y="335"/>
                  <a:pt x="304" y="336"/>
                  <a:pt x="304" y="336"/>
                </a:cubicBezTo>
                <a:cubicBezTo>
                  <a:pt x="303" y="337"/>
                  <a:pt x="302" y="337"/>
                  <a:pt x="302" y="337"/>
                </a:cubicBezTo>
                <a:cubicBezTo>
                  <a:pt x="302" y="338"/>
                  <a:pt x="303" y="338"/>
                  <a:pt x="303" y="338"/>
                </a:cubicBezTo>
                <a:cubicBezTo>
                  <a:pt x="304" y="338"/>
                  <a:pt x="304" y="337"/>
                  <a:pt x="304" y="337"/>
                </a:cubicBezTo>
                <a:cubicBezTo>
                  <a:pt x="305" y="336"/>
                  <a:pt x="306" y="335"/>
                  <a:pt x="307" y="334"/>
                </a:cubicBezTo>
                <a:cubicBezTo>
                  <a:pt x="307" y="335"/>
                  <a:pt x="307" y="335"/>
                  <a:pt x="306" y="336"/>
                </a:cubicBezTo>
                <a:cubicBezTo>
                  <a:pt x="306" y="336"/>
                  <a:pt x="305" y="337"/>
                  <a:pt x="305" y="337"/>
                </a:cubicBezTo>
                <a:cubicBezTo>
                  <a:pt x="306" y="338"/>
                  <a:pt x="306" y="338"/>
                  <a:pt x="307" y="338"/>
                </a:cubicBezTo>
                <a:cubicBezTo>
                  <a:pt x="308" y="339"/>
                  <a:pt x="308" y="339"/>
                  <a:pt x="308" y="339"/>
                </a:cubicBezTo>
                <a:cubicBezTo>
                  <a:pt x="308" y="338"/>
                  <a:pt x="308" y="338"/>
                  <a:pt x="308" y="338"/>
                </a:cubicBezTo>
                <a:cubicBezTo>
                  <a:pt x="309" y="338"/>
                  <a:pt x="309" y="337"/>
                  <a:pt x="309" y="337"/>
                </a:cubicBezTo>
                <a:cubicBezTo>
                  <a:pt x="310" y="337"/>
                  <a:pt x="310" y="337"/>
                  <a:pt x="310" y="338"/>
                </a:cubicBezTo>
                <a:cubicBezTo>
                  <a:pt x="311" y="338"/>
                  <a:pt x="311" y="338"/>
                  <a:pt x="311" y="338"/>
                </a:cubicBezTo>
                <a:cubicBezTo>
                  <a:pt x="311" y="339"/>
                  <a:pt x="310" y="339"/>
                  <a:pt x="310" y="339"/>
                </a:cubicBezTo>
                <a:cubicBezTo>
                  <a:pt x="309" y="339"/>
                  <a:pt x="309" y="340"/>
                  <a:pt x="309" y="340"/>
                </a:cubicBezTo>
                <a:cubicBezTo>
                  <a:pt x="310" y="340"/>
                  <a:pt x="310" y="340"/>
                  <a:pt x="310" y="341"/>
                </a:cubicBezTo>
                <a:cubicBezTo>
                  <a:pt x="310" y="341"/>
                  <a:pt x="310" y="341"/>
                  <a:pt x="310" y="342"/>
                </a:cubicBezTo>
                <a:cubicBezTo>
                  <a:pt x="310" y="342"/>
                  <a:pt x="310" y="343"/>
                  <a:pt x="309" y="343"/>
                </a:cubicBezTo>
                <a:cubicBezTo>
                  <a:pt x="309" y="344"/>
                  <a:pt x="308" y="344"/>
                  <a:pt x="308" y="345"/>
                </a:cubicBezTo>
                <a:cubicBezTo>
                  <a:pt x="307" y="345"/>
                  <a:pt x="307" y="345"/>
                  <a:pt x="307" y="345"/>
                </a:cubicBezTo>
                <a:cubicBezTo>
                  <a:pt x="306" y="345"/>
                  <a:pt x="305" y="345"/>
                  <a:pt x="305" y="344"/>
                </a:cubicBezTo>
                <a:cubicBezTo>
                  <a:pt x="305" y="344"/>
                  <a:pt x="305" y="343"/>
                  <a:pt x="305" y="342"/>
                </a:cubicBezTo>
                <a:cubicBezTo>
                  <a:pt x="306" y="342"/>
                  <a:pt x="306" y="342"/>
                  <a:pt x="306" y="342"/>
                </a:cubicBezTo>
                <a:cubicBezTo>
                  <a:pt x="306" y="342"/>
                  <a:pt x="306" y="341"/>
                  <a:pt x="305" y="341"/>
                </a:cubicBezTo>
                <a:cubicBezTo>
                  <a:pt x="305" y="341"/>
                  <a:pt x="305" y="340"/>
                  <a:pt x="304" y="340"/>
                </a:cubicBezTo>
                <a:cubicBezTo>
                  <a:pt x="303" y="340"/>
                  <a:pt x="302" y="341"/>
                  <a:pt x="302" y="341"/>
                </a:cubicBezTo>
                <a:cubicBezTo>
                  <a:pt x="302" y="342"/>
                  <a:pt x="301" y="342"/>
                  <a:pt x="301" y="342"/>
                </a:cubicBezTo>
                <a:cubicBezTo>
                  <a:pt x="301" y="343"/>
                  <a:pt x="301" y="343"/>
                  <a:pt x="301" y="343"/>
                </a:cubicBezTo>
                <a:cubicBezTo>
                  <a:pt x="300" y="343"/>
                  <a:pt x="300" y="343"/>
                  <a:pt x="300" y="343"/>
                </a:cubicBezTo>
                <a:cubicBezTo>
                  <a:pt x="299" y="344"/>
                  <a:pt x="299" y="345"/>
                  <a:pt x="298" y="345"/>
                </a:cubicBezTo>
                <a:cubicBezTo>
                  <a:pt x="298" y="344"/>
                  <a:pt x="299" y="344"/>
                  <a:pt x="299" y="343"/>
                </a:cubicBezTo>
                <a:cubicBezTo>
                  <a:pt x="300" y="342"/>
                  <a:pt x="300" y="341"/>
                  <a:pt x="299" y="340"/>
                </a:cubicBezTo>
                <a:cubicBezTo>
                  <a:pt x="299" y="340"/>
                  <a:pt x="299" y="340"/>
                  <a:pt x="299" y="340"/>
                </a:cubicBezTo>
                <a:cubicBezTo>
                  <a:pt x="299" y="340"/>
                  <a:pt x="299" y="340"/>
                  <a:pt x="299" y="340"/>
                </a:cubicBezTo>
                <a:cubicBezTo>
                  <a:pt x="297" y="339"/>
                  <a:pt x="295" y="339"/>
                  <a:pt x="294" y="338"/>
                </a:cubicBezTo>
                <a:cubicBezTo>
                  <a:pt x="294" y="338"/>
                  <a:pt x="294" y="337"/>
                  <a:pt x="294" y="337"/>
                </a:cubicBezTo>
                <a:cubicBezTo>
                  <a:pt x="293" y="337"/>
                  <a:pt x="293" y="337"/>
                  <a:pt x="292" y="337"/>
                </a:cubicBezTo>
                <a:cubicBezTo>
                  <a:pt x="292" y="337"/>
                  <a:pt x="292" y="337"/>
                  <a:pt x="291" y="337"/>
                </a:cubicBezTo>
                <a:cubicBezTo>
                  <a:pt x="291" y="338"/>
                  <a:pt x="291" y="338"/>
                  <a:pt x="290" y="339"/>
                </a:cubicBezTo>
                <a:cubicBezTo>
                  <a:pt x="291" y="338"/>
                  <a:pt x="291" y="338"/>
                  <a:pt x="292" y="338"/>
                </a:cubicBezTo>
                <a:cubicBezTo>
                  <a:pt x="292" y="339"/>
                  <a:pt x="290" y="339"/>
                  <a:pt x="290" y="340"/>
                </a:cubicBezTo>
                <a:cubicBezTo>
                  <a:pt x="290" y="341"/>
                  <a:pt x="290" y="341"/>
                  <a:pt x="290" y="342"/>
                </a:cubicBezTo>
                <a:cubicBezTo>
                  <a:pt x="290" y="342"/>
                  <a:pt x="289" y="342"/>
                  <a:pt x="289" y="343"/>
                </a:cubicBezTo>
                <a:cubicBezTo>
                  <a:pt x="288" y="343"/>
                  <a:pt x="288" y="343"/>
                  <a:pt x="287" y="344"/>
                </a:cubicBezTo>
                <a:cubicBezTo>
                  <a:pt x="287" y="344"/>
                  <a:pt x="287" y="345"/>
                  <a:pt x="286" y="345"/>
                </a:cubicBezTo>
                <a:cubicBezTo>
                  <a:pt x="286" y="345"/>
                  <a:pt x="286" y="345"/>
                  <a:pt x="285" y="345"/>
                </a:cubicBezTo>
                <a:cubicBezTo>
                  <a:pt x="285" y="345"/>
                  <a:pt x="285" y="346"/>
                  <a:pt x="285" y="346"/>
                </a:cubicBezTo>
                <a:cubicBezTo>
                  <a:pt x="285" y="347"/>
                  <a:pt x="286" y="347"/>
                  <a:pt x="286" y="347"/>
                </a:cubicBezTo>
                <a:cubicBezTo>
                  <a:pt x="287" y="348"/>
                  <a:pt x="288" y="347"/>
                  <a:pt x="288" y="347"/>
                </a:cubicBezTo>
                <a:cubicBezTo>
                  <a:pt x="289" y="346"/>
                  <a:pt x="290" y="346"/>
                  <a:pt x="290" y="347"/>
                </a:cubicBezTo>
                <a:cubicBezTo>
                  <a:pt x="291" y="347"/>
                  <a:pt x="290" y="347"/>
                  <a:pt x="290" y="348"/>
                </a:cubicBezTo>
                <a:cubicBezTo>
                  <a:pt x="289" y="348"/>
                  <a:pt x="289" y="348"/>
                  <a:pt x="289" y="349"/>
                </a:cubicBezTo>
                <a:cubicBezTo>
                  <a:pt x="289" y="349"/>
                  <a:pt x="289" y="350"/>
                  <a:pt x="289" y="350"/>
                </a:cubicBezTo>
                <a:cubicBezTo>
                  <a:pt x="292" y="353"/>
                  <a:pt x="296" y="354"/>
                  <a:pt x="297" y="357"/>
                </a:cubicBezTo>
                <a:cubicBezTo>
                  <a:pt x="298" y="358"/>
                  <a:pt x="298" y="359"/>
                  <a:pt x="298" y="359"/>
                </a:cubicBezTo>
                <a:cubicBezTo>
                  <a:pt x="299" y="359"/>
                  <a:pt x="299" y="359"/>
                  <a:pt x="299" y="359"/>
                </a:cubicBezTo>
                <a:cubicBezTo>
                  <a:pt x="300" y="359"/>
                  <a:pt x="300" y="360"/>
                  <a:pt x="301" y="360"/>
                </a:cubicBezTo>
                <a:cubicBezTo>
                  <a:pt x="301" y="360"/>
                  <a:pt x="301" y="361"/>
                  <a:pt x="301" y="361"/>
                </a:cubicBezTo>
                <a:cubicBezTo>
                  <a:pt x="301" y="361"/>
                  <a:pt x="301" y="361"/>
                  <a:pt x="300" y="361"/>
                </a:cubicBezTo>
                <a:cubicBezTo>
                  <a:pt x="300" y="361"/>
                  <a:pt x="300" y="362"/>
                  <a:pt x="300" y="362"/>
                </a:cubicBezTo>
                <a:cubicBezTo>
                  <a:pt x="301" y="362"/>
                  <a:pt x="301" y="363"/>
                  <a:pt x="301" y="363"/>
                </a:cubicBezTo>
                <a:cubicBezTo>
                  <a:pt x="301" y="364"/>
                  <a:pt x="301" y="364"/>
                  <a:pt x="301" y="364"/>
                </a:cubicBezTo>
                <a:cubicBezTo>
                  <a:pt x="302" y="364"/>
                  <a:pt x="302" y="365"/>
                  <a:pt x="302" y="365"/>
                </a:cubicBezTo>
                <a:cubicBezTo>
                  <a:pt x="308" y="367"/>
                  <a:pt x="315" y="365"/>
                  <a:pt x="319" y="360"/>
                </a:cubicBezTo>
                <a:cubicBezTo>
                  <a:pt x="319" y="361"/>
                  <a:pt x="320" y="361"/>
                  <a:pt x="321" y="361"/>
                </a:cubicBezTo>
                <a:cubicBezTo>
                  <a:pt x="322" y="360"/>
                  <a:pt x="322" y="359"/>
                  <a:pt x="322" y="359"/>
                </a:cubicBezTo>
                <a:cubicBezTo>
                  <a:pt x="323" y="357"/>
                  <a:pt x="323" y="356"/>
                  <a:pt x="322" y="355"/>
                </a:cubicBezTo>
                <a:cubicBezTo>
                  <a:pt x="321" y="354"/>
                  <a:pt x="320" y="354"/>
                  <a:pt x="320" y="354"/>
                </a:cubicBezTo>
                <a:cubicBezTo>
                  <a:pt x="320" y="352"/>
                  <a:pt x="322" y="351"/>
                  <a:pt x="322" y="350"/>
                </a:cubicBezTo>
                <a:cubicBezTo>
                  <a:pt x="323" y="349"/>
                  <a:pt x="323" y="348"/>
                  <a:pt x="323" y="347"/>
                </a:cubicBezTo>
                <a:cubicBezTo>
                  <a:pt x="324" y="347"/>
                  <a:pt x="324" y="346"/>
                  <a:pt x="324" y="345"/>
                </a:cubicBezTo>
                <a:cubicBezTo>
                  <a:pt x="324" y="345"/>
                  <a:pt x="324" y="344"/>
                  <a:pt x="325" y="344"/>
                </a:cubicBezTo>
                <a:cubicBezTo>
                  <a:pt x="325" y="344"/>
                  <a:pt x="326" y="344"/>
                  <a:pt x="326" y="343"/>
                </a:cubicBezTo>
                <a:cubicBezTo>
                  <a:pt x="326" y="343"/>
                  <a:pt x="327" y="343"/>
                  <a:pt x="327" y="342"/>
                </a:cubicBezTo>
                <a:cubicBezTo>
                  <a:pt x="327" y="342"/>
                  <a:pt x="327" y="342"/>
                  <a:pt x="327" y="342"/>
                </a:cubicBezTo>
                <a:cubicBezTo>
                  <a:pt x="327" y="342"/>
                  <a:pt x="328" y="343"/>
                  <a:pt x="328" y="342"/>
                </a:cubicBezTo>
                <a:cubicBezTo>
                  <a:pt x="329" y="342"/>
                  <a:pt x="329" y="342"/>
                  <a:pt x="330" y="342"/>
                </a:cubicBezTo>
                <a:cubicBezTo>
                  <a:pt x="329" y="344"/>
                  <a:pt x="327" y="345"/>
                  <a:pt x="326" y="346"/>
                </a:cubicBezTo>
                <a:cubicBezTo>
                  <a:pt x="325" y="348"/>
                  <a:pt x="325" y="349"/>
                  <a:pt x="324" y="350"/>
                </a:cubicBezTo>
                <a:cubicBezTo>
                  <a:pt x="324" y="351"/>
                  <a:pt x="323" y="352"/>
                  <a:pt x="323" y="353"/>
                </a:cubicBezTo>
                <a:cubicBezTo>
                  <a:pt x="324" y="354"/>
                  <a:pt x="325" y="354"/>
                  <a:pt x="326" y="355"/>
                </a:cubicBezTo>
                <a:cubicBezTo>
                  <a:pt x="327" y="357"/>
                  <a:pt x="325" y="359"/>
                  <a:pt x="326" y="361"/>
                </a:cubicBezTo>
                <a:cubicBezTo>
                  <a:pt x="326" y="361"/>
                  <a:pt x="327" y="361"/>
                  <a:pt x="327" y="362"/>
                </a:cubicBezTo>
                <a:cubicBezTo>
                  <a:pt x="327" y="362"/>
                  <a:pt x="327" y="362"/>
                  <a:pt x="327" y="363"/>
                </a:cubicBezTo>
                <a:cubicBezTo>
                  <a:pt x="329" y="366"/>
                  <a:pt x="330" y="369"/>
                  <a:pt x="332" y="372"/>
                </a:cubicBezTo>
                <a:cubicBezTo>
                  <a:pt x="332" y="372"/>
                  <a:pt x="332" y="373"/>
                  <a:pt x="332" y="374"/>
                </a:cubicBezTo>
                <a:cubicBezTo>
                  <a:pt x="332" y="374"/>
                  <a:pt x="331" y="374"/>
                  <a:pt x="331" y="374"/>
                </a:cubicBezTo>
                <a:cubicBezTo>
                  <a:pt x="331" y="374"/>
                  <a:pt x="331" y="375"/>
                  <a:pt x="331" y="375"/>
                </a:cubicBezTo>
                <a:cubicBezTo>
                  <a:pt x="330" y="375"/>
                  <a:pt x="330" y="375"/>
                  <a:pt x="329" y="376"/>
                </a:cubicBezTo>
                <a:cubicBezTo>
                  <a:pt x="329" y="376"/>
                  <a:pt x="329" y="377"/>
                  <a:pt x="329" y="377"/>
                </a:cubicBezTo>
                <a:cubicBezTo>
                  <a:pt x="329" y="378"/>
                  <a:pt x="329" y="379"/>
                  <a:pt x="329" y="379"/>
                </a:cubicBezTo>
                <a:cubicBezTo>
                  <a:pt x="329" y="380"/>
                  <a:pt x="329" y="380"/>
                  <a:pt x="328" y="380"/>
                </a:cubicBezTo>
                <a:cubicBezTo>
                  <a:pt x="328" y="381"/>
                  <a:pt x="328" y="381"/>
                  <a:pt x="328" y="381"/>
                </a:cubicBezTo>
                <a:cubicBezTo>
                  <a:pt x="329" y="381"/>
                  <a:pt x="329" y="381"/>
                  <a:pt x="329" y="382"/>
                </a:cubicBezTo>
                <a:cubicBezTo>
                  <a:pt x="329" y="382"/>
                  <a:pt x="329" y="383"/>
                  <a:pt x="329" y="383"/>
                </a:cubicBezTo>
                <a:cubicBezTo>
                  <a:pt x="329" y="384"/>
                  <a:pt x="330" y="383"/>
                  <a:pt x="330" y="383"/>
                </a:cubicBezTo>
                <a:cubicBezTo>
                  <a:pt x="330" y="383"/>
                  <a:pt x="331" y="383"/>
                  <a:pt x="331" y="383"/>
                </a:cubicBezTo>
                <a:cubicBezTo>
                  <a:pt x="331" y="383"/>
                  <a:pt x="332" y="383"/>
                  <a:pt x="332" y="383"/>
                </a:cubicBezTo>
                <a:cubicBezTo>
                  <a:pt x="333" y="383"/>
                  <a:pt x="333" y="383"/>
                  <a:pt x="334" y="383"/>
                </a:cubicBezTo>
                <a:cubicBezTo>
                  <a:pt x="334" y="384"/>
                  <a:pt x="333" y="384"/>
                  <a:pt x="333" y="385"/>
                </a:cubicBezTo>
                <a:cubicBezTo>
                  <a:pt x="332" y="385"/>
                  <a:pt x="332" y="385"/>
                  <a:pt x="332" y="385"/>
                </a:cubicBezTo>
                <a:cubicBezTo>
                  <a:pt x="332" y="385"/>
                  <a:pt x="332" y="385"/>
                  <a:pt x="331" y="385"/>
                </a:cubicBezTo>
                <a:cubicBezTo>
                  <a:pt x="331" y="385"/>
                  <a:pt x="331" y="385"/>
                  <a:pt x="331" y="386"/>
                </a:cubicBezTo>
                <a:cubicBezTo>
                  <a:pt x="331" y="386"/>
                  <a:pt x="331" y="387"/>
                  <a:pt x="331" y="388"/>
                </a:cubicBezTo>
                <a:cubicBezTo>
                  <a:pt x="331" y="388"/>
                  <a:pt x="331" y="389"/>
                  <a:pt x="331" y="389"/>
                </a:cubicBezTo>
                <a:cubicBezTo>
                  <a:pt x="331" y="389"/>
                  <a:pt x="331" y="389"/>
                  <a:pt x="331" y="390"/>
                </a:cubicBezTo>
                <a:cubicBezTo>
                  <a:pt x="331" y="390"/>
                  <a:pt x="332" y="390"/>
                  <a:pt x="332" y="390"/>
                </a:cubicBezTo>
                <a:cubicBezTo>
                  <a:pt x="332" y="390"/>
                  <a:pt x="332" y="390"/>
                  <a:pt x="332" y="390"/>
                </a:cubicBezTo>
                <a:cubicBezTo>
                  <a:pt x="332" y="390"/>
                  <a:pt x="332" y="390"/>
                  <a:pt x="333" y="390"/>
                </a:cubicBezTo>
                <a:cubicBezTo>
                  <a:pt x="333" y="389"/>
                  <a:pt x="333" y="389"/>
                  <a:pt x="334" y="389"/>
                </a:cubicBezTo>
                <a:cubicBezTo>
                  <a:pt x="334" y="389"/>
                  <a:pt x="334" y="389"/>
                  <a:pt x="334" y="390"/>
                </a:cubicBezTo>
                <a:cubicBezTo>
                  <a:pt x="334" y="390"/>
                  <a:pt x="334" y="390"/>
                  <a:pt x="334" y="390"/>
                </a:cubicBezTo>
                <a:cubicBezTo>
                  <a:pt x="333" y="390"/>
                  <a:pt x="333" y="390"/>
                  <a:pt x="333" y="390"/>
                </a:cubicBezTo>
                <a:cubicBezTo>
                  <a:pt x="333" y="391"/>
                  <a:pt x="333" y="391"/>
                  <a:pt x="333" y="391"/>
                </a:cubicBezTo>
                <a:cubicBezTo>
                  <a:pt x="333" y="391"/>
                  <a:pt x="332" y="391"/>
                  <a:pt x="332" y="392"/>
                </a:cubicBezTo>
                <a:cubicBezTo>
                  <a:pt x="332" y="392"/>
                  <a:pt x="332" y="392"/>
                  <a:pt x="332" y="392"/>
                </a:cubicBezTo>
                <a:cubicBezTo>
                  <a:pt x="332" y="392"/>
                  <a:pt x="332" y="392"/>
                  <a:pt x="331" y="392"/>
                </a:cubicBezTo>
                <a:cubicBezTo>
                  <a:pt x="331" y="392"/>
                  <a:pt x="330" y="392"/>
                  <a:pt x="330" y="393"/>
                </a:cubicBezTo>
                <a:cubicBezTo>
                  <a:pt x="331" y="393"/>
                  <a:pt x="331" y="393"/>
                  <a:pt x="331" y="393"/>
                </a:cubicBezTo>
                <a:cubicBezTo>
                  <a:pt x="331" y="394"/>
                  <a:pt x="331" y="394"/>
                  <a:pt x="330" y="394"/>
                </a:cubicBezTo>
                <a:cubicBezTo>
                  <a:pt x="330" y="394"/>
                  <a:pt x="330" y="394"/>
                  <a:pt x="329" y="394"/>
                </a:cubicBezTo>
                <a:cubicBezTo>
                  <a:pt x="329" y="394"/>
                  <a:pt x="329" y="394"/>
                  <a:pt x="329" y="394"/>
                </a:cubicBezTo>
                <a:cubicBezTo>
                  <a:pt x="328" y="394"/>
                  <a:pt x="328" y="394"/>
                  <a:pt x="327" y="394"/>
                </a:cubicBezTo>
                <a:cubicBezTo>
                  <a:pt x="327" y="394"/>
                  <a:pt x="327" y="394"/>
                  <a:pt x="327" y="394"/>
                </a:cubicBezTo>
                <a:cubicBezTo>
                  <a:pt x="327" y="394"/>
                  <a:pt x="327" y="395"/>
                  <a:pt x="328" y="395"/>
                </a:cubicBezTo>
                <a:cubicBezTo>
                  <a:pt x="329" y="395"/>
                  <a:pt x="330" y="395"/>
                  <a:pt x="330" y="395"/>
                </a:cubicBezTo>
                <a:cubicBezTo>
                  <a:pt x="331" y="395"/>
                  <a:pt x="331" y="395"/>
                  <a:pt x="331" y="395"/>
                </a:cubicBezTo>
                <a:cubicBezTo>
                  <a:pt x="331" y="395"/>
                  <a:pt x="331" y="396"/>
                  <a:pt x="331" y="396"/>
                </a:cubicBezTo>
                <a:cubicBezTo>
                  <a:pt x="331" y="396"/>
                  <a:pt x="331" y="396"/>
                  <a:pt x="332" y="397"/>
                </a:cubicBezTo>
                <a:cubicBezTo>
                  <a:pt x="332" y="397"/>
                  <a:pt x="332" y="396"/>
                  <a:pt x="333" y="396"/>
                </a:cubicBezTo>
                <a:cubicBezTo>
                  <a:pt x="334" y="395"/>
                  <a:pt x="336" y="395"/>
                  <a:pt x="336" y="394"/>
                </a:cubicBezTo>
                <a:cubicBezTo>
                  <a:pt x="337" y="393"/>
                  <a:pt x="337" y="393"/>
                  <a:pt x="337" y="392"/>
                </a:cubicBezTo>
                <a:cubicBezTo>
                  <a:pt x="338" y="392"/>
                  <a:pt x="338" y="391"/>
                  <a:pt x="339" y="390"/>
                </a:cubicBezTo>
                <a:cubicBezTo>
                  <a:pt x="339" y="390"/>
                  <a:pt x="339" y="390"/>
                  <a:pt x="339" y="390"/>
                </a:cubicBezTo>
                <a:cubicBezTo>
                  <a:pt x="340" y="390"/>
                  <a:pt x="340" y="390"/>
                  <a:pt x="340" y="390"/>
                </a:cubicBezTo>
                <a:cubicBezTo>
                  <a:pt x="340" y="391"/>
                  <a:pt x="341" y="390"/>
                  <a:pt x="341" y="390"/>
                </a:cubicBezTo>
                <a:cubicBezTo>
                  <a:pt x="342" y="389"/>
                  <a:pt x="342" y="389"/>
                  <a:pt x="343" y="389"/>
                </a:cubicBezTo>
                <a:cubicBezTo>
                  <a:pt x="343" y="389"/>
                  <a:pt x="343" y="389"/>
                  <a:pt x="343" y="389"/>
                </a:cubicBezTo>
                <a:cubicBezTo>
                  <a:pt x="343" y="389"/>
                  <a:pt x="344" y="389"/>
                  <a:pt x="344" y="389"/>
                </a:cubicBezTo>
                <a:cubicBezTo>
                  <a:pt x="346" y="387"/>
                  <a:pt x="348" y="386"/>
                  <a:pt x="350" y="384"/>
                </a:cubicBezTo>
                <a:cubicBezTo>
                  <a:pt x="350" y="385"/>
                  <a:pt x="350" y="385"/>
                  <a:pt x="351" y="386"/>
                </a:cubicBezTo>
                <a:cubicBezTo>
                  <a:pt x="350" y="386"/>
                  <a:pt x="350" y="386"/>
                  <a:pt x="350" y="387"/>
                </a:cubicBezTo>
                <a:cubicBezTo>
                  <a:pt x="350" y="387"/>
                  <a:pt x="350" y="387"/>
                  <a:pt x="351" y="387"/>
                </a:cubicBezTo>
                <a:cubicBezTo>
                  <a:pt x="351" y="387"/>
                  <a:pt x="351" y="388"/>
                  <a:pt x="351" y="388"/>
                </a:cubicBezTo>
                <a:cubicBezTo>
                  <a:pt x="352" y="388"/>
                  <a:pt x="352" y="388"/>
                  <a:pt x="352" y="388"/>
                </a:cubicBezTo>
                <a:cubicBezTo>
                  <a:pt x="352" y="388"/>
                  <a:pt x="353" y="389"/>
                  <a:pt x="353" y="389"/>
                </a:cubicBezTo>
                <a:cubicBezTo>
                  <a:pt x="353" y="389"/>
                  <a:pt x="354" y="389"/>
                  <a:pt x="354" y="389"/>
                </a:cubicBezTo>
                <a:cubicBezTo>
                  <a:pt x="354" y="388"/>
                  <a:pt x="354" y="388"/>
                  <a:pt x="355" y="388"/>
                </a:cubicBezTo>
                <a:cubicBezTo>
                  <a:pt x="355" y="389"/>
                  <a:pt x="355" y="389"/>
                  <a:pt x="355" y="389"/>
                </a:cubicBezTo>
                <a:cubicBezTo>
                  <a:pt x="355" y="389"/>
                  <a:pt x="355" y="390"/>
                  <a:pt x="355" y="390"/>
                </a:cubicBezTo>
                <a:cubicBezTo>
                  <a:pt x="355" y="391"/>
                  <a:pt x="356" y="391"/>
                  <a:pt x="356" y="391"/>
                </a:cubicBezTo>
                <a:cubicBezTo>
                  <a:pt x="356" y="391"/>
                  <a:pt x="356" y="390"/>
                  <a:pt x="356" y="390"/>
                </a:cubicBezTo>
                <a:cubicBezTo>
                  <a:pt x="357" y="389"/>
                  <a:pt x="357" y="389"/>
                  <a:pt x="357" y="388"/>
                </a:cubicBezTo>
                <a:cubicBezTo>
                  <a:pt x="358" y="388"/>
                  <a:pt x="357" y="388"/>
                  <a:pt x="357" y="388"/>
                </a:cubicBezTo>
                <a:cubicBezTo>
                  <a:pt x="357" y="387"/>
                  <a:pt x="358" y="387"/>
                  <a:pt x="359" y="387"/>
                </a:cubicBezTo>
                <a:cubicBezTo>
                  <a:pt x="359" y="387"/>
                  <a:pt x="360" y="388"/>
                  <a:pt x="359" y="388"/>
                </a:cubicBezTo>
                <a:cubicBezTo>
                  <a:pt x="359" y="388"/>
                  <a:pt x="359" y="389"/>
                  <a:pt x="359" y="389"/>
                </a:cubicBezTo>
                <a:cubicBezTo>
                  <a:pt x="359" y="390"/>
                  <a:pt x="360" y="390"/>
                  <a:pt x="360" y="390"/>
                </a:cubicBezTo>
                <a:cubicBezTo>
                  <a:pt x="361" y="390"/>
                  <a:pt x="361" y="390"/>
                  <a:pt x="362" y="391"/>
                </a:cubicBezTo>
                <a:cubicBezTo>
                  <a:pt x="363" y="391"/>
                  <a:pt x="363" y="394"/>
                  <a:pt x="364" y="395"/>
                </a:cubicBezTo>
                <a:cubicBezTo>
                  <a:pt x="365" y="396"/>
                  <a:pt x="365" y="397"/>
                  <a:pt x="366" y="398"/>
                </a:cubicBezTo>
                <a:cubicBezTo>
                  <a:pt x="366" y="399"/>
                  <a:pt x="366" y="399"/>
                  <a:pt x="366" y="399"/>
                </a:cubicBezTo>
                <a:cubicBezTo>
                  <a:pt x="367" y="400"/>
                  <a:pt x="368" y="400"/>
                  <a:pt x="368" y="400"/>
                </a:cubicBezTo>
                <a:cubicBezTo>
                  <a:pt x="369" y="400"/>
                  <a:pt x="370" y="400"/>
                  <a:pt x="370" y="399"/>
                </a:cubicBezTo>
                <a:cubicBezTo>
                  <a:pt x="371" y="399"/>
                  <a:pt x="371" y="399"/>
                  <a:pt x="371" y="399"/>
                </a:cubicBezTo>
                <a:cubicBezTo>
                  <a:pt x="371" y="399"/>
                  <a:pt x="371" y="398"/>
                  <a:pt x="371" y="398"/>
                </a:cubicBezTo>
                <a:cubicBezTo>
                  <a:pt x="370" y="397"/>
                  <a:pt x="370" y="396"/>
                  <a:pt x="370" y="396"/>
                </a:cubicBezTo>
                <a:cubicBezTo>
                  <a:pt x="369" y="395"/>
                  <a:pt x="368" y="394"/>
                  <a:pt x="369" y="393"/>
                </a:cubicBezTo>
                <a:cubicBezTo>
                  <a:pt x="369" y="393"/>
                  <a:pt x="369" y="392"/>
                  <a:pt x="370" y="392"/>
                </a:cubicBezTo>
                <a:cubicBezTo>
                  <a:pt x="370" y="391"/>
                  <a:pt x="370" y="390"/>
                  <a:pt x="370" y="389"/>
                </a:cubicBezTo>
                <a:cubicBezTo>
                  <a:pt x="370" y="389"/>
                  <a:pt x="371" y="389"/>
                  <a:pt x="371" y="389"/>
                </a:cubicBezTo>
                <a:cubicBezTo>
                  <a:pt x="372" y="388"/>
                  <a:pt x="373" y="387"/>
                  <a:pt x="374" y="385"/>
                </a:cubicBezTo>
                <a:cubicBezTo>
                  <a:pt x="374" y="385"/>
                  <a:pt x="374" y="385"/>
                  <a:pt x="374" y="384"/>
                </a:cubicBezTo>
                <a:cubicBezTo>
                  <a:pt x="375" y="384"/>
                  <a:pt x="375" y="384"/>
                  <a:pt x="375" y="384"/>
                </a:cubicBezTo>
                <a:cubicBezTo>
                  <a:pt x="376" y="384"/>
                  <a:pt x="376" y="384"/>
                  <a:pt x="376" y="385"/>
                </a:cubicBezTo>
                <a:cubicBezTo>
                  <a:pt x="377" y="385"/>
                  <a:pt x="377" y="385"/>
                  <a:pt x="378" y="385"/>
                </a:cubicBezTo>
                <a:cubicBezTo>
                  <a:pt x="378" y="385"/>
                  <a:pt x="379" y="386"/>
                  <a:pt x="379" y="386"/>
                </a:cubicBezTo>
                <a:cubicBezTo>
                  <a:pt x="379" y="387"/>
                  <a:pt x="380" y="387"/>
                  <a:pt x="381" y="387"/>
                </a:cubicBezTo>
                <a:cubicBezTo>
                  <a:pt x="381" y="387"/>
                  <a:pt x="381" y="388"/>
                  <a:pt x="380" y="388"/>
                </a:cubicBezTo>
                <a:cubicBezTo>
                  <a:pt x="380" y="388"/>
                  <a:pt x="380" y="388"/>
                  <a:pt x="380" y="388"/>
                </a:cubicBezTo>
                <a:cubicBezTo>
                  <a:pt x="380" y="389"/>
                  <a:pt x="380" y="389"/>
                  <a:pt x="380" y="389"/>
                </a:cubicBezTo>
                <a:cubicBezTo>
                  <a:pt x="380" y="389"/>
                  <a:pt x="380" y="389"/>
                  <a:pt x="380" y="388"/>
                </a:cubicBezTo>
                <a:cubicBezTo>
                  <a:pt x="379" y="388"/>
                  <a:pt x="379" y="387"/>
                  <a:pt x="378" y="386"/>
                </a:cubicBezTo>
                <a:cubicBezTo>
                  <a:pt x="378" y="386"/>
                  <a:pt x="377" y="385"/>
                  <a:pt x="376" y="385"/>
                </a:cubicBezTo>
                <a:cubicBezTo>
                  <a:pt x="376" y="385"/>
                  <a:pt x="375" y="385"/>
                  <a:pt x="374" y="386"/>
                </a:cubicBezTo>
                <a:cubicBezTo>
                  <a:pt x="374" y="386"/>
                  <a:pt x="374" y="387"/>
                  <a:pt x="374" y="388"/>
                </a:cubicBezTo>
                <a:cubicBezTo>
                  <a:pt x="374" y="388"/>
                  <a:pt x="373" y="389"/>
                  <a:pt x="373" y="389"/>
                </a:cubicBezTo>
                <a:cubicBezTo>
                  <a:pt x="373" y="390"/>
                  <a:pt x="373" y="390"/>
                  <a:pt x="373" y="391"/>
                </a:cubicBezTo>
                <a:cubicBezTo>
                  <a:pt x="373" y="391"/>
                  <a:pt x="374" y="391"/>
                  <a:pt x="374" y="391"/>
                </a:cubicBezTo>
                <a:cubicBezTo>
                  <a:pt x="374" y="391"/>
                  <a:pt x="374" y="391"/>
                  <a:pt x="374" y="391"/>
                </a:cubicBezTo>
                <a:cubicBezTo>
                  <a:pt x="375" y="392"/>
                  <a:pt x="376" y="392"/>
                  <a:pt x="376" y="393"/>
                </a:cubicBezTo>
                <a:cubicBezTo>
                  <a:pt x="376" y="393"/>
                  <a:pt x="375" y="394"/>
                  <a:pt x="375" y="394"/>
                </a:cubicBezTo>
                <a:cubicBezTo>
                  <a:pt x="376" y="394"/>
                  <a:pt x="376" y="394"/>
                  <a:pt x="376" y="394"/>
                </a:cubicBezTo>
                <a:cubicBezTo>
                  <a:pt x="376" y="394"/>
                  <a:pt x="376" y="395"/>
                  <a:pt x="377" y="395"/>
                </a:cubicBezTo>
                <a:cubicBezTo>
                  <a:pt x="377" y="395"/>
                  <a:pt x="377" y="395"/>
                  <a:pt x="377" y="395"/>
                </a:cubicBezTo>
                <a:cubicBezTo>
                  <a:pt x="379" y="395"/>
                  <a:pt x="381" y="394"/>
                  <a:pt x="382" y="394"/>
                </a:cubicBezTo>
                <a:cubicBezTo>
                  <a:pt x="384" y="392"/>
                  <a:pt x="386" y="391"/>
                  <a:pt x="388" y="390"/>
                </a:cubicBezTo>
                <a:cubicBezTo>
                  <a:pt x="389" y="390"/>
                  <a:pt x="389" y="390"/>
                  <a:pt x="390" y="390"/>
                </a:cubicBezTo>
                <a:cubicBezTo>
                  <a:pt x="390" y="389"/>
                  <a:pt x="391" y="389"/>
                  <a:pt x="392" y="389"/>
                </a:cubicBezTo>
                <a:cubicBezTo>
                  <a:pt x="392" y="389"/>
                  <a:pt x="392" y="389"/>
                  <a:pt x="392" y="389"/>
                </a:cubicBezTo>
                <a:cubicBezTo>
                  <a:pt x="392" y="388"/>
                  <a:pt x="393" y="388"/>
                  <a:pt x="393" y="388"/>
                </a:cubicBezTo>
                <a:cubicBezTo>
                  <a:pt x="393" y="389"/>
                  <a:pt x="393" y="390"/>
                  <a:pt x="393" y="391"/>
                </a:cubicBezTo>
                <a:cubicBezTo>
                  <a:pt x="392" y="391"/>
                  <a:pt x="392" y="391"/>
                  <a:pt x="392" y="391"/>
                </a:cubicBezTo>
                <a:cubicBezTo>
                  <a:pt x="392" y="391"/>
                  <a:pt x="392" y="392"/>
                  <a:pt x="392" y="392"/>
                </a:cubicBezTo>
                <a:cubicBezTo>
                  <a:pt x="392" y="392"/>
                  <a:pt x="393" y="392"/>
                  <a:pt x="393" y="393"/>
                </a:cubicBezTo>
                <a:cubicBezTo>
                  <a:pt x="392" y="393"/>
                  <a:pt x="391" y="393"/>
                  <a:pt x="391" y="394"/>
                </a:cubicBezTo>
                <a:cubicBezTo>
                  <a:pt x="390" y="395"/>
                  <a:pt x="390" y="396"/>
                  <a:pt x="389" y="396"/>
                </a:cubicBezTo>
                <a:cubicBezTo>
                  <a:pt x="388" y="397"/>
                  <a:pt x="387" y="398"/>
                  <a:pt x="386" y="400"/>
                </a:cubicBezTo>
                <a:cubicBezTo>
                  <a:pt x="386" y="401"/>
                  <a:pt x="387" y="403"/>
                  <a:pt x="386" y="404"/>
                </a:cubicBezTo>
                <a:cubicBezTo>
                  <a:pt x="386" y="404"/>
                  <a:pt x="386" y="404"/>
                  <a:pt x="387" y="404"/>
                </a:cubicBezTo>
                <a:cubicBezTo>
                  <a:pt x="387" y="404"/>
                  <a:pt x="387" y="404"/>
                  <a:pt x="388" y="405"/>
                </a:cubicBezTo>
                <a:cubicBezTo>
                  <a:pt x="388" y="404"/>
                  <a:pt x="389" y="404"/>
                  <a:pt x="390" y="405"/>
                </a:cubicBezTo>
                <a:cubicBezTo>
                  <a:pt x="388" y="405"/>
                  <a:pt x="387" y="406"/>
                  <a:pt x="386" y="407"/>
                </a:cubicBezTo>
                <a:cubicBezTo>
                  <a:pt x="385" y="407"/>
                  <a:pt x="385" y="408"/>
                  <a:pt x="385" y="408"/>
                </a:cubicBezTo>
                <a:cubicBezTo>
                  <a:pt x="385" y="409"/>
                  <a:pt x="386" y="410"/>
                  <a:pt x="385" y="411"/>
                </a:cubicBezTo>
                <a:cubicBezTo>
                  <a:pt x="385" y="411"/>
                  <a:pt x="385" y="411"/>
                  <a:pt x="385" y="411"/>
                </a:cubicBezTo>
                <a:cubicBezTo>
                  <a:pt x="384" y="412"/>
                  <a:pt x="385" y="413"/>
                  <a:pt x="385" y="414"/>
                </a:cubicBezTo>
                <a:cubicBezTo>
                  <a:pt x="385" y="415"/>
                  <a:pt x="384" y="415"/>
                  <a:pt x="384" y="416"/>
                </a:cubicBezTo>
                <a:cubicBezTo>
                  <a:pt x="383" y="417"/>
                  <a:pt x="383" y="418"/>
                  <a:pt x="384" y="419"/>
                </a:cubicBezTo>
                <a:cubicBezTo>
                  <a:pt x="384" y="419"/>
                  <a:pt x="385" y="420"/>
                  <a:pt x="385" y="419"/>
                </a:cubicBezTo>
                <a:cubicBezTo>
                  <a:pt x="385" y="419"/>
                  <a:pt x="385" y="419"/>
                  <a:pt x="385" y="418"/>
                </a:cubicBezTo>
                <a:cubicBezTo>
                  <a:pt x="385" y="418"/>
                  <a:pt x="386" y="418"/>
                  <a:pt x="386" y="418"/>
                </a:cubicBezTo>
                <a:cubicBezTo>
                  <a:pt x="386" y="418"/>
                  <a:pt x="386" y="418"/>
                  <a:pt x="386" y="418"/>
                </a:cubicBezTo>
                <a:cubicBezTo>
                  <a:pt x="386" y="419"/>
                  <a:pt x="386" y="420"/>
                  <a:pt x="386" y="421"/>
                </a:cubicBezTo>
                <a:cubicBezTo>
                  <a:pt x="386" y="422"/>
                  <a:pt x="386" y="422"/>
                  <a:pt x="385" y="422"/>
                </a:cubicBezTo>
                <a:cubicBezTo>
                  <a:pt x="385" y="422"/>
                  <a:pt x="385" y="422"/>
                  <a:pt x="385" y="422"/>
                </a:cubicBezTo>
                <a:cubicBezTo>
                  <a:pt x="384" y="422"/>
                  <a:pt x="383" y="422"/>
                  <a:pt x="383" y="421"/>
                </a:cubicBezTo>
                <a:cubicBezTo>
                  <a:pt x="382" y="422"/>
                  <a:pt x="381" y="423"/>
                  <a:pt x="380" y="425"/>
                </a:cubicBezTo>
                <a:cubicBezTo>
                  <a:pt x="380" y="425"/>
                  <a:pt x="380" y="426"/>
                  <a:pt x="379" y="426"/>
                </a:cubicBezTo>
                <a:cubicBezTo>
                  <a:pt x="379" y="427"/>
                  <a:pt x="378" y="427"/>
                  <a:pt x="378" y="427"/>
                </a:cubicBezTo>
                <a:cubicBezTo>
                  <a:pt x="378" y="427"/>
                  <a:pt x="378" y="427"/>
                  <a:pt x="377" y="427"/>
                </a:cubicBezTo>
                <a:cubicBezTo>
                  <a:pt x="377" y="427"/>
                  <a:pt x="377" y="427"/>
                  <a:pt x="377" y="427"/>
                </a:cubicBezTo>
                <a:cubicBezTo>
                  <a:pt x="377" y="428"/>
                  <a:pt x="376" y="428"/>
                  <a:pt x="376" y="428"/>
                </a:cubicBezTo>
                <a:cubicBezTo>
                  <a:pt x="375" y="429"/>
                  <a:pt x="374" y="430"/>
                  <a:pt x="374" y="431"/>
                </a:cubicBezTo>
                <a:cubicBezTo>
                  <a:pt x="373" y="432"/>
                  <a:pt x="372" y="433"/>
                  <a:pt x="372" y="433"/>
                </a:cubicBezTo>
                <a:cubicBezTo>
                  <a:pt x="371" y="434"/>
                  <a:pt x="371" y="436"/>
                  <a:pt x="372" y="437"/>
                </a:cubicBezTo>
                <a:cubicBezTo>
                  <a:pt x="372" y="437"/>
                  <a:pt x="372" y="438"/>
                  <a:pt x="371" y="439"/>
                </a:cubicBezTo>
                <a:cubicBezTo>
                  <a:pt x="371" y="439"/>
                  <a:pt x="370" y="439"/>
                  <a:pt x="370" y="439"/>
                </a:cubicBezTo>
                <a:cubicBezTo>
                  <a:pt x="369" y="439"/>
                  <a:pt x="369" y="439"/>
                  <a:pt x="368" y="439"/>
                </a:cubicBezTo>
                <a:cubicBezTo>
                  <a:pt x="368" y="439"/>
                  <a:pt x="367" y="438"/>
                  <a:pt x="367" y="439"/>
                </a:cubicBezTo>
                <a:cubicBezTo>
                  <a:pt x="367" y="439"/>
                  <a:pt x="367" y="439"/>
                  <a:pt x="366" y="439"/>
                </a:cubicBezTo>
                <a:cubicBezTo>
                  <a:pt x="365" y="440"/>
                  <a:pt x="364" y="442"/>
                  <a:pt x="362" y="443"/>
                </a:cubicBezTo>
                <a:cubicBezTo>
                  <a:pt x="361" y="443"/>
                  <a:pt x="360" y="443"/>
                  <a:pt x="359" y="444"/>
                </a:cubicBezTo>
                <a:cubicBezTo>
                  <a:pt x="358" y="444"/>
                  <a:pt x="356" y="445"/>
                  <a:pt x="355" y="446"/>
                </a:cubicBezTo>
                <a:cubicBezTo>
                  <a:pt x="353" y="448"/>
                  <a:pt x="351" y="449"/>
                  <a:pt x="350" y="451"/>
                </a:cubicBezTo>
                <a:cubicBezTo>
                  <a:pt x="351" y="451"/>
                  <a:pt x="351" y="451"/>
                  <a:pt x="352" y="451"/>
                </a:cubicBezTo>
                <a:cubicBezTo>
                  <a:pt x="352" y="452"/>
                  <a:pt x="352" y="452"/>
                  <a:pt x="351" y="452"/>
                </a:cubicBezTo>
                <a:cubicBezTo>
                  <a:pt x="351" y="452"/>
                  <a:pt x="351" y="452"/>
                  <a:pt x="351" y="452"/>
                </a:cubicBezTo>
                <a:cubicBezTo>
                  <a:pt x="350" y="452"/>
                  <a:pt x="349" y="452"/>
                  <a:pt x="349" y="453"/>
                </a:cubicBezTo>
                <a:cubicBezTo>
                  <a:pt x="348" y="454"/>
                  <a:pt x="348" y="454"/>
                  <a:pt x="348" y="455"/>
                </a:cubicBezTo>
                <a:cubicBezTo>
                  <a:pt x="349" y="455"/>
                  <a:pt x="348" y="456"/>
                  <a:pt x="348" y="456"/>
                </a:cubicBezTo>
                <a:cubicBezTo>
                  <a:pt x="348" y="456"/>
                  <a:pt x="347" y="457"/>
                  <a:pt x="347" y="457"/>
                </a:cubicBezTo>
                <a:cubicBezTo>
                  <a:pt x="347" y="457"/>
                  <a:pt x="347" y="457"/>
                  <a:pt x="347" y="457"/>
                </a:cubicBezTo>
                <a:cubicBezTo>
                  <a:pt x="348" y="459"/>
                  <a:pt x="349" y="460"/>
                  <a:pt x="350" y="461"/>
                </a:cubicBezTo>
                <a:cubicBezTo>
                  <a:pt x="351" y="461"/>
                  <a:pt x="351" y="461"/>
                  <a:pt x="351" y="462"/>
                </a:cubicBezTo>
                <a:cubicBezTo>
                  <a:pt x="351" y="462"/>
                  <a:pt x="350" y="462"/>
                  <a:pt x="350" y="462"/>
                </a:cubicBezTo>
                <a:cubicBezTo>
                  <a:pt x="349" y="462"/>
                  <a:pt x="349" y="462"/>
                  <a:pt x="348" y="462"/>
                </a:cubicBezTo>
                <a:cubicBezTo>
                  <a:pt x="349" y="462"/>
                  <a:pt x="348" y="461"/>
                  <a:pt x="348" y="461"/>
                </a:cubicBezTo>
                <a:cubicBezTo>
                  <a:pt x="347" y="460"/>
                  <a:pt x="347" y="461"/>
                  <a:pt x="346" y="461"/>
                </a:cubicBezTo>
                <a:cubicBezTo>
                  <a:pt x="346" y="461"/>
                  <a:pt x="345" y="460"/>
                  <a:pt x="344" y="460"/>
                </a:cubicBezTo>
                <a:cubicBezTo>
                  <a:pt x="344" y="460"/>
                  <a:pt x="344" y="461"/>
                  <a:pt x="344" y="461"/>
                </a:cubicBezTo>
                <a:cubicBezTo>
                  <a:pt x="344" y="461"/>
                  <a:pt x="345" y="461"/>
                  <a:pt x="345" y="462"/>
                </a:cubicBezTo>
                <a:cubicBezTo>
                  <a:pt x="345" y="462"/>
                  <a:pt x="345" y="463"/>
                  <a:pt x="345" y="464"/>
                </a:cubicBezTo>
                <a:cubicBezTo>
                  <a:pt x="344" y="464"/>
                  <a:pt x="343" y="463"/>
                  <a:pt x="343" y="462"/>
                </a:cubicBezTo>
                <a:cubicBezTo>
                  <a:pt x="342" y="461"/>
                  <a:pt x="342" y="460"/>
                  <a:pt x="341" y="459"/>
                </a:cubicBezTo>
                <a:cubicBezTo>
                  <a:pt x="341" y="459"/>
                  <a:pt x="341" y="459"/>
                  <a:pt x="340" y="458"/>
                </a:cubicBezTo>
                <a:cubicBezTo>
                  <a:pt x="340" y="458"/>
                  <a:pt x="338" y="459"/>
                  <a:pt x="338" y="458"/>
                </a:cubicBezTo>
                <a:cubicBezTo>
                  <a:pt x="337" y="459"/>
                  <a:pt x="336" y="458"/>
                  <a:pt x="335" y="459"/>
                </a:cubicBezTo>
                <a:cubicBezTo>
                  <a:pt x="334" y="459"/>
                  <a:pt x="334" y="459"/>
                  <a:pt x="333" y="459"/>
                </a:cubicBezTo>
                <a:cubicBezTo>
                  <a:pt x="329" y="462"/>
                  <a:pt x="324" y="465"/>
                  <a:pt x="321" y="470"/>
                </a:cubicBezTo>
                <a:cubicBezTo>
                  <a:pt x="322" y="470"/>
                  <a:pt x="322" y="470"/>
                  <a:pt x="322" y="471"/>
                </a:cubicBezTo>
                <a:cubicBezTo>
                  <a:pt x="322" y="471"/>
                  <a:pt x="321" y="472"/>
                  <a:pt x="321" y="472"/>
                </a:cubicBezTo>
                <a:cubicBezTo>
                  <a:pt x="320" y="472"/>
                  <a:pt x="320" y="472"/>
                  <a:pt x="319" y="473"/>
                </a:cubicBezTo>
                <a:cubicBezTo>
                  <a:pt x="319" y="473"/>
                  <a:pt x="318" y="474"/>
                  <a:pt x="318" y="474"/>
                </a:cubicBezTo>
                <a:cubicBezTo>
                  <a:pt x="318" y="475"/>
                  <a:pt x="318" y="475"/>
                  <a:pt x="317" y="475"/>
                </a:cubicBezTo>
                <a:cubicBezTo>
                  <a:pt x="317" y="476"/>
                  <a:pt x="317" y="476"/>
                  <a:pt x="317" y="476"/>
                </a:cubicBezTo>
                <a:cubicBezTo>
                  <a:pt x="316" y="476"/>
                  <a:pt x="315" y="476"/>
                  <a:pt x="314" y="476"/>
                </a:cubicBezTo>
                <a:cubicBezTo>
                  <a:pt x="314" y="476"/>
                  <a:pt x="314" y="476"/>
                  <a:pt x="313" y="476"/>
                </a:cubicBezTo>
                <a:cubicBezTo>
                  <a:pt x="313" y="477"/>
                  <a:pt x="312" y="478"/>
                  <a:pt x="312" y="478"/>
                </a:cubicBezTo>
                <a:cubicBezTo>
                  <a:pt x="312" y="479"/>
                  <a:pt x="312" y="480"/>
                  <a:pt x="312" y="481"/>
                </a:cubicBezTo>
                <a:cubicBezTo>
                  <a:pt x="312" y="482"/>
                  <a:pt x="311" y="482"/>
                  <a:pt x="311" y="483"/>
                </a:cubicBezTo>
                <a:cubicBezTo>
                  <a:pt x="311" y="483"/>
                  <a:pt x="311" y="484"/>
                  <a:pt x="311" y="485"/>
                </a:cubicBezTo>
                <a:cubicBezTo>
                  <a:pt x="312" y="484"/>
                  <a:pt x="313" y="483"/>
                  <a:pt x="314" y="482"/>
                </a:cubicBezTo>
                <a:cubicBezTo>
                  <a:pt x="314" y="482"/>
                  <a:pt x="314" y="482"/>
                  <a:pt x="315" y="482"/>
                </a:cubicBezTo>
                <a:cubicBezTo>
                  <a:pt x="315" y="481"/>
                  <a:pt x="314" y="480"/>
                  <a:pt x="313" y="480"/>
                </a:cubicBezTo>
                <a:cubicBezTo>
                  <a:pt x="313" y="479"/>
                  <a:pt x="314" y="478"/>
                  <a:pt x="315" y="478"/>
                </a:cubicBezTo>
                <a:cubicBezTo>
                  <a:pt x="315" y="478"/>
                  <a:pt x="316" y="479"/>
                  <a:pt x="316" y="479"/>
                </a:cubicBezTo>
                <a:cubicBezTo>
                  <a:pt x="316" y="480"/>
                  <a:pt x="316" y="480"/>
                  <a:pt x="316" y="481"/>
                </a:cubicBezTo>
                <a:cubicBezTo>
                  <a:pt x="317" y="481"/>
                  <a:pt x="318" y="482"/>
                  <a:pt x="318" y="481"/>
                </a:cubicBezTo>
                <a:cubicBezTo>
                  <a:pt x="319" y="481"/>
                  <a:pt x="320" y="481"/>
                  <a:pt x="320" y="480"/>
                </a:cubicBezTo>
                <a:cubicBezTo>
                  <a:pt x="321" y="480"/>
                  <a:pt x="321" y="480"/>
                  <a:pt x="321" y="479"/>
                </a:cubicBezTo>
                <a:cubicBezTo>
                  <a:pt x="321" y="478"/>
                  <a:pt x="320" y="478"/>
                  <a:pt x="321" y="477"/>
                </a:cubicBezTo>
                <a:cubicBezTo>
                  <a:pt x="321" y="477"/>
                  <a:pt x="320" y="476"/>
                  <a:pt x="320" y="475"/>
                </a:cubicBezTo>
                <a:cubicBezTo>
                  <a:pt x="320" y="475"/>
                  <a:pt x="320" y="475"/>
                  <a:pt x="320" y="475"/>
                </a:cubicBezTo>
                <a:cubicBezTo>
                  <a:pt x="319" y="475"/>
                  <a:pt x="320" y="474"/>
                  <a:pt x="320" y="474"/>
                </a:cubicBezTo>
                <a:cubicBezTo>
                  <a:pt x="321" y="474"/>
                  <a:pt x="322" y="475"/>
                  <a:pt x="322" y="476"/>
                </a:cubicBezTo>
                <a:cubicBezTo>
                  <a:pt x="322" y="476"/>
                  <a:pt x="322" y="476"/>
                  <a:pt x="322" y="476"/>
                </a:cubicBezTo>
                <a:cubicBezTo>
                  <a:pt x="322" y="477"/>
                  <a:pt x="322" y="477"/>
                  <a:pt x="323" y="477"/>
                </a:cubicBezTo>
                <a:cubicBezTo>
                  <a:pt x="322" y="477"/>
                  <a:pt x="322" y="477"/>
                  <a:pt x="322" y="478"/>
                </a:cubicBezTo>
                <a:cubicBezTo>
                  <a:pt x="322" y="478"/>
                  <a:pt x="322" y="478"/>
                  <a:pt x="322" y="478"/>
                </a:cubicBezTo>
                <a:cubicBezTo>
                  <a:pt x="322" y="478"/>
                  <a:pt x="322" y="478"/>
                  <a:pt x="323" y="479"/>
                </a:cubicBezTo>
                <a:cubicBezTo>
                  <a:pt x="323" y="479"/>
                  <a:pt x="323" y="479"/>
                  <a:pt x="323" y="479"/>
                </a:cubicBezTo>
                <a:cubicBezTo>
                  <a:pt x="323" y="479"/>
                  <a:pt x="323" y="479"/>
                  <a:pt x="323" y="479"/>
                </a:cubicBezTo>
                <a:cubicBezTo>
                  <a:pt x="324" y="479"/>
                  <a:pt x="325" y="479"/>
                  <a:pt x="325" y="479"/>
                </a:cubicBezTo>
                <a:cubicBezTo>
                  <a:pt x="325" y="478"/>
                  <a:pt x="326" y="477"/>
                  <a:pt x="327" y="477"/>
                </a:cubicBezTo>
                <a:cubicBezTo>
                  <a:pt x="327" y="477"/>
                  <a:pt x="327" y="476"/>
                  <a:pt x="327" y="477"/>
                </a:cubicBezTo>
                <a:cubicBezTo>
                  <a:pt x="327" y="477"/>
                  <a:pt x="327" y="477"/>
                  <a:pt x="327" y="477"/>
                </a:cubicBezTo>
                <a:cubicBezTo>
                  <a:pt x="327" y="478"/>
                  <a:pt x="327" y="478"/>
                  <a:pt x="328" y="479"/>
                </a:cubicBezTo>
                <a:cubicBezTo>
                  <a:pt x="328" y="479"/>
                  <a:pt x="329" y="478"/>
                  <a:pt x="329" y="478"/>
                </a:cubicBezTo>
                <a:cubicBezTo>
                  <a:pt x="329" y="477"/>
                  <a:pt x="329" y="476"/>
                  <a:pt x="329" y="476"/>
                </a:cubicBezTo>
                <a:cubicBezTo>
                  <a:pt x="328" y="476"/>
                  <a:pt x="328" y="475"/>
                  <a:pt x="329" y="475"/>
                </a:cubicBezTo>
                <a:cubicBezTo>
                  <a:pt x="329" y="475"/>
                  <a:pt x="329" y="475"/>
                  <a:pt x="329" y="475"/>
                </a:cubicBezTo>
                <a:cubicBezTo>
                  <a:pt x="329" y="475"/>
                  <a:pt x="330" y="475"/>
                  <a:pt x="330" y="475"/>
                </a:cubicBezTo>
                <a:cubicBezTo>
                  <a:pt x="330" y="475"/>
                  <a:pt x="330" y="475"/>
                  <a:pt x="330" y="475"/>
                </a:cubicBezTo>
                <a:cubicBezTo>
                  <a:pt x="331" y="474"/>
                  <a:pt x="331" y="474"/>
                  <a:pt x="331" y="473"/>
                </a:cubicBezTo>
                <a:cubicBezTo>
                  <a:pt x="332" y="472"/>
                  <a:pt x="332" y="471"/>
                  <a:pt x="332" y="470"/>
                </a:cubicBezTo>
                <a:cubicBezTo>
                  <a:pt x="333" y="469"/>
                  <a:pt x="333" y="469"/>
                  <a:pt x="333" y="468"/>
                </a:cubicBezTo>
                <a:cubicBezTo>
                  <a:pt x="333" y="468"/>
                  <a:pt x="334" y="467"/>
                  <a:pt x="334" y="466"/>
                </a:cubicBezTo>
                <a:cubicBezTo>
                  <a:pt x="335" y="466"/>
                  <a:pt x="335" y="466"/>
                  <a:pt x="336" y="466"/>
                </a:cubicBezTo>
                <a:cubicBezTo>
                  <a:pt x="336" y="466"/>
                  <a:pt x="336" y="466"/>
                  <a:pt x="337" y="466"/>
                </a:cubicBezTo>
                <a:cubicBezTo>
                  <a:pt x="338" y="467"/>
                  <a:pt x="338" y="468"/>
                  <a:pt x="339" y="468"/>
                </a:cubicBezTo>
                <a:cubicBezTo>
                  <a:pt x="339" y="469"/>
                  <a:pt x="338" y="469"/>
                  <a:pt x="338" y="468"/>
                </a:cubicBezTo>
                <a:cubicBezTo>
                  <a:pt x="338" y="468"/>
                  <a:pt x="337" y="468"/>
                  <a:pt x="337" y="468"/>
                </a:cubicBezTo>
                <a:cubicBezTo>
                  <a:pt x="337" y="468"/>
                  <a:pt x="337" y="468"/>
                  <a:pt x="336" y="468"/>
                </a:cubicBezTo>
                <a:cubicBezTo>
                  <a:pt x="336" y="468"/>
                  <a:pt x="336" y="469"/>
                  <a:pt x="336" y="469"/>
                </a:cubicBezTo>
                <a:cubicBezTo>
                  <a:pt x="335" y="470"/>
                  <a:pt x="335" y="471"/>
                  <a:pt x="335" y="472"/>
                </a:cubicBezTo>
                <a:cubicBezTo>
                  <a:pt x="338" y="472"/>
                  <a:pt x="340" y="472"/>
                  <a:pt x="342" y="470"/>
                </a:cubicBezTo>
                <a:cubicBezTo>
                  <a:pt x="342" y="469"/>
                  <a:pt x="343" y="468"/>
                  <a:pt x="344" y="469"/>
                </a:cubicBezTo>
                <a:cubicBezTo>
                  <a:pt x="344" y="469"/>
                  <a:pt x="344" y="470"/>
                  <a:pt x="345" y="470"/>
                </a:cubicBezTo>
                <a:cubicBezTo>
                  <a:pt x="345" y="470"/>
                  <a:pt x="346" y="470"/>
                  <a:pt x="346" y="469"/>
                </a:cubicBezTo>
                <a:cubicBezTo>
                  <a:pt x="346" y="469"/>
                  <a:pt x="345" y="469"/>
                  <a:pt x="345" y="469"/>
                </a:cubicBezTo>
                <a:cubicBezTo>
                  <a:pt x="345" y="468"/>
                  <a:pt x="345" y="468"/>
                  <a:pt x="345" y="468"/>
                </a:cubicBezTo>
                <a:cubicBezTo>
                  <a:pt x="345" y="468"/>
                  <a:pt x="345" y="468"/>
                  <a:pt x="345" y="468"/>
                </a:cubicBezTo>
                <a:cubicBezTo>
                  <a:pt x="345" y="467"/>
                  <a:pt x="346" y="467"/>
                  <a:pt x="347" y="468"/>
                </a:cubicBezTo>
                <a:cubicBezTo>
                  <a:pt x="347" y="468"/>
                  <a:pt x="347" y="468"/>
                  <a:pt x="347" y="469"/>
                </a:cubicBezTo>
                <a:cubicBezTo>
                  <a:pt x="347" y="469"/>
                  <a:pt x="347" y="469"/>
                  <a:pt x="348" y="469"/>
                </a:cubicBezTo>
                <a:cubicBezTo>
                  <a:pt x="348" y="469"/>
                  <a:pt x="348" y="469"/>
                  <a:pt x="348" y="469"/>
                </a:cubicBezTo>
                <a:cubicBezTo>
                  <a:pt x="348" y="468"/>
                  <a:pt x="348" y="468"/>
                  <a:pt x="349" y="467"/>
                </a:cubicBezTo>
                <a:cubicBezTo>
                  <a:pt x="349" y="467"/>
                  <a:pt x="349" y="466"/>
                  <a:pt x="350" y="466"/>
                </a:cubicBezTo>
                <a:cubicBezTo>
                  <a:pt x="350" y="466"/>
                  <a:pt x="350" y="466"/>
                  <a:pt x="350" y="466"/>
                </a:cubicBezTo>
                <a:cubicBezTo>
                  <a:pt x="350" y="466"/>
                  <a:pt x="351" y="466"/>
                  <a:pt x="351" y="466"/>
                </a:cubicBezTo>
                <a:cubicBezTo>
                  <a:pt x="351" y="465"/>
                  <a:pt x="352" y="465"/>
                  <a:pt x="352" y="465"/>
                </a:cubicBezTo>
                <a:cubicBezTo>
                  <a:pt x="352" y="465"/>
                  <a:pt x="353" y="465"/>
                  <a:pt x="353" y="465"/>
                </a:cubicBezTo>
                <a:cubicBezTo>
                  <a:pt x="354" y="464"/>
                  <a:pt x="354" y="463"/>
                  <a:pt x="355" y="462"/>
                </a:cubicBezTo>
                <a:cubicBezTo>
                  <a:pt x="356" y="462"/>
                  <a:pt x="357" y="462"/>
                  <a:pt x="357" y="461"/>
                </a:cubicBezTo>
                <a:cubicBezTo>
                  <a:pt x="358" y="461"/>
                  <a:pt x="358" y="461"/>
                  <a:pt x="359" y="462"/>
                </a:cubicBezTo>
                <a:cubicBezTo>
                  <a:pt x="359" y="462"/>
                  <a:pt x="359" y="462"/>
                  <a:pt x="359" y="462"/>
                </a:cubicBezTo>
                <a:cubicBezTo>
                  <a:pt x="359" y="462"/>
                  <a:pt x="359" y="462"/>
                  <a:pt x="359" y="462"/>
                </a:cubicBezTo>
                <a:cubicBezTo>
                  <a:pt x="358" y="463"/>
                  <a:pt x="358" y="465"/>
                  <a:pt x="359" y="466"/>
                </a:cubicBezTo>
                <a:cubicBezTo>
                  <a:pt x="359" y="466"/>
                  <a:pt x="359" y="466"/>
                  <a:pt x="359" y="466"/>
                </a:cubicBezTo>
                <a:cubicBezTo>
                  <a:pt x="359" y="466"/>
                  <a:pt x="359" y="467"/>
                  <a:pt x="358" y="467"/>
                </a:cubicBezTo>
                <a:cubicBezTo>
                  <a:pt x="358" y="467"/>
                  <a:pt x="358" y="467"/>
                  <a:pt x="358" y="467"/>
                </a:cubicBezTo>
                <a:cubicBezTo>
                  <a:pt x="359" y="467"/>
                  <a:pt x="360" y="466"/>
                  <a:pt x="360" y="465"/>
                </a:cubicBezTo>
                <a:cubicBezTo>
                  <a:pt x="360" y="464"/>
                  <a:pt x="360" y="462"/>
                  <a:pt x="361" y="462"/>
                </a:cubicBezTo>
                <a:cubicBezTo>
                  <a:pt x="361" y="462"/>
                  <a:pt x="362" y="462"/>
                  <a:pt x="362" y="462"/>
                </a:cubicBezTo>
                <a:cubicBezTo>
                  <a:pt x="362" y="461"/>
                  <a:pt x="362" y="461"/>
                  <a:pt x="363" y="461"/>
                </a:cubicBezTo>
                <a:cubicBezTo>
                  <a:pt x="364" y="460"/>
                  <a:pt x="366" y="459"/>
                  <a:pt x="367" y="459"/>
                </a:cubicBezTo>
                <a:cubicBezTo>
                  <a:pt x="367" y="459"/>
                  <a:pt x="368" y="459"/>
                  <a:pt x="368" y="459"/>
                </a:cubicBezTo>
                <a:cubicBezTo>
                  <a:pt x="368" y="459"/>
                  <a:pt x="369" y="458"/>
                  <a:pt x="369" y="458"/>
                </a:cubicBezTo>
                <a:cubicBezTo>
                  <a:pt x="369" y="458"/>
                  <a:pt x="370" y="458"/>
                  <a:pt x="371" y="458"/>
                </a:cubicBezTo>
                <a:cubicBezTo>
                  <a:pt x="371" y="457"/>
                  <a:pt x="372" y="456"/>
                  <a:pt x="372" y="455"/>
                </a:cubicBezTo>
                <a:cubicBezTo>
                  <a:pt x="372" y="454"/>
                  <a:pt x="372" y="454"/>
                  <a:pt x="373" y="453"/>
                </a:cubicBezTo>
                <a:cubicBezTo>
                  <a:pt x="373" y="453"/>
                  <a:pt x="374" y="453"/>
                  <a:pt x="374" y="453"/>
                </a:cubicBezTo>
                <a:cubicBezTo>
                  <a:pt x="373" y="454"/>
                  <a:pt x="373" y="455"/>
                  <a:pt x="373" y="457"/>
                </a:cubicBezTo>
                <a:cubicBezTo>
                  <a:pt x="373" y="457"/>
                  <a:pt x="373" y="457"/>
                  <a:pt x="373" y="457"/>
                </a:cubicBezTo>
                <a:cubicBezTo>
                  <a:pt x="373" y="458"/>
                  <a:pt x="374" y="457"/>
                  <a:pt x="374" y="457"/>
                </a:cubicBezTo>
                <a:cubicBezTo>
                  <a:pt x="374" y="456"/>
                  <a:pt x="374" y="456"/>
                  <a:pt x="374" y="455"/>
                </a:cubicBezTo>
                <a:cubicBezTo>
                  <a:pt x="375" y="455"/>
                  <a:pt x="375" y="454"/>
                  <a:pt x="376" y="453"/>
                </a:cubicBezTo>
                <a:cubicBezTo>
                  <a:pt x="376" y="453"/>
                  <a:pt x="376" y="451"/>
                  <a:pt x="377" y="451"/>
                </a:cubicBezTo>
                <a:cubicBezTo>
                  <a:pt x="377" y="451"/>
                  <a:pt x="377" y="450"/>
                  <a:pt x="377" y="450"/>
                </a:cubicBezTo>
                <a:cubicBezTo>
                  <a:pt x="376" y="450"/>
                  <a:pt x="376" y="450"/>
                  <a:pt x="376" y="450"/>
                </a:cubicBezTo>
                <a:cubicBezTo>
                  <a:pt x="376" y="450"/>
                  <a:pt x="376" y="450"/>
                  <a:pt x="375" y="450"/>
                </a:cubicBezTo>
                <a:cubicBezTo>
                  <a:pt x="375" y="451"/>
                  <a:pt x="374" y="450"/>
                  <a:pt x="374" y="450"/>
                </a:cubicBezTo>
                <a:cubicBezTo>
                  <a:pt x="373" y="450"/>
                  <a:pt x="373" y="451"/>
                  <a:pt x="373" y="451"/>
                </a:cubicBezTo>
                <a:cubicBezTo>
                  <a:pt x="373" y="451"/>
                  <a:pt x="372" y="452"/>
                  <a:pt x="372" y="451"/>
                </a:cubicBezTo>
                <a:cubicBezTo>
                  <a:pt x="372" y="451"/>
                  <a:pt x="372" y="451"/>
                  <a:pt x="372" y="451"/>
                </a:cubicBezTo>
                <a:cubicBezTo>
                  <a:pt x="373" y="450"/>
                  <a:pt x="374" y="449"/>
                  <a:pt x="375" y="448"/>
                </a:cubicBezTo>
                <a:cubicBezTo>
                  <a:pt x="375" y="448"/>
                  <a:pt x="376" y="447"/>
                  <a:pt x="376" y="447"/>
                </a:cubicBezTo>
                <a:cubicBezTo>
                  <a:pt x="377" y="447"/>
                  <a:pt x="377" y="447"/>
                  <a:pt x="378" y="446"/>
                </a:cubicBezTo>
                <a:cubicBezTo>
                  <a:pt x="378" y="446"/>
                  <a:pt x="378" y="446"/>
                  <a:pt x="379" y="446"/>
                </a:cubicBezTo>
                <a:cubicBezTo>
                  <a:pt x="380" y="444"/>
                  <a:pt x="381" y="443"/>
                  <a:pt x="383" y="442"/>
                </a:cubicBezTo>
                <a:cubicBezTo>
                  <a:pt x="384" y="443"/>
                  <a:pt x="385" y="444"/>
                  <a:pt x="386" y="443"/>
                </a:cubicBezTo>
                <a:cubicBezTo>
                  <a:pt x="386" y="443"/>
                  <a:pt x="387" y="442"/>
                  <a:pt x="387" y="442"/>
                </a:cubicBezTo>
                <a:cubicBezTo>
                  <a:pt x="386" y="442"/>
                  <a:pt x="386" y="442"/>
                  <a:pt x="385" y="442"/>
                </a:cubicBezTo>
                <a:cubicBezTo>
                  <a:pt x="386" y="441"/>
                  <a:pt x="386" y="440"/>
                  <a:pt x="387" y="440"/>
                </a:cubicBezTo>
                <a:cubicBezTo>
                  <a:pt x="387" y="439"/>
                  <a:pt x="387" y="439"/>
                  <a:pt x="387" y="439"/>
                </a:cubicBezTo>
                <a:cubicBezTo>
                  <a:pt x="387" y="439"/>
                  <a:pt x="387" y="438"/>
                  <a:pt x="387" y="438"/>
                </a:cubicBezTo>
                <a:cubicBezTo>
                  <a:pt x="388" y="437"/>
                  <a:pt x="388" y="438"/>
                  <a:pt x="389" y="438"/>
                </a:cubicBezTo>
                <a:cubicBezTo>
                  <a:pt x="389" y="438"/>
                  <a:pt x="389" y="439"/>
                  <a:pt x="389" y="439"/>
                </a:cubicBezTo>
                <a:cubicBezTo>
                  <a:pt x="390" y="439"/>
                  <a:pt x="391" y="439"/>
                  <a:pt x="392" y="438"/>
                </a:cubicBezTo>
                <a:cubicBezTo>
                  <a:pt x="392" y="437"/>
                  <a:pt x="393" y="436"/>
                  <a:pt x="394" y="436"/>
                </a:cubicBezTo>
                <a:cubicBezTo>
                  <a:pt x="395" y="436"/>
                  <a:pt x="395" y="436"/>
                  <a:pt x="395" y="436"/>
                </a:cubicBezTo>
                <a:cubicBezTo>
                  <a:pt x="395" y="436"/>
                  <a:pt x="396" y="436"/>
                  <a:pt x="396" y="435"/>
                </a:cubicBezTo>
                <a:cubicBezTo>
                  <a:pt x="396" y="435"/>
                  <a:pt x="396" y="434"/>
                  <a:pt x="396" y="434"/>
                </a:cubicBezTo>
                <a:cubicBezTo>
                  <a:pt x="396" y="434"/>
                  <a:pt x="397" y="433"/>
                  <a:pt x="397" y="434"/>
                </a:cubicBezTo>
                <a:cubicBezTo>
                  <a:pt x="397" y="434"/>
                  <a:pt x="397" y="435"/>
                  <a:pt x="398" y="435"/>
                </a:cubicBezTo>
                <a:cubicBezTo>
                  <a:pt x="398" y="435"/>
                  <a:pt x="399" y="434"/>
                  <a:pt x="399" y="434"/>
                </a:cubicBezTo>
                <a:cubicBezTo>
                  <a:pt x="399" y="433"/>
                  <a:pt x="399" y="433"/>
                  <a:pt x="399" y="433"/>
                </a:cubicBezTo>
                <a:cubicBezTo>
                  <a:pt x="400" y="432"/>
                  <a:pt x="400" y="431"/>
                  <a:pt x="401" y="431"/>
                </a:cubicBezTo>
                <a:cubicBezTo>
                  <a:pt x="401" y="431"/>
                  <a:pt x="401" y="430"/>
                  <a:pt x="401" y="430"/>
                </a:cubicBezTo>
                <a:cubicBezTo>
                  <a:pt x="402" y="430"/>
                  <a:pt x="402" y="430"/>
                  <a:pt x="401" y="429"/>
                </a:cubicBezTo>
                <a:cubicBezTo>
                  <a:pt x="401" y="429"/>
                  <a:pt x="401" y="429"/>
                  <a:pt x="401" y="429"/>
                </a:cubicBezTo>
                <a:cubicBezTo>
                  <a:pt x="401" y="429"/>
                  <a:pt x="401" y="429"/>
                  <a:pt x="401" y="428"/>
                </a:cubicBezTo>
                <a:cubicBezTo>
                  <a:pt x="401" y="428"/>
                  <a:pt x="402" y="428"/>
                  <a:pt x="402" y="427"/>
                </a:cubicBezTo>
                <a:cubicBezTo>
                  <a:pt x="402" y="427"/>
                  <a:pt x="401" y="427"/>
                  <a:pt x="401" y="426"/>
                </a:cubicBezTo>
                <a:cubicBezTo>
                  <a:pt x="401" y="426"/>
                  <a:pt x="400" y="427"/>
                  <a:pt x="400" y="427"/>
                </a:cubicBezTo>
                <a:cubicBezTo>
                  <a:pt x="400" y="427"/>
                  <a:pt x="399" y="427"/>
                  <a:pt x="399" y="427"/>
                </a:cubicBezTo>
                <a:cubicBezTo>
                  <a:pt x="399" y="427"/>
                  <a:pt x="399" y="426"/>
                  <a:pt x="399" y="426"/>
                </a:cubicBezTo>
                <a:cubicBezTo>
                  <a:pt x="400" y="425"/>
                  <a:pt x="401" y="425"/>
                  <a:pt x="402" y="424"/>
                </a:cubicBezTo>
                <a:cubicBezTo>
                  <a:pt x="402" y="424"/>
                  <a:pt x="403" y="424"/>
                  <a:pt x="403" y="424"/>
                </a:cubicBezTo>
                <a:cubicBezTo>
                  <a:pt x="403" y="424"/>
                  <a:pt x="403" y="423"/>
                  <a:pt x="404" y="423"/>
                </a:cubicBezTo>
                <a:cubicBezTo>
                  <a:pt x="404" y="423"/>
                  <a:pt x="404" y="423"/>
                  <a:pt x="404" y="423"/>
                </a:cubicBezTo>
                <a:cubicBezTo>
                  <a:pt x="405" y="423"/>
                  <a:pt x="405" y="424"/>
                  <a:pt x="405" y="424"/>
                </a:cubicBezTo>
                <a:cubicBezTo>
                  <a:pt x="405" y="424"/>
                  <a:pt x="405" y="423"/>
                  <a:pt x="405" y="423"/>
                </a:cubicBezTo>
                <a:cubicBezTo>
                  <a:pt x="405" y="422"/>
                  <a:pt x="406" y="421"/>
                  <a:pt x="407" y="421"/>
                </a:cubicBezTo>
                <a:cubicBezTo>
                  <a:pt x="408" y="421"/>
                  <a:pt x="408" y="421"/>
                  <a:pt x="409" y="421"/>
                </a:cubicBezTo>
                <a:cubicBezTo>
                  <a:pt x="409" y="421"/>
                  <a:pt x="409" y="420"/>
                  <a:pt x="410" y="419"/>
                </a:cubicBezTo>
                <a:cubicBezTo>
                  <a:pt x="410" y="419"/>
                  <a:pt x="410" y="419"/>
                  <a:pt x="411" y="419"/>
                </a:cubicBezTo>
                <a:cubicBezTo>
                  <a:pt x="411" y="419"/>
                  <a:pt x="411" y="418"/>
                  <a:pt x="411" y="418"/>
                </a:cubicBezTo>
                <a:cubicBezTo>
                  <a:pt x="411" y="418"/>
                  <a:pt x="411" y="418"/>
                  <a:pt x="410" y="418"/>
                </a:cubicBezTo>
                <a:cubicBezTo>
                  <a:pt x="410" y="418"/>
                  <a:pt x="410" y="417"/>
                  <a:pt x="410" y="417"/>
                </a:cubicBezTo>
                <a:cubicBezTo>
                  <a:pt x="410" y="417"/>
                  <a:pt x="410" y="416"/>
                  <a:pt x="411" y="415"/>
                </a:cubicBezTo>
                <a:cubicBezTo>
                  <a:pt x="411" y="415"/>
                  <a:pt x="412" y="415"/>
                  <a:pt x="412" y="416"/>
                </a:cubicBezTo>
                <a:cubicBezTo>
                  <a:pt x="412" y="416"/>
                  <a:pt x="412" y="416"/>
                  <a:pt x="412" y="416"/>
                </a:cubicBezTo>
                <a:cubicBezTo>
                  <a:pt x="412" y="417"/>
                  <a:pt x="413" y="417"/>
                  <a:pt x="413" y="417"/>
                </a:cubicBezTo>
                <a:cubicBezTo>
                  <a:pt x="413" y="417"/>
                  <a:pt x="414" y="417"/>
                  <a:pt x="414" y="417"/>
                </a:cubicBezTo>
                <a:cubicBezTo>
                  <a:pt x="414" y="417"/>
                  <a:pt x="414" y="417"/>
                  <a:pt x="414" y="417"/>
                </a:cubicBezTo>
                <a:cubicBezTo>
                  <a:pt x="415" y="416"/>
                  <a:pt x="415" y="415"/>
                  <a:pt x="416" y="414"/>
                </a:cubicBezTo>
                <a:cubicBezTo>
                  <a:pt x="416" y="414"/>
                  <a:pt x="417" y="414"/>
                  <a:pt x="417" y="414"/>
                </a:cubicBezTo>
                <a:cubicBezTo>
                  <a:pt x="417" y="413"/>
                  <a:pt x="418" y="413"/>
                  <a:pt x="418" y="412"/>
                </a:cubicBezTo>
                <a:cubicBezTo>
                  <a:pt x="418" y="412"/>
                  <a:pt x="417" y="412"/>
                  <a:pt x="417" y="412"/>
                </a:cubicBezTo>
                <a:cubicBezTo>
                  <a:pt x="417" y="412"/>
                  <a:pt x="418" y="411"/>
                  <a:pt x="418" y="411"/>
                </a:cubicBezTo>
                <a:cubicBezTo>
                  <a:pt x="418" y="411"/>
                  <a:pt x="418" y="411"/>
                  <a:pt x="418" y="410"/>
                </a:cubicBezTo>
                <a:cubicBezTo>
                  <a:pt x="418" y="410"/>
                  <a:pt x="418" y="410"/>
                  <a:pt x="418" y="410"/>
                </a:cubicBezTo>
                <a:cubicBezTo>
                  <a:pt x="417" y="410"/>
                  <a:pt x="417" y="410"/>
                  <a:pt x="417" y="410"/>
                </a:cubicBezTo>
                <a:cubicBezTo>
                  <a:pt x="418" y="409"/>
                  <a:pt x="418" y="408"/>
                  <a:pt x="418" y="407"/>
                </a:cubicBezTo>
                <a:cubicBezTo>
                  <a:pt x="418" y="407"/>
                  <a:pt x="418" y="406"/>
                  <a:pt x="418" y="406"/>
                </a:cubicBezTo>
                <a:cubicBezTo>
                  <a:pt x="418" y="406"/>
                  <a:pt x="418" y="406"/>
                  <a:pt x="418" y="406"/>
                </a:cubicBezTo>
                <a:cubicBezTo>
                  <a:pt x="419" y="406"/>
                  <a:pt x="419" y="406"/>
                  <a:pt x="419" y="406"/>
                </a:cubicBezTo>
                <a:cubicBezTo>
                  <a:pt x="419" y="407"/>
                  <a:pt x="419" y="407"/>
                  <a:pt x="419" y="407"/>
                </a:cubicBezTo>
                <a:cubicBezTo>
                  <a:pt x="419" y="408"/>
                  <a:pt x="420" y="408"/>
                  <a:pt x="420" y="408"/>
                </a:cubicBezTo>
                <a:cubicBezTo>
                  <a:pt x="420" y="408"/>
                  <a:pt x="419" y="409"/>
                  <a:pt x="419" y="410"/>
                </a:cubicBezTo>
                <a:cubicBezTo>
                  <a:pt x="419" y="409"/>
                  <a:pt x="420" y="409"/>
                  <a:pt x="420" y="410"/>
                </a:cubicBezTo>
                <a:cubicBezTo>
                  <a:pt x="420" y="410"/>
                  <a:pt x="421" y="410"/>
                  <a:pt x="421" y="410"/>
                </a:cubicBezTo>
                <a:cubicBezTo>
                  <a:pt x="421" y="410"/>
                  <a:pt x="422" y="410"/>
                  <a:pt x="422" y="410"/>
                </a:cubicBezTo>
                <a:cubicBezTo>
                  <a:pt x="422" y="409"/>
                  <a:pt x="422" y="409"/>
                  <a:pt x="423" y="409"/>
                </a:cubicBezTo>
                <a:cubicBezTo>
                  <a:pt x="423" y="409"/>
                  <a:pt x="424" y="409"/>
                  <a:pt x="424" y="409"/>
                </a:cubicBezTo>
                <a:cubicBezTo>
                  <a:pt x="424" y="409"/>
                  <a:pt x="424" y="409"/>
                  <a:pt x="424" y="409"/>
                </a:cubicBezTo>
                <a:cubicBezTo>
                  <a:pt x="425" y="408"/>
                  <a:pt x="426" y="408"/>
                  <a:pt x="426" y="407"/>
                </a:cubicBezTo>
                <a:cubicBezTo>
                  <a:pt x="426" y="408"/>
                  <a:pt x="427" y="408"/>
                  <a:pt x="427" y="408"/>
                </a:cubicBezTo>
                <a:cubicBezTo>
                  <a:pt x="427" y="408"/>
                  <a:pt x="428" y="407"/>
                  <a:pt x="428" y="407"/>
                </a:cubicBezTo>
                <a:cubicBezTo>
                  <a:pt x="428" y="407"/>
                  <a:pt x="428" y="407"/>
                  <a:pt x="428" y="406"/>
                </a:cubicBezTo>
                <a:cubicBezTo>
                  <a:pt x="428" y="406"/>
                  <a:pt x="428" y="406"/>
                  <a:pt x="428" y="406"/>
                </a:cubicBezTo>
                <a:cubicBezTo>
                  <a:pt x="428" y="406"/>
                  <a:pt x="429" y="405"/>
                  <a:pt x="429" y="405"/>
                </a:cubicBezTo>
                <a:cubicBezTo>
                  <a:pt x="429" y="404"/>
                  <a:pt x="429" y="404"/>
                  <a:pt x="429" y="404"/>
                </a:cubicBezTo>
                <a:cubicBezTo>
                  <a:pt x="429" y="404"/>
                  <a:pt x="430" y="403"/>
                  <a:pt x="430" y="403"/>
                </a:cubicBezTo>
                <a:cubicBezTo>
                  <a:pt x="429" y="403"/>
                  <a:pt x="427" y="403"/>
                  <a:pt x="426" y="404"/>
                </a:cubicBezTo>
                <a:cubicBezTo>
                  <a:pt x="426" y="403"/>
                  <a:pt x="427" y="403"/>
                  <a:pt x="428" y="403"/>
                </a:cubicBezTo>
                <a:cubicBezTo>
                  <a:pt x="429" y="402"/>
                  <a:pt x="429" y="402"/>
                  <a:pt x="430" y="402"/>
                </a:cubicBezTo>
                <a:cubicBezTo>
                  <a:pt x="430" y="402"/>
                  <a:pt x="430" y="401"/>
                  <a:pt x="431" y="401"/>
                </a:cubicBezTo>
                <a:cubicBezTo>
                  <a:pt x="431" y="401"/>
                  <a:pt x="431" y="401"/>
                  <a:pt x="431" y="401"/>
                </a:cubicBezTo>
                <a:cubicBezTo>
                  <a:pt x="431" y="400"/>
                  <a:pt x="431" y="400"/>
                  <a:pt x="431" y="400"/>
                </a:cubicBezTo>
                <a:cubicBezTo>
                  <a:pt x="430" y="400"/>
                  <a:pt x="430" y="399"/>
                  <a:pt x="431" y="399"/>
                </a:cubicBezTo>
                <a:cubicBezTo>
                  <a:pt x="431" y="398"/>
                  <a:pt x="432" y="398"/>
                  <a:pt x="432" y="397"/>
                </a:cubicBezTo>
                <a:cubicBezTo>
                  <a:pt x="433" y="397"/>
                  <a:pt x="433" y="396"/>
                  <a:pt x="433" y="395"/>
                </a:cubicBezTo>
                <a:cubicBezTo>
                  <a:pt x="433" y="395"/>
                  <a:pt x="434" y="395"/>
                  <a:pt x="435" y="395"/>
                </a:cubicBezTo>
                <a:cubicBezTo>
                  <a:pt x="436" y="395"/>
                  <a:pt x="437" y="394"/>
                  <a:pt x="438" y="393"/>
                </a:cubicBezTo>
                <a:cubicBezTo>
                  <a:pt x="439" y="392"/>
                  <a:pt x="439" y="391"/>
                  <a:pt x="440" y="390"/>
                </a:cubicBezTo>
                <a:cubicBezTo>
                  <a:pt x="440" y="389"/>
                  <a:pt x="440" y="387"/>
                  <a:pt x="439" y="386"/>
                </a:cubicBezTo>
                <a:cubicBezTo>
                  <a:pt x="439" y="386"/>
                  <a:pt x="439" y="386"/>
                  <a:pt x="439" y="386"/>
                </a:cubicBezTo>
                <a:cubicBezTo>
                  <a:pt x="439" y="386"/>
                  <a:pt x="438" y="386"/>
                  <a:pt x="438" y="386"/>
                </a:cubicBezTo>
                <a:cubicBezTo>
                  <a:pt x="438" y="386"/>
                  <a:pt x="437" y="386"/>
                  <a:pt x="436" y="385"/>
                </a:cubicBezTo>
                <a:cubicBezTo>
                  <a:pt x="436" y="385"/>
                  <a:pt x="436" y="385"/>
                  <a:pt x="436" y="384"/>
                </a:cubicBezTo>
                <a:cubicBezTo>
                  <a:pt x="436" y="384"/>
                  <a:pt x="435" y="384"/>
                  <a:pt x="435" y="384"/>
                </a:cubicBezTo>
                <a:cubicBezTo>
                  <a:pt x="435" y="384"/>
                  <a:pt x="434" y="384"/>
                  <a:pt x="434" y="384"/>
                </a:cubicBezTo>
                <a:cubicBezTo>
                  <a:pt x="434" y="384"/>
                  <a:pt x="434" y="384"/>
                  <a:pt x="433" y="384"/>
                </a:cubicBezTo>
                <a:cubicBezTo>
                  <a:pt x="433" y="384"/>
                  <a:pt x="433" y="384"/>
                  <a:pt x="433" y="384"/>
                </a:cubicBezTo>
                <a:cubicBezTo>
                  <a:pt x="432" y="384"/>
                  <a:pt x="432" y="383"/>
                  <a:pt x="431" y="384"/>
                </a:cubicBezTo>
                <a:cubicBezTo>
                  <a:pt x="430" y="384"/>
                  <a:pt x="430" y="385"/>
                  <a:pt x="430" y="385"/>
                </a:cubicBezTo>
                <a:cubicBezTo>
                  <a:pt x="429" y="385"/>
                  <a:pt x="429" y="385"/>
                  <a:pt x="429" y="385"/>
                </a:cubicBezTo>
                <a:cubicBezTo>
                  <a:pt x="429" y="385"/>
                  <a:pt x="429" y="384"/>
                  <a:pt x="429" y="384"/>
                </a:cubicBezTo>
                <a:cubicBezTo>
                  <a:pt x="429" y="384"/>
                  <a:pt x="429" y="384"/>
                  <a:pt x="429" y="384"/>
                </a:cubicBezTo>
                <a:cubicBezTo>
                  <a:pt x="429" y="383"/>
                  <a:pt x="429" y="383"/>
                  <a:pt x="429" y="383"/>
                </a:cubicBezTo>
                <a:cubicBezTo>
                  <a:pt x="429" y="383"/>
                  <a:pt x="429" y="382"/>
                  <a:pt x="429" y="382"/>
                </a:cubicBezTo>
                <a:cubicBezTo>
                  <a:pt x="429" y="382"/>
                  <a:pt x="428" y="382"/>
                  <a:pt x="428" y="382"/>
                </a:cubicBezTo>
                <a:cubicBezTo>
                  <a:pt x="428" y="382"/>
                  <a:pt x="428" y="382"/>
                  <a:pt x="429" y="382"/>
                </a:cubicBezTo>
                <a:cubicBezTo>
                  <a:pt x="429" y="381"/>
                  <a:pt x="429" y="381"/>
                  <a:pt x="429" y="380"/>
                </a:cubicBezTo>
                <a:cubicBezTo>
                  <a:pt x="430" y="380"/>
                  <a:pt x="430" y="379"/>
                  <a:pt x="430" y="378"/>
                </a:cubicBezTo>
                <a:cubicBezTo>
                  <a:pt x="430" y="377"/>
                  <a:pt x="431" y="377"/>
                  <a:pt x="432" y="377"/>
                </a:cubicBezTo>
                <a:cubicBezTo>
                  <a:pt x="432" y="377"/>
                  <a:pt x="432" y="377"/>
                  <a:pt x="432" y="377"/>
                </a:cubicBezTo>
                <a:cubicBezTo>
                  <a:pt x="432" y="376"/>
                  <a:pt x="432" y="376"/>
                  <a:pt x="432" y="376"/>
                </a:cubicBezTo>
                <a:cubicBezTo>
                  <a:pt x="431" y="376"/>
                  <a:pt x="431" y="376"/>
                  <a:pt x="431" y="376"/>
                </a:cubicBezTo>
                <a:cubicBezTo>
                  <a:pt x="432" y="376"/>
                  <a:pt x="432" y="376"/>
                  <a:pt x="432" y="375"/>
                </a:cubicBezTo>
                <a:cubicBezTo>
                  <a:pt x="433" y="375"/>
                  <a:pt x="434" y="375"/>
                  <a:pt x="434" y="375"/>
                </a:cubicBezTo>
                <a:cubicBezTo>
                  <a:pt x="435" y="374"/>
                  <a:pt x="435" y="374"/>
                  <a:pt x="435" y="374"/>
                </a:cubicBezTo>
                <a:cubicBezTo>
                  <a:pt x="435" y="373"/>
                  <a:pt x="435" y="373"/>
                  <a:pt x="435" y="373"/>
                </a:cubicBezTo>
                <a:cubicBezTo>
                  <a:pt x="435" y="373"/>
                  <a:pt x="435" y="373"/>
                  <a:pt x="435" y="373"/>
                </a:cubicBezTo>
                <a:cubicBezTo>
                  <a:pt x="435" y="373"/>
                  <a:pt x="435" y="372"/>
                  <a:pt x="435" y="372"/>
                </a:cubicBezTo>
                <a:cubicBezTo>
                  <a:pt x="435" y="372"/>
                  <a:pt x="435" y="372"/>
                  <a:pt x="435" y="372"/>
                </a:cubicBezTo>
                <a:cubicBezTo>
                  <a:pt x="436" y="372"/>
                  <a:pt x="436" y="372"/>
                  <a:pt x="436" y="372"/>
                </a:cubicBezTo>
                <a:cubicBezTo>
                  <a:pt x="437" y="372"/>
                  <a:pt x="437" y="372"/>
                  <a:pt x="437" y="372"/>
                </a:cubicBezTo>
                <a:cubicBezTo>
                  <a:pt x="437" y="371"/>
                  <a:pt x="437" y="371"/>
                  <a:pt x="437" y="370"/>
                </a:cubicBezTo>
                <a:cubicBezTo>
                  <a:pt x="437" y="370"/>
                  <a:pt x="436" y="370"/>
                  <a:pt x="436" y="370"/>
                </a:cubicBezTo>
                <a:cubicBezTo>
                  <a:pt x="436" y="370"/>
                  <a:pt x="436" y="370"/>
                  <a:pt x="436" y="369"/>
                </a:cubicBezTo>
                <a:cubicBezTo>
                  <a:pt x="436" y="369"/>
                  <a:pt x="436" y="369"/>
                  <a:pt x="436" y="369"/>
                </a:cubicBezTo>
                <a:cubicBezTo>
                  <a:pt x="436" y="369"/>
                  <a:pt x="436" y="369"/>
                  <a:pt x="436" y="369"/>
                </a:cubicBezTo>
                <a:cubicBezTo>
                  <a:pt x="436" y="369"/>
                  <a:pt x="436" y="369"/>
                  <a:pt x="437" y="369"/>
                </a:cubicBezTo>
                <a:cubicBezTo>
                  <a:pt x="437" y="369"/>
                  <a:pt x="437" y="369"/>
                  <a:pt x="437" y="369"/>
                </a:cubicBezTo>
                <a:cubicBezTo>
                  <a:pt x="437" y="370"/>
                  <a:pt x="438" y="370"/>
                  <a:pt x="438" y="369"/>
                </a:cubicBezTo>
                <a:cubicBezTo>
                  <a:pt x="438" y="369"/>
                  <a:pt x="438" y="369"/>
                  <a:pt x="438" y="369"/>
                </a:cubicBezTo>
                <a:cubicBezTo>
                  <a:pt x="438" y="368"/>
                  <a:pt x="439" y="367"/>
                  <a:pt x="439" y="367"/>
                </a:cubicBezTo>
                <a:cubicBezTo>
                  <a:pt x="438" y="366"/>
                  <a:pt x="438" y="366"/>
                  <a:pt x="438" y="366"/>
                </a:cubicBezTo>
                <a:cubicBezTo>
                  <a:pt x="438" y="366"/>
                  <a:pt x="439" y="365"/>
                  <a:pt x="439" y="365"/>
                </a:cubicBezTo>
                <a:cubicBezTo>
                  <a:pt x="439" y="365"/>
                  <a:pt x="439" y="366"/>
                  <a:pt x="439" y="366"/>
                </a:cubicBezTo>
                <a:cubicBezTo>
                  <a:pt x="440" y="366"/>
                  <a:pt x="440" y="366"/>
                  <a:pt x="440" y="367"/>
                </a:cubicBezTo>
                <a:cubicBezTo>
                  <a:pt x="440" y="367"/>
                  <a:pt x="439" y="368"/>
                  <a:pt x="439" y="368"/>
                </a:cubicBezTo>
                <a:cubicBezTo>
                  <a:pt x="439" y="369"/>
                  <a:pt x="439" y="369"/>
                  <a:pt x="439" y="369"/>
                </a:cubicBezTo>
                <a:cubicBezTo>
                  <a:pt x="439" y="369"/>
                  <a:pt x="439" y="370"/>
                  <a:pt x="439" y="370"/>
                </a:cubicBezTo>
                <a:cubicBezTo>
                  <a:pt x="439" y="370"/>
                  <a:pt x="440" y="370"/>
                  <a:pt x="440" y="370"/>
                </a:cubicBezTo>
                <a:cubicBezTo>
                  <a:pt x="441" y="370"/>
                  <a:pt x="441" y="370"/>
                  <a:pt x="441" y="369"/>
                </a:cubicBezTo>
                <a:cubicBezTo>
                  <a:pt x="442" y="369"/>
                  <a:pt x="442" y="369"/>
                  <a:pt x="442" y="369"/>
                </a:cubicBezTo>
                <a:cubicBezTo>
                  <a:pt x="443" y="369"/>
                  <a:pt x="443" y="368"/>
                  <a:pt x="443" y="368"/>
                </a:cubicBezTo>
                <a:cubicBezTo>
                  <a:pt x="443" y="367"/>
                  <a:pt x="445" y="365"/>
                  <a:pt x="444" y="364"/>
                </a:cubicBezTo>
                <a:cubicBezTo>
                  <a:pt x="444" y="364"/>
                  <a:pt x="444" y="364"/>
                  <a:pt x="444" y="364"/>
                </a:cubicBezTo>
                <a:cubicBezTo>
                  <a:pt x="443" y="364"/>
                  <a:pt x="443" y="364"/>
                  <a:pt x="442" y="364"/>
                </a:cubicBezTo>
                <a:cubicBezTo>
                  <a:pt x="442" y="364"/>
                  <a:pt x="442" y="364"/>
                  <a:pt x="442" y="364"/>
                </a:cubicBezTo>
                <a:cubicBezTo>
                  <a:pt x="442" y="364"/>
                  <a:pt x="441" y="364"/>
                  <a:pt x="442" y="364"/>
                </a:cubicBezTo>
                <a:cubicBezTo>
                  <a:pt x="443" y="363"/>
                  <a:pt x="445" y="364"/>
                  <a:pt x="446" y="363"/>
                </a:cubicBezTo>
                <a:cubicBezTo>
                  <a:pt x="447" y="363"/>
                  <a:pt x="447" y="363"/>
                  <a:pt x="448" y="363"/>
                </a:cubicBezTo>
                <a:cubicBezTo>
                  <a:pt x="448" y="363"/>
                  <a:pt x="448" y="362"/>
                  <a:pt x="448" y="362"/>
                </a:cubicBezTo>
                <a:cubicBezTo>
                  <a:pt x="449" y="361"/>
                  <a:pt x="449" y="361"/>
                  <a:pt x="449" y="360"/>
                </a:cubicBezTo>
                <a:cubicBezTo>
                  <a:pt x="449" y="360"/>
                  <a:pt x="449" y="359"/>
                  <a:pt x="449" y="359"/>
                </a:cubicBezTo>
                <a:cubicBezTo>
                  <a:pt x="449" y="358"/>
                  <a:pt x="449" y="358"/>
                  <a:pt x="449" y="357"/>
                </a:cubicBezTo>
                <a:cubicBezTo>
                  <a:pt x="448" y="357"/>
                  <a:pt x="448" y="356"/>
                  <a:pt x="447" y="355"/>
                </a:cubicBezTo>
                <a:cubicBezTo>
                  <a:pt x="447" y="355"/>
                  <a:pt x="446" y="355"/>
                  <a:pt x="446" y="354"/>
                </a:cubicBezTo>
                <a:cubicBezTo>
                  <a:pt x="445" y="354"/>
                  <a:pt x="445" y="354"/>
                  <a:pt x="445" y="354"/>
                </a:cubicBezTo>
                <a:cubicBezTo>
                  <a:pt x="445" y="353"/>
                  <a:pt x="446" y="353"/>
                  <a:pt x="446" y="353"/>
                </a:cubicBezTo>
                <a:cubicBezTo>
                  <a:pt x="446" y="353"/>
                  <a:pt x="447" y="354"/>
                  <a:pt x="447" y="354"/>
                </a:cubicBezTo>
                <a:cubicBezTo>
                  <a:pt x="447" y="354"/>
                  <a:pt x="447" y="354"/>
                  <a:pt x="448" y="355"/>
                </a:cubicBezTo>
                <a:cubicBezTo>
                  <a:pt x="448" y="355"/>
                  <a:pt x="448" y="354"/>
                  <a:pt x="449" y="354"/>
                </a:cubicBezTo>
                <a:cubicBezTo>
                  <a:pt x="449" y="354"/>
                  <a:pt x="449" y="354"/>
                  <a:pt x="449" y="354"/>
                </a:cubicBezTo>
                <a:cubicBezTo>
                  <a:pt x="450" y="355"/>
                  <a:pt x="450" y="354"/>
                  <a:pt x="451" y="354"/>
                </a:cubicBezTo>
                <a:cubicBezTo>
                  <a:pt x="451" y="354"/>
                  <a:pt x="452" y="353"/>
                  <a:pt x="452" y="352"/>
                </a:cubicBezTo>
                <a:cubicBezTo>
                  <a:pt x="452" y="352"/>
                  <a:pt x="452" y="352"/>
                  <a:pt x="453" y="352"/>
                </a:cubicBezTo>
                <a:cubicBezTo>
                  <a:pt x="453" y="351"/>
                  <a:pt x="453" y="351"/>
                  <a:pt x="454" y="351"/>
                </a:cubicBezTo>
                <a:cubicBezTo>
                  <a:pt x="454" y="350"/>
                  <a:pt x="454" y="350"/>
                  <a:pt x="454" y="349"/>
                </a:cubicBezTo>
                <a:cubicBezTo>
                  <a:pt x="454" y="349"/>
                  <a:pt x="453" y="349"/>
                  <a:pt x="453" y="349"/>
                </a:cubicBezTo>
                <a:cubicBezTo>
                  <a:pt x="453" y="349"/>
                  <a:pt x="453" y="348"/>
                  <a:pt x="453" y="348"/>
                </a:cubicBezTo>
                <a:cubicBezTo>
                  <a:pt x="453" y="348"/>
                  <a:pt x="453" y="347"/>
                  <a:pt x="454" y="347"/>
                </a:cubicBezTo>
                <a:cubicBezTo>
                  <a:pt x="455" y="346"/>
                  <a:pt x="456" y="344"/>
                  <a:pt x="457" y="342"/>
                </a:cubicBezTo>
                <a:cubicBezTo>
                  <a:pt x="458" y="342"/>
                  <a:pt x="458" y="341"/>
                  <a:pt x="459" y="341"/>
                </a:cubicBezTo>
                <a:cubicBezTo>
                  <a:pt x="459" y="341"/>
                  <a:pt x="460" y="342"/>
                  <a:pt x="461" y="342"/>
                </a:cubicBezTo>
                <a:cubicBezTo>
                  <a:pt x="461" y="341"/>
                  <a:pt x="461" y="341"/>
                  <a:pt x="461" y="340"/>
                </a:cubicBezTo>
                <a:cubicBezTo>
                  <a:pt x="461" y="339"/>
                  <a:pt x="460" y="339"/>
                  <a:pt x="460" y="338"/>
                </a:cubicBezTo>
                <a:cubicBezTo>
                  <a:pt x="460" y="337"/>
                  <a:pt x="461" y="336"/>
                  <a:pt x="462" y="335"/>
                </a:cubicBezTo>
                <a:cubicBezTo>
                  <a:pt x="464" y="334"/>
                  <a:pt x="465" y="334"/>
                  <a:pt x="466" y="333"/>
                </a:cubicBezTo>
                <a:cubicBezTo>
                  <a:pt x="467" y="333"/>
                  <a:pt x="468" y="331"/>
                  <a:pt x="469" y="330"/>
                </a:cubicBezTo>
                <a:cubicBezTo>
                  <a:pt x="471" y="329"/>
                  <a:pt x="473" y="328"/>
                  <a:pt x="474" y="326"/>
                </a:cubicBezTo>
                <a:cubicBezTo>
                  <a:pt x="475" y="325"/>
                  <a:pt x="475" y="324"/>
                  <a:pt x="475" y="322"/>
                </a:cubicBezTo>
                <a:cubicBezTo>
                  <a:pt x="475" y="321"/>
                  <a:pt x="475" y="321"/>
                  <a:pt x="476" y="320"/>
                </a:cubicBezTo>
                <a:cubicBezTo>
                  <a:pt x="476" y="321"/>
                  <a:pt x="477" y="322"/>
                  <a:pt x="476" y="322"/>
                </a:cubicBezTo>
                <a:cubicBezTo>
                  <a:pt x="476" y="323"/>
                  <a:pt x="476" y="324"/>
                  <a:pt x="476" y="325"/>
                </a:cubicBezTo>
                <a:cubicBezTo>
                  <a:pt x="476" y="326"/>
                  <a:pt x="476" y="326"/>
                  <a:pt x="476" y="326"/>
                </a:cubicBezTo>
                <a:cubicBezTo>
                  <a:pt x="477" y="327"/>
                  <a:pt x="477" y="327"/>
                  <a:pt x="478" y="327"/>
                </a:cubicBezTo>
                <a:cubicBezTo>
                  <a:pt x="479" y="327"/>
                  <a:pt x="479" y="327"/>
                  <a:pt x="480" y="327"/>
                </a:cubicBezTo>
                <a:cubicBezTo>
                  <a:pt x="481" y="327"/>
                  <a:pt x="482" y="328"/>
                  <a:pt x="483" y="328"/>
                </a:cubicBezTo>
                <a:cubicBezTo>
                  <a:pt x="484" y="327"/>
                  <a:pt x="484" y="326"/>
                  <a:pt x="484" y="326"/>
                </a:cubicBezTo>
                <a:cubicBezTo>
                  <a:pt x="484" y="324"/>
                  <a:pt x="485" y="323"/>
                  <a:pt x="486" y="322"/>
                </a:cubicBezTo>
                <a:cubicBezTo>
                  <a:pt x="487" y="321"/>
                  <a:pt x="488" y="321"/>
                  <a:pt x="489" y="321"/>
                </a:cubicBezTo>
                <a:cubicBezTo>
                  <a:pt x="490" y="321"/>
                  <a:pt x="491" y="321"/>
                  <a:pt x="492" y="320"/>
                </a:cubicBezTo>
                <a:cubicBezTo>
                  <a:pt x="493" y="320"/>
                  <a:pt x="494" y="320"/>
                  <a:pt x="494" y="320"/>
                </a:cubicBezTo>
                <a:cubicBezTo>
                  <a:pt x="492" y="322"/>
                  <a:pt x="488" y="323"/>
                  <a:pt x="486" y="325"/>
                </a:cubicBezTo>
                <a:cubicBezTo>
                  <a:pt x="485" y="326"/>
                  <a:pt x="485" y="327"/>
                  <a:pt x="484" y="328"/>
                </a:cubicBezTo>
                <a:cubicBezTo>
                  <a:pt x="483" y="329"/>
                  <a:pt x="483" y="329"/>
                  <a:pt x="482" y="330"/>
                </a:cubicBezTo>
                <a:cubicBezTo>
                  <a:pt x="483" y="330"/>
                  <a:pt x="484" y="331"/>
                  <a:pt x="485" y="332"/>
                </a:cubicBezTo>
                <a:cubicBezTo>
                  <a:pt x="485" y="332"/>
                  <a:pt x="485" y="333"/>
                  <a:pt x="486" y="333"/>
                </a:cubicBezTo>
                <a:cubicBezTo>
                  <a:pt x="487" y="333"/>
                  <a:pt x="487" y="333"/>
                  <a:pt x="488" y="334"/>
                </a:cubicBezTo>
                <a:cubicBezTo>
                  <a:pt x="489" y="334"/>
                  <a:pt x="491" y="335"/>
                  <a:pt x="492" y="336"/>
                </a:cubicBezTo>
                <a:cubicBezTo>
                  <a:pt x="493" y="335"/>
                  <a:pt x="495" y="336"/>
                  <a:pt x="496" y="338"/>
                </a:cubicBezTo>
                <a:cubicBezTo>
                  <a:pt x="492" y="337"/>
                  <a:pt x="489" y="335"/>
                  <a:pt x="486" y="335"/>
                </a:cubicBezTo>
                <a:cubicBezTo>
                  <a:pt x="485" y="335"/>
                  <a:pt x="483" y="336"/>
                  <a:pt x="482" y="336"/>
                </a:cubicBezTo>
                <a:cubicBezTo>
                  <a:pt x="481" y="336"/>
                  <a:pt x="480" y="336"/>
                  <a:pt x="479" y="335"/>
                </a:cubicBezTo>
                <a:cubicBezTo>
                  <a:pt x="479" y="334"/>
                  <a:pt x="479" y="334"/>
                  <a:pt x="478" y="333"/>
                </a:cubicBezTo>
                <a:cubicBezTo>
                  <a:pt x="478" y="333"/>
                  <a:pt x="477" y="333"/>
                  <a:pt x="477" y="334"/>
                </a:cubicBezTo>
                <a:cubicBezTo>
                  <a:pt x="475" y="335"/>
                  <a:pt x="474" y="336"/>
                  <a:pt x="473" y="337"/>
                </a:cubicBezTo>
                <a:cubicBezTo>
                  <a:pt x="472" y="337"/>
                  <a:pt x="471" y="338"/>
                  <a:pt x="470" y="339"/>
                </a:cubicBezTo>
                <a:cubicBezTo>
                  <a:pt x="469" y="340"/>
                  <a:pt x="467" y="340"/>
                  <a:pt x="466" y="342"/>
                </a:cubicBezTo>
                <a:cubicBezTo>
                  <a:pt x="465" y="342"/>
                  <a:pt x="465" y="343"/>
                  <a:pt x="465" y="343"/>
                </a:cubicBezTo>
                <a:cubicBezTo>
                  <a:pt x="465" y="343"/>
                  <a:pt x="465" y="344"/>
                  <a:pt x="465" y="344"/>
                </a:cubicBezTo>
                <a:cubicBezTo>
                  <a:pt x="466" y="345"/>
                  <a:pt x="466" y="346"/>
                  <a:pt x="467" y="347"/>
                </a:cubicBezTo>
                <a:cubicBezTo>
                  <a:pt x="467" y="348"/>
                  <a:pt x="467" y="349"/>
                  <a:pt x="466" y="350"/>
                </a:cubicBezTo>
                <a:cubicBezTo>
                  <a:pt x="466" y="350"/>
                  <a:pt x="466" y="350"/>
                  <a:pt x="466" y="351"/>
                </a:cubicBezTo>
                <a:cubicBezTo>
                  <a:pt x="465" y="351"/>
                  <a:pt x="465" y="352"/>
                  <a:pt x="465" y="353"/>
                </a:cubicBezTo>
                <a:cubicBezTo>
                  <a:pt x="465" y="354"/>
                  <a:pt x="464" y="355"/>
                  <a:pt x="463" y="356"/>
                </a:cubicBezTo>
                <a:cubicBezTo>
                  <a:pt x="462" y="358"/>
                  <a:pt x="461" y="359"/>
                  <a:pt x="461" y="361"/>
                </a:cubicBezTo>
                <a:cubicBezTo>
                  <a:pt x="461" y="362"/>
                  <a:pt x="460" y="363"/>
                  <a:pt x="460" y="364"/>
                </a:cubicBezTo>
                <a:cubicBezTo>
                  <a:pt x="460" y="364"/>
                  <a:pt x="459" y="365"/>
                  <a:pt x="459" y="366"/>
                </a:cubicBezTo>
                <a:cubicBezTo>
                  <a:pt x="459" y="366"/>
                  <a:pt x="460" y="367"/>
                  <a:pt x="460" y="368"/>
                </a:cubicBezTo>
                <a:cubicBezTo>
                  <a:pt x="461" y="368"/>
                  <a:pt x="462" y="369"/>
                  <a:pt x="462" y="369"/>
                </a:cubicBezTo>
                <a:cubicBezTo>
                  <a:pt x="463" y="369"/>
                  <a:pt x="463" y="369"/>
                  <a:pt x="463" y="369"/>
                </a:cubicBezTo>
                <a:cubicBezTo>
                  <a:pt x="464" y="369"/>
                  <a:pt x="465" y="369"/>
                  <a:pt x="465" y="369"/>
                </a:cubicBezTo>
                <a:cubicBezTo>
                  <a:pt x="466" y="368"/>
                  <a:pt x="467" y="368"/>
                  <a:pt x="468" y="367"/>
                </a:cubicBezTo>
                <a:cubicBezTo>
                  <a:pt x="468" y="366"/>
                  <a:pt x="469" y="366"/>
                  <a:pt x="469" y="366"/>
                </a:cubicBezTo>
                <a:cubicBezTo>
                  <a:pt x="469" y="366"/>
                  <a:pt x="470" y="366"/>
                  <a:pt x="470" y="366"/>
                </a:cubicBezTo>
                <a:cubicBezTo>
                  <a:pt x="469" y="367"/>
                  <a:pt x="469" y="368"/>
                  <a:pt x="468" y="369"/>
                </a:cubicBezTo>
                <a:cubicBezTo>
                  <a:pt x="468" y="369"/>
                  <a:pt x="468" y="369"/>
                  <a:pt x="468" y="369"/>
                </a:cubicBezTo>
                <a:cubicBezTo>
                  <a:pt x="467" y="369"/>
                  <a:pt x="467" y="369"/>
                  <a:pt x="468" y="370"/>
                </a:cubicBezTo>
                <a:cubicBezTo>
                  <a:pt x="468" y="370"/>
                  <a:pt x="468" y="370"/>
                  <a:pt x="468" y="370"/>
                </a:cubicBezTo>
                <a:cubicBezTo>
                  <a:pt x="468" y="370"/>
                  <a:pt x="468" y="370"/>
                  <a:pt x="469" y="371"/>
                </a:cubicBezTo>
                <a:cubicBezTo>
                  <a:pt x="468" y="371"/>
                  <a:pt x="467" y="371"/>
                  <a:pt x="467" y="371"/>
                </a:cubicBezTo>
                <a:cubicBezTo>
                  <a:pt x="467" y="371"/>
                  <a:pt x="466" y="371"/>
                  <a:pt x="466" y="371"/>
                </a:cubicBezTo>
                <a:cubicBezTo>
                  <a:pt x="466" y="372"/>
                  <a:pt x="465" y="371"/>
                  <a:pt x="465" y="372"/>
                </a:cubicBezTo>
                <a:cubicBezTo>
                  <a:pt x="465" y="372"/>
                  <a:pt x="464" y="372"/>
                  <a:pt x="464" y="372"/>
                </a:cubicBezTo>
                <a:cubicBezTo>
                  <a:pt x="464" y="373"/>
                  <a:pt x="465" y="373"/>
                  <a:pt x="465" y="373"/>
                </a:cubicBezTo>
                <a:cubicBezTo>
                  <a:pt x="465" y="374"/>
                  <a:pt x="465" y="374"/>
                  <a:pt x="464" y="374"/>
                </a:cubicBezTo>
                <a:cubicBezTo>
                  <a:pt x="464" y="374"/>
                  <a:pt x="463" y="374"/>
                  <a:pt x="462" y="374"/>
                </a:cubicBezTo>
                <a:cubicBezTo>
                  <a:pt x="462" y="374"/>
                  <a:pt x="461" y="374"/>
                  <a:pt x="461" y="374"/>
                </a:cubicBezTo>
                <a:cubicBezTo>
                  <a:pt x="461" y="375"/>
                  <a:pt x="460" y="374"/>
                  <a:pt x="460" y="374"/>
                </a:cubicBezTo>
                <a:cubicBezTo>
                  <a:pt x="460" y="374"/>
                  <a:pt x="459" y="375"/>
                  <a:pt x="459" y="375"/>
                </a:cubicBezTo>
                <a:cubicBezTo>
                  <a:pt x="459" y="375"/>
                  <a:pt x="459" y="375"/>
                  <a:pt x="459" y="375"/>
                </a:cubicBezTo>
                <a:cubicBezTo>
                  <a:pt x="459" y="375"/>
                  <a:pt x="459" y="376"/>
                  <a:pt x="459" y="376"/>
                </a:cubicBezTo>
                <a:cubicBezTo>
                  <a:pt x="459" y="376"/>
                  <a:pt x="459" y="376"/>
                  <a:pt x="459" y="376"/>
                </a:cubicBezTo>
                <a:cubicBezTo>
                  <a:pt x="459" y="376"/>
                  <a:pt x="459" y="376"/>
                  <a:pt x="459" y="376"/>
                </a:cubicBezTo>
                <a:cubicBezTo>
                  <a:pt x="459" y="377"/>
                  <a:pt x="459" y="377"/>
                  <a:pt x="458" y="377"/>
                </a:cubicBezTo>
                <a:cubicBezTo>
                  <a:pt x="458" y="377"/>
                  <a:pt x="458" y="377"/>
                  <a:pt x="457" y="377"/>
                </a:cubicBezTo>
                <a:cubicBezTo>
                  <a:pt x="457" y="377"/>
                  <a:pt x="457" y="378"/>
                  <a:pt x="457" y="378"/>
                </a:cubicBezTo>
                <a:cubicBezTo>
                  <a:pt x="458" y="379"/>
                  <a:pt x="458" y="379"/>
                  <a:pt x="458" y="379"/>
                </a:cubicBezTo>
                <a:cubicBezTo>
                  <a:pt x="458" y="380"/>
                  <a:pt x="458" y="380"/>
                  <a:pt x="458" y="380"/>
                </a:cubicBezTo>
                <a:cubicBezTo>
                  <a:pt x="458" y="380"/>
                  <a:pt x="459" y="381"/>
                  <a:pt x="460" y="380"/>
                </a:cubicBezTo>
                <a:cubicBezTo>
                  <a:pt x="460" y="380"/>
                  <a:pt x="460" y="380"/>
                  <a:pt x="460" y="380"/>
                </a:cubicBezTo>
                <a:cubicBezTo>
                  <a:pt x="460" y="381"/>
                  <a:pt x="460" y="381"/>
                  <a:pt x="460" y="381"/>
                </a:cubicBezTo>
                <a:cubicBezTo>
                  <a:pt x="460" y="381"/>
                  <a:pt x="461" y="381"/>
                  <a:pt x="461" y="381"/>
                </a:cubicBezTo>
                <a:cubicBezTo>
                  <a:pt x="462" y="381"/>
                  <a:pt x="462" y="381"/>
                  <a:pt x="462" y="381"/>
                </a:cubicBezTo>
                <a:cubicBezTo>
                  <a:pt x="463" y="381"/>
                  <a:pt x="463" y="380"/>
                  <a:pt x="463" y="380"/>
                </a:cubicBezTo>
                <a:cubicBezTo>
                  <a:pt x="463" y="380"/>
                  <a:pt x="463" y="380"/>
                  <a:pt x="463" y="380"/>
                </a:cubicBezTo>
                <a:cubicBezTo>
                  <a:pt x="464" y="380"/>
                  <a:pt x="464" y="380"/>
                  <a:pt x="465" y="380"/>
                </a:cubicBezTo>
                <a:cubicBezTo>
                  <a:pt x="465" y="379"/>
                  <a:pt x="466" y="380"/>
                  <a:pt x="466" y="380"/>
                </a:cubicBezTo>
                <a:cubicBezTo>
                  <a:pt x="466" y="380"/>
                  <a:pt x="467" y="381"/>
                  <a:pt x="467" y="381"/>
                </a:cubicBezTo>
                <a:cubicBezTo>
                  <a:pt x="467" y="381"/>
                  <a:pt x="468" y="381"/>
                  <a:pt x="468" y="381"/>
                </a:cubicBezTo>
                <a:cubicBezTo>
                  <a:pt x="469" y="380"/>
                  <a:pt x="469" y="380"/>
                  <a:pt x="469" y="379"/>
                </a:cubicBezTo>
                <a:cubicBezTo>
                  <a:pt x="469" y="379"/>
                  <a:pt x="469" y="379"/>
                  <a:pt x="469" y="379"/>
                </a:cubicBezTo>
                <a:cubicBezTo>
                  <a:pt x="469" y="379"/>
                  <a:pt x="469" y="379"/>
                  <a:pt x="469" y="379"/>
                </a:cubicBezTo>
                <a:cubicBezTo>
                  <a:pt x="468" y="379"/>
                  <a:pt x="468" y="378"/>
                  <a:pt x="467" y="378"/>
                </a:cubicBezTo>
                <a:cubicBezTo>
                  <a:pt x="467" y="378"/>
                  <a:pt x="467" y="378"/>
                  <a:pt x="466" y="378"/>
                </a:cubicBezTo>
                <a:cubicBezTo>
                  <a:pt x="466" y="378"/>
                  <a:pt x="466" y="378"/>
                  <a:pt x="466" y="378"/>
                </a:cubicBezTo>
                <a:cubicBezTo>
                  <a:pt x="468" y="378"/>
                  <a:pt x="469" y="378"/>
                  <a:pt x="470" y="379"/>
                </a:cubicBezTo>
                <a:cubicBezTo>
                  <a:pt x="470" y="379"/>
                  <a:pt x="470" y="379"/>
                  <a:pt x="470" y="379"/>
                </a:cubicBezTo>
                <a:cubicBezTo>
                  <a:pt x="470" y="379"/>
                  <a:pt x="470" y="380"/>
                  <a:pt x="470" y="380"/>
                </a:cubicBezTo>
                <a:cubicBezTo>
                  <a:pt x="470" y="380"/>
                  <a:pt x="470" y="380"/>
                  <a:pt x="470" y="380"/>
                </a:cubicBezTo>
                <a:cubicBezTo>
                  <a:pt x="471" y="380"/>
                  <a:pt x="471" y="380"/>
                  <a:pt x="471" y="380"/>
                </a:cubicBezTo>
                <a:cubicBezTo>
                  <a:pt x="471" y="379"/>
                  <a:pt x="472" y="379"/>
                  <a:pt x="471" y="379"/>
                </a:cubicBezTo>
                <a:cubicBezTo>
                  <a:pt x="471" y="378"/>
                  <a:pt x="471" y="378"/>
                  <a:pt x="471" y="378"/>
                </a:cubicBezTo>
                <a:cubicBezTo>
                  <a:pt x="471" y="378"/>
                  <a:pt x="471" y="378"/>
                  <a:pt x="471" y="377"/>
                </a:cubicBezTo>
                <a:cubicBezTo>
                  <a:pt x="472" y="377"/>
                  <a:pt x="472" y="377"/>
                  <a:pt x="472" y="377"/>
                </a:cubicBezTo>
                <a:cubicBezTo>
                  <a:pt x="473" y="377"/>
                  <a:pt x="473" y="376"/>
                  <a:pt x="473" y="376"/>
                </a:cubicBezTo>
                <a:cubicBezTo>
                  <a:pt x="473" y="375"/>
                  <a:pt x="473" y="375"/>
                  <a:pt x="474" y="375"/>
                </a:cubicBezTo>
                <a:cubicBezTo>
                  <a:pt x="474" y="375"/>
                  <a:pt x="474" y="375"/>
                  <a:pt x="475" y="374"/>
                </a:cubicBezTo>
                <a:cubicBezTo>
                  <a:pt x="475" y="374"/>
                  <a:pt x="475" y="374"/>
                  <a:pt x="475" y="373"/>
                </a:cubicBezTo>
                <a:cubicBezTo>
                  <a:pt x="475" y="373"/>
                  <a:pt x="475" y="372"/>
                  <a:pt x="475" y="372"/>
                </a:cubicBezTo>
                <a:cubicBezTo>
                  <a:pt x="476" y="371"/>
                  <a:pt x="476" y="371"/>
                  <a:pt x="477" y="371"/>
                </a:cubicBezTo>
                <a:cubicBezTo>
                  <a:pt x="477" y="372"/>
                  <a:pt x="476" y="372"/>
                  <a:pt x="476" y="372"/>
                </a:cubicBezTo>
                <a:cubicBezTo>
                  <a:pt x="476" y="373"/>
                  <a:pt x="477" y="373"/>
                  <a:pt x="477" y="373"/>
                </a:cubicBezTo>
                <a:cubicBezTo>
                  <a:pt x="477" y="373"/>
                  <a:pt x="477" y="372"/>
                  <a:pt x="477" y="372"/>
                </a:cubicBezTo>
                <a:cubicBezTo>
                  <a:pt x="477" y="372"/>
                  <a:pt x="478" y="371"/>
                  <a:pt x="478" y="371"/>
                </a:cubicBezTo>
                <a:cubicBezTo>
                  <a:pt x="479" y="370"/>
                  <a:pt x="479" y="369"/>
                  <a:pt x="479" y="369"/>
                </a:cubicBezTo>
                <a:cubicBezTo>
                  <a:pt x="479" y="368"/>
                  <a:pt x="480" y="368"/>
                  <a:pt x="480" y="368"/>
                </a:cubicBezTo>
                <a:cubicBezTo>
                  <a:pt x="480" y="370"/>
                  <a:pt x="479" y="371"/>
                  <a:pt x="478" y="373"/>
                </a:cubicBezTo>
                <a:cubicBezTo>
                  <a:pt x="478" y="373"/>
                  <a:pt x="478" y="374"/>
                  <a:pt x="478" y="374"/>
                </a:cubicBezTo>
                <a:cubicBezTo>
                  <a:pt x="478" y="375"/>
                  <a:pt x="479" y="375"/>
                  <a:pt x="479" y="375"/>
                </a:cubicBezTo>
                <a:cubicBezTo>
                  <a:pt x="479" y="375"/>
                  <a:pt x="479" y="374"/>
                  <a:pt x="479" y="373"/>
                </a:cubicBezTo>
                <a:cubicBezTo>
                  <a:pt x="479" y="373"/>
                  <a:pt x="479" y="373"/>
                  <a:pt x="480" y="373"/>
                </a:cubicBezTo>
                <a:cubicBezTo>
                  <a:pt x="480" y="372"/>
                  <a:pt x="480" y="372"/>
                  <a:pt x="481" y="372"/>
                </a:cubicBezTo>
                <a:cubicBezTo>
                  <a:pt x="481" y="372"/>
                  <a:pt x="481" y="372"/>
                  <a:pt x="481" y="371"/>
                </a:cubicBezTo>
                <a:cubicBezTo>
                  <a:pt x="481" y="371"/>
                  <a:pt x="481" y="371"/>
                  <a:pt x="481" y="371"/>
                </a:cubicBezTo>
                <a:cubicBezTo>
                  <a:pt x="481" y="370"/>
                  <a:pt x="482" y="370"/>
                  <a:pt x="482" y="370"/>
                </a:cubicBezTo>
                <a:cubicBezTo>
                  <a:pt x="482" y="369"/>
                  <a:pt x="483" y="369"/>
                  <a:pt x="483" y="369"/>
                </a:cubicBezTo>
                <a:cubicBezTo>
                  <a:pt x="483" y="369"/>
                  <a:pt x="484" y="369"/>
                  <a:pt x="484" y="369"/>
                </a:cubicBezTo>
                <a:cubicBezTo>
                  <a:pt x="484" y="368"/>
                  <a:pt x="484" y="368"/>
                  <a:pt x="483" y="368"/>
                </a:cubicBezTo>
                <a:cubicBezTo>
                  <a:pt x="484" y="368"/>
                  <a:pt x="484" y="367"/>
                  <a:pt x="483" y="367"/>
                </a:cubicBezTo>
                <a:cubicBezTo>
                  <a:pt x="483" y="367"/>
                  <a:pt x="483" y="367"/>
                  <a:pt x="483" y="366"/>
                </a:cubicBezTo>
                <a:cubicBezTo>
                  <a:pt x="482" y="366"/>
                  <a:pt x="483" y="365"/>
                  <a:pt x="483" y="365"/>
                </a:cubicBezTo>
                <a:cubicBezTo>
                  <a:pt x="484" y="365"/>
                  <a:pt x="484" y="366"/>
                  <a:pt x="484" y="366"/>
                </a:cubicBezTo>
                <a:cubicBezTo>
                  <a:pt x="484" y="367"/>
                  <a:pt x="485" y="367"/>
                  <a:pt x="485" y="367"/>
                </a:cubicBezTo>
                <a:cubicBezTo>
                  <a:pt x="485" y="367"/>
                  <a:pt x="485" y="367"/>
                  <a:pt x="485" y="367"/>
                </a:cubicBezTo>
                <a:cubicBezTo>
                  <a:pt x="485" y="368"/>
                  <a:pt x="486" y="368"/>
                  <a:pt x="486" y="367"/>
                </a:cubicBezTo>
                <a:cubicBezTo>
                  <a:pt x="487" y="367"/>
                  <a:pt x="486" y="366"/>
                  <a:pt x="486" y="366"/>
                </a:cubicBezTo>
                <a:cubicBezTo>
                  <a:pt x="486" y="366"/>
                  <a:pt x="486" y="365"/>
                  <a:pt x="486" y="365"/>
                </a:cubicBezTo>
                <a:cubicBezTo>
                  <a:pt x="486" y="365"/>
                  <a:pt x="486" y="365"/>
                  <a:pt x="486" y="365"/>
                </a:cubicBezTo>
                <a:cubicBezTo>
                  <a:pt x="486" y="364"/>
                  <a:pt x="486" y="364"/>
                  <a:pt x="486" y="363"/>
                </a:cubicBezTo>
                <a:cubicBezTo>
                  <a:pt x="486" y="363"/>
                  <a:pt x="486" y="362"/>
                  <a:pt x="486" y="362"/>
                </a:cubicBezTo>
                <a:cubicBezTo>
                  <a:pt x="487" y="361"/>
                  <a:pt x="487" y="362"/>
                  <a:pt x="487" y="362"/>
                </a:cubicBezTo>
                <a:cubicBezTo>
                  <a:pt x="487" y="363"/>
                  <a:pt x="487" y="363"/>
                  <a:pt x="487" y="364"/>
                </a:cubicBezTo>
                <a:cubicBezTo>
                  <a:pt x="487" y="364"/>
                  <a:pt x="487" y="365"/>
                  <a:pt x="487" y="365"/>
                </a:cubicBezTo>
                <a:cubicBezTo>
                  <a:pt x="488" y="366"/>
                  <a:pt x="488" y="366"/>
                  <a:pt x="489" y="366"/>
                </a:cubicBezTo>
                <a:cubicBezTo>
                  <a:pt x="489" y="365"/>
                  <a:pt x="488" y="365"/>
                  <a:pt x="488" y="364"/>
                </a:cubicBezTo>
                <a:cubicBezTo>
                  <a:pt x="488" y="364"/>
                  <a:pt x="488" y="363"/>
                  <a:pt x="488" y="363"/>
                </a:cubicBezTo>
                <a:cubicBezTo>
                  <a:pt x="488" y="363"/>
                  <a:pt x="488" y="363"/>
                  <a:pt x="488" y="362"/>
                </a:cubicBezTo>
                <a:cubicBezTo>
                  <a:pt x="488" y="362"/>
                  <a:pt x="489" y="362"/>
                  <a:pt x="489" y="362"/>
                </a:cubicBezTo>
                <a:cubicBezTo>
                  <a:pt x="489" y="362"/>
                  <a:pt x="489" y="362"/>
                  <a:pt x="489" y="362"/>
                </a:cubicBezTo>
                <a:cubicBezTo>
                  <a:pt x="490" y="362"/>
                  <a:pt x="490" y="362"/>
                  <a:pt x="490" y="361"/>
                </a:cubicBezTo>
                <a:cubicBezTo>
                  <a:pt x="490" y="361"/>
                  <a:pt x="490" y="361"/>
                  <a:pt x="490" y="360"/>
                </a:cubicBezTo>
                <a:cubicBezTo>
                  <a:pt x="490" y="360"/>
                  <a:pt x="490" y="359"/>
                  <a:pt x="490" y="359"/>
                </a:cubicBezTo>
                <a:cubicBezTo>
                  <a:pt x="490" y="358"/>
                  <a:pt x="490" y="358"/>
                  <a:pt x="490" y="358"/>
                </a:cubicBezTo>
                <a:cubicBezTo>
                  <a:pt x="490" y="358"/>
                  <a:pt x="491" y="358"/>
                  <a:pt x="491" y="358"/>
                </a:cubicBezTo>
                <a:cubicBezTo>
                  <a:pt x="491" y="358"/>
                  <a:pt x="491" y="358"/>
                  <a:pt x="491" y="358"/>
                </a:cubicBezTo>
                <a:cubicBezTo>
                  <a:pt x="491" y="359"/>
                  <a:pt x="491" y="360"/>
                  <a:pt x="491" y="361"/>
                </a:cubicBezTo>
                <a:cubicBezTo>
                  <a:pt x="491" y="361"/>
                  <a:pt x="491" y="362"/>
                  <a:pt x="492" y="362"/>
                </a:cubicBezTo>
                <a:cubicBezTo>
                  <a:pt x="492" y="363"/>
                  <a:pt x="492" y="363"/>
                  <a:pt x="493" y="363"/>
                </a:cubicBezTo>
                <a:cubicBezTo>
                  <a:pt x="493" y="362"/>
                  <a:pt x="493" y="361"/>
                  <a:pt x="493" y="360"/>
                </a:cubicBezTo>
                <a:cubicBezTo>
                  <a:pt x="493" y="360"/>
                  <a:pt x="493" y="360"/>
                  <a:pt x="493" y="359"/>
                </a:cubicBezTo>
                <a:cubicBezTo>
                  <a:pt x="494" y="359"/>
                  <a:pt x="494" y="359"/>
                  <a:pt x="494" y="359"/>
                </a:cubicBezTo>
                <a:cubicBezTo>
                  <a:pt x="494" y="360"/>
                  <a:pt x="494" y="360"/>
                  <a:pt x="494" y="361"/>
                </a:cubicBezTo>
                <a:cubicBezTo>
                  <a:pt x="494" y="362"/>
                  <a:pt x="496" y="362"/>
                  <a:pt x="497" y="361"/>
                </a:cubicBezTo>
                <a:cubicBezTo>
                  <a:pt x="497" y="362"/>
                  <a:pt x="497" y="362"/>
                  <a:pt x="497" y="362"/>
                </a:cubicBezTo>
                <a:cubicBezTo>
                  <a:pt x="498" y="362"/>
                  <a:pt x="498" y="362"/>
                  <a:pt x="499" y="362"/>
                </a:cubicBezTo>
                <a:cubicBezTo>
                  <a:pt x="499" y="362"/>
                  <a:pt x="499" y="361"/>
                  <a:pt x="499" y="361"/>
                </a:cubicBezTo>
                <a:cubicBezTo>
                  <a:pt x="500" y="361"/>
                  <a:pt x="500" y="362"/>
                  <a:pt x="500" y="362"/>
                </a:cubicBezTo>
                <a:cubicBezTo>
                  <a:pt x="500" y="363"/>
                  <a:pt x="501" y="362"/>
                  <a:pt x="501" y="362"/>
                </a:cubicBezTo>
                <a:cubicBezTo>
                  <a:pt x="501" y="361"/>
                  <a:pt x="501" y="361"/>
                  <a:pt x="501" y="360"/>
                </a:cubicBezTo>
                <a:cubicBezTo>
                  <a:pt x="501" y="360"/>
                  <a:pt x="501" y="359"/>
                  <a:pt x="502" y="359"/>
                </a:cubicBezTo>
                <a:cubicBezTo>
                  <a:pt x="502" y="360"/>
                  <a:pt x="502" y="360"/>
                  <a:pt x="502" y="361"/>
                </a:cubicBezTo>
                <a:cubicBezTo>
                  <a:pt x="502" y="361"/>
                  <a:pt x="502" y="361"/>
                  <a:pt x="502" y="361"/>
                </a:cubicBezTo>
                <a:cubicBezTo>
                  <a:pt x="503" y="362"/>
                  <a:pt x="504" y="362"/>
                  <a:pt x="504" y="361"/>
                </a:cubicBezTo>
                <a:cubicBezTo>
                  <a:pt x="504" y="360"/>
                  <a:pt x="504" y="360"/>
                  <a:pt x="504" y="359"/>
                </a:cubicBezTo>
                <a:cubicBezTo>
                  <a:pt x="503" y="359"/>
                  <a:pt x="503" y="358"/>
                  <a:pt x="503" y="357"/>
                </a:cubicBezTo>
                <a:cubicBezTo>
                  <a:pt x="504" y="357"/>
                  <a:pt x="504" y="356"/>
                  <a:pt x="504" y="356"/>
                </a:cubicBezTo>
                <a:cubicBezTo>
                  <a:pt x="505" y="357"/>
                  <a:pt x="505" y="357"/>
                  <a:pt x="505" y="358"/>
                </a:cubicBezTo>
                <a:cubicBezTo>
                  <a:pt x="505" y="358"/>
                  <a:pt x="506" y="358"/>
                  <a:pt x="506" y="358"/>
                </a:cubicBezTo>
                <a:cubicBezTo>
                  <a:pt x="506" y="358"/>
                  <a:pt x="505" y="359"/>
                  <a:pt x="505" y="359"/>
                </a:cubicBezTo>
                <a:cubicBezTo>
                  <a:pt x="506" y="359"/>
                  <a:pt x="507" y="359"/>
                  <a:pt x="507" y="360"/>
                </a:cubicBezTo>
                <a:cubicBezTo>
                  <a:pt x="507" y="360"/>
                  <a:pt x="507" y="360"/>
                  <a:pt x="507" y="360"/>
                </a:cubicBezTo>
                <a:cubicBezTo>
                  <a:pt x="507" y="360"/>
                  <a:pt x="508" y="359"/>
                  <a:pt x="508" y="359"/>
                </a:cubicBezTo>
                <a:cubicBezTo>
                  <a:pt x="508" y="359"/>
                  <a:pt x="508" y="358"/>
                  <a:pt x="508" y="358"/>
                </a:cubicBezTo>
                <a:cubicBezTo>
                  <a:pt x="509" y="358"/>
                  <a:pt x="509" y="358"/>
                  <a:pt x="510" y="358"/>
                </a:cubicBezTo>
                <a:cubicBezTo>
                  <a:pt x="510" y="357"/>
                  <a:pt x="510" y="357"/>
                  <a:pt x="509" y="357"/>
                </a:cubicBezTo>
                <a:cubicBezTo>
                  <a:pt x="509" y="357"/>
                  <a:pt x="509" y="357"/>
                  <a:pt x="509" y="357"/>
                </a:cubicBezTo>
                <a:cubicBezTo>
                  <a:pt x="509" y="357"/>
                  <a:pt x="508" y="357"/>
                  <a:pt x="508" y="357"/>
                </a:cubicBezTo>
                <a:cubicBezTo>
                  <a:pt x="508" y="357"/>
                  <a:pt x="508" y="358"/>
                  <a:pt x="507" y="358"/>
                </a:cubicBezTo>
                <a:cubicBezTo>
                  <a:pt x="507" y="358"/>
                  <a:pt x="507" y="357"/>
                  <a:pt x="507" y="357"/>
                </a:cubicBezTo>
                <a:cubicBezTo>
                  <a:pt x="507" y="357"/>
                  <a:pt x="507" y="356"/>
                  <a:pt x="507" y="356"/>
                </a:cubicBezTo>
                <a:cubicBezTo>
                  <a:pt x="507" y="356"/>
                  <a:pt x="507" y="356"/>
                  <a:pt x="507" y="355"/>
                </a:cubicBezTo>
                <a:cubicBezTo>
                  <a:pt x="507" y="355"/>
                  <a:pt x="508" y="355"/>
                  <a:pt x="508" y="355"/>
                </a:cubicBezTo>
                <a:cubicBezTo>
                  <a:pt x="508" y="355"/>
                  <a:pt x="507" y="355"/>
                  <a:pt x="507" y="355"/>
                </a:cubicBezTo>
                <a:cubicBezTo>
                  <a:pt x="507" y="355"/>
                  <a:pt x="507" y="355"/>
                  <a:pt x="507" y="355"/>
                </a:cubicBezTo>
                <a:cubicBezTo>
                  <a:pt x="506" y="355"/>
                  <a:pt x="506" y="354"/>
                  <a:pt x="506" y="354"/>
                </a:cubicBezTo>
                <a:cubicBezTo>
                  <a:pt x="505" y="354"/>
                  <a:pt x="505" y="354"/>
                  <a:pt x="505" y="354"/>
                </a:cubicBezTo>
                <a:cubicBezTo>
                  <a:pt x="505" y="355"/>
                  <a:pt x="504" y="355"/>
                  <a:pt x="504" y="355"/>
                </a:cubicBezTo>
                <a:cubicBezTo>
                  <a:pt x="504" y="355"/>
                  <a:pt x="504" y="354"/>
                  <a:pt x="504" y="354"/>
                </a:cubicBezTo>
                <a:cubicBezTo>
                  <a:pt x="505" y="354"/>
                  <a:pt x="505" y="353"/>
                  <a:pt x="504" y="353"/>
                </a:cubicBezTo>
                <a:cubicBezTo>
                  <a:pt x="504" y="353"/>
                  <a:pt x="504" y="353"/>
                  <a:pt x="504" y="353"/>
                </a:cubicBezTo>
                <a:cubicBezTo>
                  <a:pt x="504" y="353"/>
                  <a:pt x="504" y="353"/>
                  <a:pt x="504" y="353"/>
                </a:cubicBezTo>
                <a:cubicBezTo>
                  <a:pt x="504" y="353"/>
                  <a:pt x="505" y="353"/>
                  <a:pt x="506" y="353"/>
                </a:cubicBezTo>
                <a:cubicBezTo>
                  <a:pt x="506" y="353"/>
                  <a:pt x="507" y="352"/>
                  <a:pt x="507" y="352"/>
                </a:cubicBezTo>
                <a:cubicBezTo>
                  <a:pt x="508" y="351"/>
                  <a:pt x="508" y="351"/>
                  <a:pt x="508" y="351"/>
                </a:cubicBezTo>
                <a:cubicBezTo>
                  <a:pt x="508" y="350"/>
                  <a:pt x="509" y="350"/>
                  <a:pt x="509" y="350"/>
                </a:cubicBezTo>
                <a:cubicBezTo>
                  <a:pt x="509" y="349"/>
                  <a:pt x="510" y="349"/>
                  <a:pt x="509" y="349"/>
                </a:cubicBezTo>
                <a:cubicBezTo>
                  <a:pt x="509" y="348"/>
                  <a:pt x="509" y="348"/>
                  <a:pt x="509" y="348"/>
                </a:cubicBezTo>
                <a:cubicBezTo>
                  <a:pt x="509" y="348"/>
                  <a:pt x="509" y="348"/>
                  <a:pt x="509" y="347"/>
                </a:cubicBezTo>
                <a:cubicBezTo>
                  <a:pt x="509" y="347"/>
                  <a:pt x="509" y="346"/>
                  <a:pt x="509" y="346"/>
                </a:cubicBezTo>
                <a:cubicBezTo>
                  <a:pt x="508" y="346"/>
                  <a:pt x="508" y="346"/>
                  <a:pt x="508" y="346"/>
                </a:cubicBezTo>
                <a:cubicBezTo>
                  <a:pt x="508" y="346"/>
                  <a:pt x="508" y="346"/>
                  <a:pt x="508" y="345"/>
                </a:cubicBezTo>
                <a:cubicBezTo>
                  <a:pt x="508" y="345"/>
                  <a:pt x="508" y="345"/>
                  <a:pt x="507" y="345"/>
                </a:cubicBezTo>
                <a:cubicBezTo>
                  <a:pt x="507" y="345"/>
                  <a:pt x="507" y="345"/>
                  <a:pt x="507" y="346"/>
                </a:cubicBezTo>
                <a:cubicBezTo>
                  <a:pt x="507" y="346"/>
                  <a:pt x="507" y="346"/>
                  <a:pt x="506" y="347"/>
                </a:cubicBezTo>
                <a:cubicBezTo>
                  <a:pt x="506" y="347"/>
                  <a:pt x="506" y="348"/>
                  <a:pt x="505" y="348"/>
                </a:cubicBezTo>
                <a:cubicBezTo>
                  <a:pt x="504" y="348"/>
                  <a:pt x="504" y="347"/>
                  <a:pt x="503" y="347"/>
                </a:cubicBezTo>
                <a:cubicBezTo>
                  <a:pt x="503" y="347"/>
                  <a:pt x="503" y="346"/>
                  <a:pt x="502" y="347"/>
                </a:cubicBezTo>
                <a:cubicBezTo>
                  <a:pt x="501" y="347"/>
                  <a:pt x="501" y="347"/>
                  <a:pt x="501" y="348"/>
                </a:cubicBezTo>
                <a:cubicBezTo>
                  <a:pt x="500" y="348"/>
                  <a:pt x="500" y="349"/>
                  <a:pt x="499" y="349"/>
                </a:cubicBezTo>
                <a:cubicBezTo>
                  <a:pt x="499" y="348"/>
                  <a:pt x="499" y="348"/>
                  <a:pt x="500" y="347"/>
                </a:cubicBezTo>
                <a:cubicBezTo>
                  <a:pt x="501" y="347"/>
                  <a:pt x="501" y="346"/>
                  <a:pt x="502" y="346"/>
                </a:cubicBezTo>
                <a:cubicBezTo>
                  <a:pt x="502" y="345"/>
                  <a:pt x="503" y="345"/>
                  <a:pt x="503" y="345"/>
                </a:cubicBezTo>
                <a:cubicBezTo>
                  <a:pt x="503" y="346"/>
                  <a:pt x="503" y="346"/>
                  <a:pt x="504" y="346"/>
                </a:cubicBezTo>
                <a:cubicBezTo>
                  <a:pt x="504" y="346"/>
                  <a:pt x="504" y="346"/>
                  <a:pt x="504" y="346"/>
                </a:cubicBezTo>
                <a:cubicBezTo>
                  <a:pt x="504" y="346"/>
                  <a:pt x="505" y="346"/>
                  <a:pt x="505" y="345"/>
                </a:cubicBezTo>
                <a:cubicBezTo>
                  <a:pt x="505" y="345"/>
                  <a:pt x="505" y="345"/>
                  <a:pt x="505" y="345"/>
                </a:cubicBezTo>
                <a:cubicBezTo>
                  <a:pt x="506" y="345"/>
                  <a:pt x="506" y="344"/>
                  <a:pt x="506" y="344"/>
                </a:cubicBezTo>
                <a:cubicBezTo>
                  <a:pt x="506" y="344"/>
                  <a:pt x="506" y="344"/>
                  <a:pt x="506" y="343"/>
                </a:cubicBezTo>
                <a:cubicBezTo>
                  <a:pt x="506" y="343"/>
                  <a:pt x="506" y="343"/>
                  <a:pt x="505" y="343"/>
                </a:cubicBezTo>
                <a:cubicBezTo>
                  <a:pt x="505" y="343"/>
                  <a:pt x="506" y="342"/>
                  <a:pt x="506" y="342"/>
                </a:cubicBezTo>
                <a:cubicBezTo>
                  <a:pt x="506" y="342"/>
                  <a:pt x="506" y="342"/>
                  <a:pt x="507" y="343"/>
                </a:cubicBezTo>
                <a:cubicBezTo>
                  <a:pt x="507" y="343"/>
                  <a:pt x="507" y="343"/>
                  <a:pt x="507" y="343"/>
                </a:cubicBezTo>
                <a:cubicBezTo>
                  <a:pt x="507" y="343"/>
                  <a:pt x="508" y="343"/>
                  <a:pt x="508" y="343"/>
                </a:cubicBezTo>
                <a:cubicBezTo>
                  <a:pt x="508" y="343"/>
                  <a:pt x="508" y="343"/>
                  <a:pt x="507" y="342"/>
                </a:cubicBezTo>
                <a:cubicBezTo>
                  <a:pt x="507" y="342"/>
                  <a:pt x="507" y="342"/>
                  <a:pt x="507" y="341"/>
                </a:cubicBezTo>
                <a:cubicBezTo>
                  <a:pt x="506" y="341"/>
                  <a:pt x="505" y="341"/>
                  <a:pt x="505" y="342"/>
                </a:cubicBezTo>
                <a:cubicBezTo>
                  <a:pt x="505" y="342"/>
                  <a:pt x="505" y="343"/>
                  <a:pt x="505" y="343"/>
                </a:cubicBezTo>
                <a:cubicBezTo>
                  <a:pt x="505" y="343"/>
                  <a:pt x="504" y="344"/>
                  <a:pt x="504" y="344"/>
                </a:cubicBezTo>
                <a:cubicBezTo>
                  <a:pt x="504" y="344"/>
                  <a:pt x="503" y="344"/>
                  <a:pt x="503" y="344"/>
                </a:cubicBezTo>
                <a:cubicBezTo>
                  <a:pt x="503" y="343"/>
                  <a:pt x="503" y="343"/>
                  <a:pt x="504" y="343"/>
                </a:cubicBezTo>
                <a:cubicBezTo>
                  <a:pt x="504" y="342"/>
                  <a:pt x="504" y="342"/>
                  <a:pt x="504" y="342"/>
                </a:cubicBezTo>
                <a:cubicBezTo>
                  <a:pt x="504" y="341"/>
                  <a:pt x="504" y="340"/>
                  <a:pt x="503" y="340"/>
                </a:cubicBezTo>
                <a:cubicBezTo>
                  <a:pt x="503" y="340"/>
                  <a:pt x="502" y="341"/>
                  <a:pt x="502" y="341"/>
                </a:cubicBezTo>
                <a:cubicBezTo>
                  <a:pt x="502" y="341"/>
                  <a:pt x="501" y="342"/>
                  <a:pt x="501" y="342"/>
                </a:cubicBezTo>
                <a:cubicBezTo>
                  <a:pt x="501" y="342"/>
                  <a:pt x="500" y="343"/>
                  <a:pt x="500" y="342"/>
                </a:cubicBezTo>
                <a:cubicBezTo>
                  <a:pt x="500" y="342"/>
                  <a:pt x="500" y="342"/>
                  <a:pt x="500" y="342"/>
                </a:cubicBezTo>
                <a:cubicBezTo>
                  <a:pt x="500" y="341"/>
                  <a:pt x="500" y="341"/>
                  <a:pt x="500" y="341"/>
                </a:cubicBezTo>
                <a:cubicBezTo>
                  <a:pt x="501" y="341"/>
                  <a:pt x="501" y="341"/>
                  <a:pt x="501" y="340"/>
                </a:cubicBezTo>
                <a:cubicBezTo>
                  <a:pt x="502" y="340"/>
                  <a:pt x="502" y="340"/>
                  <a:pt x="502" y="339"/>
                </a:cubicBezTo>
                <a:cubicBezTo>
                  <a:pt x="502" y="339"/>
                  <a:pt x="502" y="339"/>
                  <a:pt x="502" y="339"/>
                </a:cubicBezTo>
                <a:cubicBezTo>
                  <a:pt x="502" y="339"/>
                  <a:pt x="502" y="339"/>
                  <a:pt x="503" y="339"/>
                </a:cubicBezTo>
                <a:cubicBezTo>
                  <a:pt x="503" y="338"/>
                  <a:pt x="503" y="338"/>
                  <a:pt x="504" y="338"/>
                </a:cubicBezTo>
                <a:cubicBezTo>
                  <a:pt x="504" y="338"/>
                  <a:pt x="504" y="338"/>
                  <a:pt x="505" y="338"/>
                </a:cubicBezTo>
                <a:cubicBezTo>
                  <a:pt x="505" y="338"/>
                  <a:pt x="505" y="338"/>
                  <a:pt x="505" y="337"/>
                </a:cubicBezTo>
                <a:cubicBezTo>
                  <a:pt x="505" y="337"/>
                  <a:pt x="505" y="336"/>
                  <a:pt x="505" y="335"/>
                </a:cubicBezTo>
                <a:cubicBezTo>
                  <a:pt x="506" y="335"/>
                  <a:pt x="506" y="335"/>
                  <a:pt x="506" y="334"/>
                </a:cubicBezTo>
                <a:cubicBezTo>
                  <a:pt x="506" y="334"/>
                  <a:pt x="506" y="333"/>
                  <a:pt x="506" y="333"/>
                </a:cubicBezTo>
                <a:cubicBezTo>
                  <a:pt x="505" y="333"/>
                  <a:pt x="505" y="333"/>
                  <a:pt x="505" y="333"/>
                </a:cubicBezTo>
                <a:cubicBezTo>
                  <a:pt x="504" y="334"/>
                  <a:pt x="504" y="334"/>
                  <a:pt x="504" y="334"/>
                </a:cubicBezTo>
                <a:cubicBezTo>
                  <a:pt x="504" y="333"/>
                  <a:pt x="505" y="332"/>
                  <a:pt x="506" y="332"/>
                </a:cubicBezTo>
                <a:cubicBezTo>
                  <a:pt x="506" y="332"/>
                  <a:pt x="507" y="332"/>
                  <a:pt x="507" y="332"/>
                </a:cubicBezTo>
                <a:cubicBezTo>
                  <a:pt x="507" y="332"/>
                  <a:pt x="507" y="333"/>
                  <a:pt x="507" y="333"/>
                </a:cubicBezTo>
                <a:cubicBezTo>
                  <a:pt x="508" y="333"/>
                  <a:pt x="508" y="333"/>
                  <a:pt x="508" y="332"/>
                </a:cubicBezTo>
                <a:cubicBezTo>
                  <a:pt x="509" y="331"/>
                  <a:pt x="510" y="329"/>
                  <a:pt x="512" y="328"/>
                </a:cubicBezTo>
                <a:cubicBezTo>
                  <a:pt x="512" y="327"/>
                  <a:pt x="512" y="327"/>
                  <a:pt x="513" y="327"/>
                </a:cubicBezTo>
                <a:cubicBezTo>
                  <a:pt x="513" y="328"/>
                  <a:pt x="513" y="328"/>
                  <a:pt x="513" y="328"/>
                </a:cubicBezTo>
                <a:cubicBezTo>
                  <a:pt x="511" y="329"/>
                  <a:pt x="510" y="332"/>
                  <a:pt x="509" y="334"/>
                </a:cubicBezTo>
                <a:cubicBezTo>
                  <a:pt x="509" y="335"/>
                  <a:pt x="509" y="336"/>
                  <a:pt x="509" y="336"/>
                </a:cubicBezTo>
                <a:cubicBezTo>
                  <a:pt x="508" y="337"/>
                  <a:pt x="508" y="337"/>
                  <a:pt x="508" y="337"/>
                </a:cubicBezTo>
                <a:cubicBezTo>
                  <a:pt x="507" y="338"/>
                  <a:pt x="507" y="338"/>
                  <a:pt x="507" y="339"/>
                </a:cubicBezTo>
                <a:cubicBezTo>
                  <a:pt x="507" y="339"/>
                  <a:pt x="508" y="340"/>
                  <a:pt x="508" y="339"/>
                </a:cubicBezTo>
                <a:cubicBezTo>
                  <a:pt x="509" y="339"/>
                  <a:pt x="510" y="338"/>
                  <a:pt x="511" y="339"/>
                </a:cubicBezTo>
                <a:cubicBezTo>
                  <a:pt x="511" y="339"/>
                  <a:pt x="511" y="339"/>
                  <a:pt x="511" y="339"/>
                </a:cubicBezTo>
                <a:cubicBezTo>
                  <a:pt x="511" y="339"/>
                  <a:pt x="511" y="338"/>
                  <a:pt x="511" y="338"/>
                </a:cubicBezTo>
                <a:cubicBezTo>
                  <a:pt x="511" y="338"/>
                  <a:pt x="511" y="337"/>
                  <a:pt x="512" y="337"/>
                </a:cubicBezTo>
                <a:cubicBezTo>
                  <a:pt x="512" y="337"/>
                  <a:pt x="513" y="336"/>
                  <a:pt x="513" y="337"/>
                </a:cubicBezTo>
                <a:cubicBezTo>
                  <a:pt x="513" y="337"/>
                  <a:pt x="512" y="338"/>
                  <a:pt x="513" y="338"/>
                </a:cubicBezTo>
                <a:cubicBezTo>
                  <a:pt x="513" y="338"/>
                  <a:pt x="513" y="338"/>
                  <a:pt x="514" y="338"/>
                </a:cubicBezTo>
                <a:cubicBezTo>
                  <a:pt x="514" y="338"/>
                  <a:pt x="514" y="337"/>
                  <a:pt x="514" y="337"/>
                </a:cubicBezTo>
                <a:cubicBezTo>
                  <a:pt x="514" y="336"/>
                  <a:pt x="515" y="335"/>
                  <a:pt x="516" y="335"/>
                </a:cubicBezTo>
                <a:cubicBezTo>
                  <a:pt x="516" y="335"/>
                  <a:pt x="516" y="336"/>
                  <a:pt x="516" y="336"/>
                </a:cubicBezTo>
                <a:cubicBezTo>
                  <a:pt x="516" y="337"/>
                  <a:pt x="517" y="337"/>
                  <a:pt x="517" y="337"/>
                </a:cubicBezTo>
                <a:cubicBezTo>
                  <a:pt x="518" y="336"/>
                  <a:pt x="518" y="336"/>
                  <a:pt x="518" y="336"/>
                </a:cubicBezTo>
                <a:cubicBezTo>
                  <a:pt x="519" y="336"/>
                  <a:pt x="519" y="336"/>
                  <a:pt x="519" y="335"/>
                </a:cubicBezTo>
                <a:cubicBezTo>
                  <a:pt x="520" y="335"/>
                  <a:pt x="520" y="334"/>
                  <a:pt x="520" y="334"/>
                </a:cubicBezTo>
                <a:cubicBezTo>
                  <a:pt x="520" y="333"/>
                  <a:pt x="521" y="332"/>
                  <a:pt x="521" y="333"/>
                </a:cubicBezTo>
                <a:cubicBezTo>
                  <a:pt x="522" y="333"/>
                  <a:pt x="522" y="333"/>
                  <a:pt x="522" y="334"/>
                </a:cubicBezTo>
                <a:cubicBezTo>
                  <a:pt x="522" y="334"/>
                  <a:pt x="522" y="335"/>
                  <a:pt x="521" y="335"/>
                </a:cubicBezTo>
                <a:cubicBezTo>
                  <a:pt x="522" y="335"/>
                  <a:pt x="522" y="336"/>
                  <a:pt x="523" y="335"/>
                </a:cubicBezTo>
                <a:cubicBezTo>
                  <a:pt x="523" y="335"/>
                  <a:pt x="524" y="335"/>
                  <a:pt x="524" y="334"/>
                </a:cubicBezTo>
                <a:cubicBezTo>
                  <a:pt x="524" y="333"/>
                  <a:pt x="525" y="332"/>
                  <a:pt x="526" y="332"/>
                </a:cubicBezTo>
                <a:cubicBezTo>
                  <a:pt x="526" y="331"/>
                  <a:pt x="527" y="331"/>
                  <a:pt x="527" y="331"/>
                </a:cubicBezTo>
                <a:cubicBezTo>
                  <a:pt x="528" y="330"/>
                  <a:pt x="528" y="331"/>
                  <a:pt x="529" y="331"/>
                </a:cubicBezTo>
                <a:cubicBezTo>
                  <a:pt x="531" y="331"/>
                  <a:pt x="534" y="332"/>
                  <a:pt x="536" y="333"/>
                </a:cubicBezTo>
                <a:cubicBezTo>
                  <a:pt x="535" y="333"/>
                  <a:pt x="534" y="333"/>
                  <a:pt x="533" y="332"/>
                </a:cubicBezTo>
                <a:cubicBezTo>
                  <a:pt x="531" y="332"/>
                  <a:pt x="529" y="331"/>
                  <a:pt x="528" y="332"/>
                </a:cubicBezTo>
                <a:cubicBezTo>
                  <a:pt x="527" y="332"/>
                  <a:pt x="527" y="332"/>
                  <a:pt x="527" y="332"/>
                </a:cubicBezTo>
                <a:cubicBezTo>
                  <a:pt x="527" y="332"/>
                  <a:pt x="527" y="332"/>
                  <a:pt x="527" y="333"/>
                </a:cubicBezTo>
                <a:cubicBezTo>
                  <a:pt x="527" y="333"/>
                  <a:pt x="526" y="334"/>
                  <a:pt x="526" y="335"/>
                </a:cubicBezTo>
                <a:cubicBezTo>
                  <a:pt x="526" y="335"/>
                  <a:pt x="526" y="335"/>
                  <a:pt x="526" y="335"/>
                </a:cubicBezTo>
                <a:cubicBezTo>
                  <a:pt x="526" y="336"/>
                  <a:pt x="526" y="336"/>
                  <a:pt x="526" y="336"/>
                </a:cubicBezTo>
                <a:cubicBezTo>
                  <a:pt x="525" y="336"/>
                  <a:pt x="525" y="337"/>
                  <a:pt x="526" y="337"/>
                </a:cubicBezTo>
                <a:cubicBezTo>
                  <a:pt x="526" y="338"/>
                  <a:pt x="526" y="338"/>
                  <a:pt x="526" y="338"/>
                </a:cubicBezTo>
                <a:cubicBezTo>
                  <a:pt x="527" y="338"/>
                  <a:pt x="527" y="338"/>
                  <a:pt x="527" y="338"/>
                </a:cubicBezTo>
                <a:cubicBezTo>
                  <a:pt x="527" y="339"/>
                  <a:pt x="528" y="339"/>
                  <a:pt x="528" y="339"/>
                </a:cubicBezTo>
                <a:cubicBezTo>
                  <a:pt x="529" y="339"/>
                  <a:pt x="529" y="339"/>
                  <a:pt x="530" y="338"/>
                </a:cubicBezTo>
                <a:cubicBezTo>
                  <a:pt x="531" y="338"/>
                  <a:pt x="531" y="337"/>
                  <a:pt x="532" y="337"/>
                </a:cubicBezTo>
                <a:cubicBezTo>
                  <a:pt x="531" y="339"/>
                  <a:pt x="529" y="340"/>
                  <a:pt x="528" y="341"/>
                </a:cubicBezTo>
                <a:cubicBezTo>
                  <a:pt x="527" y="341"/>
                  <a:pt x="527" y="341"/>
                  <a:pt x="526" y="341"/>
                </a:cubicBezTo>
                <a:cubicBezTo>
                  <a:pt x="526" y="341"/>
                  <a:pt x="526" y="342"/>
                  <a:pt x="526" y="342"/>
                </a:cubicBezTo>
                <a:cubicBezTo>
                  <a:pt x="527" y="343"/>
                  <a:pt x="528" y="342"/>
                  <a:pt x="529" y="342"/>
                </a:cubicBezTo>
                <a:cubicBezTo>
                  <a:pt x="529" y="342"/>
                  <a:pt x="529" y="342"/>
                  <a:pt x="530" y="341"/>
                </a:cubicBezTo>
                <a:cubicBezTo>
                  <a:pt x="530" y="341"/>
                  <a:pt x="531" y="341"/>
                  <a:pt x="531" y="341"/>
                </a:cubicBezTo>
                <a:cubicBezTo>
                  <a:pt x="532" y="341"/>
                  <a:pt x="533" y="341"/>
                  <a:pt x="534" y="341"/>
                </a:cubicBezTo>
                <a:cubicBezTo>
                  <a:pt x="533" y="341"/>
                  <a:pt x="533" y="342"/>
                  <a:pt x="532" y="342"/>
                </a:cubicBezTo>
                <a:cubicBezTo>
                  <a:pt x="532" y="343"/>
                  <a:pt x="532" y="343"/>
                  <a:pt x="532" y="343"/>
                </a:cubicBezTo>
                <a:cubicBezTo>
                  <a:pt x="531" y="344"/>
                  <a:pt x="532" y="344"/>
                  <a:pt x="532" y="344"/>
                </a:cubicBezTo>
                <a:cubicBezTo>
                  <a:pt x="532" y="344"/>
                  <a:pt x="533" y="344"/>
                  <a:pt x="533" y="343"/>
                </a:cubicBezTo>
                <a:cubicBezTo>
                  <a:pt x="533" y="343"/>
                  <a:pt x="534" y="343"/>
                  <a:pt x="534" y="343"/>
                </a:cubicBezTo>
                <a:cubicBezTo>
                  <a:pt x="534" y="343"/>
                  <a:pt x="534" y="343"/>
                  <a:pt x="534" y="344"/>
                </a:cubicBezTo>
                <a:cubicBezTo>
                  <a:pt x="535" y="343"/>
                  <a:pt x="536" y="343"/>
                  <a:pt x="536" y="344"/>
                </a:cubicBezTo>
                <a:cubicBezTo>
                  <a:pt x="536" y="344"/>
                  <a:pt x="537" y="344"/>
                  <a:pt x="537" y="344"/>
                </a:cubicBezTo>
                <a:cubicBezTo>
                  <a:pt x="537" y="344"/>
                  <a:pt x="538" y="344"/>
                  <a:pt x="538" y="343"/>
                </a:cubicBezTo>
                <a:cubicBezTo>
                  <a:pt x="539" y="342"/>
                  <a:pt x="540" y="341"/>
                  <a:pt x="541" y="340"/>
                </a:cubicBezTo>
                <a:cubicBezTo>
                  <a:pt x="541" y="340"/>
                  <a:pt x="541" y="340"/>
                  <a:pt x="541" y="340"/>
                </a:cubicBezTo>
                <a:cubicBezTo>
                  <a:pt x="542" y="340"/>
                  <a:pt x="542" y="340"/>
                  <a:pt x="542" y="341"/>
                </a:cubicBezTo>
                <a:cubicBezTo>
                  <a:pt x="542" y="341"/>
                  <a:pt x="542" y="341"/>
                  <a:pt x="542" y="341"/>
                </a:cubicBezTo>
                <a:cubicBezTo>
                  <a:pt x="541" y="341"/>
                  <a:pt x="541" y="342"/>
                  <a:pt x="541" y="342"/>
                </a:cubicBezTo>
                <a:cubicBezTo>
                  <a:pt x="539" y="344"/>
                  <a:pt x="538" y="346"/>
                  <a:pt x="537" y="347"/>
                </a:cubicBezTo>
                <a:cubicBezTo>
                  <a:pt x="536" y="347"/>
                  <a:pt x="536" y="347"/>
                  <a:pt x="536" y="348"/>
                </a:cubicBezTo>
                <a:cubicBezTo>
                  <a:pt x="536" y="348"/>
                  <a:pt x="536" y="348"/>
                  <a:pt x="536" y="348"/>
                </a:cubicBezTo>
                <a:cubicBezTo>
                  <a:pt x="536" y="349"/>
                  <a:pt x="537" y="348"/>
                  <a:pt x="537" y="348"/>
                </a:cubicBezTo>
                <a:cubicBezTo>
                  <a:pt x="539" y="347"/>
                  <a:pt x="541" y="350"/>
                  <a:pt x="543" y="349"/>
                </a:cubicBezTo>
                <a:cubicBezTo>
                  <a:pt x="543" y="350"/>
                  <a:pt x="543" y="350"/>
                  <a:pt x="542" y="350"/>
                </a:cubicBezTo>
                <a:cubicBezTo>
                  <a:pt x="542" y="350"/>
                  <a:pt x="541" y="350"/>
                  <a:pt x="541" y="350"/>
                </a:cubicBezTo>
                <a:cubicBezTo>
                  <a:pt x="542" y="350"/>
                  <a:pt x="542" y="351"/>
                  <a:pt x="543" y="351"/>
                </a:cubicBezTo>
                <a:cubicBezTo>
                  <a:pt x="543" y="351"/>
                  <a:pt x="544" y="352"/>
                  <a:pt x="544" y="352"/>
                </a:cubicBezTo>
                <a:cubicBezTo>
                  <a:pt x="545" y="352"/>
                  <a:pt x="545" y="351"/>
                  <a:pt x="545" y="351"/>
                </a:cubicBezTo>
                <a:cubicBezTo>
                  <a:pt x="544" y="351"/>
                  <a:pt x="544" y="351"/>
                  <a:pt x="544" y="350"/>
                </a:cubicBezTo>
                <a:cubicBezTo>
                  <a:pt x="544" y="350"/>
                  <a:pt x="545" y="350"/>
                  <a:pt x="545" y="350"/>
                </a:cubicBezTo>
                <a:cubicBezTo>
                  <a:pt x="545" y="350"/>
                  <a:pt x="546" y="349"/>
                  <a:pt x="546" y="348"/>
                </a:cubicBezTo>
                <a:cubicBezTo>
                  <a:pt x="547" y="347"/>
                  <a:pt x="547" y="346"/>
                  <a:pt x="548" y="346"/>
                </a:cubicBezTo>
                <a:cubicBezTo>
                  <a:pt x="548" y="345"/>
                  <a:pt x="549" y="345"/>
                  <a:pt x="549" y="344"/>
                </a:cubicBezTo>
                <a:cubicBezTo>
                  <a:pt x="550" y="344"/>
                  <a:pt x="550" y="344"/>
                  <a:pt x="550" y="345"/>
                </a:cubicBezTo>
                <a:cubicBezTo>
                  <a:pt x="550" y="345"/>
                  <a:pt x="550" y="346"/>
                  <a:pt x="550" y="346"/>
                </a:cubicBezTo>
                <a:cubicBezTo>
                  <a:pt x="550" y="347"/>
                  <a:pt x="550" y="348"/>
                  <a:pt x="550" y="349"/>
                </a:cubicBezTo>
                <a:cubicBezTo>
                  <a:pt x="550" y="349"/>
                  <a:pt x="549" y="350"/>
                  <a:pt x="549" y="350"/>
                </a:cubicBezTo>
                <a:cubicBezTo>
                  <a:pt x="548" y="351"/>
                  <a:pt x="548" y="352"/>
                  <a:pt x="549" y="352"/>
                </a:cubicBezTo>
                <a:cubicBezTo>
                  <a:pt x="549" y="353"/>
                  <a:pt x="550" y="353"/>
                  <a:pt x="551" y="353"/>
                </a:cubicBezTo>
                <a:cubicBezTo>
                  <a:pt x="551" y="353"/>
                  <a:pt x="551" y="354"/>
                  <a:pt x="551" y="355"/>
                </a:cubicBezTo>
                <a:cubicBezTo>
                  <a:pt x="551" y="355"/>
                  <a:pt x="552" y="355"/>
                  <a:pt x="552" y="355"/>
                </a:cubicBezTo>
                <a:cubicBezTo>
                  <a:pt x="553" y="355"/>
                  <a:pt x="554" y="356"/>
                  <a:pt x="554" y="356"/>
                </a:cubicBezTo>
                <a:cubicBezTo>
                  <a:pt x="555" y="356"/>
                  <a:pt x="556" y="355"/>
                  <a:pt x="557" y="355"/>
                </a:cubicBezTo>
                <a:cubicBezTo>
                  <a:pt x="558" y="355"/>
                  <a:pt x="557" y="356"/>
                  <a:pt x="557" y="356"/>
                </a:cubicBezTo>
                <a:cubicBezTo>
                  <a:pt x="557" y="357"/>
                  <a:pt x="557" y="357"/>
                  <a:pt x="557" y="357"/>
                </a:cubicBezTo>
                <a:cubicBezTo>
                  <a:pt x="558" y="357"/>
                  <a:pt x="558" y="357"/>
                  <a:pt x="559" y="358"/>
                </a:cubicBezTo>
                <a:cubicBezTo>
                  <a:pt x="559" y="358"/>
                  <a:pt x="560" y="359"/>
                  <a:pt x="560" y="359"/>
                </a:cubicBezTo>
                <a:cubicBezTo>
                  <a:pt x="560" y="360"/>
                  <a:pt x="561" y="361"/>
                  <a:pt x="562" y="361"/>
                </a:cubicBezTo>
                <a:cubicBezTo>
                  <a:pt x="562" y="361"/>
                  <a:pt x="563" y="361"/>
                  <a:pt x="563" y="360"/>
                </a:cubicBezTo>
                <a:cubicBezTo>
                  <a:pt x="565" y="359"/>
                  <a:pt x="568" y="358"/>
                  <a:pt x="571" y="358"/>
                </a:cubicBezTo>
                <a:cubicBezTo>
                  <a:pt x="575" y="358"/>
                  <a:pt x="579" y="358"/>
                  <a:pt x="582" y="359"/>
                </a:cubicBezTo>
                <a:cubicBezTo>
                  <a:pt x="583" y="359"/>
                  <a:pt x="584" y="359"/>
                  <a:pt x="584" y="360"/>
                </a:cubicBezTo>
                <a:cubicBezTo>
                  <a:pt x="585" y="360"/>
                  <a:pt x="586" y="360"/>
                  <a:pt x="586" y="360"/>
                </a:cubicBezTo>
                <a:cubicBezTo>
                  <a:pt x="587" y="360"/>
                  <a:pt x="588" y="361"/>
                  <a:pt x="589" y="361"/>
                </a:cubicBezTo>
                <a:cubicBezTo>
                  <a:pt x="590" y="361"/>
                  <a:pt x="592" y="361"/>
                  <a:pt x="593" y="361"/>
                </a:cubicBezTo>
                <a:cubicBezTo>
                  <a:pt x="594" y="360"/>
                  <a:pt x="594" y="359"/>
                  <a:pt x="594" y="359"/>
                </a:cubicBezTo>
                <a:cubicBezTo>
                  <a:pt x="593" y="359"/>
                  <a:pt x="593" y="358"/>
                  <a:pt x="593" y="358"/>
                </a:cubicBezTo>
                <a:cubicBezTo>
                  <a:pt x="592" y="358"/>
                  <a:pt x="592" y="357"/>
                  <a:pt x="592" y="357"/>
                </a:cubicBezTo>
                <a:cubicBezTo>
                  <a:pt x="592" y="356"/>
                  <a:pt x="593" y="356"/>
                  <a:pt x="593" y="356"/>
                </a:cubicBezTo>
                <a:cubicBezTo>
                  <a:pt x="594" y="356"/>
                  <a:pt x="594" y="356"/>
                  <a:pt x="594" y="356"/>
                </a:cubicBezTo>
                <a:cubicBezTo>
                  <a:pt x="594" y="357"/>
                  <a:pt x="594" y="357"/>
                  <a:pt x="595" y="358"/>
                </a:cubicBezTo>
                <a:cubicBezTo>
                  <a:pt x="596" y="357"/>
                  <a:pt x="596" y="356"/>
                  <a:pt x="597" y="357"/>
                </a:cubicBezTo>
                <a:cubicBezTo>
                  <a:pt x="597" y="358"/>
                  <a:pt x="596" y="358"/>
                  <a:pt x="595" y="358"/>
                </a:cubicBezTo>
                <a:cubicBezTo>
                  <a:pt x="595" y="358"/>
                  <a:pt x="595" y="359"/>
                  <a:pt x="595" y="359"/>
                </a:cubicBezTo>
                <a:cubicBezTo>
                  <a:pt x="595" y="359"/>
                  <a:pt x="595" y="359"/>
                  <a:pt x="595" y="359"/>
                </a:cubicBezTo>
                <a:cubicBezTo>
                  <a:pt x="596" y="359"/>
                  <a:pt x="596" y="360"/>
                  <a:pt x="596" y="360"/>
                </a:cubicBezTo>
                <a:cubicBezTo>
                  <a:pt x="596" y="360"/>
                  <a:pt x="596" y="361"/>
                  <a:pt x="596" y="361"/>
                </a:cubicBezTo>
                <a:cubicBezTo>
                  <a:pt x="596" y="361"/>
                  <a:pt x="595" y="362"/>
                  <a:pt x="595" y="362"/>
                </a:cubicBezTo>
                <a:cubicBezTo>
                  <a:pt x="594" y="362"/>
                  <a:pt x="594" y="362"/>
                  <a:pt x="594" y="362"/>
                </a:cubicBezTo>
                <a:cubicBezTo>
                  <a:pt x="593" y="363"/>
                  <a:pt x="594" y="363"/>
                  <a:pt x="594" y="363"/>
                </a:cubicBezTo>
                <a:cubicBezTo>
                  <a:pt x="594" y="364"/>
                  <a:pt x="595" y="364"/>
                  <a:pt x="595" y="364"/>
                </a:cubicBezTo>
                <a:cubicBezTo>
                  <a:pt x="596" y="364"/>
                  <a:pt x="597" y="365"/>
                  <a:pt x="597" y="365"/>
                </a:cubicBezTo>
                <a:cubicBezTo>
                  <a:pt x="598" y="365"/>
                  <a:pt x="598" y="366"/>
                  <a:pt x="599" y="366"/>
                </a:cubicBezTo>
                <a:cubicBezTo>
                  <a:pt x="600" y="367"/>
                  <a:pt x="601" y="367"/>
                  <a:pt x="602" y="367"/>
                </a:cubicBezTo>
                <a:cubicBezTo>
                  <a:pt x="604" y="368"/>
                  <a:pt x="606" y="368"/>
                  <a:pt x="608" y="368"/>
                </a:cubicBezTo>
                <a:cubicBezTo>
                  <a:pt x="608" y="368"/>
                  <a:pt x="609" y="368"/>
                  <a:pt x="609" y="367"/>
                </a:cubicBezTo>
                <a:cubicBezTo>
                  <a:pt x="610" y="367"/>
                  <a:pt x="611" y="366"/>
                  <a:pt x="612" y="366"/>
                </a:cubicBezTo>
                <a:cubicBezTo>
                  <a:pt x="612" y="366"/>
                  <a:pt x="612" y="366"/>
                  <a:pt x="613" y="365"/>
                </a:cubicBezTo>
                <a:cubicBezTo>
                  <a:pt x="613" y="365"/>
                  <a:pt x="613" y="365"/>
                  <a:pt x="613" y="365"/>
                </a:cubicBezTo>
                <a:cubicBezTo>
                  <a:pt x="613" y="365"/>
                  <a:pt x="612" y="365"/>
                  <a:pt x="612" y="364"/>
                </a:cubicBezTo>
                <a:cubicBezTo>
                  <a:pt x="612" y="364"/>
                  <a:pt x="612" y="363"/>
                  <a:pt x="613" y="363"/>
                </a:cubicBezTo>
                <a:cubicBezTo>
                  <a:pt x="613" y="363"/>
                  <a:pt x="613" y="363"/>
                  <a:pt x="614" y="363"/>
                </a:cubicBezTo>
                <a:cubicBezTo>
                  <a:pt x="615" y="363"/>
                  <a:pt x="616" y="362"/>
                  <a:pt x="616" y="361"/>
                </a:cubicBezTo>
                <a:cubicBezTo>
                  <a:pt x="617" y="361"/>
                  <a:pt x="617" y="360"/>
                  <a:pt x="617" y="360"/>
                </a:cubicBezTo>
                <a:cubicBezTo>
                  <a:pt x="618" y="360"/>
                  <a:pt x="619" y="360"/>
                  <a:pt x="619" y="360"/>
                </a:cubicBezTo>
                <a:cubicBezTo>
                  <a:pt x="620" y="361"/>
                  <a:pt x="620" y="361"/>
                  <a:pt x="621" y="362"/>
                </a:cubicBezTo>
                <a:cubicBezTo>
                  <a:pt x="621" y="362"/>
                  <a:pt x="621" y="363"/>
                  <a:pt x="622" y="363"/>
                </a:cubicBezTo>
                <a:cubicBezTo>
                  <a:pt x="622" y="364"/>
                  <a:pt x="622" y="364"/>
                  <a:pt x="623" y="364"/>
                </a:cubicBezTo>
                <a:cubicBezTo>
                  <a:pt x="623" y="364"/>
                  <a:pt x="623" y="364"/>
                  <a:pt x="623" y="364"/>
                </a:cubicBezTo>
                <a:cubicBezTo>
                  <a:pt x="623" y="365"/>
                  <a:pt x="623" y="365"/>
                  <a:pt x="623" y="365"/>
                </a:cubicBezTo>
                <a:cubicBezTo>
                  <a:pt x="622" y="365"/>
                  <a:pt x="622" y="365"/>
                  <a:pt x="621" y="365"/>
                </a:cubicBezTo>
                <a:cubicBezTo>
                  <a:pt x="621" y="366"/>
                  <a:pt x="621" y="367"/>
                  <a:pt x="621" y="368"/>
                </a:cubicBezTo>
                <a:cubicBezTo>
                  <a:pt x="621" y="369"/>
                  <a:pt x="621" y="369"/>
                  <a:pt x="621" y="369"/>
                </a:cubicBezTo>
                <a:cubicBezTo>
                  <a:pt x="621" y="370"/>
                  <a:pt x="621" y="370"/>
                  <a:pt x="621" y="371"/>
                </a:cubicBezTo>
                <a:cubicBezTo>
                  <a:pt x="621" y="371"/>
                  <a:pt x="620" y="371"/>
                  <a:pt x="620" y="370"/>
                </a:cubicBezTo>
                <a:cubicBezTo>
                  <a:pt x="621" y="370"/>
                  <a:pt x="621" y="370"/>
                  <a:pt x="620" y="369"/>
                </a:cubicBezTo>
                <a:cubicBezTo>
                  <a:pt x="620" y="368"/>
                  <a:pt x="620" y="368"/>
                  <a:pt x="620" y="367"/>
                </a:cubicBezTo>
                <a:cubicBezTo>
                  <a:pt x="620" y="367"/>
                  <a:pt x="620" y="367"/>
                  <a:pt x="619" y="367"/>
                </a:cubicBezTo>
                <a:cubicBezTo>
                  <a:pt x="619" y="366"/>
                  <a:pt x="620" y="366"/>
                  <a:pt x="620" y="365"/>
                </a:cubicBezTo>
                <a:cubicBezTo>
                  <a:pt x="620" y="364"/>
                  <a:pt x="620" y="364"/>
                  <a:pt x="620" y="363"/>
                </a:cubicBezTo>
                <a:cubicBezTo>
                  <a:pt x="619" y="362"/>
                  <a:pt x="619" y="362"/>
                  <a:pt x="618" y="361"/>
                </a:cubicBezTo>
                <a:cubicBezTo>
                  <a:pt x="618" y="362"/>
                  <a:pt x="617" y="362"/>
                  <a:pt x="617" y="363"/>
                </a:cubicBezTo>
                <a:cubicBezTo>
                  <a:pt x="616" y="363"/>
                  <a:pt x="616" y="364"/>
                  <a:pt x="616" y="364"/>
                </a:cubicBezTo>
                <a:cubicBezTo>
                  <a:pt x="616" y="364"/>
                  <a:pt x="617" y="365"/>
                  <a:pt x="617" y="365"/>
                </a:cubicBezTo>
                <a:cubicBezTo>
                  <a:pt x="617" y="365"/>
                  <a:pt x="618" y="366"/>
                  <a:pt x="617" y="367"/>
                </a:cubicBezTo>
                <a:cubicBezTo>
                  <a:pt x="617" y="367"/>
                  <a:pt x="617" y="367"/>
                  <a:pt x="617" y="368"/>
                </a:cubicBezTo>
                <a:cubicBezTo>
                  <a:pt x="617" y="368"/>
                  <a:pt x="618" y="368"/>
                  <a:pt x="618" y="368"/>
                </a:cubicBezTo>
                <a:cubicBezTo>
                  <a:pt x="618" y="369"/>
                  <a:pt x="618" y="369"/>
                  <a:pt x="617" y="369"/>
                </a:cubicBezTo>
                <a:cubicBezTo>
                  <a:pt x="617" y="369"/>
                  <a:pt x="617" y="370"/>
                  <a:pt x="617" y="370"/>
                </a:cubicBezTo>
                <a:cubicBezTo>
                  <a:pt x="616" y="371"/>
                  <a:pt x="616" y="370"/>
                  <a:pt x="616" y="370"/>
                </a:cubicBezTo>
                <a:cubicBezTo>
                  <a:pt x="616" y="371"/>
                  <a:pt x="615" y="371"/>
                  <a:pt x="615" y="371"/>
                </a:cubicBezTo>
                <a:cubicBezTo>
                  <a:pt x="615" y="372"/>
                  <a:pt x="614" y="372"/>
                  <a:pt x="614" y="372"/>
                </a:cubicBezTo>
                <a:cubicBezTo>
                  <a:pt x="615" y="373"/>
                  <a:pt x="617" y="374"/>
                  <a:pt x="618" y="375"/>
                </a:cubicBezTo>
                <a:cubicBezTo>
                  <a:pt x="619" y="375"/>
                  <a:pt x="619" y="375"/>
                  <a:pt x="619" y="376"/>
                </a:cubicBezTo>
                <a:cubicBezTo>
                  <a:pt x="620" y="376"/>
                  <a:pt x="620" y="376"/>
                  <a:pt x="620" y="376"/>
                </a:cubicBezTo>
                <a:cubicBezTo>
                  <a:pt x="620" y="376"/>
                  <a:pt x="620" y="376"/>
                  <a:pt x="620" y="376"/>
                </a:cubicBezTo>
                <a:cubicBezTo>
                  <a:pt x="622" y="376"/>
                  <a:pt x="623" y="375"/>
                  <a:pt x="625" y="374"/>
                </a:cubicBezTo>
                <a:cubicBezTo>
                  <a:pt x="625" y="374"/>
                  <a:pt x="626" y="373"/>
                  <a:pt x="626" y="374"/>
                </a:cubicBezTo>
                <a:cubicBezTo>
                  <a:pt x="626" y="374"/>
                  <a:pt x="625" y="375"/>
                  <a:pt x="625" y="375"/>
                </a:cubicBezTo>
                <a:cubicBezTo>
                  <a:pt x="625" y="375"/>
                  <a:pt x="624" y="375"/>
                  <a:pt x="624" y="375"/>
                </a:cubicBezTo>
                <a:cubicBezTo>
                  <a:pt x="623" y="376"/>
                  <a:pt x="622" y="376"/>
                  <a:pt x="622" y="377"/>
                </a:cubicBezTo>
                <a:cubicBezTo>
                  <a:pt x="622" y="377"/>
                  <a:pt x="622" y="377"/>
                  <a:pt x="622" y="377"/>
                </a:cubicBezTo>
                <a:cubicBezTo>
                  <a:pt x="622" y="377"/>
                  <a:pt x="622" y="377"/>
                  <a:pt x="622" y="377"/>
                </a:cubicBezTo>
                <a:cubicBezTo>
                  <a:pt x="624" y="378"/>
                  <a:pt x="626" y="379"/>
                  <a:pt x="627" y="381"/>
                </a:cubicBezTo>
                <a:cubicBezTo>
                  <a:pt x="627" y="381"/>
                  <a:pt x="628" y="382"/>
                  <a:pt x="628" y="382"/>
                </a:cubicBezTo>
                <a:cubicBezTo>
                  <a:pt x="628" y="382"/>
                  <a:pt x="629" y="382"/>
                  <a:pt x="629" y="381"/>
                </a:cubicBezTo>
                <a:cubicBezTo>
                  <a:pt x="630" y="381"/>
                  <a:pt x="630" y="381"/>
                  <a:pt x="631" y="381"/>
                </a:cubicBezTo>
                <a:cubicBezTo>
                  <a:pt x="631" y="381"/>
                  <a:pt x="632" y="381"/>
                  <a:pt x="632" y="381"/>
                </a:cubicBezTo>
                <a:cubicBezTo>
                  <a:pt x="631" y="381"/>
                  <a:pt x="631" y="382"/>
                  <a:pt x="630" y="382"/>
                </a:cubicBezTo>
                <a:cubicBezTo>
                  <a:pt x="630" y="382"/>
                  <a:pt x="630" y="382"/>
                  <a:pt x="630" y="382"/>
                </a:cubicBezTo>
                <a:cubicBezTo>
                  <a:pt x="630" y="382"/>
                  <a:pt x="630" y="383"/>
                  <a:pt x="630" y="383"/>
                </a:cubicBezTo>
                <a:cubicBezTo>
                  <a:pt x="631" y="384"/>
                  <a:pt x="634" y="384"/>
                  <a:pt x="635" y="385"/>
                </a:cubicBezTo>
                <a:cubicBezTo>
                  <a:pt x="636" y="386"/>
                  <a:pt x="636" y="387"/>
                  <a:pt x="637" y="388"/>
                </a:cubicBezTo>
                <a:cubicBezTo>
                  <a:pt x="637" y="388"/>
                  <a:pt x="638" y="388"/>
                  <a:pt x="638" y="388"/>
                </a:cubicBezTo>
                <a:cubicBezTo>
                  <a:pt x="639" y="389"/>
                  <a:pt x="638" y="390"/>
                  <a:pt x="639" y="391"/>
                </a:cubicBezTo>
                <a:cubicBezTo>
                  <a:pt x="639" y="392"/>
                  <a:pt x="639" y="392"/>
                  <a:pt x="640" y="392"/>
                </a:cubicBezTo>
                <a:cubicBezTo>
                  <a:pt x="640" y="393"/>
                  <a:pt x="640" y="393"/>
                  <a:pt x="641" y="394"/>
                </a:cubicBezTo>
                <a:cubicBezTo>
                  <a:pt x="641" y="394"/>
                  <a:pt x="642" y="394"/>
                  <a:pt x="642" y="394"/>
                </a:cubicBezTo>
                <a:cubicBezTo>
                  <a:pt x="643" y="394"/>
                  <a:pt x="643" y="394"/>
                  <a:pt x="643" y="395"/>
                </a:cubicBezTo>
                <a:cubicBezTo>
                  <a:pt x="643" y="395"/>
                  <a:pt x="643" y="396"/>
                  <a:pt x="644" y="397"/>
                </a:cubicBezTo>
                <a:cubicBezTo>
                  <a:pt x="646" y="398"/>
                  <a:pt x="648" y="400"/>
                  <a:pt x="650" y="401"/>
                </a:cubicBezTo>
                <a:cubicBezTo>
                  <a:pt x="651" y="401"/>
                  <a:pt x="651" y="401"/>
                  <a:pt x="651" y="401"/>
                </a:cubicBezTo>
                <a:cubicBezTo>
                  <a:pt x="652" y="401"/>
                  <a:pt x="652" y="402"/>
                  <a:pt x="652" y="402"/>
                </a:cubicBezTo>
                <a:cubicBezTo>
                  <a:pt x="652" y="402"/>
                  <a:pt x="652" y="402"/>
                  <a:pt x="653" y="402"/>
                </a:cubicBezTo>
                <a:cubicBezTo>
                  <a:pt x="653" y="402"/>
                  <a:pt x="653" y="403"/>
                  <a:pt x="653" y="403"/>
                </a:cubicBezTo>
                <a:cubicBezTo>
                  <a:pt x="653" y="403"/>
                  <a:pt x="653" y="404"/>
                  <a:pt x="654" y="404"/>
                </a:cubicBezTo>
                <a:cubicBezTo>
                  <a:pt x="654" y="404"/>
                  <a:pt x="655" y="405"/>
                  <a:pt x="655" y="405"/>
                </a:cubicBezTo>
                <a:cubicBezTo>
                  <a:pt x="656" y="405"/>
                  <a:pt x="656" y="405"/>
                  <a:pt x="656" y="405"/>
                </a:cubicBezTo>
                <a:cubicBezTo>
                  <a:pt x="656" y="404"/>
                  <a:pt x="656" y="404"/>
                  <a:pt x="656" y="403"/>
                </a:cubicBezTo>
                <a:cubicBezTo>
                  <a:pt x="656" y="403"/>
                  <a:pt x="656" y="402"/>
                  <a:pt x="656" y="402"/>
                </a:cubicBezTo>
                <a:cubicBezTo>
                  <a:pt x="657" y="402"/>
                  <a:pt x="657" y="403"/>
                  <a:pt x="658" y="403"/>
                </a:cubicBezTo>
                <a:cubicBezTo>
                  <a:pt x="658" y="402"/>
                  <a:pt x="657" y="402"/>
                  <a:pt x="657" y="402"/>
                </a:cubicBezTo>
                <a:cubicBezTo>
                  <a:pt x="657" y="402"/>
                  <a:pt x="657" y="402"/>
                  <a:pt x="657" y="401"/>
                </a:cubicBezTo>
                <a:cubicBezTo>
                  <a:pt x="657" y="401"/>
                  <a:pt x="657" y="401"/>
                  <a:pt x="657" y="401"/>
                </a:cubicBezTo>
                <a:cubicBezTo>
                  <a:pt x="657" y="402"/>
                  <a:pt x="659" y="402"/>
                  <a:pt x="659" y="401"/>
                </a:cubicBezTo>
                <a:cubicBezTo>
                  <a:pt x="659" y="401"/>
                  <a:pt x="660" y="402"/>
                  <a:pt x="660" y="402"/>
                </a:cubicBezTo>
                <a:cubicBezTo>
                  <a:pt x="660" y="402"/>
                  <a:pt x="661" y="402"/>
                  <a:pt x="661" y="402"/>
                </a:cubicBezTo>
                <a:cubicBezTo>
                  <a:pt x="662" y="402"/>
                  <a:pt x="662" y="402"/>
                  <a:pt x="662" y="402"/>
                </a:cubicBezTo>
                <a:cubicBezTo>
                  <a:pt x="662" y="401"/>
                  <a:pt x="662" y="401"/>
                  <a:pt x="662" y="401"/>
                </a:cubicBezTo>
                <a:cubicBezTo>
                  <a:pt x="662" y="400"/>
                  <a:pt x="662" y="400"/>
                  <a:pt x="662" y="399"/>
                </a:cubicBezTo>
                <a:cubicBezTo>
                  <a:pt x="662" y="399"/>
                  <a:pt x="662" y="398"/>
                  <a:pt x="662" y="398"/>
                </a:cubicBezTo>
                <a:cubicBezTo>
                  <a:pt x="662" y="398"/>
                  <a:pt x="661" y="398"/>
                  <a:pt x="661" y="397"/>
                </a:cubicBezTo>
                <a:cubicBezTo>
                  <a:pt x="661" y="397"/>
                  <a:pt x="661" y="397"/>
                  <a:pt x="661" y="397"/>
                </a:cubicBezTo>
                <a:cubicBezTo>
                  <a:pt x="661" y="396"/>
                  <a:pt x="660" y="395"/>
                  <a:pt x="660" y="394"/>
                </a:cubicBezTo>
                <a:cubicBezTo>
                  <a:pt x="659" y="395"/>
                  <a:pt x="658" y="395"/>
                  <a:pt x="657" y="395"/>
                </a:cubicBezTo>
                <a:cubicBezTo>
                  <a:pt x="657" y="395"/>
                  <a:pt x="657" y="395"/>
                  <a:pt x="657" y="394"/>
                </a:cubicBezTo>
                <a:cubicBezTo>
                  <a:pt x="658" y="394"/>
                  <a:pt x="658" y="394"/>
                  <a:pt x="658" y="393"/>
                </a:cubicBezTo>
                <a:cubicBezTo>
                  <a:pt x="658" y="393"/>
                  <a:pt x="658" y="392"/>
                  <a:pt x="657" y="392"/>
                </a:cubicBezTo>
                <a:cubicBezTo>
                  <a:pt x="657" y="392"/>
                  <a:pt x="657" y="391"/>
                  <a:pt x="656" y="391"/>
                </a:cubicBezTo>
                <a:cubicBezTo>
                  <a:pt x="656" y="391"/>
                  <a:pt x="656" y="391"/>
                  <a:pt x="656" y="390"/>
                </a:cubicBezTo>
                <a:cubicBezTo>
                  <a:pt x="656" y="390"/>
                  <a:pt x="656" y="390"/>
                  <a:pt x="655" y="390"/>
                </a:cubicBezTo>
                <a:cubicBezTo>
                  <a:pt x="654" y="389"/>
                  <a:pt x="652" y="388"/>
                  <a:pt x="650" y="389"/>
                </a:cubicBezTo>
                <a:cubicBezTo>
                  <a:pt x="649" y="389"/>
                  <a:pt x="649" y="389"/>
                  <a:pt x="648" y="389"/>
                </a:cubicBezTo>
                <a:cubicBezTo>
                  <a:pt x="649" y="389"/>
                  <a:pt x="649" y="388"/>
                  <a:pt x="650" y="387"/>
                </a:cubicBezTo>
                <a:cubicBezTo>
                  <a:pt x="650" y="387"/>
                  <a:pt x="651" y="387"/>
                  <a:pt x="651" y="387"/>
                </a:cubicBezTo>
                <a:cubicBezTo>
                  <a:pt x="651" y="386"/>
                  <a:pt x="650" y="385"/>
                  <a:pt x="650" y="384"/>
                </a:cubicBezTo>
                <a:cubicBezTo>
                  <a:pt x="651" y="384"/>
                  <a:pt x="652" y="385"/>
                  <a:pt x="652" y="386"/>
                </a:cubicBezTo>
                <a:cubicBezTo>
                  <a:pt x="653" y="387"/>
                  <a:pt x="654" y="388"/>
                  <a:pt x="655" y="387"/>
                </a:cubicBezTo>
                <a:cubicBezTo>
                  <a:pt x="656" y="387"/>
                  <a:pt x="656" y="386"/>
                  <a:pt x="657" y="386"/>
                </a:cubicBezTo>
                <a:cubicBezTo>
                  <a:pt x="657" y="387"/>
                  <a:pt x="657" y="387"/>
                  <a:pt x="657" y="388"/>
                </a:cubicBezTo>
                <a:cubicBezTo>
                  <a:pt x="657" y="389"/>
                  <a:pt x="658" y="391"/>
                  <a:pt x="660" y="391"/>
                </a:cubicBezTo>
                <a:cubicBezTo>
                  <a:pt x="660" y="391"/>
                  <a:pt x="660" y="392"/>
                  <a:pt x="661" y="391"/>
                </a:cubicBezTo>
                <a:cubicBezTo>
                  <a:pt x="661" y="391"/>
                  <a:pt x="661" y="391"/>
                  <a:pt x="661" y="391"/>
                </a:cubicBezTo>
                <a:cubicBezTo>
                  <a:pt x="662" y="389"/>
                  <a:pt x="660" y="387"/>
                  <a:pt x="661" y="385"/>
                </a:cubicBezTo>
                <a:cubicBezTo>
                  <a:pt x="662" y="386"/>
                  <a:pt x="662" y="387"/>
                  <a:pt x="662" y="388"/>
                </a:cubicBezTo>
                <a:cubicBezTo>
                  <a:pt x="662" y="390"/>
                  <a:pt x="663" y="392"/>
                  <a:pt x="663" y="393"/>
                </a:cubicBezTo>
                <a:cubicBezTo>
                  <a:pt x="664" y="394"/>
                  <a:pt x="665" y="395"/>
                  <a:pt x="665" y="396"/>
                </a:cubicBezTo>
                <a:cubicBezTo>
                  <a:pt x="665" y="397"/>
                  <a:pt x="665" y="398"/>
                  <a:pt x="663" y="398"/>
                </a:cubicBezTo>
                <a:cubicBezTo>
                  <a:pt x="664" y="399"/>
                  <a:pt x="664" y="399"/>
                  <a:pt x="664" y="399"/>
                </a:cubicBezTo>
                <a:cubicBezTo>
                  <a:pt x="664" y="400"/>
                  <a:pt x="664" y="400"/>
                  <a:pt x="665" y="400"/>
                </a:cubicBezTo>
                <a:cubicBezTo>
                  <a:pt x="665" y="401"/>
                  <a:pt x="666" y="401"/>
                  <a:pt x="666" y="400"/>
                </a:cubicBezTo>
                <a:cubicBezTo>
                  <a:pt x="667" y="400"/>
                  <a:pt x="667" y="401"/>
                  <a:pt x="668" y="401"/>
                </a:cubicBezTo>
                <a:cubicBezTo>
                  <a:pt x="668" y="401"/>
                  <a:pt x="668" y="401"/>
                  <a:pt x="668" y="400"/>
                </a:cubicBezTo>
                <a:cubicBezTo>
                  <a:pt x="668" y="400"/>
                  <a:pt x="669" y="400"/>
                  <a:pt x="669" y="400"/>
                </a:cubicBezTo>
                <a:cubicBezTo>
                  <a:pt x="669" y="400"/>
                  <a:pt x="669" y="400"/>
                  <a:pt x="669" y="399"/>
                </a:cubicBezTo>
                <a:cubicBezTo>
                  <a:pt x="669" y="399"/>
                  <a:pt x="670" y="399"/>
                  <a:pt x="670" y="399"/>
                </a:cubicBezTo>
                <a:cubicBezTo>
                  <a:pt x="670" y="399"/>
                  <a:pt x="670" y="399"/>
                  <a:pt x="670" y="400"/>
                </a:cubicBezTo>
                <a:cubicBezTo>
                  <a:pt x="670" y="400"/>
                  <a:pt x="671" y="401"/>
                  <a:pt x="671" y="402"/>
                </a:cubicBezTo>
                <a:cubicBezTo>
                  <a:pt x="672" y="403"/>
                  <a:pt x="673" y="404"/>
                  <a:pt x="674" y="405"/>
                </a:cubicBezTo>
                <a:cubicBezTo>
                  <a:pt x="674" y="405"/>
                  <a:pt x="674" y="405"/>
                  <a:pt x="674" y="405"/>
                </a:cubicBezTo>
                <a:cubicBezTo>
                  <a:pt x="674" y="405"/>
                  <a:pt x="675" y="405"/>
                  <a:pt x="675" y="405"/>
                </a:cubicBezTo>
                <a:cubicBezTo>
                  <a:pt x="675" y="403"/>
                  <a:pt x="676" y="402"/>
                  <a:pt x="675" y="401"/>
                </a:cubicBezTo>
                <a:cubicBezTo>
                  <a:pt x="675" y="400"/>
                  <a:pt x="674" y="398"/>
                  <a:pt x="674" y="397"/>
                </a:cubicBezTo>
                <a:cubicBezTo>
                  <a:pt x="673" y="397"/>
                  <a:pt x="673" y="396"/>
                  <a:pt x="673" y="395"/>
                </a:cubicBezTo>
                <a:cubicBezTo>
                  <a:pt x="674" y="395"/>
                  <a:pt x="674" y="395"/>
                  <a:pt x="675" y="395"/>
                </a:cubicBezTo>
                <a:cubicBezTo>
                  <a:pt x="673" y="393"/>
                  <a:pt x="672" y="391"/>
                  <a:pt x="672" y="388"/>
                </a:cubicBezTo>
                <a:cubicBezTo>
                  <a:pt x="672" y="387"/>
                  <a:pt x="672" y="387"/>
                  <a:pt x="672" y="386"/>
                </a:cubicBezTo>
                <a:cubicBezTo>
                  <a:pt x="672" y="386"/>
                  <a:pt x="671" y="386"/>
                  <a:pt x="671" y="386"/>
                </a:cubicBezTo>
                <a:cubicBezTo>
                  <a:pt x="670" y="386"/>
                  <a:pt x="670" y="385"/>
                  <a:pt x="671" y="385"/>
                </a:cubicBezTo>
                <a:cubicBezTo>
                  <a:pt x="671" y="384"/>
                  <a:pt x="671" y="384"/>
                  <a:pt x="671" y="383"/>
                </a:cubicBezTo>
                <a:cubicBezTo>
                  <a:pt x="671" y="383"/>
                  <a:pt x="671" y="383"/>
                  <a:pt x="670" y="383"/>
                </a:cubicBezTo>
                <a:cubicBezTo>
                  <a:pt x="670" y="383"/>
                  <a:pt x="670" y="382"/>
                  <a:pt x="670" y="382"/>
                </a:cubicBezTo>
                <a:cubicBezTo>
                  <a:pt x="670" y="381"/>
                  <a:pt x="669" y="380"/>
                  <a:pt x="668" y="379"/>
                </a:cubicBezTo>
                <a:cubicBezTo>
                  <a:pt x="667" y="379"/>
                  <a:pt x="667" y="378"/>
                  <a:pt x="667" y="377"/>
                </a:cubicBezTo>
                <a:cubicBezTo>
                  <a:pt x="669" y="379"/>
                  <a:pt x="670" y="380"/>
                  <a:pt x="672" y="382"/>
                </a:cubicBezTo>
                <a:cubicBezTo>
                  <a:pt x="672" y="381"/>
                  <a:pt x="670" y="380"/>
                  <a:pt x="670" y="378"/>
                </a:cubicBezTo>
                <a:cubicBezTo>
                  <a:pt x="670" y="377"/>
                  <a:pt x="671" y="376"/>
                  <a:pt x="672" y="376"/>
                </a:cubicBezTo>
                <a:cubicBezTo>
                  <a:pt x="671" y="377"/>
                  <a:pt x="671" y="378"/>
                  <a:pt x="671" y="378"/>
                </a:cubicBezTo>
                <a:cubicBezTo>
                  <a:pt x="672" y="379"/>
                  <a:pt x="672" y="380"/>
                  <a:pt x="672" y="380"/>
                </a:cubicBezTo>
                <a:cubicBezTo>
                  <a:pt x="673" y="381"/>
                  <a:pt x="673" y="381"/>
                  <a:pt x="673" y="382"/>
                </a:cubicBezTo>
                <a:cubicBezTo>
                  <a:pt x="673" y="382"/>
                  <a:pt x="673" y="382"/>
                  <a:pt x="673" y="383"/>
                </a:cubicBezTo>
                <a:cubicBezTo>
                  <a:pt x="673" y="384"/>
                  <a:pt x="674" y="384"/>
                  <a:pt x="673" y="385"/>
                </a:cubicBezTo>
                <a:cubicBezTo>
                  <a:pt x="673" y="386"/>
                  <a:pt x="673" y="386"/>
                  <a:pt x="673" y="387"/>
                </a:cubicBezTo>
                <a:cubicBezTo>
                  <a:pt x="673" y="387"/>
                  <a:pt x="674" y="387"/>
                  <a:pt x="674" y="387"/>
                </a:cubicBezTo>
                <a:cubicBezTo>
                  <a:pt x="674" y="388"/>
                  <a:pt x="673" y="389"/>
                  <a:pt x="674" y="389"/>
                </a:cubicBezTo>
                <a:cubicBezTo>
                  <a:pt x="674" y="390"/>
                  <a:pt x="674" y="390"/>
                  <a:pt x="674" y="390"/>
                </a:cubicBezTo>
                <a:cubicBezTo>
                  <a:pt x="675" y="390"/>
                  <a:pt x="675" y="390"/>
                  <a:pt x="675" y="391"/>
                </a:cubicBezTo>
                <a:cubicBezTo>
                  <a:pt x="675" y="391"/>
                  <a:pt x="675" y="391"/>
                  <a:pt x="676" y="391"/>
                </a:cubicBezTo>
                <a:cubicBezTo>
                  <a:pt x="676" y="391"/>
                  <a:pt x="677" y="390"/>
                  <a:pt x="677" y="390"/>
                </a:cubicBezTo>
                <a:cubicBezTo>
                  <a:pt x="678" y="391"/>
                  <a:pt x="676" y="393"/>
                  <a:pt x="677" y="394"/>
                </a:cubicBezTo>
                <a:cubicBezTo>
                  <a:pt x="677" y="395"/>
                  <a:pt x="678" y="396"/>
                  <a:pt x="678" y="397"/>
                </a:cubicBezTo>
                <a:cubicBezTo>
                  <a:pt x="679" y="397"/>
                  <a:pt x="679" y="398"/>
                  <a:pt x="679" y="399"/>
                </a:cubicBezTo>
                <a:cubicBezTo>
                  <a:pt x="679" y="399"/>
                  <a:pt x="679" y="400"/>
                  <a:pt x="679" y="400"/>
                </a:cubicBezTo>
                <a:cubicBezTo>
                  <a:pt x="680" y="401"/>
                  <a:pt x="680" y="401"/>
                  <a:pt x="681" y="401"/>
                </a:cubicBezTo>
                <a:cubicBezTo>
                  <a:pt x="681" y="401"/>
                  <a:pt x="681" y="402"/>
                  <a:pt x="681" y="402"/>
                </a:cubicBezTo>
                <a:cubicBezTo>
                  <a:pt x="681" y="402"/>
                  <a:pt x="680" y="403"/>
                  <a:pt x="680" y="403"/>
                </a:cubicBezTo>
                <a:cubicBezTo>
                  <a:pt x="680" y="403"/>
                  <a:pt x="681" y="403"/>
                  <a:pt x="681" y="403"/>
                </a:cubicBezTo>
                <a:cubicBezTo>
                  <a:pt x="681" y="404"/>
                  <a:pt x="682" y="404"/>
                  <a:pt x="683" y="405"/>
                </a:cubicBezTo>
                <a:cubicBezTo>
                  <a:pt x="683" y="405"/>
                  <a:pt x="684" y="405"/>
                  <a:pt x="684" y="405"/>
                </a:cubicBezTo>
                <a:cubicBezTo>
                  <a:pt x="685" y="405"/>
                  <a:pt x="685" y="405"/>
                  <a:pt x="685" y="405"/>
                </a:cubicBezTo>
                <a:cubicBezTo>
                  <a:pt x="685" y="405"/>
                  <a:pt x="686" y="405"/>
                  <a:pt x="686" y="405"/>
                </a:cubicBezTo>
                <a:cubicBezTo>
                  <a:pt x="686" y="405"/>
                  <a:pt x="686" y="405"/>
                  <a:pt x="685" y="404"/>
                </a:cubicBezTo>
                <a:cubicBezTo>
                  <a:pt x="685" y="404"/>
                  <a:pt x="685" y="404"/>
                  <a:pt x="684" y="403"/>
                </a:cubicBezTo>
                <a:cubicBezTo>
                  <a:pt x="685" y="403"/>
                  <a:pt x="685" y="403"/>
                  <a:pt x="685" y="404"/>
                </a:cubicBezTo>
                <a:cubicBezTo>
                  <a:pt x="686" y="404"/>
                  <a:pt x="686" y="405"/>
                  <a:pt x="687" y="405"/>
                </a:cubicBezTo>
                <a:cubicBezTo>
                  <a:pt x="687" y="405"/>
                  <a:pt x="687" y="405"/>
                  <a:pt x="687" y="405"/>
                </a:cubicBezTo>
                <a:cubicBezTo>
                  <a:pt x="687" y="405"/>
                  <a:pt x="687" y="405"/>
                  <a:pt x="687" y="405"/>
                </a:cubicBezTo>
                <a:cubicBezTo>
                  <a:pt x="688" y="404"/>
                  <a:pt x="688" y="403"/>
                  <a:pt x="688" y="403"/>
                </a:cubicBezTo>
                <a:cubicBezTo>
                  <a:pt x="688" y="402"/>
                  <a:pt x="688" y="402"/>
                  <a:pt x="688" y="401"/>
                </a:cubicBezTo>
                <a:cubicBezTo>
                  <a:pt x="688" y="401"/>
                  <a:pt x="688" y="400"/>
                  <a:pt x="689" y="400"/>
                </a:cubicBezTo>
                <a:cubicBezTo>
                  <a:pt x="689" y="400"/>
                  <a:pt x="689" y="399"/>
                  <a:pt x="690" y="399"/>
                </a:cubicBezTo>
                <a:cubicBezTo>
                  <a:pt x="690" y="399"/>
                  <a:pt x="690" y="399"/>
                  <a:pt x="690" y="399"/>
                </a:cubicBezTo>
                <a:cubicBezTo>
                  <a:pt x="690" y="398"/>
                  <a:pt x="690" y="399"/>
                  <a:pt x="690" y="399"/>
                </a:cubicBezTo>
                <a:cubicBezTo>
                  <a:pt x="690" y="399"/>
                  <a:pt x="690" y="400"/>
                  <a:pt x="690" y="400"/>
                </a:cubicBezTo>
                <a:cubicBezTo>
                  <a:pt x="689" y="401"/>
                  <a:pt x="689" y="402"/>
                  <a:pt x="689" y="402"/>
                </a:cubicBezTo>
                <a:cubicBezTo>
                  <a:pt x="689" y="403"/>
                  <a:pt x="689" y="403"/>
                  <a:pt x="689" y="403"/>
                </a:cubicBezTo>
                <a:cubicBezTo>
                  <a:pt x="688" y="404"/>
                  <a:pt x="689" y="404"/>
                  <a:pt x="688" y="405"/>
                </a:cubicBezTo>
                <a:cubicBezTo>
                  <a:pt x="688" y="405"/>
                  <a:pt x="688" y="405"/>
                  <a:pt x="688" y="405"/>
                </a:cubicBezTo>
                <a:cubicBezTo>
                  <a:pt x="688" y="406"/>
                  <a:pt x="688" y="406"/>
                  <a:pt x="688" y="406"/>
                </a:cubicBezTo>
                <a:cubicBezTo>
                  <a:pt x="688" y="406"/>
                  <a:pt x="688" y="406"/>
                  <a:pt x="688" y="406"/>
                </a:cubicBezTo>
                <a:cubicBezTo>
                  <a:pt x="688" y="407"/>
                  <a:pt x="688" y="407"/>
                  <a:pt x="688" y="408"/>
                </a:cubicBezTo>
                <a:cubicBezTo>
                  <a:pt x="688" y="408"/>
                  <a:pt x="688" y="408"/>
                  <a:pt x="688" y="409"/>
                </a:cubicBezTo>
                <a:cubicBezTo>
                  <a:pt x="688" y="409"/>
                  <a:pt x="689" y="410"/>
                  <a:pt x="690" y="410"/>
                </a:cubicBezTo>
                <a:cubicBezTo>
                  <a:pt x="690" y="410"/>
                  <a:pt x="690" y="410"/>
                  <a:pt x="690" y="411"/>
                </a:cubicBezTo>
                <a:cubicBezTo>
                  <a:pt x="690" y="411"/>
                  <a:pt x="691" y="411"/>
                  <a:pt x="691" y="410"/>
                </a:cubicBezTo>
                <a:cubicBezTo>
                  <a:pt x="691" y="410"/>
                  <a:pt x="692" y="410"/>
                  <a:pt x="692" y="410"/>
                </a:cubicBezTo>
                <a:cubicBezTo>
                  <a:pt x="692" y="410"/>
                  <a:pt x="692" y="410"/>
                  <a:pt x="692" y="409"/>
                </a:cubicBezTo>
                <a:cubicBezTo>
                  <a:pt x="692" y="409"/>
                  <a:pt x="692" y="408"/>
                  <a:pt x="693" y="408"/>
                </a:cubicBezTo>
                <a:cubicBezTo>
                  <a:pt x="693" y="407"/>
                  <a:pt x="693" y="408"/>
                  <a:pt x="693" y="408"/>
                </a:cubicBezTo>
                <a:cubicBezTo>
                  <a:pt x="693" y="408"/>
                  <a:pt x="693" y="408"/>
                  <a:pt x="693" y="409"/>
                </a:cubicBezTo>
                <a:cubicBezTo>
                  <a:pt x="692" y="409"/>
                  <a:pt x="693" y="410"/>
                  <a:pt x="694" y="410"/>
                </a:cubicBezTo>
                <a:cubicBezTo>
                  <a:pt x="693" y="410"/>
                  <a:pt x="693" y="411"/>
                  <a:pt x="693" y="411"/>
                </a:cubicBezTo>
                <a:cubicBezTo>
                  <a:pt x="692" y="411"/>
                  <a:pt x="692" y="411"/>
                  <a:pt x="691" y="411"/>
                </a:cubicBezTo>
                <a:cubicBezTo>
                  <a:pt x="691" y="412"/>
                  <a:pt x="691" y="412"/>
                  <a:pt x="691" y="413"/>
                </a:cubicBezTo>
                <a:cubicBezTo>
                  <a:pt x="691" y="413"/>
                  <a:pt x="692" y="413"/>
                  <a:pt x="692" y="414"/>
                </a:cubicBezTo>
                <a:cubicBezTo>
                  <a:pt x="692" y="414"/>
                  <a:pt x="692" y="414"/>
                  <a:pt x="692" y="414"/>
                </a:cubicBezTo>
                <a:cubicBezTo>
                  <a:pt x="693" y="414"/>
                  <a:pt x="692" y="415"/>
                  <a:pt x="693" y="415"/>
                </a:cubicBezTo>
                <a:cubicBezTo>
                  <a:pt x="693" y="415"/>
                  <a:pt x="693" y="415"/>
                  <a:pt x="694" y="415"/>
                </a:cubicBezTo>
                <a:cubicBezTo>
                  <a:pt x="694" y="415"/>
                  <a:pt x="694" y="414"/>
                  <a:pt x="694" y="414"/>
                </a:cubicBezTo>
                <a:cubicBezTo>
                  <a:pt x="694" y="413"/>
                  <a:pt x="694" y="413"/>
                  <a:pt x="694" y="412"/>
                </a:cubicBezTo>
                <a:cubicBezTo>
                  <a:pt x="694" y="412"/>
                  <a:pt x="695" y="412"/>
                  <a:pt x="695" y="412"/>
                </a:cubicBezTo>
                <a:cubicBezTo>
                  <a:pt x="695" y="411"/>
                  <a:pt x="695" y="412"/>
                  <a:pt x="695" y="412"/>
                </a:cubicBezTo>
                <a:cubicBezTo>
                  <a:pt x="697" y="412"/>
                  <a:pt x="699" y="412"/>
                  <a:pt x="700" y="413"/>
                </a:cubicBezTo>
                <a:cubicBezTo>
                  <a:pt x="700" y="413"/>
                  <a:pt x="700" y="413"/>
                  <a:pt x="700" y="413"/>
                </a:cubicBezTo>
                <a:cubicBezTo>
                  <a:pt x="700" y="413"/>
                  <a:pt x="700" y="414"/>
                  <a:pt x="700" y="413"/>
                </a:cubicBezTo>
                <a:cubicBezTo>
                  <a:pt x="699" y="413"/>
                  <a:pt x="698" y="413"/>
                  <a:pt x="697" y="413"/>
                </a:cubicBezTo>
                <a:cubicBezTo>
                  <a:pt x="697" y="413"/>
                  <a:pt x="697" y="412"/>
                  <a:pt x="696" y="412"/>
                </a:cubicBezTo>
                <a:cubicBezTo>
                  <a:pt x="695" y="412"/>
                  <a:pt x="695" y="413"/>
                  <a:pt x="695" y="414"/>
                </a:cubicBezTo>
                <a:cubicBezTo>
                  <a:pt x="695" y="415"/>
                  <a:pt x="695" y="415"/>
                  <a:pt x="695" y="416"/>
                </a:cubicBezTo>
                <a:cubicBezTo>
                  <a:pt x="697" y="417"/>
                  <a:pt x="698" y="418"/>
                  <a:pt x="700" y="420"/>
                </a:cubicBezTo>
                <a:cubicBezTo>
                  <a:pt x="700" y="420"/>
                  <a:pt x="700" y="420"/>
                  <a:pt x="700" y="420"/>
                </a:cubicBezTo>
                <a:cubicBezTo>
                  <a:pt x="701" y="421"/>
                  <a:pt x="701" y="421"/>
                  <a:pt x="701" y="421"/>
                </a:cubicBezTo>
                <a:cubicBezTo>
                  <a:pt x="701" y="421"/>
                  <a:pt x="702" y="422"/>
                  <a:pt x="702" y="422"/>
                </a:cubicBezTo>
                <a:cubicBezTo>
                  <a:pt x="703" y="422"/>
                  <a:pt x="702" y="422"/>
                  <a:pt x="702" y="422"/>
                </a:cubicBezTo>
                <a:cubicBezTo>
                  <a:pt x="702" y="422"/>
                  <a:pt x="702" y="422"/>
                  <a:pt x="701" y="422"/>
                </a:cubicBezTo>
                <a:cubicBezTo>
                  <a:pt x="701" y="422"/>
                  <a:pt x="701" y="422"/>
                  <a:pt x="700" y="422"/>
                </a:cubicBezTo>
                <a:cubicBezTo>
                  <a:pt x="700" y="421"/>
                  <a:pt x="700" y="421"/>
                  <a:pt x="699" y="421"/>
                </a:cubicBezTo>
                <a:cubicBezTo>
                  <a:pt x="699" y="420"/>
                  <a:pt x="698" y="419"/>
                  <a:pt x="697" y="418"/>
                </a:cubicBezTo>
                <a:cubicBezTo>
                  <a:pt x="696" y="418"/>
                  <a:pt x="695" y="417"/>
                  <a:pt x="694" y="417"/>
                </a:cubicBezTo>
                <a:cubicBezTo>
                  <a:pt x="694" y="417"/>
                  <a:pt x="694" y="417"/>
                  <a:pt x="694" y="417"/>
                </a:cubicBezTo>
                <a:cubicBezTo>
                  <a:pt x="694" y="417"/>
                  <a:pt x="694" y="418"/>
                  <a:pt x="694" y="418"/>
                </a:cubicBezTo>
                <a:cubicBezTo>
                  <a:pt x="694" y="418"/>
                  <a:pt x="694" y="418"/>
                  <a:pt x="694" y="419"/>
                </a:cubicBezTo>
                <a:cubicBezTo>
                  <a:pt x="694" y="419"/>
                  <a:pt x="694" y="419"/>
                  <a:pt x="694" y="419"/>
                </a:cubicBezTo>
                <a:cubicBezTo>
                  <a:pt x="694" y="420"/>
                  <a:pt x="694" y="420"/>
                  <a:pt x="694" y="420"/>
                </a:cubicBezTo>
                <a:cubicBezTo>
                  <a:pt x="694" y="420"/>
                  <a:pt x="695" y="420"/>
                  <a:pt x="695" y="420"/>
                </a:cubicBezTo>
                <a:cubicBezTo>
                  <a:pt x="695" y="420"/>
                  <a:pt x="695" y="421"/>
                  <a:pt x="695" y="421"/>
                </a:cubicBezTo>
                <a:cubicBezTo>
                  <a:pt x="695" y="421"/>
                  <a:pt x="695" y="421"/>
                  <a:pt x="695" y="421"/>
                </a:cubicBezTo>
                <a:cubicBezTo>
                  <a:pt x="695" y="421"/>
                  <a:pt x="695" y="422"/>
                  <a:pt x="695" y="423"/>
                </a:cubicBezTo>
                <a:cubicBezTo>
                  <a:pt x="695" y="423"/>
                  <a:pt x="695" y="423"/>
                  <a:pt x="695" y="423"/>
                </a:cubicBezTo>
                <a:cubicBezTo>
                  <a:pt x="695" y="423"/>
                  <a:pt x="696" y="423"/>
                  <a:pt x="696" y="424"/>
                </a:cubicBezTo>
                <a:cubicBezTo>
                  <a:pt x="696" y="424"/>
                  <a:pt x="697" y="424"/>
                  <a:pt x="697" y="424"/>
                </a:cubicBezTo>
                <a:cubicBezTo>
                  <a:pt x="697" y="424"/>
                  <a:pt x="697" y="424"/>
                  <a:pt x="696" y="425"/>
                </a:cubicBezTo>
                <a:cubicBezTo>
                  <a:pt x="696" y="425"/>
                  <a:pt x="697" y="426"/>
                  <a:pt x="697" y="426"/>
                </a:cubicBezTo>
                <a:cubicBezTo>
                  <a:pt x="697" y="426"/>
                  <a:pt x="698" y="426"/>
                  <a:pt x="699" y="426"/>
                </a:cubicBezTo>
                <a:cubicBezTo>
                  <a:pt x="699" y="426"/>
                  <a:pt x="699" y="426"/>
                  <a:pt x="700" y="426"/>
                </a:cubicBezTo>
                <a:cubicBezTo>
                  <a:pt x="700" y="427"/>
                  <a:pt x="700" y="427"/>
                  <a:pt x="700" y="427"/>
                </a:cubicBezTo>
                <a:cubicBezTo>
                  <a:pt x="700" y="427"/>
                  <a:pt x="700" y="427"/>
                  <a:pt x="700" y="427"/>
                </a:cubicBezTo>
                <a:cubicBezTo>
                  <a:pt x="699" y="427"/>
                  <a:pt x="699" y="427"/>
                  <a:pt x="698" y="427"/>
                </a:cubicBezTo>
                <a:cubicBezTo>
                  <a:pt x="698" y="427"/>
                  <a:pt x="697" y="427"/>
                  <a:pt x="697" y="427"/>
                </a:cubicBezTo>
                <a:cubicBezTo>
                  <a:pt x="696" y="427"/>
                  <a:pt x="696" y="427"/>
                  <a:pt x="696" y="427"/>
                </a:cubicBezTo>
                <a:cubicBezTo>
                  <a:pt x="696" y="428"/>
                  <a:pt x="696" y="428"/>
                  <a:pt x="696" y="428"/>
                </a:cubicBezTo>
                <a:cubicBezTo>
                  <a:pt x="696" y="429"/>
                  <a:pt x="695" y="429"/>
                  <a:pt x="695" y="430"/>
                </a:cubicBezTo>
                <a:cubicBezTo>
                  <a:pt x="695" y="430"/>
                  <a:pt x="695" y="430"/>
                  <a:pt x="695" y="430"/>
                </a:cubicBezTo>
                <a:cubicBezTo>
                  <a:pt x="695" y="430"/>
                  <a:pt x="695" y="430"/>
                  <a:pt x="695" y="430"/>
                </a:cubicBezTo>
                <a:cubicBezTo>
                  <a:pt x="696" y="430"/>
                  <a:pt x="697" y="431"/>
                  <a:pt x="698" y="432"/>
                </a:cubicBezTo>
                <a:cubicBezTo>
                  <a:pt x="698" y="432"/>
                  <a:pt x="698" y="432"/>
                  <a:pt x="698" y="432"/>
                </a:cubicBezTo>
                <a:cubicBezTo>
                  <a:pt x="699" y="432"/>
                  <a:pt x="699" y="431"/>
                  <a:pt x="699" y="431"/>
                </a:cubicBezTo>
                <a:cubicBezTo>
                  <a:pt x="699" y="430"/>
                  <a:pt x="700" y="430"/>
                  <a:pt x="700" y="430"/>
                </a:cubicBezTo>
                <a:cubicBezTo>
                  <a:pt x="700" y="430"/>
                  <a:pt x="700" y="430"/>
                  <a:pt x="700" y="430"/>
                </a:cubicBezTo>
                <a:cubicBezTo>
                  <a:pt x="700" y="431"/>
                  <a:pt x="700" y="431"/>
                  <a:pt x="700" y="431"/>
                </a:cubicBezTo>
                <a:cubicBezTo>
                  <a:pt x="700" y="431"/>
                  <a:pt x="700" y="431"/>
                  <a:pt x="700" y="431"/>
                </a:cubicBezTo>
                <a:cubicBezTo>
                  <a:pt x="700" y="431"/>
                  <a:pt x="700" y="432"/>
                  <a:pt x="700" y="432"/>
                </a:cubicBezTo>
                <a:cubicBezTo>
                  <a:pt x="700" y="432"/>
                  <a:pt x="701" y="432"/>
                  <a:pt x="701" y="432"/>
                </a:cubicBezTo>
                <a:cubicBezTo>
                  <a:pt x="702" y="433"/>
                  <a:pt x="702" y="433"/>
                  <a:pt x="702" y="433"/>
                </a:cubicBezTo>
                <a:cubicBezTo>
                  <a:pt x="703" y="433"/>
                  <a:pt x="703" y="433"/>
                  <a:pt x="703" y="433"/>
                </a:cubicBezTo>
                <a:cubicBezTo>
                  <a:pt x="704" y="433"/>
                  <a:pt x="704" y="432"/>
                  <a:pt x="704" y="432"/>
                </a:cubicBezTo>
                <a:cubicBezTo>
                  <a:pt x="704" y="432"/>
                  <a:pt x="704" y="432"/>
                  <a:pt x="704" y="432"/>
                </a:cubicBezTo>
                <a:cubicBezTo>
                  <a:pt x="704" y="431"/>
                  <a:pt x="704" y="431"/>
                  <a:pt x="704" y="432"/>
                </a:cubicBezTo>
                <a:cubicBezTo>
                  <a:pt x="704" y="432"/>
                  <a:pt x="704" y="432"/>
                  <a:pt x="704" y="432"/>
                </a:cubicBezTo>
                <a:cubicBezTo>
                  <a:pt x="704" y="433"/>
                  <a:pt x="704" y="433"/>
                  <a:pt x="705" y="433"/>
                </a:cubicBezTo>
                <a:cubicBezTo>
                  <a:pt x="704" y="434"/>
                  <a:pt x="704" y="434"/>
                  <a:pt x="704" y="434"/>
                </a:cubicBezTo>
                <a:cubicBezTo>
                  <a:pt x="703" y="434"/>
                  <a:pt x="703" y="434"/>
                  <a:pt x="703" y="434"/>
                </a:cubicBezTo>
                <a:cubicBezTo>
                  <a:pt x="703" y="434"/>
                  <a:pt x="703" y="435"/>
                  <a:pt x="703" y="435"/>
                </a:cubicBezTo>
                <a:cubicBezTo>
                  <a:pt x="703" y="436"/>
                  <a:pt x="704" y="437"/>
                  <a:pt x="704" y="437"/>
                </a:cubicBezTo>
                <a:cubicBezTo>
                  <a:pt x="704" y="437"/>
                  <a:pt x="705" y="438"/>
                  <a:pt x="705" y="438"/>
                </a:cubicBezTo>
                <a:cubicBezTo>
                  <a:pt x="705" y="438"/>
                  <a:pt x="705" y="439"/>
                  <a:pt x="706" y="439"/>
                </a:cubicBezTo>
                <a:cubicBezTo>
                  <a:pt x="706" y="439"/>
                  <a:pt x="706" y="440"/>
                  <a:pt x="707" y="440"/>
                </a:cubicBezTo>
                <a:cubicBezTo>
                  <a:pt x="707" y="440"/>
                  <a:pt x="707" y="440"/>
                  <a:pt x="708" y="440"/>
                </a:cubicBezTo>
                <a:cubicBezTo>
                  <a:pt x="708" y="440"/>
                  <a:pt x="708" y="440"/>
                  <a:pt x="708" y="440"/>
                </a:cubicBezTo>
                <a:cubicBezTo>
                  <a:pt x="708" y="440"/>
                  <a:pt x="708" y="440"/>
                  <a:pt x="708" y="440"/>
                </a:cubicBezTo>
                <a:cubicBezTo>
                  <a:pt x="708" y="440"/>
                  <a:pt x="708" y="441"/>
                  <a:pt x="707" y="441"/>
                </a:cubicBezTo>
                <a:cubicBezTo>
                  <a:pt x="707" y="441"/>
                  <a:pt x="708" y="441"/>
                  <a:pt x="707" y="442"/>
                </a:cubicBezTo>
                <a:cubicBezTo>
                  <a:pt x="707" y="442"/>
                  <a:pt x="707" y="442"/>
                  <a:pt x="707" y="443"/>
                </a:cubicBezTo>
                <a:cubicBezTo>
                  <a:pt x="707" y="443"/>
                  <a:pt x="708" y="443"/>
                  <a:pt x="708" y="443"/>
                </a:cubicBezTo>
                <a:cubicBezTo>
                  <a:pt x="709" y="443"/>
                  <a:pt x="709" y="443"/>
                  <a:pt x="710" y="443"/>
                </a:cubicBezTo>
                <a:cubicBezTo>
                  <a:pt x="710" y="443"/>
                  <a:pt x="710" y="443"/>
                  <a:pt x="710" y="443"/>
                </a:cubicBezTo>
                <a:cubicBezTo>
                  <a:pt x="710" y="443"/>
                  <a:pt x="710" y="443"/>
                  <a:pt x="710" y="443"/>
                </a:cubicBezTo>
                <a:cubicBezTo>
                  <a:pt x="710" y="444"/>
                  <a:pt x="711" y="445"/>
                  <a:pt x="710" y="445"/>
                </a:cubicBezTo>
                <a:cubicBezTo>
                  <a:pt x="710" y="446"/>
                  <a:pt x="711" y="446"/>
                  <a:pt x="711" y="446"/>
                </a:cubicBezTo>
                <a:cubicBezTo>
                  <a:pt x="711" y="446"/>
                  <a:pt x="712" y="447"/>
                  <a:pt x="712" y="447"/>
                </a:cubicBezTo>
                <a:cubicBezTo>
                  <a:pt x="712" y="447"/>
                  <a:pt x="712" y="448"/>
                  <a:pt x="712" y="448"/>
                </a:cubicBezTo>
                <a:cubicBezTo>
                  <a:pt x="712" y="449"/>
                  <a:pt x="713" y="449"/>
                  <a:pt x="713" y="449"/>
                </a:cubicBezTo>
                <a:cubicBezTo>
                  <a:pt x="713" y="449"/>
                  <a:pt x="713" y="449"/>
                  <a:pt x="714" y="450"/>
                </a:cubicBezTo>
                <a:cubicBezTo>
                  <a:pt x="714" y="450"/>
                  <a:pt x="713" y="450"/>
                  <a:pt x="713" y="450"/>
                </a:cubicBezTo>
                <a:cubicBezTo>
                  <a:pt x="713" y="450"/>
                  <a:pt x="713" y="450"/>
                  <a:pt x="712" y="449"/>
                </a:cubicBezTo>
                <a:cubicBezTo>
                  <a:pt x="712" y="449"/>
                  <a:pt x="711" y="448"/>
                  <a:pt x="711" y="447"/>
                </a:cubicBezTo>
                <a:cubicBezTo>
                  <a:pt x="711" y="447"/>
                  <a:pt x="710" y="447"/>
                  <a:pt x="710" y="447"/>
                </a:cubicBezTo>
                <a:cubicBezTo>
                  <a:pt x="710" y="447"/>
                  <a:pt x="710" y="447"/>
                  <a:pt x="709" y="447"/>
                </a:cubicBezTo>
                <a:cubicBezTo>
                  <a:pt x="709" y="448"/>
                  <a:pt x="710" y="448"/>
                  <a:pt x="710" y="448"/>
                </a:cubicBezTo>
                <a:cubicBezTo>
                  <a:pt x="710" y="448"/>
                  <a:pt x="710" y="449"/>
                  <a:pt x="710" y="449"/>
                </a:cubicBezTo>
                <a:cubicBezTo>
                  <a:pt x="710" y="450"/>
                  <a:pt x="711" y="450"/>
                  <a:pt x="711" y="450"/>
                </a:cubicBezTo>
                <a:cubicBezTo>
                  <a:pt x="711" y="451"/>
                  <a:pt x="710" y="451"/>
                  <a:pt x="710" y="451"/>
                </a:cubicBezTo>
                <a:cubicBezTo>
                  <a:pt x="710" y="451"/>
                  <a:pt x="710" y="452"/>
                  <a:pt x="711" y="452"/>
                </a:cubicBezTo>
                <a:cubicBezTo>
                  <a:pt x="711" y="452"/>
                  <a:pt x="711" y="452"/>
                  <a:pt x="711" y="452"/>
                </a:cubicBezTo>
                <a:cubicBezTo>
                  <a:pt x="711" y="452"/>
                  <a:pt x="710" y="452"/>
                  <a:pt x="710" y="453"/>
                </a:cubicBezTo>
                <a:cubicBezTo>
                  <a:pt x="710" y="453"/>
                  <a:pt x="709" y="453"/>
                  <a:pt x="709" y="453"/>
                </a:cubicBezTo>
                <a:cubicBezTo>
                  <a:pt x="709" y="454"/>
                  <a:pt x="708" y="454"/>
                  <a:pt x="708" y="453"/>
                </a:cubicBezTo>
                <a:cubicBezTo>
                  <a:pt x="708" y="453"/>
                  <a:pt x="708" y="453"/>
                  <a:pt x="708" y="453"/>
                </a:cubicBezTo>
                <a:cubicBezTo>
                  <a:pt x="709" y="452"/>
                  <a:pt x="709" y="452"/>
                  <a:pt x="709" y="452"/>
                </a:cubicBezTo>
                <a:cubicBezTo>
                  <a:pt x="710" y="452"/>
                  <a:pt x="710" y="451"/>
                  <a:pt x="710" y="451"/>
                </a:cubicBezTo>
                <a:cubicBezTo>
                  <a:pt x="710" y="451"/>
                  <a:pt x="710" y="451"/>
                  <a:pt x="710" y="451"/>
                </a:cubicBezTo>
                <a:cubicBezTo>
                  <a:pt x="710" y="450"/>
                  <a:pt x="710" y="450"/>
                  <a:pt x="710" y="450"/>
                </a:cubicBezTo>
                <a:cubicBezTo>
                  <a:pt x="709" y="450"/>
                  <a:pt x="709" y="450"/>
                  <a:pt x="709" y="450"/>
                </a:cubicBezTo>
                <a:cubicBezTo>
                  <a:pt x="709" y="449"/>
                  <a:pt x="709" y="449"/>
                  <a:pt x="709" y="449"/>
                </a:cubicBezTo>
                <a:cubicBezTo>
                  <a:pt x="709" y="449"/>
                  <a:pt x="709" y="448"/>
                  <a:pt x="709" y="448"/>
                </a:cubicBezTo>
                <a:cubicBezTo>
                  <a:pt x="709" y="448"/>
                  <a:pt x="709" y="448"/>
                  <a:pt x="709" y="447"/>
                </a:cubicBezTo>
                <a:cubicBezTo>
                  <a:pt x="708" y="447"/>
                  <a:pt x="707" y="448"/>
                  <a:pt x="707" y="448"/>
                </a:cubicBezTo>
                <a:cubicBezTo>
                  <a:pt x="707" y="449"/>
                  <a:pt x="708" y="450"/>
                  <a:pt x="707" y="450"/>
                </a:cubicBezTo>
                <a:cubicBezTo>
                  <a:pt x="707" y="451"/>
                  <a:pt x="707" y="451"/>
                  <a:pt x="707" y="451"/>
                </a:cubicBezTo>
                <a:cubicBezTo>
                  <a:pt x="707" y="451"/>
                  <a:pt x="707" y="452"/>
                  <a:pt x="707" y="452"/>
                </a:cubicBezTo>
                <a:cubicBezTo>
                  <a:pt x="706" y="452"/>
                  <a:pt x="706" y="452"/>
                  <a:pt x="706" y="452"/>
                </a:cubicBezTo>
                <a:cubicBezTo>
                  <a:pt x="706" y="453"/>
                  <a:pt x="706" y="453"/>
                  <a:pt x="706" y="454"/>
                </a:cubicBezTo>
                <a:cubicBezTo>
                  <a:pt x="706" y="454"/>
                  <a:pt x="706" y="455"/>
                  <a:pt x="706" y="456"/>
                </a:cubicBezTo>
                <a:cubicBezTo>
                  <a:pt x="706" y="456"/>
                  <a:pt x="706" y="456"/>
                  <a:pt x="706" y="456"/>
                </a:cubicBezTo>
                <a:cubicBezTo>
                  <a:pt x="706" y="456"/>
                  <a:pt x="707" y="456"/>
                  <a:pt x="707" y="456"/>
                </a:cubicBezTo>
                <a:cubicBezTo>
                  <a:pt x="707" y="456"/>
                  <a:pt x="707" y="456"/>
                  <a:pt x="707" y="456"/>
                </a:cubicBezTo>
                <a:cubicBezTo>
                  <a:pt x="708" y="455"/>
                  <a:pt x="708" y="456"/>
                  <a:pt x="708" y="456"/>
                </a:cubicBezTo>
                <a:cubicBezTo>
                  <a:pt x="708" y="457"/>
                  <a:pt x="709" y="457"/>
                  <a:pt x="709" y="458"/>
                </a:cubicBezTo>
                <a:cubicBezTo>
                  <a:pt x="709" y="458"/>
                  <a:pt x="709" y="458"/>
                  <a:pt x="709" y="459"/>
                </a:cubicBezTo>
                <a:cubicBezTo>
                  <a:pt x="709" y="459"/>
                  <a:pt x="709" y="460"/>
                  <a:pt x="709" y="460"/>
                </a:cubicBezTo>
                <a:cubicBezTo>
                  <a:pt x="709" y="460"/>
                  <a:pt x="710" y="460"/>
                  <a:pt x="710" y="460"/>
                </a:cubicBezTo>
                <a:cubicBezTo>
                  <a:pt x="710" y="460"/>
                  <a:pt x="710" y="460"/>
                  <a:pt x="710" y="460"/>
                </a:cubicBezTo>
                <a:cubicBezTo>
                  <a:pt x="711" y="459"/>
                  <a:pt x="711" y="459"/>
                  <a:pt x="712" y="459"/>
                </a:cubicBezTo>
                <a:cubicBezTo>
                  <a:pt x="712" y="459"/>
                  <a:pt x="712" y="459"/>
                  <a:pt x="712" y="458"/>
                </a:cubicBezTo>
                <a:cubicBezTo>
                  <a:pt x="713" y="458"/>
                  <a:pt x="713" y="458"/>
                  <a:pt x="713" y="458"/>
                </a:cubicBezTo>
                <a:cubicBezTo>
                  <a:pt x="713" y="457"/>
                  <a:pt x="713" y="457"/>
                  <a:pt x="712" y="456"/>
                </a:cubicBezTo>
                <a:cubicBezTo>
                  <a:pt x="712" y="456"/>
                  <a:pt x="712" y="456"/>
                  <a:pt x="712" y="456"/>
                </a:cubicBezTo>
                <a:cubicBezTo>
                  <a:pt x="712" y="456"/>
                  <a:pt x="712" y="456"/>
                  <a:pt x="712" y="456"/>
                </a:cubicBezTo>
                <a:cubicBezTo>
                  <a:pt x="713" y="455"/>
                  <a:pt x="713" y="455"/>
                  <a:pt x="713" y="455"/>
                </a:cubicBezTo>
                <a:cubicBezTo>
                  <a:pt x="713" y="454"/>
                  <a:pt x="712" y="454"/>
                  <a:pt x="712" y="454"/>
                </a:cubicBezTo>
                <a:cubicBezTo>
                  <a:pt x="712" y="454"/>
                  <a:pt x="712" y="453"/>
                  <a:pt x="712" y="453"/>
                </a:cubicBezTo>
                <a:cubicBezTo>
                  <a:pt x="712" y="453"/>
                  <a:pt x="713" y="454"/>
                  <a:pt x="713" y="454"/>
                </a:cubicBezTo>
                <a:cubicBezTo>
                  <a:pt x="713" y="454"/>
                  <a:pt x="714" y="454"/>
                  <a:pt x="714" y="454"/>
                </a:cubicBezTo>
                <a:cubicBezTo>
                  <a:pt x="714" y="453"/>
                  <a:pt x="714" y="453"/>
                  <a:pt x="715" y="453"/>
                </a:cubicBezTo>
                <a:cubicBezTo>
                  <a:pt x="715" y="452"/>
                  <a:pt x="717" y="452"/>
                  <a:pt x="717" y="452"/>
                </a:cubicBezTo>
                <a:cubicBezTo>
                  <a:pt x="718" y="452"/>
                  <a:pt x="718" y="453"/>
                  <a:pt x="719" y="453"/>
                </a:cubicBezTo>
                <a:cubicBezTo>
                  <a:pt x="719" y="453"/>
                  <a:pt x="720" y="452"/>
                  <a:pt x="720" y="452"/>
                </a:cubicBezTo>
                <a:cubicBezTo>
                  <a:pt x="720" y="453"/>
                  <a:pt x="720" y="453"/>
                  <a:pt x="720" y="453"/>
                </a:cubicBezTo>
                <a:cubicBezTo>
                  <a:pt x="720" y="453"/>
                  <a:pt x="720" y="453"/>
                  <a:pt x="720" y="453"/>
                </a:cubicBezTo>
                <a:cubicBezTo>
                  <a:pt x="720" y="454"/>
                  <a:pt x="720" y="454"/>
                  <a:pt x="720" y="454"/>
                </a:cubicBezTo>
                <a:cubicBezTo>
                  <a:pt x="718" y="454"/>
                  <a:pt x="717" y="454"/>
                  <a:pt x="716" y="454"/>
                </a:cubicBezTo>
                <a:cubicBezTo>
                  <a:pt x="716" y="454"/>
                  <a:pt x="716" y="454"/>
                  <a:pt x="716" y="454"/>
                </a:cubicBezTo>
                <a:cubicBezTo>
                  <a:pt x="715" y="454"/>
                  <a:pt x="715" y="454"/>
                  <a:pt x="715" y="454"/>
                </a:cubicBezTo>
                <a:cubicBezTo>
                  <a:pt x="715" y="454"/>
                  <a:pt x="715" y="454"/>
                  <a:pt x="715" y="455"/>
                </a:cubicBezTo>
                <a:cubicBezTo>
                  <a:pt x="715" y="455"/>
                  <a:pt x="714" y="455"/>
                  <a:pt x="714" y="456"/>
                </a:cubicBezTo>
                <a:cubicBezTo>
                  <a:pt x="714" y="456"/>
                  <a:pt x="714" y="457"/>
                  <a:pt x="714" y="457"/>
                </a:cubicBezTo>
                <a:cubicBezTo>
                  <a:pt x="715" y="457"/>
                  <a:pt x="715" y="457"/>
                  <a:pt x="715" y="458"/>
                </a:cubicBezTo>
                <a:cubicBezTo>
                  <a:pt x="715" y="458"/>
                  <a:pt x="715" y="458"/>
                  <a:pt x="715" y="458"/>
                </a:cubicBezTo>
                <a:cubicBezTo>
                  <a:pt x="715" y="458"/>
                  <a:pt x="715" y="458"/>
                  <a:pt x="715" y="458"/>
                </a:cubicBezTo>
                <a:cubicBezTo>
                  <a:pt x="714" y="459"/>
                  <a:pt x="714" y="460"/>
                  <a:pt x="713" y="461"/>
                </a:cubicBezTo>
                <a:cubicBezTo>
                  <a:pt x="713" y="461"/>
                  <a:pt x="713" y="463"/>
                  <a:pt x="712" y="463"/>
                </a:cubicBezTo>
                <a:cubicBezTo>
                  <a:pt x="712" y="463"/>
                  <a:pt x="712" y="463"/>
                  <a:pt x="712" y="463"/>
                </a:cubicBezTo>
                <a:cubicBezTo>
                  <a:pt x="711" y="464"/>
                  <a:pt x="712" y="464"/>
                  <a:pt x="712" y="465"/>
                </a:cubicBezTo>
                <a:cubicBezTo>
                  <a:pt x="712" y="465"/>
                  <a:pt x="712" y="466"/>
                  <a:pt x="712" y="466"/>
                </a:cubicBezTo>
                <a:cubicBezTo>
                  <a:pt x="712" y="467"/>
                  <a:pt x="713" y="468"/>
                  <a:pt x="714" y="468"/>
                </a:cubicBezTo>
                <a:cubicBezTo>
                  <a:pt x="714" y="469"/>
                  <a:pt x="715" y="469"/>
                  <a:pt x="715" y="469"/>
                </a:cubicBezTo>
                <a:cubicBezTo>
                  <a:pt x="715" y="468"/>
                  <a:pt x="715" y="468"/>
                  <a:pt x="715" y="467"/>
                </a:cubicBezTo>
                <a:cubicBezTo>
                  <a:pt x="716" y="466"/>
                  <a:pt x="716" y="465"/>
                  <a:pt x="717" y="465"/>
                </a:cubicBezTo>
                <a:cubicBezTo>
                  <a:pt x="717" y="464"/>
                  <a:pt x="717" y="462"/>
                  <a:pt x="717" y="462"/>
                </a:cubicBezTo>
                <a:cubicBezTo>
                  <a:pt x="716" y="462"/>
                  <a:pt x="716" y="461"/>
                  <a:pt x="716" y="461"/>
                </a:cubicBezTo>
                <a:cubicBezTo>
                  <a:pt x="716" y="461"/>
                  <a:pt x="716" y="461"/>
                  <a:pt x="717" y="461"/>
                </a:cubicBezTo>
                <a:cubicBezTo>
                  <a:pt x="718" y="460"/>
                  <a:pt x="719" y="459"/>
                  <a:pt x="720" y="458"/>
                </a:cubicBezTo>
                <a:cubicBezTo>
                  <a:pt x="720" y="458"/>
                  <a:pt x="720" y="459"/>
                  <a:pt x="720" y="459"/>
                </a:cubicBezTo>
                <a:cubicBezTo>
                  <a:pt x="720" y="459"/>
                  <a:pt x="719" y="459"/>
                  <a:pt x="719" y="459"/>
                </a:cubicBezTo>
                <a:cubicBezTo>
                  <a:pt x="719" y="459"/>
                  <a:pt x="719" y="459"/>
                  <a:pt x="719" y="460"/>
                </a:cubicBezTo>
                <a:cubicBezTo>
                  <a:pt x="719" y="460"/>
                  <a:pt x="720" y="460"/>
                  <a:pt x="720" y="461"/>
                </a:cubicBezTo>
                <a:cubicBezTo>
                  <a:pt x="719" y="461"/>
                  <a:pt x="718" y="461"/>
                  <a:pt x="718" y="462"/>
                </a:cubicBezTo>
                <a:cubicBezTo>
                  <a:pt x="719" y="462"/>
                  <a:pt x="719" y="462"/>
                  <a:pt x="719" y="462"/>
                </a:cubicBezTo>
                <a:cubicBezTo>
                  <a:pt x="720" y="462"/>
                  <a:pt x="719" y="463"/>
                  <a:pt x="719" y="463"/>
                </a:cubicBezTo>
                <a:cubicBezTo>
                  <a:pt x="719" y="463"/>
                  <a:pt x="718" y="463"/>
                  <a:pt x="718" y="463"/>
                </a:cubicBezTo>
                <a:cubicBezTo>
                  <a:pt x="718" y="464"/>
                  <a:pt x="718" y="464"/>
                  <a:pt x="718" y="464"/>
                </a:cubicBezTo>
                <a:cubicBezTo>
                  <a:pt x="718" y="465"/>
                  <a:pt x="718" y="465"/>
                  <a:pt x="718" y="465"/>
                </a:cubicBezTo>
                <a:cubicBezTo>
                  <a:pt x="718" y="465"/>
                  <a:pt x="718" y="466"/>
                  <a:pt x="718" y="466"/>
                </a:cubicBezTo>
                <a:cubicBezTo>
                  <a:pt x="718" y="466"/>
                  <a:pt x="719" y="467"/>
                  <a:pt x="719" y="467"/>
                </a:cubicBezTo>
                <a:cubicBezTo>
                  <a:pt x="719" y="467"/>
                  <a:pt x="719" y="467"/>
                  <a:pt x="719" y="468"/>
                </a:cubicBezTo>
                <a:cubicBezTo>
                  <a:pt x="719" y="468"/>
                  <a:pt x="718" y="468"/>
                  <a:pt x="718" y="468"/>
                </a:cubicBezTo>
                <a:cubicBezTo>
                  <a:pt x="718" y="469"/>
                  <a:pt x="718" y="469"/>
                  <a:pt x="718" y="469"/>
                </a:cubicBezTo>
                <a:cubicBezTo>
                  <a:pt x="717" y="469"/>
                  <a:pt x="717" y="470"/>
                  <a:pt x="717" y="470"/>
                </a:cubicBezTo>
                <a:cubicBezTo>
                  <a:pt x="718" y="471"/>
                  <a:pt x="718" y="471"/>
                  <a:pt x="717" y="472"/>
                </a:cubicBezTo>
                <a:cubicBezTo>
                  <a:pt x="717" y="471"/>
                  <a:pt x="717" y="471"/>
                  <a:pt x="716" y="471"/>
                </a:cubicBezTo>
                <a:cubicBezTo>
                  <a:pt x="716" y="472"/>
                  <a:pt x="716" y="474"/>
                  <a:pt x="717" y="474"/>
                </a:cubicBezTo>
                <a:cubicBezTo>
                  <a:pt x="717" y="475"/>
                  <a:pt x="717" y="475"/>
                  <a:pt x="717" y="475"/>
                </a:cubicBezTo>
                <a:cubicBezTo>
                  <a:pt x="717" y="475"/>
                  <a:pt x="717" y="476"/>
                  <a:pt x="717" y="476"/>
                </a:cubicBezTo>
                <a:cubicBezTo>
                  <a:pt x="717" y="477"/>
                  <a:pt x="718" y="477"/>
                  <a:pt x="718" y="476"/>
                </a:cubicBezTo>
                <a:cubicBezTo>
                  <a:pt x="718" y="476"/>
                  <a:pt x="718" y="475"/>
                  <a:pt x="718" y="475"/>
                </a:cubicBezTo>
                <a:cubicBezTo>
                  <a:pt x="718" y="475"/>
                  <a:pt x="718" y="475"/>
                  <a:pt x="718" y="474"/>
                </a:cubicBezTo>
                <a:cubicBezTo>
                  <a:pt x="719" y="474"/>
                  <a:pt x="719" y="474"/>
                  <a:pt x="720" y="473"/>
                </a:cubicBezTo>
                <a:cubicBezTo>
                  <a:pt x="720" y="473"/>
                  <a:pt x="720" y="473"/>
                  <a:pt x="720" y="473"/>
                </a:cubicBezTo>
                <a:cubicBezTo>
                  <a:pt x="720" y="473"/>
                  <a:pt x="720" y="472"/>
                  <a:pt x="720" y="472"/>
                </a:cubicBezTo>
                <a:cubicBezTo>
                  <a:pt x="720" y="471"/>
                  <a:pt x="720" y="471"/>
                  <a:pt x="721" y="470"/>
                </a:cubicBezTo>
                <a:cubicBezTo>
                  <a:pt x="721" y="470"/>
                  <a:pt x="721" y="470"/>
                  <a:pt x="721" y="470"/>
                </a:cubicBezTo>
                <a:cubicBezTo>
                  <a:pt x="721" y="470"/>
                  <a:pt x="722" y="470"/>
                  <a:pt x="722" y="470"/>
                </a:cubicBezTo>
                <a:cubicBezTo>
                  <a:pt x="722" y="471"/>
                  <a:pt x="722" y="471"/>
                  <a:pt x="722" y="472"/>
                </a:cubicBezTo>
                <a:cubicBezTo>
                  <a:pt x="722" y="472"/>
                  <a:pt x="722" y="473"/>
                  <a:pt x="723" y="474"/>
                </a:cubicBezTo>
                <a:cubicBezTo>
                  <a:pt x="723" y="474"/>
                  <a:pt x="723" y="474"/>
                  <a:pt x="723" y="474"/>
                </a:cubicBezTo>
                <a:cubicBezTo>
                  <a:pt x="723" y="474"/>
                  <a:pt x="724" y="473"/>
                  <a:pt x="724" y="473"/>
                </a:cubicBezTo>
                <a:cubicBezTo>
                  <a:pt x="724" y="473"/>
                  <a:pt x="724" y="473"/>
                  <a:pt x="724" y="472"/>
                </a:cubicBezTo>
                <a:cubicBezTo>
                  <a:pt x="724" y="472"/>
                  <a:pt x="724" y="472"/>
                  <a:pt x="725" y="472"/>
                </a:cubicBezTo>
                <a:cubicBezTo>
                  <a:pt x="725" y="472"/>
                  <a:pt x="725" y="473"/>
                  <a:pt x="725" y="473"/>
                </a:cubicBezTo>
                <a:cubicBezTo>
                  <a:pt x="724" y="474"/>
                  <a:pt x="724" y="474"/>
                  <a:pt x="724" y="475"/>
                </a:cubicBezTo>
                <a:cubicBezTo>
                  <a:pt x="724" y="475"/>
                  <a:pt x="725" y="475"/>
                  <a:pt x="725" y="475"/>
                </a:cubicBezTo>
                <a:cubicBezTo>
                  <a:pt x="726" y="475"/>
                  <a:pt x="726" y="475"/>
                  <a:pt x="726" y="474"/>
                </a:cubicBezTo>
                <a:cubicBezTo>
                  <a:pt x="727" y="472"/>
                  <a:pt x="728" y="471"/>
                  <a:pt x="728" y="469"/>
                </a:cubicBezTo>
                <a:cubicBezTo>
                  <a:pt x="728" y="466"/>
                  <a:pt x="726" y="463"/>
                  <a:pt x="725" y="460"/>
                </a:cubicBezTo>
                <a:cubicBezTo>
                  <a:pt x="724" y="459"/>
                  <a:pt x="724" y="459"/>
                  <a:pt x="723" y="459"/>
                </a:cubicBezTo>
                <a:cubicBezTo>
                  <a:pt x="723" y="459"/>
                  <a:pt x="722" y="459"/>
                  <a:pt x="722" y="459"/>
                </a:cubicBezTo>
                <a:cubicBezTo>
                  <a:pt x="721" y="458"/>
                  <a:pt x="722" y="458"/>
                  <a:pt x="722" y="458"/>
                </a:cubicBezTo>
                <a:cubicBezTo>
                  <a:pt x="723" y="457"/>
                  <a:pt x="725" y="456"/>
                  <a:pt x="726" y="456"/>
                </a:cubicBezTo>
                <a:cubicBezTo>
                  <a:pt x="726" y="456"/>
                  <a:pt x="726" y="456"/>
                  <a:pt x="726" y="456"/>
                </a:cubicBezTo>
                <a:cubicBezTo>
                  <a:pt x="727" y="456"/>
                  <a:pt x="727" y="456"/>
                  <a:pt x="726" y="457"/>
                </a:cubicBezTo>
                <a:cubicBezTo>
                  <a:pt x="726" y="457"/>
                  <a:pt x="725" y="457"/>
                  <a:pt x="725" y="457"/>
                </a:cubicBezTo>
                <a:cubicBezTo>
                  <a:pt x="725" y="458"/>
                  <a:pt x="725" y="459"/>
                  <a:pt x="726" y="459"/>
                </a:cubicBezTo>
                <a:cubicBezTo>
                  <a:pt x="727" y="461"/>
                  <a:pt x="729" y="464"/>
                  <a:pt x="729" y="467"/>
                </a:cubicBezTo>
                <a:cubicBezTo>
                  <a:pt x="729" y="467"/>
                  <a:pt x="729" y="468"/>
                  <a:pt x="729" y="468"/>
                </a:cubicBezTo>
                <a:cubicBezTo>
                  <a:pt x="729" y="469"/>
                  <a:pt x="729" y="469"/>
                  <a:pt x="729" y="470"/>
                </a:cubicBezTo>
                <a:cubicBezTo>
                  <a:pt x="728" y="471"/>
                  <a:pt x="729" y="472"/>
                  <a:pt x="729" y="472"/>
                </a:cubicBezTo>
                <a:cubicBezTo>
                  <a:pt x="730" y="473"/>
                  <a:pt x="731" y="473"/>
                  <a:pt x="732" y="472"/>
                </a:cubicBezTo>
                <a:cubicBezTo>
                  <a:pt x="732" y="473"/>
                  <a:pt x="731" y="474"/>
                  <a:pt x="731" y="474"/>
                </a:cubicBezTo>
                <a:cubicBezTo>
                  <a:pt x="730" y="474"/>
                  <a:pt x="730" y="474"/>
                  <a:pt x="729" y="474"/>
                </a:cubicBezTo>
                <a:cubicBezTo>
                  <a:pt x="728" y="474"/>
                  <a:pt x="728" y="475"/>
                  <a:pt x="728" y="475"/>
                </a:cubicBezTo>
                <a:cubicBezTo>
                  <a:pt x="727" y="475"/>
                  <a:pt x="727" y="476"/>
                  <a:pt x="727" y="476"/>
                </a:cubicBezTo>
                <a:cubicBezTo>
                  <a:pt x="727" y="477"/>
                  <a:pt x="727" y="477"/>
                  <a:pt x="727" y="478"/>
                </a:cubicBezTo>
                <a:cubicBezTo>
                  <a:pt x="728" y="480"/>
                  <a:pt x="729" y="482"/>
                  <a:pt x="729" y="484"/>
                </a:cubicBezTo>
                <a:cubicBezTo>
                  <a:pt x="729" y="484"/>
                  <a:pt x="729" y="485"/>
                  <a:pt x="729" y="485"/>
                </a:cubicBezTo>
                <a:cubicBezTo>
                  <a:pt x="729" y="485"/>
                  <a:pt x="729" y="485"/>
                  <a:pt x="729" y="485"/>
                </a:cubicBezTo>
                <a:cubicBezTo>
                  <a:pt x="732" y="485"/>
                  <a:pt x="734" y="483"/>
                  <a:pt x="735" y="482"/>
                </a:cubicBezTo>
                <a:cubicBezTo>
                  <a:pt x="737" y="480"/>
                  <a:pt x="738" y="478"/>
                  <a:pt x="739" y="476"/>
                </a:cubicBezTo>
                <a:cubicBezTo>
                  <a:pt x="739" y="474"/>
                  <a:pt x="740" y="472"/>
                  <a:pt x="739" y="471"/>
                </a:cubicBezTo>
                <a:cubicBezTo>
                  <a:pt x="739" y="469"/>
                  <a:pt x="738" y="467"/>
                  <a:pt x="738" y="465"/>
                </a:cubicBezTo>
                <a:cubicBezTo>
                  <a:pt x="738" y="464"/>
                  <a:pt x="738" y="463"/>
                  <a:pt x="738" y="462"/>
                </a:cubicBezTo>
                <a:cubicBezTo>
                  <a:pt x="738" y="462"/>
                  <a:pt x="738" y="461"/>
                  <a:pt x="739" y="461"/>
                </a:cubicBezTo>
                <a:cubicBezTo>
                  <a:pt x="739" y="461"/>
                  <a:pt x="739" y="461"/>
                  <a:pt x="739" y="462"/>
                </a:cubicBezTo>
                <a:cubicBezTo>
                  <a:pt x="740" y="460"/>
                  <a:pt x="740" y="460"/>
                  <a:pt x="740" y="460"/>
                </a:cubicBezTo>
                <a:cubicBezTo>
                  <a:pt x="740" y="460"/>
                  <a:pt x="740" y="458"/>
                  <a:pt x="740" y="458"/>
                </a:cubicBezTo>
                <a:close/>
                <a:moveTo>
                  <a:pt x="553" y="364"/>
                </a:moveTo>
                <a:cubicBezTo>
                  <a:pt x="554" y="364"/>
                  <a:pt x="554" y="364"/>
                  <a:pt x="554" y="364"/>
                </a:cubicBezTo>
                <a:cubicBezTo>
                  <a:pt x="554" y="364"/>
                  <a:pt x="555" y="363"/>
                  <a:pt x="555" y="363"/>
                </a:cubicBezTo>
                <a:cubicBezTo>
                  <a:pt x="555" y="362"/>
                  <a:pt x="556" y="362"/>
                  <a:pt x="556" y="362"/>
                </a:cubicBezTo>
                <a:cubicBezTo>
                  <a:pt x="556" y="362"/>
                  <a:pt x="557" y="362"/>
                  <a:pt x="557" y="361"/>
                </a:cubicBezTo>
                <a:cubicBezTo>
                  <a:pt x="557" y="361"/>
                  <a:pt x="557" y="361"/>
                  <a:pt x="557" y="361"/>
                </a:cubicBezTo>
                <a:cubicBezTo>
                  <a:pt x="556" y="360"/>
                  <a:pt x="556" y="361"/>
                  <a:pt x="556" y="361"/>
                </a:cubicBezTo>
                <a:cubicBezTo>
                  <a:pt x="556" y="361"/>
                  <a:pt x="555" y="361"/>
                  <a:pt x="555" y="361"/>
                </a:cubicBezTo>
                <a:cubicBezTo>
                  <a:pt x="555" y="361"/>
                  <a:pt x="555" y="362"/>
                  <a:pt x="554" y="362"/>
                </a:cubicBezTo>
                <a:cubicBezTo>
                  <a:pt x="554" y="362"/>
                  <a:pt x="554" y="363"/>
                  <a:pt x="554" y="363"/>
                </a:cubicBezTo>
                <a:cubicBezTo>
                  <a:pt x="553" y="363"/>
                  <a:pt x="553" y="364"/>
                  <a:pt x="553" y="364"/>
                </a:cubicBezTo>
                <a:cubicBezTo>
                  <a:pt x="553" y="364"/>
                  <a:pt x="553" y="364"/>
                  <a:pt x="553" y="364"/>
                </a:cubicBezTo>
                <a:close/>
                <a:moveTo>
                  <a:pt x="458" y="349"/>
                </a:moveTo>
                <a:cubicBezTo>
                  <a:pt x="459" y="349"/>
                  <a:pt x="459" y="348"/>
                  <a:pt x="459" y="348"/>
                </a:cubicBezTo>
                <a:cubicBezTo>
                  <a:pt x="458" y="347"/>
                  <a:pt x="458" y="347"/>
                  <a:pt x="458" y="347"/>
                </a:cubicBezTo>
                <a:cubicBezTo>
                  <a:pt x="458" y="347"/>
                  <a:pt x="457" y="348"/>
                  <a:pt x="457" y="348"/>
                </a:cubicBezTo>
                <a:cubicBezTo>
                  <a:pt x="457" y="348"/>
                  <a:pt x="457" y="348"/>
                  <a:pt x="457" y="349"/>
                </a:cubicBezTo>
                <a:cubicBezTo>
                  <a:pt x="457" y="349"/>
                  <a:pt x="457" y="349"/>
                  <a:pt x="457" y="349"/>
                </a:cubicBezTo>
                <a:cubicBezTo>
                  <a:pt x="458" y="350"/>
                  <a:pt x="458" y="349"/>
                  <a:pt x="458" y="349"/>
                </a:cubicBezTo>
                <a:close/>
                <a:moveTo>
                  <a:pt x="457" y="351"/>
                </a:moveTo>
                <a:cubicBezTo>
                  <a:pt x="456" y="351"/>
                  <a:pt x="456" y="351"/>
                  <a:pt x="456" y="351"/>
                </a:cubicBezTo>
                <a:cubicBezTo>
                  <a:pt x="456" y="351"/>
                  <a:pt x="456" y="351"/>
                  <a:pt x="456" y="351"/>
                </a:cubicBezTo>
                <a:cubicBezTo>
                  <a:pt x="457" y="352"/>
                  <a:pt x="457" y="351"/>
                  <a:pt x="457" y="351"/>
                </a:cubicBezTo>
                <a:close/>
                <a:moveTo>
                  <a:pt x="449" y="356"/>
                </a:moveTo>
                <a:cubicBezTo>
                  <a:pt x="449" y="357"/>
                  <a:pt x="449" y="357"/>
                  <a:pt x="449" y="357"/>
                </a:cubicBezTo>
                <a:cubicBezTo>
                  <a:pt x="449" y="357"/>
                  <a:pt x="449" y="357"/>
                  <a:pt x="450" y="357"/>
                </a:cubicBezTo>
                <a:cubicBezTo>
                  <a:pt x="450" y="357"/>
                  <a:pt x="450" y="357"/>
                  <a:pt x="450" y="357"/>
                </a:cubicBezTo>
                <a:cubicBezTo>
                  <a:pt x="450" y="356"/>
                  <a:pt x="449" y="356"/>
                  <a:pt x="449" y="356"/>
                </a:cubicBezTo>
                <a:close/>
                <a:moveTo>
                  <a:pt x="438" y="376"/>
                </a:moveTo>
                <a:cubicBezTo>
                  <a:pt x="438" y="376"/>
                  <a:pt x="437" y="377"/>
                  <a:pt x="437" y="377"/>
                </a:cubicBezTo>
                <a:cubicBezTo>
                  <a:pt x="438" y="378"/>
                  <a:pt x="438" y="378"/>
                  <a:pt x="439" y="378"/>
                </a:cubicBezTo>
                <a:cubicBezTo>
                  <a:pt x="439" y="377"/>
                  <a:pt x="440" y="377"/>
                  <a:pt x="440" y="377"/>
                </a:cubicBezTo>
                <a:cubicBezTo>
                  <a:pt x="440" y="376"/>
                  <a:pt x="440" y="376"/>
                  <a:pt x="439" y="375"/>
                </a:cubicBezTo>
                <a:cubicBezTo>
                  <a:pt x="439" y="375"/>
                  <a:pt x="438" y="376"/>
                  <a:pt x="438" y="376"/>
                </a:cubicBezTo>
                <a:close/>
                <a:moveTo>
                  <a:pt x="380" y="446"/>
                </a:moveTo>
                <a:cubicBezTo>
                  <a:pt x="380" y="446"/>
                  <a:pt x="381" y="446"/>
                  <a:pt x="382" y="446"/>
                </a:cubicBezTo>
                <a:cubicBezTo>
                  <a:pt x="382" y="446"/>
                  <a:pt x="382" y="445"/>
                  <a:pt x="382" y="445"/>
                </a:cubicBezTo>
                <a:cubicBezTo>
                  <a:pt x="382" y="444"/>
                  <a:pt x="381" y="444"/>
                  <a:pt x="381" y="444"/>
                </a:cubicBezTo>
                <a:cubicBezTo>
                  <a:pt x="380" y="445"/>
                  <a:pt x="380" y="445"/>
                  <a:pt x="380" y="445"/>
                </a:cubicBezTo>
                <a:cubicBezTo>
                  <a:pt x="379" y="445"/>
                  <a:pt x="380" y="446"/>
                  <a:pt x="380" y="446"/>
                </a:cubicBezTo>
                <a:close/>
                <a:moveTo>
                  <a:pt x="389" y="444"/>
                </a:moveTo>
                <a:cubicBezTo>
                  <a:pt x="389" y="445"/>
                  <a:pt x="389" y="445"/>
                  <a:pt x="389" y="445"/>
                </a:cubicBezTo>
                <a:cubicBezTo>
                  <a:pt x="390" y="446"/>
                  <a:pt x="390" y="445"/>
                  <a:pt x="391" y="445"/>
                </a:cubicBezTo>
                <a:cubicBezTo>
                  <a:pt x="391" y="445"/>
                  <a:pt x="391" y="445"/>
                  <a:pt x="392" y="445"/>
                </a:cubicBezTo>
                <a:cubicBezTo>
                  <a:pt x="392" y="445"/>
                  <a:pt x="392" y="445"/>
                  <a:pt x="391" y="444"/>
                </a:cubicBezTo>
                <a:cubicBezTo>
                  <a:pt x="391" y="444"/>
                  <a:pt x="391" y="444"/>
                  <a:pt x="391" y="444"/>
                </a:cubicBezTo>
                <a:cubicBezTo>
                  <a:pt x="390" y="444"/>
                  <a:pt x="390" y="444"/>
                  <a:pt x="390" y="444"/>
                </a:cubicBezTo>
                <a:cubicBezTo>
                  <a:pt x="390" y="444"/>
                  <a:pt x="389" y="444"/>
                  <a:pt x="389" y="444"/>
                </a:cubicBezTo>
                <a:close/>
                <a:moveTo>
                  <a:pt x="341" y="397"/>
                </a:moveTo>
                <a:cubicBezTo>
                  <a:pt x="342" y="397"/>
                  <a:pt x="343" y="396"/>
                  <a:pt x="343" y="395"/>
                </a:cubicBezTo>
                <a:cubicBezTo>
                  <a:pt x="343" y="395"/>
                  <a:pt x="344" y="394"/>
                  <a:pt x="344" y="393"/>
                </a:cubicBezTo>
                <a:cubicBezTo>
                  <a:pt x="344" y="392"/>
                  <a:pt x="345" y="391"/>
                  <a:pt x="344" y="391"/>
                </a:cubicBezTo>
                <a:cubicBezTo>
                  <a:pt x="343" y="391"/>
                  <a:pt x="343" y="392"/>
                  <a:pt x="343" y="392"/>
                </a:cubicBezTo>
                <a:cubicBezTo>
                  <a:pt x="342" y="393"/>
                  <a:pt x="342" y="393"/>
                  <a:pt x="341" y="393"/>
                </a:cubicBezTo>
                <a:cubicBezTo>
                  <a:pt x="340" y="393"/>
                  <a:pt x="340" y="394"/>
                  <a:pt x="340" y="395"/>
                </a:cubicBezTo>
                <a:cubicBezTo>
                  <a:pt x="341" y="396"/>
                  <a:pt x="341" y="397"/>
                  <a:pt x="341" y="397"/>
                </a:cubicBezTo>
                <a:close/>
                <a:moveTo>
                  <a:pt x="321" y="264"/>
                </a:moveTo>
                <a:cubicBezTo>
                  <a:pt x="322" y="264"/>
                  <a:pt x="322" y="264"/>
                  <a:pt x="323" y="264"/>
                </a:cubicBezTo>
                <a:cubicBezTo>
                  <a:pt x="323" y="264"/>
                  <a:pt x="323" y="264"/>
                  <a:pt x="324" y="264"/>
                </a:cubicBezTo>
                <a:cubicBezTo>
                  <a:pt x="324" y="263"/>
                  <a:pt x="324" y="262"/>
                  <a:pt x="324" y="262"/>
                </a:cubicBezTo>
                <a:cubicBezTo>
                  <a:pt x="323" y="262"/>
                  <a:pt x="323" y="262"/>
                  <a:pt x="323" y="262"/>
                </a:cubicBezTo>
                <a:cubicBezTo>
                  <a:pt x="322" y="261"/>
                  <a:pt x="322" y="261"/>
                  <a:pt x="321" y="261"/>
                </a:cubicBezTo>
                <a:cubicBezTo>
                  <a:pt x="321" y="261"/>
                  <a:pt x="320" y="262"/>
                  <a:pt x="320" y="263"/>
                </a:cubicBezTo>
                <a:cubicBezTo>
                  <a:pt x="320" y="264"/>
                  <a:pt x="321" y="264"/>
                  <a:pt x="321" y="264"/>
                </a:cubicBezTo>
                <a:close/>
                <a:moveTo>
                  <a:pt x="426" y="23"/>
                </a:moveTo>
                <a:cubicBezTo>
                  <a:pt x="426" y="23"/>
                  <a:pt x="426" y="23"/>
                  <a:pt x="426" y="22"/>
                </a:cubicBezTo>
                <a:cubicBezTo>
                  <a:pt x="426" y="22"/>
                  <a:pt x="426" y="22"/>
                  <a:pt x="426" y="22"/>
                </a:cubicBezTo>
                <a:cubicBezTo>
                  <a:pt x="427" y="21"/>
                  <a:pt x="427" y="21"/>
                  <a:pt x="427" y="21"/>
                </a:cubicBezTo>
                <a:cubicBezTo>
                  <a:pt x="427" y="20"/>
                  <a:pt x="428" y="20"/>
                  <a:pt x="428" y="20"/>
                </a:cubicBezTo>
                <a:cubicBezTo>
                  <a:pt x="427" y="20"/>
                  <a:pt x="427" y="20"/>
                  <a:pt x="427" y="20"/>
                </a:cubicBezTo>
                <a:cubicBezTo>
                  <a:pt x="427" y="20"/>
                  <a:pt x="427" y="20"/>
                  <a:pt x="426" y="20"/>
                </a:cubicBezTo>
                <a:cubicBezTo>
                  <a:pt x="426" y="20"/>
                  <a:pt x="426" y="20"/>
                  <a:pt x="426" y="21"/>
                </a:cubicBezTo>
                <a:cubicBezTo>
                  <a:pt x="426" y="21"/>
                  <a:pt x="426" y="20"/>
                  <a:pt x="426" y="20"/>
                </a:cubicBezTo>
                <a:cubicBezTo>
                  <a:pt x="425" y="20"/>
                  <a:pt x="425" y="21"/>
                  <a:pt x="425" y="21"/>
                </a:cubicBezTo>
                <a:cubicBezTo>
                  <a:pt x="425" y="21"/>
                  <a:pt x="425" y="22"/>
                  <a:pt x="425" y="22"/>
                </a:cubicBezTo>
                <a:cubicBezTo>
                  <a:pt x="425" y="22"/>
                  <a:pt x="426" y="22"/>
                  <a:pt x="426" y="22"/>
                </a:cubicBezTo>
                <a:cubicBezTo>
                  <a:pt x="425" y="22"/>
                  <a:pt x="425" y="23"/>
                  <a:pt x="425" y="23"/>
                </a:cubicBezTo>
                <a:cubicBezTo>
                  <a:pt x="425" y="23"/>
                  <a:pt x="426" y="23"/>
                  <a:pt x="426" y="23"/>
                </a:cubicBezTo>
                <a:close/>
                <a:moveTo>
                  <a:pt x="503" y="50"/>
                </a:moveTo>
                <a:cubicBezTo>
                  <a:pt x="503" y="50"/>
                  <a:pt x="503" y="49"/>
                  <a:pt x="504" y="49"/>
                </a:cubicBezTo>
                <a:cubicBezTo>
                  <a:pt x="504" y="49"/>
                  <a:pt x="504" y="48"/>
                  <a:pt x="505" y="48"/>
                </a:cubicBezTo>
                <a:cubicBezTo>
                  <a:pt x="505" y="47"/>
                  <a:pt x="506" y="46"/>
                  <a:pt x="506" y="46"/>
                </a:cubicBezTo>
                <a:cubicBezTo>
                  <a:pt x="507" y="45"/>
                  <a:pt x="507" y="45"/>
                  <a:pt x="507" y="45"/>
                </a:cubicBezTo>
                <a:cubicBezTo>
                  <a:pt x="507" y="44"/>
                  <a:pt x="508" y="44"/>
                  <a:pt x="508" y="44"/>
                </a:cubicBezTo>
                <a:cubicBezTo>
                  <a:pt x="509" y="43"/>
                  <a:pt x="509" y="43"/>
                  <a:pt x="509" y="42"/>
                </a:cubicBezTo>
                <a:cubicBezTo>
                  <a:pt x="509" y="42"/>
                  <a:pt x="509" y="41"/>
                  <a:pt x="509" y="41"/>
                </a:cubicBezTo>
                <a:cubicBezTo>
                  <a:pt x="509" y="41"/>
                  <a:pt x="508" y="41"/>
                  <a:pt x="508" y="41"/>
                </a:cubicBezTo>
                <a:cubicBezTo>
                  <a:pt x="508" y="41"/>
                  <a:pt x="507" y="41"/>
                  <a:pt x="507" y="41"/>
                </a:cubicBezTo>
                <a:cubicBezTo>
                  <a:pt x="507" y="41"/>
                  <a:pt x="507" y="41"/>
                  <a:pt x="508" y="41"/>
                </a:cubicBezTo>
                <a:cubicBezTo>
                  <a:pt x="508" y="41"/>
                  <a:pt x="509" y="41"/>
                  <a:pt x="509" y="40"/>
                </a:cubicBezTo>
                <a:cubicBezTo>
                  <a:pt x="509" y="40"/>
                  <a:pt x="509" y="40"/>
                  <a:pt x="508" y="40"/>
                </a:cubicBezTo>
                <a:cubicBezTo>
                  <a:pt x="508" y="40"/>
                  <a:pt x="507" y="40"/>
                  <a:pt x="507" y="40"/>
                </a:cubicBezTo>
                <a:cubicBezTo>
                  <a:pt x="506" y="41"/>
                  <a:pt x="506" y="42"/>
                  <a:pt x="505" y="43"/>
                </a:cubicBezTo>
                <a:cubicBezTo>
                  <a:pt x="505" y="44"/>
                  <a:pt x="504" y="44"/>
                  <a:pt x="504" y="46"/>
                </a:cubicBezTo>
                <a:cubicBezTo>
                  <a:pt x="504" y="46"/>
                  <a:pt x="503" y="47"/>
                  <a:pt x="503" y="48"/>
                </a:cubicBezTo>
                <a:cubicBezTo>
                  <a:pt x="503" y="48"/>
                  <a:pt x="503" y="48"/>
                  <a:pt x="503" y="49"/>
                </a:cubicBezTo>
                <a:cubicBezTo>
                  <a:pt x="503" y="49"/>
                  <a:pt x="503" y="49"/>
                  <a:pt x="503" y="49"/>
                </a:cubicBezTo>
                <a:cubicBezTo>
                  <a:pt x="503" y="49"/>
                  <a:pt x="502" y="49"/>
                  <a:pt x="502" y="49"/>
                </a:cubicBezTo>
                <a:cubicBezTo>
                  <a:pt x="503" y="50"/>
                  <a:pt x="503" y="50"/>
                  <a:pt x="503" y="50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 w="7938" cap="rnd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Freeform 8">
            <a:extLst>
              <a:ext uri="{FF2B5EF4-FFF2-40B4-BE49-F238E27FC236}">
                <a16:creationId xmlns:a16="http://schemas.microsoft.com/office/drawing/2014/main" id="{C548105B-81F5-41D7-851A-BD40E3B5D910}"/>
              </a:ext>
            </a:extLst>
          </p:cNvPr>
          <p:cNvSpPr>
            <a:spLocks/>
          </p:cNvSpPr>
          <p:nvPr/>
        </p:nvSpPr>
        <p:spPr bwMode="auto">
          <a:xfrm>
            <a:off x="5867170" y="2064279"/>
            <a:ext cx="958278" cy="748448"/>
          </a:xfrm>
          <a:custGeom>
            <a:avLst/>
            <a:gdLst>
              <a:gd name="T0" fmla="*/ 0 w 580"/>
              <a:gd name="T1" fmla="*/ 0 h 453"/>
              <a:gd name="T2" fmla="*/ 0 w 580"/>
              <a:gd name="T3" fmla="*/ 343 h 453"/>
              <a:gd name="T4" fmla="*/ 0 w 580"/>
              <a:gd name="T5" fmla="*/ 453 h 453"/>
              <a:gd name="T6" fmla="*/ 580 w 580"/>
              <a:gd name="T7" fmla="*/ 453 h 453"/>
              <a:gd name="T8" fmla="*/ 580 w 580"/>
              <a:gd name="T9" fmla="*/ 0 h 453"/>
              <a:gd name="T10" fmla="*/ 0 w 580"/>
              <a:gd name="T1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0" h="453">
                <a:moveTo>
                  <a:pt x="0" y="0"/>
                </a:moveTo>
                <a:lnTo>
                  <a:pt x="0" y="343"/>
                </a:lnTo>
                <a:lnTo>
                  <a:pt x="0" y="453"/>
                </a:lnTo>
                <a:lnTo>
                  <a:pt x="580" y="453"/>
                </a:lnTo>
                <a:lnTo>
                  <a:pt x="58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1" name="Freeform 9">
            <a:extLst>
              <a:ext uri="{FF2B5EF4-FFF2-40B4-BE49-F238E27FC236}">
                <a16:creationId xmlns:a16="http://schemas.microsoft.com/office/drawing/2014/main" id="{3AEE75F0-6631-473F-9A2E-2495E114CF8A}"/>
              </a:ext>
            </a:extLst>
          </p:cNvPr>
          <p:cNvSpPr>
            <a:spLocks noEditPoints="1"/>
          </p:cNvSpPr>
          <p:nvPr/>
        </p:nvSpPr>
        <p:spPr bwMode="auto">
          <a:xfrm>
            <a:off x="8350432" y="1679315"/>
            <a:ext cx="827755" cy="855842"/>
          </a:xfrm>
          <a:custGeom>
            <a:avLst/>
            <a:gdLst>
              <a:gd name="T0" fmla="*/ 79 w 209"/>
              <a:gd name="T1" fmla="*/ 5 h 216"/>
              <a:gd name="T2" fmla="*/ 76 w 209"/>
              <a:gd name="T3" fmla="*/ 10 h 216"/>
              <a:gd name="T4" fmla="*/ 82 w 209"/>
              <a:gd name="T5" fmla="*/ 1 h 216"/>
              <a:gd name="T6" fmla="*/ 79 w 209"/>
              <a:gd name="T7" fmla="*/ 2 h 216"/>
              <a:gd name="T8" fmla="*/ 208 w 209"/>
              <a:gd name="T9" fmla="*/ 81 h 216"/>
              <a:gd name="T10" fmla="*/ 206 w 209"/>
              <a:gd name="T11" fmla="*/ 81 h 216"/>
              <a:gd name="T12" fmla="*/ 202 w 209"/>
              <a:gd name="T13" fmla="*/ 89 h 216"/>
              <a:gd name="T14" fmla="*/ 199 w 209"/>
              <a:gd name="T15" fmla="*/ 97 h 216"/>
              <a:gd name="T16" fmla="*/ 197 w 209"/>
              <a:gd name="T17" fmla="*/ 103 h 216"/>
              <a:gd name="T18" fmla="*/ 190 w 209"/>
              <a:gd name="T19" fmla="*/ 115 h 216"/>
              <a:gd name="T20" fmla="*/ 186 w 209"/>
              <a:gd name="T21" fmla="*/ 125 h 216"/>
              <a:gd name="T22" fmla="*/ 186 w 209"/>
              <a:gd name="T23" fmla="*/ 133 h 216"/>
              <a:gd name="T24" fmla="*/ 184 w 209"/>
              <a:gd name="T25" fmla="*/ 138 h 216"/>
              <a:gd name="T26" fmla="*/ 180 w 209"/>
              <a:gd name="T27" fmla="*/ 147 h 216"/>
              <a:gd name="T28" fmla="*/ 179 w 209"/>
              <a:gd name="T29" fmla="*/ 155 h 216"/>
              <a:gd name="T30" fmla="*/ 179 w 209"/>
              <a:gd name="T31" fmla="*/ 164 h 216"/>
              <a:gd name="T32" fmla="*/ 175 w 209"/>
              <a:gd name="T33" fmla="*/ 174 h 216"/>
              <a:gd name="T34" fmla="*/ 173 w 209"/>
              <a:gd name="T35" fmla="*/ 181 h 216"/>
              <a:gd name="T36" fmla="*/ 173 w 209"/>
              <a:gd name="T37" fmla="*/ 193 h 216"/>
              <a:gd name="T38" fmla="*/ 176 w 209"/>
              <a:gd name="T39" fmla="*/ 202 h 216"/>
              <a:gd name="T40" fmla="*/ 177 w 209"/>
              <a:gd name="T41" fmla="*/ 207 h 216"/>
              <a:gd name="T42" fmla="*/ 176 w 209"/>
              <a:gd name="T43" fmla="*/ 216 h 216"/>
              <a:gd name="T44" fmla="*/ 74 w 209"/>
              <a:gd name="T45" fmla="*/ 210 h 216"/>
              <a:gd name="T46" fmla="*/ 63 w 209"/>
              <a:gd name="T47" fmla="*/ 201 h 216"/>
              <a:gd name="T48" fmla="*/ 60 w 209"/>
              <a:gd name="T49" fmla="*/ 189 h 216"/>
              <a:gd name="T50" fmla="*/ 58 w 209"/>
              <a:gd name="T51" fmla="*/ 176 h 216"/>
              <a:gd name="T52" fmla="*/ 56 w 209"/>
              <a:gd name="T53" fmla="*/ 162 h 216"/>
              <a:gd name="T54" fmla="*/ 46 w 209"/>
              <a:gd name="T55" fmla="*/ 145 h 216"/>
              <a:gd name="T56" fmla="*/ 32 w 209"/>
              <a:gd name="T57" fmla="*/ 127 h 216"/>
              <a:gd name="T58" fmla="*/ 13 w 209"/>
              <a:gd name="T59" fmla="*/ 118 h 216"/>
              <a:gd name="T60" fmla="*/ 5 w 209"/>
              <a:gd name="T61" fmla="*/ 100 h 216"/>
              <a:gd name="T62" fmla="*/ 5 w 209"/>
              <a:gd name="T63" fmla="*/ 87 h 216"/>
              <a:gd name="T64" fmla="*/ 5 w 209"/>
              <a:gd name="T65" fmla="*/ 69 h 216"/>
              <a:gd name="T66" fmla="*/ 5 w 209"/>
              <a:gd name="T67" fmla="*/ 56 h 216"/>
              <a:gd name="T68" fmla="*/ 17 w 209"/>
              <a:gd name="T69" fmla="*/ 47 h 216"/>
              <a:gd name="T70" fmla="*/ 24 w 209"/>
              <a:gd name="T71" fmla="*/ 15 h 216"/>
              <a:gd name="T72" fmla="*/ 31 w 209"/>
              <a:gd name="T73" fmla="*/ 14 h 216"/>
              <a:gd name="T74" fmla="*/ 47 w 209"/>
              <a:gd name="T75" fmla="*/ 10 h 216"/>
              <a:gd name="T76" fmla="*/ 64 w 209"/>
              <a:gd name="T77" fmla="*/ 4 h 216"/>
              <a:gd name="T78" fmla="*/ 74 w 209"/>
              <a:gd name="T79" fmla="*/ 3 h 216"/>
              <a:gd name="T80" fmla="*/ 70 w 209"/>
              <a:gd name="T81" fmla="*/ 14 h 216"/>
              <a:gd name="T82" fmla="*/ 71 w 209"/>
              <a:gd name="T83" fmla="*/ 18 h 216"/>
              <a:gd name="T84" fmla="*/ 83 w 209"/>
              <a:gd name="T85" fmla="*/ 19 h 216"/>
              <a:gd name="T86" fmla="*/ 89 w 209"/>
              <a:gd name="T87" fmla="*/ 22 h 216"/>
              <a:gd name="T88" fmla="*/ 141 w 209"/>
              <a:gd name="T89" fmla="*/ 47 h 216"/>
              <a:gd name="T90" fmla="*/ 153 w 209"/>
              <a:gd name="T91" fmla="*/ 48 h 216"/>
              <a:gd name="T92" fmla="*/ 162 w 209"/>
              <a:gd name="T93" fmla="*/ 50 h 216"/>
              <a:gd name="T94" fmla="*/ 165 w 209"/>
              <a:gd name="T95" fmla="*/ 57 h 216"/>
              <a:gd name="T96" fmla="*/ 174 w 209"/>
              <a:gd name="T97" fmla="*/ 60 h 216"/>
              <a:gd name="T98" fmla="*/ 177 w 209"/>
              <a:gd name="T99" fmla="*/ 69 h 216"/>
              <a:gd name="T100" fmla="*/ 174 w 209"/>
              <a:gd name="T101" fmla="*/ 76 h 216"/>
              <a:gd name="T102" fmla="*/ 181 w 209"/>
              <a:gd name="T103" fmla="*/ 78 h 216"/>
              <a:gd name="T104" fmla="*/ 181 w 209"/>
              <a:gd name="T105" fmla="*/ 91 h 216"/>
              <a:gd name="T106" fmla="*/ 177 w 209"/>
              <a:gd name="T107" fmla="*/ 100 h 216"/>
              <a:gd name="T108" fmla="*/ 170 w 209"/>
              <a:gd name="T109" fmla="*/ 113 h 216"/>
              <a:gd name="T110" fmla="*/ 172 w 209"/>
              <a:gd name="T111" fmla="*/ 119 h 216"/>
              <a:gd name="T112" fmla="*/ 180 w 209"/>
              <a:gd name="T113" fmla="*/ 109 h 216"/>
              <a:gd name="T114" fmla="*/ 190 w 209"/>
              <a:gd name="T115" fmla="*/ 104 h 216"/>
              <a:gd name="T116" fmla="*/ 194 w 209"/>
              <a:gd name="T117" fmla="*/ 95 h 216"/>
              <a:gd name="T118" fmla="*/ 201 w 209"/>
              <a:gd name="T119" fmla="*/ 86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09" h="216">
                <a:moveTo>
                  <a:pt x="74" y="9"/>
                </a:moveTo>
                <a:cubicBezTo>
                  <a:pt x="74" y="9"/>
                  <a:pt x="74" y="8"/>
                  <a:pt x="74" y="8"/>
                </a:cubicBezTo>
                <a:cubicBezTo>
                  <a:pt x="75" y="7"/>
                  <a:pt x="75" y="7"/>
                  <a:pt x="76" y="7"/>
                </a:cubicBezTo>
                <a:cubicBezTo>
                  <a:pt x="76" y="7"/>
                  <a:pt x="77" y="6"/>
                  <a:pt x="77" y="6"/>
                </a:cubicBezTo>
                <a:cubicBezTo>
                  <a:pt x="78" y="6"/>
                  <a:pt x="78" y="5"/>
                  <a:pt x="79" y="5"/>
                </a:cubicBezTo>
                <a:cubicBezTo>
                  <a:pt x="79" y="5"/>
                  <a:pt x="80" y="4"/>
                  <a:pt x="80" y="5"/>
                </a:cubicBezTo>
                <a:cubicBezTo>
                  <a:pt x="80" y="5"/>
                  <a:pt x="81" y="6"/>
                  <a:pt x="80" y="6"/>
                </a:cubicBezTo>
                <a:cubicBezTo>
                  <a:pt x="80" y="6"/>
                  <a:pt x="79" y="7"/>
                  <a:pt x="79" y="7"/>
                </a:cubicBezTo>
                <a:cubicBezTo>
                  <a:pt x="78" y="7"/>
                  <a:pt x="77" y="8"/>
                  <a:pt x="77" y="9"/>
                </a:cubicBezTo>
                <a:cubicBezTo>
                  <a:pt x="76" y="9"/>
                  <a:pt x="76" y="9"/>
                  <a:pt x="76" y="10"/>
                </a:cubicBezTo>
                <a:cubicBezTo>
                  <a:pt x="75" y="10"/>
                  <a:pt x="75" y="10"/>
                  <a:pt x="75" y="10"/>
                </a:cubicBezTo>
                <a:cubicBezTo>
                  <a:pt x="75" y="10"/>
                  <a:pt x="74" y="10"/>
                  <a:pt x="74" y="10"/>
                </a:cubicBezTo>
                <a:cubicBezTo>
                  <a:pt x="74" y="10"/>
                  <a:pt x="74" y="10"/>
                  <a:pt x="74" y="9"/>
                </a:cubicBezTo>
                <a:close/>
                <a:moveTo>
                  <a:pt x="81" y="2"/>
                </a:moveTo>
                <a:cubicBezTo>
                  <a:pt x="82" y="2"/>
                  <a:pt x="82" y="2"/>
                  <a:pt x="82" y="1"/>
                </a:cubicBezTo>
                <a:cubicBezTo>
                  <a:pt x="82" y="1"/>
                  <a:pt x="82" y="1"/>
                  <a:pt x="82" y="1"/>
                </a:cubicBezTo>
                <a:cubicBezTo>
                  <a:pt x="82" y="0"/>
                  <a:pt x="81" y="0"/>
                  <a:pt x="81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9" y="1"/>
                  <a:pt x="79" y="1"/>
                  <a:pt x="79" y="1"/>
                </a:cubicBezTo>
                <a:cubicBezTo>
                  <a:pt x="79" y="1"/>
                  <a:pt x="79" y="1"/>
                  <a:pt x="79" y="2"/>
                </a:cubicBezTo>
                <a:cubicBezTo>
                  <a:pt x="79" y="2"/>
                  <a:pt x="79" y="2"/>
                  <a:pt x="79" y="2"/>
                </a:cubicBezTo>
                <a:cubicBezTo>
                  <a:pt x="80" y="2"/>
                  <a:pt x="81" y="3"/>
                  <a:pt x="81" y="2"/>
                </a:cubicBezTo>
                <a:close/>
                <a:moveTo>
                  <a:pt x="206" y="81"/>
                </a:moveTo>
                <a:cubicBezTo>
                  <a:pt x="207" y="81"/>
                  <a:pt x="207" y="81"/>
                  <a:pt x="208" y="81"/>
                </a:cubicBezTo>
                <a:cubicBezTo>
                  <a:pt x="208" y="81"/>
                  <a:pt x="208" y="81"/>
                  <a:pt x="208" y="81"/>
                </a:cubicBezTo>
                <a:cubicBezTo>
                  <a:pt x="209" y="81"/>
                  <a:pt x="209" y="80"/>
                  <a:pt x="209" y="80"/>
                </a:cubicBezTo>
                <a:cubicBezTo>
                  <a:pt x="208" y="79"/>
                  <a:pt x="208" y="79"/>
                  <a:pt x="207" y="78"/>
                </a:cubicBezTo>
                <a:cubicBezTo>
                  <a:pt x="207" y="78"/>
                  <a:pt x="207" y="77"/>
                  <a:pt x="206" y="77"/>
                </a:cubicBezTo>
                <a:cubicBezTo>
                  <a:pt x="205" y="78"/>
                  <a:pt x="205" y="79"/>
                  <a:pt x="206" y="79"/>
                </a:cubicBezTo>
                <a:cubicBezTo>
                  <a:pt x="206" y="80"/>
                  <a:pt x="206" y="81"/>
                  <a:pt x="206" y="81"/>
                </a:cubicBezTo>
                <a:close/>
                <a:moveTo>
                  <a:pt x="205" y="84"/>
                </a:moveTo>
                <a:cubicBezTo>
                  <a:pt x="205" y="85"/>
                  <a:pt x="204" y="85"/>
                  <a:pt x="204" y="86"/>
                </a:cubicBezTo>
                <a:cubicBezTo>
                  <a:pt x="204" y="86"/>
                  <a:pt x="204" y="86"/>
                  <a:pt x="203" y="86"/>
                </a:cubicBezTo>
                <a:cubicBezTo>
                  <a:pt x="203" y="86"/>
                  <a:pt x="202" y="86"/>
                  <a:pt x="202" y="87"/>
                </a:cubicBezTo>
                <a:cubicBezTo>
                  <a:pt x="202" y="88"/>
                  <a:pt x="202" y="88"/>
                  <a:pt x="202" y="89"/>
                </a:cubicBezTo>
                <a:cubicBezTo>
                  <a:pt x="202" y="89"/>
                  <a:pt x="202" y="90"/>
                  <a:pt x="202" y="90"/>
                </a:cubicBezTo>
                <a:cubicBezTo>
                  <a:pt x="202" y="91"/>
                  <a:pt x="202" y="91"/>
                  <a:pt x="202" y="92"/>
                </a:cubicBezTo>
                <a:cubicBezTo>
                  <a:pt x="202" y="92"/>
                  <a:pt x="202" y="93"/>
                  <a:pt x="202" y="93"/>
                </a:cubicBezTo>
                <a:cubicBezTo>
                  <a:pt x="201" y="94"/>
                  <a:pt x="201" y="95"/>
                  <a:pt x="200" y="96"/>
                </a:cubicBezTo>
                <a:cubicBezTo>
                  <a:pt x="200" y="96"/>
                  <a:pt x="199" y="97"/>
                  <a:pt x="199" y="97"/>
                </a:cubicBezTo>
                <a:cubicBezTo>
                  <a:pt x="199" y="97"/>
                  <a:pt x="199" y="98"/>
                  <a:pt x="199" y="98"/>
                </a:cubicBezTo>
                <a:cubicBezTo>
                  <a:pt x="198" y="99"/>
                  <a:pt x="198" y="99"/>
                  <a:pt x="197" y="99"/>
                </a:cubicBezTo>
                <a:cubicBezTo>
                  <a:pt x="197" y="100"/>
                  <a:pt x="197" y="100"/>
                  <a:pt x="197" y="101"/>
                </a:cubicBezTo>
                <a:cubicBezTo>
                  <a:pt x="197" y="101"/>
                  <a:pt x="197" y="102"/>
                  <a:pt x="197" y="102"/>
                </a:cubicBezTo>
                <a:cubicBezTo>
                  <a:pt x="197" y="102"/>
                  <a:pt x="197" y="103"/>
                  <a:pt x="197" y="103"/>
                </a:cubicBezTo>
                <a:cubicBezTo>
                  <a:pt x="197" y="104"/>
                  <a:pt x="196" y="105"/>
                  <a:pt x="196" y="105"/>
                </a:cubicBezTo>
                <a:cubicBezTo>
                  <a:pt x="194" y="106"/>
                  <a:pt x="192" y="108"/>
                  <a:pt x="192" y="110"/>
                </a:cubicBezTo>
                <a:cubicBezTo>
                  <a:pt x="192" y="110"/>
                  <a:pt x="192" y="111"/>
                  <a:pt x="192" y="111"/>
                </a:cubicBezTo>
                <a:cubicBezTo>
                  <a:pt x="191" y="112"/>
                  <a:pt x="191" y="113"/>
                  <a:pt x="191" y="113"/>
                </a:cubicBezTo>
                <a:cubicBezTo>
                  <a:pt x="190" y="114"/>
                  <a:pt x="190" y="115"/>
                  <a:pt x="190" y="115"/>
                </a:cubicBezTo>
                <a:cubicBezTo>
                  <a:pt x="189" y="116"/>
                  <a:pt x="189" y="116"/>
                  <a:pt x="189" y="117"/>
                </a:cubicBezTo>
                <a:cubicBezTo>
                  <a:pt x="189" y="118"/>
                  <a:pt x="189" y="118"/>
                  <a:pt x="188" y="119"/>
                </a:cubicBezTo>
                <a:cubicBezTo>
                  <a:pt x="188" y="120"/>
                  <a:pt x="188" y="120"/>
                  <a:pt x="188" y="121"/>
                </a:cubicBezTo>
                <a:cubicBezTo>
                  <a:pt x="187" y="122"/>
                  <a:pt x="187" y="123"/>
                  <a:pt x="187" y="124"/>
                </a:cubicBezTo>
                <a:cubicBezTo>
                  <a:pt x="187" y="124"/>
                  <a:pt x="186" y="124"/>
                  <a:pt x="186" y="125"/>
                </a:cubicBezTo>
                <a:cubicBezTo>
                  <a:pt x="186" y="125"/>
                  <a:pt x="186" y="126"/>
                  <a:pt x="186" y="126"/>
                </a:cubicBezTo>
                <a:cubicBezTo>
                  <a:pt x="186" y="127"/>
                  <a:pt x="186" y="128"/>
                  <a:pt x="186" y="128"/>
                </a:cubicBezTo>
                <a:cubicBezTo>
                  <a:pt x="186" y="129"/>
                  <a:pt x="185" y="129"/>
                  <a:pt x="185" y="129"/>
                </a:cubicBezTo>
                <a:cubicBezTo>
                  <a:pt x="185" y="130"/>
                  <a:pt x="185" y="130"/>
                  <a:pt x="185" y="131"/>
                </a:cubicBezTo>
                <a:cubicBezTo>
                  <a:pt x="185" y="131"/>
                  <a:pt x="186" y="132"/>
                  <a:pt x="186" y="133"/>
                </a:cubicBezTo>
                <a:cubicBezTo>
                  <a:pt x="186" y="133"/>
                  <a:pt x="186" y="134"/>
                  <a:pt x="186" y="134"/>
                </a:cubicBezTo>
                <a:cubicBezTo>
                  <a:pt x="186" y="135"/>
                  <a:pt x="187" y="135"/>
                  <a:pt x="187" y="135"/>
                </a:cubicBezTo>
                <a:cubicBezTo>
                  <a:pt x="187" y="136"/>
                  <a:pt x="186" y="136"/>
                  <a:pt x="186" y="136"/>
                </a:cubicBezTo>
                <a:cubicBezTo>
                  <a:pt x="186" y="136"/>
                  <a:pt x="186" y="136"/>
                  <a:pt x="185" y="137"/>
                </a:cubicBezTo>
                <a:cubicBezTo>
                  <a:pt x="185" y="137"/>
                  <a:pt x="185" y="137"/>
                  <a:pt x="184" y="138"/>
                </a:cubicBezTo>
                <a:cubicBezTo>
                  <a:pt x="184" y="138"/>
                  <a:pt x="183" y="139"/>
                  <a:pt x="183" y="140"/>
                </a:cubicBezTo>
                <a:cubicBezTo>
                  <a:pt x="182" y="141"/>
                  <a:pt x="182" y="142"/>
                  <a:pt x="182" y="143"/>
                </a:cubicBezTo>
                <a:cubicBezTo>
                  <a:pt x="182" y="143"/>
                  <a:pt x="181" y="144"/>
                  <a:pt x="181" y="144"/>
                </a:cubicBezTo>
                <a:cubicBezTo>
                  <a:pt x="181" y="145"/>
                  <a:pt x="181" y="145"/>
                  <a:pt x="181" y="146"/>
                </a:cubicBezTo>
                <a:cubicBezTo>
                  <a:pt x="180" y="146"/>
                  <a:pt x="180" y="146"/>
                  <a:pt x="180" y="147"/>
                </a:cubicBezTo>
                <a:cubicBezTo>
                  <a:pt x="180" y="147"/>
                  <a:pt x="180" y="147"/>
                  <a:pt x="180" y="147"/>
                </a:cubicBezTo>
                <a:cubicBezTo>
                  <a:pt x="180" y="148"/>
                  <a:pt x="180" y="149"/>
                  <a:pt x="179" y="149"/>
                </a:cubicBezTo>
                <a:cubicBezTo>
                  <a:pt x="179" y="150"/>
                  <a:pt x="179" y="151"/>
                  <a:pt x="179" y="152"/>
                </a:cubicBezTo>
                <a:cubicBezTo>
                  <a:pt x="179" y="153"/>
                  <a:pt x="179" y="153"/>
                  <a:pt x="179" y="154"/>
                </a:cubicBezTo>
                <a:cubicBezTo>
                  <a:pt x="179" y="154"/>
                  <a:pt x="179" y="154"/>
                  <a:pt x="179" y="155"/>
                </a:cubicBezTo>
                <a:cubicBezTo>
                  <a:pt x="179" y="155"/>
                  <a:pt x="179" y="155"/>
                  <a:pt x="179" y="156"/>
                </a:cubicBezTo>
                <a:cubicBezTo>
                  <a:pt x="179" y="157"/>
                  <a:pt x="179" y="157"/>
                  <a:pt x="179" y="158"/>
                </a:cubicBezTo>
                <a:cubicBezTo>
                  <a:pt x="179" y="159"/>
                  <a:pt x="179" y="160"/>
                  <a:pt x="179" y="161"/>
                </a:cubicBezTo>
                <a:cubicBezTo>
                  <a:pt x="179" y="162"/>
                  <a:pt x="179" y="162"/>
                  <a:pt x="179" y="162"/>
                </a:cubicBezTo>
                <a:cubicBezTo>
                  <a:pt x="179" y="163"/>
                  <a:pt x="179" y="163"/>
                  <a:pt x="179" y="164"/>
                </a:cubicBezTo>
                <a:cubicBezTo>
                  <a:pt x="178" y="164"/>
                  <a:pt x="178" y="165"/>
                  <a:pt x="178" y="165"/>
                </a:cubicBezTo>
                <a:cubicBezTo>
                  <a:pt x="178" y="166"/>
                  <a:pt x="177" y="166"/>
                  <a:pt x="177" y="167"/>
                </a:cubicBezTo>
                <a:cubicBezTo>
                  <a:pt x="177" y="168"/>
                  <a:pt x="177" y="168"/>
                  <a:pt x="177" y="169"/>
                </a:cubicBezTo>
                <a:cubicBezTo>
                  <a:pt x="176" y="170"/>
                  <a:pt x="176" y="171"/>
                  <a:pt x="176" y="171"/>
                </a:cubicBezTo>
                <a:cubicBezTo>
                  <a:pt x="175" y="172"/>
                  <a:pt x="175" y="173"/>
                  <a:pt x="175" y="174"/>
                </a:cubicBezTo>
                <a:cubicBezTo>
                  <a:pt x="174" y="174"/>
                  <a:pt x="174" y="175"/>
                  <a:pt x="174" y="176"/>
                </a:cubicBezTo>
                <a:cubicBezTo>
                  <a:pt x="174" y="176"/>
                  <a:pt x="174" y="176"/>
                  <a:pt x="174" y="177"/>
                </a:cubicBezTo>
                <a:cubicBezTo>
                  <a:pt x="173" y="178"/>
                  <a:pt x="174" y="178"/>
                  <a:pt x="173" y="179"/>
                </a:cubicBezTo>
                <a:cubicBezTo>
                  <a:pt x="173" y="179"/>
                  <a:pt x="173" y="180"/>
                  <a:pt x="173" y="180"/>
                </a:cubicBezTo>
                <a:cubicBezTo>
                  <a:pt x="173" y="181"/>
                  <a:pt x="173" y="181"/>
                  <a:pt x="173" y="181"/>
                </a:cubicBezTo>
                <a:cubicBezTo>
                  <a:pt x="173" y="182"/>
                  <a:pt x="173" y="183"/>
                  <a:pt x="173" y="184"/>
                </a:cubicBezTo>
                <a:cubicBezTo>
                  <a:pt x="173" y="185"/>
                  <a:pt x="173" y="186"/>
                  <a:pt x="174" y="187"/>
                </a:cubicBezTo>
                <a:cubicBezTo>
                  <a:pt x="174" y="188"/>
                  <a:pt x="174" y="189"/>
                  <a:pt x="174" y="190"/>
                </a:cubicBezTo>
                <a:cubicBezTo>
                  <a:pt x="174" y="190"/>
                  <a:pt x="174" y="191"/>
                  <a:pt x="173" y="192"/>
                </a:cubicBezTo>
                <a:cubicBezTo>
                  <a:pt x="173" y="192"/>
                  <a:pt x="173" y="192"/>
                  <a:pt x="173" y="193"/>
                </a:cubicBezTo>
                <a:cubicBezTo>
                  <a:pt x="174" y="193"/>
                  <a:pt x="174" y="194"/>
                  <a:pt x="174" y="194"/>
                </a:cubicBezTo>
                <a:cubicBezTo>
                  <a:pt x="174" y="195"/>
                  <a:pt x="175" y="195"/>
                  <a:pt x="175" y="196"/>
                </a:cubicBezTo>
                <a:cubicBezTo>
                  <a:pt x="175" y="197"/>
                  <a:pt x="175" y="197"/>
                  <a:pt x="175" y="198"/>
                </a:cubicBezTo>
                <a:cubicBezTo>
                  <a:pt x="175" y="199"/>
                  <a:pt x="175" y="200"/>
                  <a:pt x="175" y="201"/>
                </a:cubicBezTo>
                <a:cubicBezTo>
                  <a:pt x="175" y="201"/>
                  <a:pt x="176" y="201"/>
                  <a:pt x="176" y="202"/>
                </a:cubicBezTo>
                <a:cubicBezTo>
                  <a:pt x="176" y="202"/>
                  <a:pt x="176" y="203"/>
                  <a:pt x="176" y="203"/>
                </a:cubicBezTo>
                <a:cubicBezTo>
                  <a:pt x="176" y="203"/>
                  <a:pt x="176" y="203"/>
                  <a:pt x="177" y="204"/>
                </a:cubicBezTo>
                <a:cubicBezTo>
                  <a:pt x="177" y="204"/>
                  <a:pt x="177" y="204"/>
                  <a:pt x="177" y="204"/>
                </a:cubicBezTo>
                <a:cubicBezTo>
                  <a:pt x="177" y="205"/>
                  <a:pt x="177" y="205"/>
                  <a:pt x="177" y="205"/>
                </a:cubicBezTo>
                <a:cubicBezTo>
                  <a:pt x="177" y="206"/>
                  <a:pt x="177" y="206"/>
                  <a:pt x="177" y="207"/>
                </a:cubicBezTo>
                <a:cubicBezTo>
                  <a:pt x="177" y="207"/>
                  <a:pt x="177" y="208"/>
                  <a:pt x="177" y="208"/>
                </a:cubicBezTo>
                <a:cubicBezTo>
                  <a:pt x="177" y="208"/>
                  <a:pt x="176" y="209"/>
                  <a:pt x="176" y="209"/>
                </a:cubicBezTo>
                <a:cubicBezTo>
                  <a:pt x="176" y="210"/>
                  <a:pt x="176" y="211"/>
                  <a:pt x="176" y="212"/>
                </a:cubicBezTo>
                <a:cubicBezTo>
                  <a:pt x="176" y="213"/>
                  <a:pt x="176" y="214"/>
                  <a:pt x="176" y="215"/>
                </a:cubicBezTo>
                <a:cubicBezTo>
                  <a:pt x="176" y="215"/>
                  <a:pt x="176" y="216"/>
                  <a:pt x="176" y="216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78" y="216"/>
                  <a:pt x="78" y="216"/>
                  <a:pt x="78" y="216"/>
                </a:cubicBezTo>
                <a:cubicBezTo>
                  <a:pt x="77" y="215"/>
                  <a:pt x="77" y="214"/>
                  <a:pt x="77" y="213"/>
                </a:cubicBezTo>
                <a:cubicBezTo>
                  <a:pt x="76" y="213"/>
                  <a:pt x="76" y="212"/>
                  <a:pt x="76" y="211"/>
                </a:cubicBezTo>
                <a:cubicBezTo>
                  <a:pt x="75" y="211"/>
                  <a:pt x="75" y="210"/>
                  <a:pt x="74" y="210"/>
                </a:cubicBezTo>
                <a:cubicBezTo>
                  <a:pt x="73" y="209"/>
                  <a:pt x="72" y="209"/>
                  <a:pt x="71" y="209"/>
                </a:cubicBezTo>
                <a:cubicBezTo>
                  <a:pt x="70" y="209"/>
                  <a:pt x="70" y="209"/>
                  <a:pt x="69" y="208"/>
                </a:cubicBezTo>
                <a:cubicBezTo>
                  <a:pt x="69" y="208"/>
                  <a:pt x="68" y="208"/>
                  <a:pt x="67" y="208"/>
                </a:cubicBezTo>
                <a:cubicBezTo>
                  <a:pt x="66" y="208"/>
                  <a:pt x="66" y="207"/>
                  <a:pt x="65" y="207"/>
                </a:cubicBezTo>
                <a:cubicBezTo>
                  <a:pt x="63" y="205"/>
                  <a:pt x="63" y="203"/>
                  <a:pt x="63" y="201"/>
                </a:cubicBezTo>
                <a:cubicBezTo>
                  <a:pt x="63" y="200"/>
                  <a:pt x="63" y="199"/>
                  <a:pt x="62" y="199"/>
                </a:cubicBezTo>
                <a:cubicBezTo>
                  <a:pt x="62" y="198"/>
                  <a:pt x="61" y="197"/>
                  <a:pt x="61" y="197"/>
                </a:cubicBezTo>
                <a:cubicBezTo>
                  <a:pt x="61" y="196"/>
                  <a:pt x="60" y="196"/>
                  <a:pt x="60" y="195"/>
                </a:cubicBezTo>
                <a:cubicBezTo>
                  <a:pt x="60" y="194"/>
                  <a:pt x="60" y="194"/>
                  <a:pt x="60" y="193"/>
                </a:cubicBezTo>
                <a:cubicBezTo>
                  <a:pt x="59" y="192"/>
                  <a:pt x="60" y="190"/>
                  <a:pt x="60" y="189"/>
                </a:cubicBezTo>
                <a:cubicBezTo>
                  <a:pt x="60" y="188"/>
                  <a:pt x="59" y="187"/>
                  <a:pt x="60" y="186"/>
                </a:cubicBezTo>
                <a:cubicBezTo>
                  <a:pt x="60" y="185"/>
                  <a:pt x="61" y="184"/>
                  <a:pt x="61" y="184"/>
                </a:cubicBezTo>
                <a:cubicBezTo>
                  <a:pt x="62" y="183"/>
                  <a:pt x="63" y="182"/>
                  <a:pt x="63" y="182"/>
                </a:cubicBezTo>
                <a:cubicBezTo>
                  <a:pt x="64" y="179"/>
                  <a:pt x="61" y="178"/>
                  <a:pt x="59" y="177"/>
                </a:cubicBezTo>
                <a:cubicBezTo>
                  <a:pt x="59" y="177"/>
                  <a:pt x="58" y="176"/>
                  <a:pt x="58" y="176"/>
                </a:cubicBezTo>
                <a:cubicBezTo>
                  <a:pt x="58" y="175"/>
                  <a:pt x="58" y="175"/>
                  <a:pt x="58" y="174"/>
                </a:cubicBezTo>
                <a:cubicBezTo>
                  <a:pt x="58" y="173"/>
                  <a:pt x="58" y="173"/>
                  <a:pt x="58" y="172"/>
                </a:cubicBezTo>
                <a:cubicBezTo>
                  <a:pt x="58" y="169"/>
                  <a:pt x="58" y="169"/>
                  <a:pt x="58" y="169"/>
                </a:cubicBezTo>
                <a:cubicBezTo>
                  <a:pt x="58" y="169"/>
                  <a:pt x="57" y="166"/>
                  <a:pt x="57" y="165"/>
                </a:cubicBezTo>
                <a:cubicBezTo>
                  <a:pt x="57" y="165"/>
                  <a:pt x="56" y="163"/>
                  <a:pt x="56" y="162"/>
                </a:cubicBezTo>
                <a:cubicBezTo>
                  <a:pt x="56" y="161"/>
                  <a:pt x="57" y="159"/>
                  <a:pt x="57" y="158"/>
                </a:cubicBezTo>
                <a:cubicBezTo>
                  <a:pt x="57" y="157"/>
                  <a:pt x="56" y="154"/>
                  <a:pt x="56" y="153"/>
                </a:cubicBezTo>
                <a:cubicBezTo>
                  <a:pt x="55" y="153"/>
                  <a:pt x="53" y="149"/>
                  <a:pt x="52" y="149"/>
                </a:cubicBezTo>
                <a:cubicBezTo>
                  <a:pt x="52" y="148"/>
                  <a:pt x="52" y="147"/>
                  <a:pt x="51" y="146"/>
                </a:cubicBezTo>
                <a:cubicBezTo>
                  <a:pt x="50" y="146"/>
                  <a:pt x="47" y="145"/>
                  <a:pt x="46" y="145"/>
                </a:cubicBezTo>
                <a:cubicBezTo>
                  <a:pt x="45" y="144"/>
                  <a:pt x="45" y="143"/>
                  <a:pt x="44" y="142"/>
                </a:cubicBezTo>
                <a:cubicBezTo>
                  <a:pt x="43" y="142"/>
                  <a:pt x="40" y="139"/>
                  <a:pt x="39" y="138"/>
                </a:cubicBezTo>
                <a:cubicBezTo>
                  <a:pt x="38" y="138"/>
                  <a:pt x="37" y="137"/>
                  <a:pt x="36" y="136"/>
                </a:cubicBezTo>
                <a:cubicBezTo>
                  <a:pt x="35" y="136"/>
                  <a:pt x="35" y="136"/>
                  <a:pt x="35" y="134"/>
                </a:cubicBezTo>
                <a:cubicBezTo>
                  <a:pt x="35" y="133"/>
                  <a:pt x="33" y="128"/>
                  <a:pt x="32" y="127"/>
                </a:cubicBezTo>
                <a:cubicBezTo>
                  <a:pt x="30" y="126"/>
                  <a:pt x="29" y="127"/>
                  <a:pt x="28" y="126"/>
                </a:cubicBezTo>
                <a:cubicBezTo>
                  <a:pt x="27" y="125"/>
                  <a:pt x="24" y="124"/>
                  <a:pt x="23" y="124"/>
                </a:cubicBezTo>
                <a:cubicBezTo>
                  <a:pt x="22" y="123"/>
                  <a:pt x="21" y="121"/>
                  <a:pt x="20" y="120"/>
                </a:cubicBezTo>
                <a:cubicBezTo>
                  <a:pt x="20" y="120"/>
                  <a:pt x="20" y="119"/>
                  <a:pt x="18" y="118"/>
                </a:cubicBezTo>
                <a:cubicBezTo>
                  <a:pt x="17" y="118"/>
                  <a:pt x="15" y="118"/>
                  <a:pt x="13" y="118"/>
                </a:cubicBezTo>
                <a:cubicBezTo>
                  <a:pt x="12" y="118"/>
                  <a:pt x="11" y="118"/>
                  <a:pt x="11" y="117"/>
                </a:cubicBezTo>
                <a:cubicBezTo>
                  <a:pt x="11" y="116"/>
                  <a:pt x="9" y="114"/>
                  <a:pt x="8" y="113"/>
                </a:cubicBezTo>
                <a:cubicBezTo>
                  <a:pt x="7" y="112"/>
                  <a:pt x="4" y="110"/>
                  <a:pt x="4" y="110"/>
                </a:cubicBezTo>
                <a:cubicBezTo>
                  <a:pt x="3" y="109"/>
                  <a:pt x="4" y="106"/>
                  <a:pt x="4" y="105"/>
                </a:cubicBezTo>
                <a:cubicBezTo>
                  <a:pt x="4" y="105"/>
                  <a:pt x="5" y="101"/>
                  <a:pt x="5" y="100"/>
                </a:cubicBezTo>
                <a:cubicBezTo>
                  <a:pt x="5" y="99"/>
                  <a:pt x="5" y="97"/>
                  <a:pt x="5" y="96"/>
                </a:cubicBezTo>
                <a:cubicBezTo>
                  <a:pt x="4" y="95"/>
                  <a:pt x="4" y="95"/>
                  <a:pt x="4" y="94"/>
                </a:cubicBezTo>
                <a:cubicBezTo>
                  <a:pt x="4" y="94"/>
                  <a:pt x="4" y="93"/>
                  <a:pt x="4" y="92"/>
                </a:cubicBezTo>
                <a:cubicBezTo>
                  <a:pt x="5" y="92"/>
                  <a:pt x="5" y="91"/>
                  <a:pt x="5" y="90"/>
                </a:cubicBezTo>
                <a:cubicBezTo>
                  <a:pt x="5" y="89"/>
                  <a:pt x="5" y="88"/>
                  <a:pt x="5" y="87"/>
                </a:cubicBezTo>
                <a:cubicBezTo>
                  <a:pt x="5" y="86"/>
                  <a:pt x="4" y="84"/>
                  <a:pt x="5" y="83"/>
                </a:cubicBezTo>
                <a:cubicBezTo>
                  <a:pt x="5" y="82"/>
                  <a:pt x="7" y="80"/>
                  <a:pt x="7" y="79"/>
                </a:cubicBezTo>
                <a:cubicBezTo>
                  <a:pt x="8" y="78"/>
                  <a:pt x="9" y="78"/>
                  <a:pt x="9" y="77"/>
                </a:cubicBezTo>
                <a:cubicBezTo>
                  <a:pt x="9" y="76"/>
                  <a:pt x="7" y="73"/>
                  <a:pt x="6" y="72"/>
                </a:cubicBezTo>
                <a:cubicBezTo>
                  <a:pt x="6" y="71"/>
                  <a:pt x="6" y="70"/>
                  <a:pt x="5" y="69"/>
                </a:cubicBezTo>
                <a:cubicBezTo>
                  <a:pt x="4" y="69"/>
                  <a:pt x="1" y="69"/>
                  <a:pt x="1" y="69"/>
                </a:cubicBezTo>
                <a:cubicBezTo>
                  <a:pt x="0" y="68"/>
                  <a:pt x="0" y="67"/>
                  <a:pt x="0" y="66"/>
                </a:cubicBezTo>
                <a:cubicBezTo>
                  <a:pt x="1" y="65"/>
                  <a:pt x="0" y="63"/>
                  <a:pt x="1" y="62"/>
                </a:cubicBezTo>
                <a:cubicBezTo>
                  <a:pt x="1" y="62"/>
                  <a:pt x="3" y="61"/>
                  <a:pt x="4" y="60"/>
                </a:cubicBezTo>
                <a:cubicBezTo>
                  <a:pt x="4" y="59"/>
                  <a:pt x="5" y="57"/>
                  <a:pt x="5" y="56"/>
                </a:cubicBezTo>
                <a:cubicBezTo>
                  <a:pt x="6" y="55"/>
                  <a:pt x="6" y="54"/>
                  <a:pt x="7" y="53"/>
                </a:cubicBezTo>
                <a:cubicBezTo>
                  <a:pt x="8" y="52"/>
                  <a:pt x="10" y="51"/>
                  <a:pt x="11" y="51"/>
                </a:cubicBezTo>
                <a:cubicBezTo>
                  <a:pt x="12" y="50"/>
                  <a:pt x="12" y="49"/>
                  <a:pt x="13" y="49"/>
                </a:cubicBezTo>
                <a:cubicBezTo>
                  <a:pt x="13" y="48"/>
                  <a:pt x="14" y="49"/>
                  <a:pt x="15" y="49"/>
                </a:cubicBezTo>
                <a:cubicBezTo>
                  <a:pt x="15" y="49"/>
                  <a:pt x="16" y="47"/>
                  <a:pt x="17" y="47"/>
                </a:cubicBezTo>
                <a:cubicBezTo>
                  <a:pt x="17" y="46"/>
                  <a:pt x="19" y="47"/>
                  <a:pt x="19" y="47"/>
                </a:cubicBezTo>
                <a:cubicBezTo>
                  <a:pt x="19" y="46"/>
                  <a:pt x="20" y="45"/>
                  <a:pt x="20" y="45"/>
                </a:cubicBezTo>
                <a:cubicBezTo>
                  <a:pt x="20" y="44"/>
                  <a:pt x="21" y="43"/>
                  <a:pt x="21" y="43"/>
                </a:cubicBezTo>
                <a:cubicBezTo>
                  <a:pt x="21" y="43"/>
                  <a:pt x="21" y="14"/>
                  <a:pt x="21" y="14"/>
                </a:cubicBezTo>
                <a:cubicBezTo>
                  <a:pt x="21" y="14"/>
                  <a:pt x="24" y="15"/>
                  <a:pt x="24" y="15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7" y="12"/>
                  <a:pt x="27" y="12"/>
                </a:cubicBezTo>
                <a:cubicBezTo>
                  <a:pt x="27" y="12"/>
                  <a:pt x="28" y="11"/>
                  <a:pt x="29" y="11"/>
                </a:cubicBezTo>
                <a:cubicBezTo>
                  <a:pt x="30" y="11"/>
                  <a:pt x="31" y="13"/>
                  <a:pt x="31" y="13"/>
                </a:cubicBezTo>
                <a:cubicBezTo>
                  <a:pt x="31" y="13"/>
                  <a:pt x="31" y="14"/>
                  <a:pt x="31" y="14"/>
                </a:cubicBezTo>
                <a:cubicBezTo>
                  <a:pt x="31" y="14"/>
                  <a:pt x="34" y="14"/>
                  <a:pt x="35" y="14"/>
                </a:cubicBezTo>
                <a:cubicBezTo>
                  <a:pt x="35" y="14"/>
                  <a:pt x="37" y="14"/>
                  <a:pt x="37" y="14"/>
                </a:cubicBezTo>
                <a:cubicBezTo>
                  <a:pt x="38" y="13"/>
                  <a:pt x="40" y="12"/>
                  <a:pt x="41" y="12"/>
                </a:cubicBezTo>
                <a:cubicBezTo>
                  <a:pt x="41" y="12"/>
                  <a:pt x="43" y="11"/>
                  <a:pt x="44" y="11"/>
                </a:cubicBezTo>
                <a:cubicBezTo>
                  <a:pt x="45" y="11"/>
                  <a:pt x="46" y="11"/>
                  <a:pt x="47" y="10"/>
                </a:cubicBezTo>
                <a:cubicBezTo>
                  <a:pt x="48" y="10"/>
                  <a:pt x="51" y="9"/>
                  <a:pt x="52" y="9"/>
                </a:cubicBezTo>
                <a:cubicBezTo>
                  <a:pt x="53" y="9"/>
                  <a:pt x="56" y="7"/>
                  <a:pt x="57" y="6"/>
                </a:cubicBezTo>
                <a:cubicBezTo>
                  <a:pt x="58" y="5"/>
                  <a:pt x="59" y="5"/>
                  <a:pt x="59" y="4"/>
                </a:cubicBezTo>
                <a:cubicBezTo>
                  <a:pt x="60" y="4"/>
                  <a:pt x="60" y="4"/>
                  <a:pt x="61" y="4"/>
                </a:cubicBezTo>
                <a:cubicBezTo>
                  <a:pt x="61" y="4"/>
                  <a:pt x="62" y="4"/>
                  <a:pt x="64" y="4"/>
                </a:cubicBezTo>
                <a:cubicBezTo>
                  <a:pt x="65" y="3"/>
                  <a:pt x="67" y="2"/>
                  <a:pt x="68" y="1"/>
                </a:cubicBezTo>
                <a:cubicBezTo>
                  <a:pt x="69" y="1"/>
                  <a:pt x="70" y="1"/>
                  <a:pt x="71" y="0"/>
                </a:cubicBezTo>
                <a:cubicBezTo>
                  <a:pt x="71" y="0"/>
                  <a:pt x="72" y="0"/>
                  <a:pt x="72" y="0"/>
                </a:cubicBezTo>
                <a:cubicBezTo>
                  <a:pt x="72" y="1"/>
                  <a:pt x="72" y="2"/>
                  <a:pt x="73" y="2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4"/>
                  <a:pt x="74" y="5"/>
                  <a:pt x="73" y="6"/>
                </a:cubicBezTo>
                <a:cubicBezTo>
                  <a:pt x="73" y="7"/>
                  <a:pt x="72" y="8"/>
                  <a:pt x="71" y="8"/>
                </a:cubicBezTo>
                <a:cubicBezTo>
                  <a:pt x="71" y="9"/>
                  <a:pt x="70" y="9"/>
                  <a:pt x="70" y="10"/>
                </a:cubicBezTo>
                <a:cubicBezTo>
                  <a:pt x="70" y="11"/>
                  <a:pt x="70" y="13"/>
                  <a:pt x="70" y="14"/>
                </a:cubicBezTo>
                <a:cubicBezTo>
                  <a:pt x="70" y="14"/>
                  <a:pt x="70" y="14"/>
                  <a:pt x="70" y="14"/>
                </a:cubicBezTo>
                <a:cubicBezTo>
                  <a:pt x="70" y="15"/>
                  <a:pt x="69" y="15"/>
                  <a:pt x="69" y="15"/>
                </a:cubicBezTo>
                <a:cubicBezTo>
                  <a:pt x="69" y="15"/>
                  <a:pt x="69" y="16"/>
                  <a:pt x="69" y="16"/>
                </a:cubicBezTo>
                <a:cubicBezTo>
                  <a:pt x="69" y="17"/>
                  <a:pt x="69" y="17"/>
                  <a:pt x="68" y="17"/>
                </a:cubicBezTo>
                <a:cubicBezTo>
                  <a:pt x="68" y="18"/>
                  <a:pt x="68" y="18"/>
                  <a:pt x="68" y="19"/>
                </a:cubicBezTo>
                <a:cubicBezTo>
                  <a:pt x="69" y="19"/>
                  <a:pt x="70" y="18"/>
                  <a:pt x="71" y="18"/>
                </a:cubicBezTo>
                <a:cubicBezTo>
                  <a:pt x="72" y="17"/>
                  <a:pt x="74" y="16"/>
                  <a:pt x="74" y="16"/>
                </a:cubicBezTo>
                <a:cubicBezTo>
                  <a:pt x="75" y="16"/>
                  <a:pt x="76" y="15"/>
                  <a:pt x="76" y="15"/>
                </a:cubicBezTo>
                <a:cubicBezTo>
                  <a:pt x="76" y="15"/>
                  <a:pt x="77" y="15"/>
                  <a:pt x="77" y="16"/>
                </a:cubicBezTo>
                <a:cubicBezTo>
                  <a:pt x="78" y="16"/>
                  <a:pt x="79" y="17"/>
                  <a:pt x="80" y="18"/>
                </a:cubicBezTo>
                <a:cubicBezTo>
                  <a:pt x="81" y="18"/>
                  <a:pt x="82" y="18"/>
                  <a:pt x="83" y="19"/>
                </a:cubicBezTo>
                <a:cubicBezTo>
                  <a:pt x="83" y="19"/>
                  <a:pt x="84" y="20"/>
                  <a:pt x="85" y="20"/>
                </a:cubicBezTo>
                <a:cubicBezTo>
                  <a:pt x="85" y="20"/>
                  <a:pt x="86" y="19"/>
                  <a:pt x="86" y="19"/>
                </a:cubicBezTo>
                <a:cubicBezTo>
                  <a:pt x="86" y="21"/>
                  <a:pt x="86" y="21"/>
                  <a:pt x="86" y="21"/>
                </a:cubicBezTo>
                <a:cubicBezTo>
                  <a:pt x="89" y="21"/>
                  <a:pt x="89" y="21"/>
                  <a:pt x="89" y="21"/>
                </a:cubicBezTo>
                <a:cubicBezTo>
                  <a:pt x="89" y="21"/>
                  <a:pt x="89" y="22"/>
                  <a:pt x="89" y="22"/>
                </a:cubicBezTo>
                <a:cubicBezTo>
                  <a:pt x="89" y="22"/>
                  <a:pt x="93" y="23"/>
                  <a:pt x="93" y="23"/>
                </a:cubicBezTo>
                <a:cubicBezTo>
                  <a:pt x="96" y="30"/>
                  <a:pt x="96" y="30"/>
                  <a:pt x="96" y="30"/>
                </a:cubicBezTo>
                <a:cubicBezTo>
                  <a:pt x="128" y="40"/>
                  <a:pt x="128" y="40"/>
                  <a:pt x="128" y="40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141" y="47"/>
                  <a:pt x="141" y="47"/>
                  <a:pt x="141" y="47"/>
                </a:cubicBezTo>
                <a:cubicBezTo>
                  <a:pt x="144" y="47"/>
                  <a:pt x="144" y="47"/>
                  <a:pt x="144" y="47"/>
                </a:cubicBezTo>
                <a:cubicBezTo>
                  <a:pt x="147" y="48"/>
                  <a:pt x="147" y="48"/>
                  <a:pt x="147" y="48"/>
                </a:cubicBezTo>
                <a:cubicBezTo>
                  <a:pt x="147" y="48"/>
                  <a:pt x="148" y="47"/>
                  <a:pt x="148" y="47"/>
                </a:cubicBezTo>
                <a:cubicBezTo>
                  <a:pt x="149" y="47"/>
                  <a:pt x="151" y="47"/>
                  <a:pt x="151" y="47"/>
                </a:cubicBezTo>
                <a:cubicBezTo>
                  <a:pt x="151" y="47"/>
                  <a:pt x="153" y="48"/>
                  <a:pt x="153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48"/>
                  <a:pt x="155" y="49"/>
                  <a:pt x="155" y="49"/>
                </a:cubicBezTo>
                <a:cubicBezTo>
                  <a:pt x="155" y="49"/>
                  <a:pt x="156" y="48"/>
                  <a:pt x="156" y="49"/>
                </a:cubicBezTo>
                <a:cubicBezTo>
                  <a:pt x="156" y="49"/>
                  <a:pt x="158" y="50"/>
                  <a:pt x="158" y="50"/>
                </a:cubicBezTo>
                <a:cubicBezTo>
                  <a:pt x="158" y="50"/>
                  <a:pt x="161" y="50"/>
                  <a:pt x="162" y="50"/>
                </a:cubicBezTo>
                <a:cubicBezTo>
                  <a:pt x="163" y="50"/>
                  <a:pt x="164" y="51"/>
                  <a:pt x="165" y="51"/>
                </a:cubicBezTo>
                <a:cubicBezTo>
                  <a:pt x="165" y="51"/>
                  <a:pt x="166" y="52"/>
                  <a:pt x="166" y="52"/>
                </a:cubicBezTo>
                <a:cubicBezTo>
                  <a:pt x="166" y="53"/>
                  <a:pt x="166" y="54"/>
                  <a:pt x="166" y="55"/>
                </a:cubicBezTo>
                <a:cubicBezTo>
                  <a:pt x="166" y="55"/>
                  <a:pt x="165" y="56"/>
                  <a:pt x="165" y="56"/>
                </a:cubicBezTo>
                <a:cubicBezTo>
                  <a:pt x="165" y="56"/>
                  <a:pt x="165" y="57"/>
                  <a:pt x="165" y="57"/>
                </a:cubicBezTo>
                <a:cubicBezTo>
                  <a:pt x="165" y="58"/>
                  <a:pt x="166" y="58"/>
                  <a:pt x="167" y="58"/>
                </a:cubicBezTo>
                <a:cubicBezTo>
                  <a:pt x="167" y="59"/>
                  <a:pt x="169" y="58"/>
                  <a:pt x="169" y="58"/>
                </a:cubicBezTo>
                <a:cubicBezTo>
                  <a:pt x="170" y="58"/>
                  <a:pt x="170" y="58"/>
                  <a:pt x="170" y="59"/>
                </a:cubicBezTo>
                <a:cubicBezTo>
                  <a:pt x="170" y="59"/>
                  <a:pt x="171" y="60"/>
                  <a:pt x="171" y="60"/>
                </a:cubicBezTo>
                <a:cubicBezTo>
                  <a:pt x="171" y="60"/>
                  <a:pt x="174" y="60"/>
                  <a:pt x="174" y="60"/>
                </a:cubicBezTo>
                <a:cubicBezTo>
                  <a:pt x="174" y="60"/>
                  <a:pt x="177" y="63"/>
                  <a:pt x="177" y="63"/>
                </a:cubicBezTo>
                <a:cubicBezTo>
                  <a:pt x="177" y="64"/>
                  <a:pt x="176" y="64"/>
                  <a:pt x="176" y="65"/>
                </a:cubicBezTo>
                <a:cubicBezTo>
                  <a:pt x="176" y="65"/>
                  <a:pt x="175" y="66"/>
                  <a:pt x="176" y="66"/>
                </a:cubicBezTo>
                <a:cubicBezTo>
                  <a:pt x="176" y="66"/>
                  <a:pt x="176" y="67"/>
                  <a:pt x="176" y="68"/>
                </a:cubicBezTo>
                <a:cubicBezTo>
                  <a:pt x="177" y="68"/>
                  <a:pt x="177" y="69"/>
                  <a:pt x="177" y="69"/>
                </a:cubicBezTo>
                <a:cubicBezTo>
                  <a:pt x="176" y="69"/>
                  <a:pt x="175" y="70"/>
                  <a:pt x="175" y="70"/>
                </a:cubicBezTo>
                <a:cubicBezTo>
                  <a:pt x="175" y="70"/>
                  <a:pt x="175" y="70"/>
                  <a:pt x="175" y="71"/>
                </a:cubicBezTo>
                <a:cubicBezTo>
                  <a:pt x="175" y="71"/>
                  <a:pt x="176" y="72"/>
                  <a:pt x="176" y="72"/>
                </a:cubicBezTo>
                <a:cubicBezTo>
                  <a:pt x="176" y="72"/>
                  <a:pt x="175" y="74"/>
                  <a:pt x="175" y="74"/>
                </a:cubicBezTo>
                <a:cubicBezTo>
                  <a:pt x="175" y="74"/>
                  <a:pt x="174" y="76"/>
                  <a:pt x="174" y="76"/>
                </a:cubicBezTo>
                <a:cubicBezTo>
                  <a:pt x="174" y="77"/>
                  <a:pt x="173" y="78"/>
                  <a:pt x="173" y="79"/>
                </a:cubicBezTo>
                <a:cubicBezTo>
                  <a:pt x="173" y="79"/>
                  <a:pt x="173" y="79"/>
                  <a:pt x="174" y="79"/>
                </a:cubicBezTo>
                <a:cubicBezTo>
                  <a:pt x="174" y="80"/>
                  <a:pt x="177" y="80"/>
                  <a:pt x="177" y="80"/>
                </a:cubicBezTo>
                <a:cubicBezTo>
                  <a:pt x="177" y="80"/>
                  <a:pt x="179" y="78"/>
                  <a:pt x="179" y="78"/>
                </a:cubicBezTo>
                <a:cubicBezTo>
                  <a:pt x="179" y="78"/>
                  <a:pt x="181" y="78"/>
                  <a:pt x="181" y="78"/>
                </a:cubicBezTo>
                <a:cubicBezTo>
                  <a:pt x="181" y="79"/>
                  <a:pt x="181" y="79"/>
                  <a:pt x="181" y="80"/>
                </a:cubicBezTo>
                <a:cubicBezTo>
                  <a:pt x="181" y="80"/>
                  <a:pt x="179" y="85"/>
                  <a:pt x="179" y="86"/>
                </a:cubicBezTo>
                <a:cubicBezTo>
                  <a:pt x="179" y="86"/>
                  <a:pt x="178" y="88"/>
                  <a:pt x="178" y="88"/>
                </a:cubicBezTo>
                <a:cubicBezTo>
                  <a:pt x="178" y="88"/>
                  <a:pt x="179" y="90"/>
                  <a:pt x="180" y="90"/>
                </a:cubicBezTo>
                <a:cubicBezTo>
                  <a:pt x="180" y="90"/>
                  <a:pt x="181" y="91"/>
                  <a:pt x="181" y="91"/>
                </a:cubicBezTo>
                <a:cubicBezTo>
                  <a:pt x="181" y="91"/>
                  <a:pt x="182" y="92"/>
                  <a:pt x="183" y="92"/>
                </a:cubicBezTo>
                <a:cubicBezTo>
                  <a:pt x="183" y="93"/>
                  <a:pt x="183" y="95"/>
                  <a:pt x="183" y="96"/>
                </a:cubicBezTo>
                <a:cubicBezTo>
                  <a:pt x="183" y="97"/>
                  <a:pt x="183" y="97"/>
                  <a:pt x="182" y="98"/>
                </a:cubicBezTo>
                <a:cubicBezTo>
                  <a:pt x="182" y="99"/>
                  <a:pt x="181" y="99"/>
                  <a:pt x="180" y="99"/>
                </a:cubicBezTo>
                <a:cubicBezTo>
                  <a:pt x="179" y="99"/>
                  <a:pt x="178" y="99"/>
                  <a:pt x="177" y="100"/>
                </a:cubicBezTo>
                <a:cubicBezTo>
                  <a:pt x="176" y="100"/>
                  <a:pt x="176" y="100"/>
                  <a:pt x="175" y="101"/>
                </a:cubicBezTo>
                <a:cubicBezTo>
                  <a:pt x="175" y="101"/>
                  <a:pt x="175" y="102"/>
                  <a:pt x="175" y="102"/>
                </a:cubicBezTo>
                <a:cubicBezTo>
                  <a:pt x="175" y="103"/>
                  <a:pt x="175" y="104"/>
                  <a:pt x="175" y="104"/>
                </a:cubicBezTo>
                <a:cubicBezTo>
                  <a:pt x="174" y="105"/>
                  <a:pt x="174" y="106"/>
                  <a:pt x="173" y="107"/>
                </a:cubicBezTo>
                <a:cubicBezTo>
                  <a:pt x="172" y="109"/>
                  <a:pt x="170" y="110"/>
                  <a:pt x="170" y="113"/>
                </a:cubicBezTo>
                <a:cubicBezTo>
                  <a:pt x="170" y="114"/>
                  <a:pt x="169" y="114"/>
                  <a:pt x="169" y="115"/>
                </a:cubicBezTo>
                <a:cubicBezTo>
                  <a:pt x="169" y="116"/>
                  <a:pt x="169" y="116"/>
                  <a:pt x="169" y="117"/>
                </a:cubicBezTo>
                <a:cubicBezTo>
                  <a:pt x="169" y="118"/>
                  <a:pt x="169" y="118"/>
                  <a:pt x="170" y="119"/>
                </a:cubicBezTo>
                <a:cubicBezTo>
                  <a:pt x="170" y="119"/>
                  <a:pt x="170" y="120"/>
                  <a:pt x="171" y="119"/>
                </a:cubicBezTo>
                <a:cubicBezTo>
                  <a:pt x="171" y="119"/>
                  <a:pt x="172" y="119"/>
                  <a:pt x="172" y="119"/>
                </a:cubicBezTo>
                <a:cubicBezTo>
                  <a:pt x="172" y="118"/>
                  <a:pt x="173" y="118"/>
                  <a:pt x="173" y="118"/>
                </a:cubicBezTo>
                <a:cubicBezTo>
                  <a:pt x="174" y="117"/>
                  <a:pt x="175" y="116"/>
                  <a:pt x="177" y="115"/>
                </a:cubicBezTo>
                <a:cubicBezTo>
                  <a:pt x="177" y="115"/>
                  <a:pt x="179" y="114"/>
                  <a:pt x="179" y="113"/>
                </a:cubicBezTo>
                <a:cubicBezTo>
                  <a:pt x="179" y="112"/>
                  <a:pt x="179" y="111"/>
                  <a:pt x="179" y="111"/>
                </a:cubicBezTo>
                <a:cubicBezTo>
                  <a:pt x="179" y="110"/>
                  <a:pt x="180" y="110"/>
                  <a:pt x="180" y="109"/>
                </a:cubicBezTo>
                <a:cubicBezTo>
                  <a:pt x="180" y="109"/>
                  <a:pt x="181" y="108"/>
                  <a:pt x="181" y="108"/>
                </a:cubicBezTo>
                <a:cubicBezTo>
                  <a:pt x="181" y="107"/>
                  <a:pt x="182" y="107"/>
                  <a:pt x="182" y="106"/>
                </a:cubicBezTo>
                <a:cubicBezTo>
                  <a:pt x="183" y="106"/>
                  <a:pt x="183" y="105"/>
                  <a:pt x="183" y="105"/>
                </a:cubicBezTo>
                <a:cubicBezTo>
                  <a:pt x="184" y="105"/>
                  <a:pt x="184" y="105"/>
                  <a:pt x="185" y="105"/>
                </a:cubicBezTo>
                <a:cubicBezTo>
                  <a:pt x="186" y="105"/>
                  <a:pt x="188" y="105"/>
                  <a:pt x="190" y="104"/>
                </a:cubicBezTo>
                <a:cubicBezTo>
                  <a:pt x="190" y="104"/>
                  <a:pt x="191" y="103"/>
                  <a:pt x="191" y="103"/>
                </a:cubicBezTo>
                <a:cubicBezTo>
                  <a:pt x="190" y="102"/>
                  <a:pt x="190" y="101"/>
                  <a:pt x="191" y="100"/>
                </a:cubicBezTo>
                <a:cubicBezTo>
                  <a:pt x="191" y="99"/>
                  <a:pt x="192" y="99"/>
                  <a:pt x="192" y="98"/>
                </a:cubicBezTo>
                <a:cubicBezTo>
                  <a:pt x="192" y="98"/>
                  <a:pt x="192" y="97"/>
                  <a:pt x="193" y="96"/>
                </a:cubicBezTo>
                <a:cubicBezTo>
                  <a:pt x="193" y="96"/>
                  <a:pt x="193" y="96"/>
                  <a:pt x="194" y="95"/>
                </a:cubicBezTo>
                <a:cubicBezTo>
                  <a:pt x="194" y="95"/>
                  <a:pt x="194" y="95"/>
                  <a:pt x="194" y="94"/>
                </a:cubicBezTo>
                <a:cubicBezTo>
                  <a:pt x="195" y="93"/>
                  <a:pt x="195" y="93"/>
                  <a:pt x="195" y="92"/>
                </a:cubicBezTo>
                <a:cubicBezTo>
                  <a:pt x="196" y="91"/>
                  <a:pt x="196" y="90"/>
                  <a:pt x="196" y="89"/>
                </a:cubicBezTo>
                <a:cubicBezTo>
                  <a:pt x="197" y="89"/>
                  <a:pt x="198" y="89"/>
                  <a:pt x="199" y="88"/>
                </a:cubicBezTo>
                <a:cubicBezTo>
                  <a:pt x="199" y="88"/>
                  <a:pt x="200" y="87"/>
                  <a:pt x="201" y="86"/>
                </a:cubicBezTo>
                <a:cubicBezTo>
                  <a:pt x="201" y="86"/>
                  <a:pt x="201" y="85"/>
                  <a:pt x="201" y="84"/>
                </a:cubicBezTo>
                <a:cubicBezTo>
                  <a:pt x="202" y="83"/>
                  <a:pt x="202" y="83"/>
                  <a:pt x="203" y="83"/>
                </a:cubicBezTo>
                <a:cubicBezTo>
                  <a:pt x="204" y="83"/>
                  <a:pt x="204" y="83"/>
                  <a:pt x="204" y="83"/>
                </a:cubicBezTo>
                <a:cubicBezTo>
                  <a:pt x="205" y="83"/>
                  <a:pt x="205" y="84"/>
                  <a:pt x="205" y="84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Freeform 10">
            <a:extLst>
              <a:ext uri="{FF2B5EF4-FFF2-40B4-BE49-F238E27FC236}">
                <a16:creationId xmlns:a16="http://schemas.microsoft.com/office/drawing/2014/main" id="{E93C4150-2632-43AD-972B-5FCC84B3B9D6}"/>
              </a:ext>
            </a:extLst>
          </p:cNvPr>
          <p:cNvSpPr>
            <a:spLocks/>
          </p:cNvSpPr>
          <p:nvPr/>
        </p:nvSpPr>
        <p:spPr bwMode="auto">
          <a:xfrm>
            <a:off x="9751501" y="2880468"/>
            <a:ext cx="674099" cy="606359"/>
          </a:xfrm>
          <a:custGeom>
            <a:avLst/>
            <a:gdLst>
              <a:gd name="T0" fmla="*/ 168 w 170"/>
              <a:gd name="T1" fmla="*/ 51 h 153"/>
              <a:gd name="T2" fmla="*/ 165 w 170"/>
              <a:gd name="T3" fmla="*/ 47 h 153"/>
              <a:gd name="T4" fmla="*/ 162 w 170"/>
              <a:gd name="T5" fmla="*/ 46 h 153"/>
              <a:gd name="T6" fmla="*/ 151 w 170"/>
              <a:gd name="T7" fmla="*/ 45 h 153"/>
              <a:gd name="T8" fmla="*/ 146 w 170"/>
              <a:gd name="T9" fmla="*/ 47 h 153"/>
              <a:gd name="T10" fmla="*/ 144 w 170"/>
              <a:gd name="T11" fmla="*/ 50 h 153"/>
              <a:gd name="T12" fmla="*/ 135 w 170"/>
              <a:gd name="T13" fmla="*/ 48 h 153"/>
              <a:gd name="T14" fmla="*/ 132 w 170"/>
              <a:gd name="T15" fmla="*/ 48 h 153"/>
              <a:gd name="T16" fmla="*/ 127 w 170"/>
              <a:gd name="T17" fmla="*/ 53 h 153"/>
              <a:gd name="T18" fmla="*/ 122 w 170"/>
              <a:gd name="T19" fmla="*/ 53 h 153"/>
              <a:gd name="T20" fmla="*/ 116 w 170"/>
              <a:gd name="T21" fmla="*/ 59 h 153"/>
              <a:gd name="T22" fmla="*/ 74 w 170"/>
              <a:gd name="T23" fmla="*/ 41 h 153"/>
              <a:gd name="T24" fmla="*/ 69 w 170"/>
              <a:gd name="T25" fmla="*/ 0 h 153"/>
              <a:gd name="T26" fmla="*/ 70 w 170"/>
              <a:gd name="T27" fmla="*/ 9 h 153"/>
              <a:gd name="T28" fmla="*/ 66 w 170"/>
              <a:gd name="T29" fmla="*/ 28 h 153"/>
              <a:gd name="T30" fmla="*/ 63 w 170"/>
              <a:gd name="T31" fmla="*/ 37 h 153"/>
              <a:gd name="T32" fmla="*/ 61 w 170"/>
              <a:gd name="T33" fmla="*/ 46 h 153"/>
              <a:gd name="T34" fmla="*/ 46 w 170"/>
              <a:gd name="T35" fmla="*/ 58 h 153"/>
              <a:gd name="T36" fmla="*/ 39 w 170"/>
              <a:gd name="T37" fmla="*/ 57 h 153"/>
              <a:gd name="T38" fmla="*/ 34 w 170"/>
              <a:gd name="T39" fmla="*/ 61 h 153"/>
              <a:gd name="T40" fmla="*/ 30 w 170"/>
              <a:gd name="T41" fmla="*/ 70 h 153"/>
              <a:gd name="T42" fmla="*/ 28 w 170"/>
              <a:gd name="T43" fmla="*/ 76 h 153"/>
              <a:gd name="T44" fmla="*/ 25 w 170"/>
              <a:gd name="T45" fmla="*/ 77 h 153"/>
              <a:gd name="T46" fmla="*/ 22 w 170"/>
              <a:gd name="T47" fmla="*/ 72 h 153"/>
              <a:gd name="T48" fmla="*/ 17 w 170"/>
              <a:gd name="T49" fmla="*/ 81 h 153"/>
              <a:gd name="T50" fmla="*/ 14 w 170"/>
              <a:gd name="T51" fmla="*/ 91 h 153"/>
              <a:gd name="T52" fmla="*/ 10 w 170"/>
              <a:gd name="T53" fmla="*/ 98 h 153"/>
              <a:gd name="T54" fmla="*/ 2 w 170"/>
              <a:gd name="T55" fmla="*/ 106 h 153"/>
              <a:gd name="T56" fmla="*/ 0 w 170"/>
              <a:gd name="T57" fmla="*/ 112 h 153"/>
              <a:gd name="T58" fmla="*/ 6 w 170"/>
              <a:gd name="T59" fmla="*/ 118 h 153"/>
              <a:gd name="T60" fmla="*/ 9 w 170"/>
              <a:gd name="T61" fmla="*/ 126 h 153"/>
              <a:gd name="T62" fmla="*/ 15 w 170"/>
              <a:gd name="T63" fmla="*/ 134 h 153"/>
              <a:gd name="T64" fmla="*/ 23 w 170"/>
              <a:gd name="T65" fmla="*/ 138 h 153"/>
              <a:gd name="T66" fmla="*/ 24 w 170"/>
              <a:gd name="T67" fmla="*/ 142 h 153"/>
              <a:gd name="T68" fmla="*/ 30 w 170"/>
              <a:gd name="T69" fmla="*/ 149 h 153"/>
              <a:gd name="T70" fmla="*/ 44 w 170"/>
              <a:gd name="T71" fmla="*/ 146 h 153"/>
              <a:gd name="T72" fmla="*/ 61 w 170"/>
              <a:gd name="T73" fmla="*/ 148 h 153"/>
              <a:gd name="T74" fmla="*/ 63 w 170"/>
              <a:gd name="T75" fmla="*/ 144 h 153"/>
              <a:gd name="T76" fmla="*/ 75 w 170"/>
              <a:gd name="T77" fmla="*/ 143 h 153"/>
              <a:gd name="T78" fmla="*/ 83 w 170"/>
              <a:gd name="T79" fmla="*/ 135 h 153"/>
              <a:gd name="T80" fmla="*/ 84 w 170"/>
              <a:gd name="T81" fmla="*/ 125 h 153"/>
              <a:gd name="T82" fmla="*/ 93 w 170"/>
              <a:gd name="T83" fmla="*/ 115 h 153"/>
              <a:gd name="T84" fmla="*/ 95 w 170"/>
              <a:gd name="T85" fmla="*/ 108 h 153"/>
              <a:gd name="T86" fmla="*/ 101 w 170"/>
              <a:gd name="T87" fmla="*/ 101 h 153"/>
              <a:gd name="T88" fmla="*/ 106 w 170"/>
              <a:gd name="T89" fmla="*/ 92 h 153"/>
              <a:gd name="T90" fmla="*/ 121 w 170"/>
              <a:gd name="T91" fmla="*/ 89 h 153"/>
              <a:gd name="T92" fmla="*/ 130 w 170"/>
              <a:gd name="T93" fmla="*/ 84 h 153"/>
              <a:gd name="T94" fmla="*/ 135 w 170"/>
              <a:gd name="T95" fmla="*/ 78 h 153"/>
              <a:gd name="T96" fmla="*/ 141 w 170"/>
              <a:gd name="T97" fmla="*/ 72 h 153"/>
              <a:gd name="T98" fmla="*/ 147 w 170"/>
              <a:gd name="T99" fmla="*/ 61 h 153"/>
              <a:gd name="T100" fmla="*/ 166 w 170"/>
              <a:gd name="T101" fmla="*/ 6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0" h="153">
                <a:moveTo>
                  <a:pt x="169" y="54"/>
                </a:moveTo>
                <a:cubicBezTo>
                  <a:pt x="167" y="54"/>
                  <a:pt x="167" y="54"/>
                  <a:pt x="167" y="54"/>
                </a:cubicBezTo>
                <a:cubicBezTo>
                  <a:pt x="167" y="54"/>
                  <a:pt x="168" y="52"/>
                  <a:pt x="168" y="52"/>
                </a:cubicBezTo>
                <a:cubicBezTo>
                  <a:pt x="168" y="52"/>
                  <a:pt x="168" y="51"/>
                  <a:pt x="168" y="51"/>
                </a:cubicBezTo>
                <a:cubicBezTo>
                  <a:pt x="166" y="51"/>
                  <a:pt x="166" y="51"/>
                  <a:pt x="166" y="51"/>
                </a:cubicBezTo>
                <a:cubicBezTo>
                  <a:pt x="166" y="50"/>
                  <a:pt x="166" y="50"/>
                  <a:pt x="166" y="50"/>
                </a:cubicBezTo>
                <a:cubicBezTo>
                  <a:pt x="165" y="50"/>
                  <a:pt x="165" y="50"/>
                  <a:pt x="165" y="50"/>
                </a:cubicBezTo>
                <a:cubicBezTo>
                  <a:pt x="165" y="50"/>
                  <a:pt x="165" y="48"/>
                  <a:pt x="165" y="47"/>
                </a:cubicBezTo>
                <a:cubicBezTo>
                  <a:pt x="165" y="47"/>
                  <a:pt x="166" y="46"/>
                  <a:pt x="166" y="46"/>
                </a:cubicBezTo>
                <a:cubicBezTo>
                  <a:pt x="166" y="46"/>
                  <a:pt x="164" y="46"/>
                  <a:pt x="164" y="46"/>
                </a:cubicBezTo>
                <a:cubicBezTo>
                  <a:pt x="164" y="46"/>
                  <a:pt x="162" y="47"/>
                  <a:pt x="162" y="47"/>
                </a:cubicBezTo>
                <a:cubicBezTo>
                  <a:pt x="162" y="47"/>
                  <a:pt x="163" y="46"/>
                  <a:pt x="162" y="46"/>
                </a:cubicBezTo>
                <a:cubicBezTo>
                  <a:pt x="162" y="45"/>
                  <a:pt x="161" y="46"/>
                  <a:pt x="161" y="46"/>
                </a:cubicBezTo>
                <a:cubicBezTo>
                  <a:pt x="161" y="46"/>
                  <a:pt x="155" y="42"/>
                  <a:pt x="155" y="42"/>
                </a:cubicBezTo>
                <a:cubicBezTo>
                  <a:pt x="153" y="42"/>
                  <a:pt x="153" y="42"/>
                  <a:pt x="153" y="42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5"/>
                  <a:pt x="148" y="45"/>
                  <a:pt x="148" y="45"/>
                </a:cubicBezTo>
                <a:cubicBezTo>
                  <a:pt x="148" y="44"/>
                  <a:pt x="147" y="46"/>
                  <a:pt x="147" y="46"/>
                </a:cubicBezTo>
                <a:cubicBezTo>
                  <a:pt x="145" y="45"/>
                  <a:pt x="145" y="45"/>
                  <a:pt x="145" y="45"/>
                </a:cubicBezTo>
                <a:cubicBezTo>
                  <a:pt x="145" y="45"/>
                  <a:pt x="146" y="47"/>
                  <a:pt x="146" y="47"/>
                </a:cubicBezTo>
                <a:cubicBezTo>
                  <a:pt x="146" y="47"/>
                  <a:pt x="145" y="47"/>
                  <a:pt x="145" y="47"/>
                </a:cubicBezTo>
                <a:cubicBezTo>
                  <a:pt x="144" y="48"/>
                  <a:pt x="144" y="49"/>
                  <a:pt x="144" y="49"/>
                </a:cubicBezTo>
                <a:cubicBezTo>
                  <a:pt x="146" y="49"/>
                  <a:pt x="146" y="49"/>
                  <a:pt x="146" y="49"/>
                </a:cubicBezTo>
                <a:cubicBezTo>
                  <a:pt x="144" y="50"/>
                  <a:pt x="144" y="50"/>
                  <a:pt x="144" y="50"/>
                </a:cubicBezTo>
                <a:cubicBezTo>
                  <a:pt x="144" y="50"/>
                  <a:pt x="142" y="50"/>
                  <a:pt x="142" y="50"/>
                </a:cubicBezTo>
                <a:cubicBezTo>
                  <a:pt x="142" y="50"/>
                  <a:pt x="140" y="50"/>
                  <a:pt x="139" y="49"/>
                </a:cubicBezTo>
                <a:cubicBezTo>
                  <a:pt x="139" y="49"/>
                  <a:pt x="137" y="48"/>
                  <a:pt x="137" y="48"/>
                </a:cubicBezTo>
                <a:cubicBezTo>
                  <a:pt x="137" y="48"/>
                  <a:pt x="135" y="48"/>
                  <a:pt x="135" y="48"/>
                </a:cubicBezTo>
                <a:cubicBezTo>
                  <a:pt x="135" y="47"/>
                  <a:pt x="134" y="46"/>
                  <a:pt x="134" y="46"/>
                </a:cubicBezTo>
                <a:cubicBezTo>
                  <a:pt x="134" y="45"/>
                  <a:pt x="133" y="46"/>
                  <a:pt x="133" y="46"/>
                </a:cubicBezTo>
                <a:cubicBezTo>
                  <a:pt x="133" y="46"/>
                  <a:pt x="133" y="46"/>
                  <a:pt x="133" y="46"/>
                </a:cubicBezTo>
                <a:cubicBezTo>
                  <a:pt x="132" y="46"/>
                  <a:pt x="132" y="47"/>
                  <a:pt x="132" y="48"/>
                </a:cubicBezTo>
                <a:cubicBezTo>
                  <a:pt x="132" y="48"/>
                  <a:pt x="132" y="48"/>
                  <a:pt x="132" y="48"/>
                </a:cubicBezTo>
                <a:cubicBezTo>
                  <a:pt x="131" y="48"/>
                  <a:pt x="131" y="48"/>
                  <a:pt x="131" y="48"/>
                </a:cubicBezTo>
                <a:cubicBezTo>
                  <a:pt x="131" y="48"/>
                  <a:pt x="128" y="51"/>
                  <a:pt x="128" y="51"/>
                </a:cubicBezTo>
                <a:cubicBezTo>
                  <a:pt x="128" y="52"/>
                  <a:pt x="127" y="53"/>
                  <a:pt x="127" y="53"/>
                </a:cubicBezTo>
                <a:cubicBezTo>
                  <a:pt x="127" y="53"/>
                  <a:pt x="126" y="53"/>
                  <a:pt x="126" y="53"/>
                </a:cubicBezTo>
                <a:cubicBezTo>
                  <a:pt x="126" y="52"/>
                  <a:pt x="125" y="52"/>
                  <a:pt x="124" y="52"/>
                </a:cubicBezTo>
                <a:cubicBezTo>
                  <a:pt x="124" y="51"/>
                  <a:pt x="123" y="52"/>
                  <a:pt x="123" y="52"/>
                </a:cubicBezTo>
                <a:cubicBezTo>
                  <a:pt x="122" y="53"/>
                  <a:pt x="122" y="53"/>
                  <a:pt x="122" y="53"/>
                </a:cubicBezTo>
                <a:cubicBezTo>
                  <a:pt x="121" y="54"/>
                  <a:pt x="121" y="54"/>
                  <a:pt x="121" y="54"/>
                </a:cubicBezTo>
                <a:cubicBezTo>
                  <a:pt x="120" y="56"/>
                  <a:pt x="120" y="56"/>
                  <a:pt x="120" y="56"/>
                </a:cubicBezTo>
                <a:cubicBezTo>
                  <a:pt x="119" y="56"/>
                  <a:pt x="119" y="56"/>
                  <a:pt x="119" y="56"/>
                </a:cubicBezTo>
                <a:cubicBezTo>
                  <a:pt x="116" y="59"/>
                  <a:pt x="116" y="59"/>
                  <a:pt x="116" y="59"/>
                </a:cubicBezTo>
                <a:cubicBezTo>
                  <a:pt x="116" y="59"/>
                  <a:pt x="114" y="60"/>
                  <a:pt x="114" y="60"/>
                </a:cubicBezTo>
                <a:cubicBezTo>
                  <a:pt x="114" y="60"/>
                  <a:pt x="109" y="63"/>
                  <a:pt x="109" y="63"/>
                </a:cubicBezTo>
                <a:cubicBezTo>
                  <a:pt x="109" y="41"/>
                  <a:pt x="109" y="41"/>
                  <a:pt x="109" y="41"/>
                </a:cubicBezTo>
                <a:cubicBezTo>
                  <a:pt x="74" y="41"/>
                  <a:pt x="74" y="41"/>
                  <a:pt x="74" y="41"/>
                </a:cubicBezTo>
                <a:cubicBezTo>
                  <a:pt x="74" y="0"/>
                  <a:pt x="74" y="0"/>
                  <a:pt x="74" y="0"/>
                </a:cubicBezTo>
                <a:cubicBezTo>
                  <a:pt x="72" y="1"/>
                  <a:pt x="72" y="1"/>
                  <a:pt x="72" y="1"/>
                </a:cubicBezTo>
                <a:cubicBezTo>
                  <a:pt x="70" y="0"/>
                  <a:pt x="70" y="0"/>
                  <a:pt x="70" y="0"/>
                </a:cubicBezTo>
                <a:cubicBezTo>
                  <a:pt x="70" y="0"/>
                  <a:pt x="69" y="0"/>
                  <a:pt x="69" y="0"/>
                </a:cubicBezTo>
                <a:cubicBezTo>
                  <a:pt x="69" y="1"/>
                  <a:pt x="68" y="2"/>
                  <a:pt x="68" y="2"/>
                </a:cubicBezTo>
                <a:cubicBezTo>
                  <a:pt x="68" y="2"/>
                  <a:pt x="70" y="5"/>
                  <a:pt x="70" y="5"/>
                </a:cubicBezTo>
                <a:cubicBezTo>
                  <a:pt x="70" y="5"/>
                  <a:pt x="71" y="7"/>
                  <a:pt x="71" y="7"/>
                </a:cubicBezTo>
                <a:cubicBezTo>
                  <a:pt x="71" y="7"/>
                  <a:pt x="70" y="9"/>
                  <a:pt x="70" y="9"/>
                </a:cubicBezTo>
                <a:cubicBezTo>
                  <a:pt x="70" y="10"/>
                  <a:pt x="69" y="11"/>
                  <a:pt x="69" y="11"/>
                </a:cubicBezTo>
                <a:cubicBezTo>
                  <a:pt x="69" y="12"/>
                  <a:pt x="71" y="15"/>
                  <a:pt x="71" y="15"/>
                </a:cubicBezTo>
                <a:cubicBezTo>
                  <a:pt x="66" y="24"/>
                  <a:pt x="66" y="24"/>
                  <a:pt x="66" y="24"/>
                </a:cubicBezTo>
                <a:cubicBezTo>
                  <a:pt x="66" y="28"/>
                  <a:pt x="66" y="28"/>
                  <a:pt x="66" y="28"/>
                </a:cubicBezTo>
                <a:cubicBezTo>
                  <a:pt x="66" y="32"/>
                  <a:pt x="66" y="32"/>
                  <a:pt x="66" y="32"/>
                </a:cubicBezTo>
                <a:cubicBezTo>
                  <a:pt x="66" y="32"/>
                  <a:pt x="64" y="33"/>
                  <a:pt x="64" y="33"/>
                </a:cubicBezTo>
                <a:cubicBezTo>
                  <a:pt x="64" y="33"/>
                  <a:pt x="64" y="35"/>
                  <a:pt x="64" y="35"/>
                </a:cubicBezTo>
                <a:cubicBezTo>
                  <a:pt x="64" y="35"/>
                  <a:pt x="63" y="37"/>
                  <a:pt x="63" y="37"/>
                </a:cubicBezTo>
                <a:cubicBezTo>
                  <a:pt x="62" y="37"/>
                  <a:pt x="61" y="39"/>
                  <a:pt x="61" y="39"/>
                </a:cubicBezTo>
                <a:cubicBezTo>
                  <a:pt x="61" y="40"/>
                  <a:pt x="63" y="42"/>
                  <a:pt x="63" y="42"/>
                </a:cubicBezTo>
                <a:cubicBezTo>
                  <a:pt x="63" y="42"/>
                  <a:pt x="62" y="42"/>
                  <a:pt x="62" y="43"/>
                </a:cubicBezTo>
                <a:cubicBezTo>
                  <a:pt x="61" y="43"/>
                  <a:pt x="61" y="46"/>
                  <a:pt x="61" y="46"/>
                </a:cubicBezTo>
                <a:cubicBezTo>
                  <a:pt x="61" y="46"/>
                  <a:pt x="59" y="46"/>
                  <a:pt x="59" y="46"/>
                </a:cubicBezTo>
                <a:cubicBezTo>
                  <a:pt x="59" y="46"/>
                  <a:pt x="58" y="48"/>
                  <a:pt x="58" y="48"/>
                </a:cubicBezTo>
                <a:cubicBezTo>
                  <a:pt x="51" y="55"/>
                  <a:pt x="51" y="55"/>
                  <a:pt x="51" y="55"/>
                </a:cubicBezTo>
                <a:cubicBezTo>
                  <a:pt x="51" y="55"/>
                  <a:pt x="46" y="58"/>
                  <a:pt x="46" y="58"/>
                </a:cubicBezTo>
                <a:cubicBezTo>
                  <a:pt x="46" y="58"/>
                  <a:pt x="44" y="58"/>
                  <a:pt x="44" y="58"/>
                </a:cubicBezTo>
                <a:cubicBezTo>
                  <a:pt x="44" y="58"/>
                  <a:pt x="42" y="55"/>
                  <a:pt x="42" y="55"/>
                </a:cubicBezTo>
                <a:cubicBezTo>
                  <a:pt x="42" y="55"/>
                  <a:pt x="41" y="55"/>
                  <a:pt x="41" y="55"/>
                </a:cubicBezTo>
                <a:cubicBezTo>
                  <a:pt x="40" y="55"/>
                  <a:pt x="40" y="57"/>
                  <a:pt x="39" y="57"/>
                </a:cubicBezTo>
                <a:cubicBezTo>
                  <a:pt x="39" y="57"/>
                  <a:pt x="38" y="58"/>
                  <a:pt x="38" y="58"/>
                </a:cubicBezTo>
                <a:cubicBezTo>
                  <a:pt x="38" y="58"/>
                  <a:pt x="37" y="62"/>
                  <a:pt x="37" y="62"/>
                </a:cubicBezTo>
                <a:cubicBezTo>
                  <a:pt x="37" y="62"/>
                  <a:pt x="36" y="61"/>
                  <a:pt x="36" y="61"/>
                </a:cubicBezTo>
                <a:cubicBezTo>
                  <a:pt x="35" y="61"/>
                  <a:pt x="34" y="61"/>
                  <a:pt x="34" y="61"/>
                </a:cubicBezTo>
                <a:cubicBezTo>
                  <a:pt x="34" y="61"/>
                  <a:pt x="33" y="64"/>
                  <a:pt x="33" y="64"/>
                </a:cubicBezTo>
                <a:cubicBezTo>
                  <a:pt x="32" y="64"/>
                  <a:pt x="31" y="65"/>
                  <a:pt x="31" y="65"/>
                </a:cubicBezTo>
                <a:cubicBezTo>
                  <a:pt x="31" y="65"/>
                  <a:pt x="31" y="69"/>
                  <a:pt x="31" y="69"/>
                </a:cubicBezTo>
                <a:cubicBezTo>
                  <a:pt x="31" y="69"/>
                  <a:pt x="30" y="70"/>
                  <a:pt x="30" y="70"/>
                </a:cubicBezTo>
                <a:cubicBezTo>
                  <a:pt x="30" y="70"/>
                  <a:pt x="29" y="70"/>
                  <a:pt x="29" y="71"/>
                </a:cubicBezTo>
                <a:cubicBezTo>
                  <a:pt x="29" y="71"/>
                  <a:pt x="30" y="72"/>
                  <a:pt x="30" y="72"/>
                </a:cubicBezTo>
                <a:cubicBezTo>
                  <a:pt x="30" y="72"/>
                  <a:pt x="30" y="77"/>
                  <a:pt x="30" y="77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6"/>
                  <a:pt x="28" y="77"/>
                  <a:pt x="28" y="78"/>
                </a:cubicBezTo>
                <a:cubicBezTo>
                  <a:pt x="28" y="78"/>
                  <a:pt x="27" y="79"/>
                  <a:pt x="27" y="79"/>
                </a:cubicBezTo>
                <a:cubicBezTo>
                  <a:pt x="27" y="79"/>
                  <a:pt x="25" y="79"/>
                  <a:pt x="25" y="79"/>
                </a:cubicBezTo>
                <a:cubicBezTo>
                  <a:pt x="25" y="79"/>
                  <a:pt x="25" y="77"/>
                  <a:pt x="25" y="77"/>
                </a:cubicBezTo>
                <a:cubicBezTo>
                  <a:pt x="25" y="77"/>
                  <a:pt x="26" y="76"/>
                  <a:pt x="26" y="76"/>
                </a:cubicBezTo>
                <a:cubicBezTo>
                  <a:pt x="26" y="76"/>
                  <a:pt x="25" y="75"/>
                  <a:pt x="25" y="75"/>
                </a:cubicBezTo>
                <a:cubicBezTo>
                  <a:pt x="25" y="75"/>
                  <a:pt x="24" y="74"/>
                  <a:pt x="24" y="74"/>
                </a:cubicBezTo>
                <a:cubicBezTo>
                  <a:pt x="24" y="74"/>
                  <a:pt x="22" y="73"/>
                  <a:pt x="22" y="72"/>
                </a:cubicBezTo>
                <a:cubicBezTo>
                  <a:pt x="22" y="72"/>
                  <a:pt x="21" y="72"/>
                  <a:pt x="21" y="73"/>
                </a:cubicBezTo>
                <a:cubicBezTo>
                  <a:pt x="21" y="73"/>
                  <a:pt x="20" y="74"/>
                  <a:pt x="20" y="74"/>
                </a:cubicBezTo>
                <a:cubicBezTo>
                  <a:pt x="20" y="75"/>
                  <a:pt x="18" y="78"/>
                  <a:pt x="18" y="78"/>
                </a:cubicBezTo>
                <a:cubicBezTo>
                  <a:pt x="18" y="79"/>
                  <a:pt x="17" y="81"/>
                  <a:pt x="17" y="81"/>
                </a:cubicBezTo>
                <a:cubicBezTo>
                  <a:pt x="17" y="81"/>
                  <a:pt x="15" y="83"/>
                  <a:pt x="15" y="83"/>
                </a:cubicBezTo>
                <a:cubicBezTo>
                  <a:pt x="15" y="83"/>
                  <a:pt x="16" y="86"/>
                  <a:pt x="16" y="87"/>
                </a:cubicBezTo>
                <a:cubicBezTo>
                  <a:pt x="16" y="87"/>
                  <a:pt x="17" y="91"/>
                  <a:pt x="17" y="91"/>
                </a:cubicBezTo>
                <a:cubicBezTo>
                  <a:pt x="17" y="91"/>
                  <a:pt x="14" y="91"/>
                  <a:pt x="14" y="91"/>
                </a:cubicBezTo>
                <a:cubicBezTo>
                  <a:pt x="14" y="92"/>
                  <a:pt x="12" y="92"/>
                  <a:pt x="12" y="92"/>
                </a:cubicBezTo>
                <a:cubicBezTo>
                  <a:pt x="12" y="92"/>
                  <a:pt x="12" y="94"/>
                  <a:pt x="12" y="94"/>
                </a:cubicBezTo>
                <a:cubicBezTo>
                  <a:pt x="12" y="95"/>
                  <a:pt x="11" y="97"/>
                  <a:pt x="11" y="97"/>
                </a:cubicBezTo>
                <a:cubicBezTo>
                  <a:pt x="11" y="97"/>
                  <a:pt x="10" y="98"/>
                  <a:pt x="10" y="98"/>
                </a:cubicBezTo>
                <a:cubicBezTo>
                  <a:pt x="9" y="99"/>
                  <a:pt x="6" y="99"/>
                  <a:pt x="6" y="99"/>
                </a:cubicBezTo>
                <a:cubicBezTo>
                  <a:pt x="2" y="100"/>
                  <a:pt x="2" y="100"/>
                  <a:pt x="2" y="100"/>
                </a:cubicBezTo>
                <a:cubicBezTo>
                  <a:pt x="2" y="100"/>
                  <a:pt x="2" y="102"/>
                  <a:pt x="2" y="103"/>
                </a:cubicBezTo>
                <a:cubicBezTo>
                  <a:pt x="2" y="103"/>
                  <a:pt x="2" y="106"/>
                  <a:pt x="2" y="106"/>
                </a:cubicBezTo>
                <a:cubicBezTo>
                  <a:pt x="2" y="106"/>
                  <a:pt x="1" y="107"/>
                  <a:pt x="1" y="107"/>
                </a:cubicBezTo>
                <a:cubicBezTo>
                  <a:pt x="2" y="109"/>
                  <a:pt x="2" y="109"/>
                  <a:pt x="2" y="109"/>
                </a:cubicBezTo>
                <a:cubicBezTo>
                  <a:pt x="1" y="110"/>
                  <a:pt x="1" y="110"/>
                  <a:pt x="1" y="110"/>
                </a:cubicBezTo>
                <a:cubicBezTo>
                  <a:pt x="1" y="110"/>
                  <a:pt x="0" y="111"/>
                  <a:pt x="0" y="112"/>
                </a:cubicBezTo>
                <a:cubicBezTo>
                  <a:pt x="0" y="112"/>
                  <a:pt x="2" y="112"/>
                  <a:pt x="2" y="112"/>
                </a:cubicBezTo>
                <a:cubicBezTo>
                  <a:pt x="2" y="112"/>
                  <a:pt x="3" y="115"/>
                  <a:pt x="3" y="115"/>
                </a:cubicBezTo>
                <a:cubicBezTo>
                  <a:pt x="4" y="115"/>
                  <a:pt x="4" y="117"/>
                  <a:pt x="4" y="117"/>
                </a:cubicBezTo>
                <a:cubicBezTo>
                  <a:pt x="4" y="117"/>
                  <a:pt x="6" y="118"/>
                  <a:pt x="6" y="118"/>
                </a:cubicBezTo>
                <a:cubicBezTo>
                  <a:pt x="6" y="118"/>
                  <a:pt x="6" y="119"/>
                  <a:pt x="6" y="119"/>
                </a:cubicBezTo>
                <a:cubicBezTo>
                  <a:pt x="5" y="121"/>
                  <a:pt x="5" y="121"/>
                  <a:pt x="5" y="121"/>
                </a:cubicBezTo>
                <a:cubicBezTo>
                  <a:pt x="5" y="121"/>
                  <a:pt x="8" y="122"/>
                  <a:pt x="8" y="122"/>
                </a:cubicBezTo>
                <a:cubicBezTo>
                  <a:pt x="8" y="122"/>
                  <a:pt x="9" y="126"/>
                  <a:pt x="9" y="126"/>
                </a:cubicBezTo>
                <a:cubicBezTo>
                  <a:pt x="12" y="128"/>
                  <a:pt x="12" y="128"/>
                  <a:pt x="12" y="128"/>
                </a:cubicBezTo>
                <a:cubicBezTo>
                  <a:pt x="12" y="128"/>
                  <a:pt x="11" y="129"/>
                  <a:pt x="11" y="129"/>
                </a:cubicBezTo>
                <a:cubicBezTo>
                  <a:pt x="11" y="130"/>
                  <a:pt x="11" y="131"/>
                  <a:pt x="11" y="131"/>
                </a:cubicBezTo>
                <a:cubicBezTo>
                  <a:pt x="11" y="131"/>
                  <a:pt x="15" y="134"/>
                  <a:pt x="15" y="134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8" y="137"/>
                  <a:pt x="18" y="137"/>
                  <a:pt x="18" y="137"/>
                </a:cubicBezTo>
                <a:cubicBezTo>
                  <a:pt x="21" y="138"/>
                  <a:pt x="21" y="138"/>
                  <a:pt x="21" y="138"/>
                </a:cubicBezTo>
                <a:cubicBezTo>
                  <a:pt x="23" y="138"/>
                  <a:pt x="23" y="138"/>
                  <a:pt x="23" y="138"/>
                </a:cubicBezTo>
                <a:cubicBezTo>
                  <a:pt x="25" y="139"/>
                  <a:pt x="25" y="139"/>
                  <a:pt x="25" y="139"/>
                </a:cubicBezTo>
                <a:cubicBezTo>
                  <a:pt x="25" y="139"/>
                  <a:pt x="24" y="140"/>
                  <a:pt x="24" y="140"/>
                </a:cubicBezTo>
                <a:cubicBezTo>
                  <a:pt x="24" y="140"/>
                  <a:pt x="23" y="141"/>
                  <a:pt x="23" y="141"/>
                </a:cubicBezTo>
                <a:cubicBezTo>
                  <a:pt x="24" y="142"/>
                  <a:pt x="24" y="142"/>
                  <a:pt x="24" y="142"/>
                </a:cubicBezTo>
                <a:cubicBezTo>
                  <a:pt x="24" y="143"/>
                  <a:pt x="24" y="143"/>
                  <a:pt x="24" y="143"/>
                </a:cubicBezTo>
                <a:cubicBezTo>
                  <a:pt x="24" y="143"/>
                  <a:pt x="25" y="146"/>
                  <a:pt x="25" y="146"/>
                </a:cubicBezTo>
                <a:cubicBezTo>
                  <a:pt x="25" y="146"/>
                  <a:pt x="28" y="148"/>
                  <a:pt x="28" y="148"/>
                </a:cubicBezTo>
                <a:cubicBezTo>
                  <a:pt x="30" y="149"/>
                  <a:pt x="30" y="149"/>
                  <a:pt x="30" y="149"/>
                </a:cubicBezTo>
                <a:cubicBezTo>
                  <a:pt x="30" y="149"/>
                  <a:pt x="32" y="150"/>
                  <a:pt x="32" y="150"/>
                </a:cubicBezTo>
                <a:cubicBezTo>
                  <a:pt x="32" y="150"/>
                  <a:pt x="33" y="152"/>
                  <a:pt x="33" y="152"/>
                </a:cubicBezTo>
                <a:cubicBezTo>
                  <a:pt x="33" y="153"/>
                  <a:pt x="38" y="152"/>
                  <a:pt x="38" y="152"/>
                </a:cubicBezTo>
                <a:cubicBezTo>
                  <a:pt x="44" y="146"/>
                  <a:pt x="44" y="146"/>
                  <a:pt x="44" y="146"/>
                </a:cubicBezTo>
                <a:cubicBezTo>
                  <a:pt x="49" y="151"/>
                  <a:pt x="49" y="151"/>
                  <a:pt x="49" y="151"/>
                </a:cubicBezTo>
                <a:cubicBezTo>
                  <a:pt x="52" y="149"/>
                  <a:pt x="52" y="149"/>
                  <a:pt x="52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61" y="148"/>
                  <a:pt x="61" y="148"/>
                  <a:pt x="61" y="148"/>
                </a:cubicBezTo>
                <a:cubicBezTo>
                  <a:pt x="62" y="146"/>
                  <a:pt x="62" y="146"/>
                  <a:pt x="62" y="146"/>
                </a:cubicBezTo>
                <a:cubicBezTo>
                  <a:pt x="61" y="145"/>
                  <a:pt x="61" y="145"/>
                  <a:pt x="61" y="145"/>
                </a:cubicBezTo>
                <a:cubicBezTo>
                  <a:pt x="62" y="143"/>
                  <a:pt x="62" y="143"/>
                  <a:pt x="62" y="143"/>
                </a:cubicBezTo>
                <a:cubicBezTo>
                  <a:pt x="63" y="144"/>
                  <a:pt x="63" y="144"/>
                  <a:pt x="63" y="144"/>
                </a:cubicBezTo>
                <a:cubicBezTo>
                  <a:pt x="66" y="145"/>
                  <a:pt x="66" y="145"/>
                  <a:pt x="66" y="145"/>
                </a:cubicBezTo>
                <a:cubicBezTo>
                  <a:pt x="70" y="142"/>
                  <a:pt x="70" y="142"/>
                  <a:pt x="70" y="142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75" y="143"/>
                  <a:pt x="75" y="143"/>
                  <a:pt x="75" y="143"/>
                </a:cubicBezTo>
                <a:cubicBezTo>
                  <a:pt x="81" y="139"/>
                  <a:pt x="81" y="139"/>
                  <a:pt x="81" y="139"/>
                </a:cubicBezTo>
                <a:cubicBezTo>
                  <a:pt x="81" y="139"/>
                  <a:pt x="81" y="138"/>
                  <a:pt x="80" y="138"/>
                </a:cubicBezTo>
                <a:cubicBezTo>
                  <a:pt x="80" y="138"/>
                  <a:pt x="80" y="137"/>
                  <a:pt x="80" y="136"/>
                </a:cubicBezTo>
                <a:cubicBezTo>
                  <a:pt x="80" y="136"/>
                  <a:pt x="83" y="135"/>
                  <a:pt x="83" y="135"/>
                </a:cubicBezTo>
                <a:cubicBezTo>
                  <a:pt x="83" y="134"/>
                  <a:pt x="83" y="134"/>
                  <a:pt x="83" y="134"/>
                </a:cubicBezTo>
                <a:cubicBezTo>
                  <a:pt x="83" y="134"/>
                  <a:pt x="82" y="132"/>
                  <a:pt x="82" y="132"/>
                </a:cubicBezTo>
                <a:cubicBezTo>
                  <a:pt x="82" y="132"/>
                  <a:pt x="82" y="130"/>
                  <a:pt x="82" y="130"/>
                </a:cubicBezTo>
                <a:cubicBezTo>
                  <a:pt x="84" y="125"/>
                  <a:pt x="84" y="125"/>
                  <a:pt x="84" y="125"/>
                </a:cubicBezTo>
                <a:cubicBezTo>
                  <a:pt x="84" y="125"/>
                  <a:pt x="85" y="123"/>
                  <a:pt x="85" y="123"/>
                </a:cubicBezTo>
                <a:cubicBezTo>
                  <a:pt x="85" y="123"/>
                  <a:pt x="88" y="121"/>
                  <a:pt x="88" y="121"/>
                </a:cubicBezTo>
                <a:cubicBezTo>
                  <a:pt x="88" y="120"/>
                  <a:pt x="91" y="117"/>
                  <a:pt x="91" y="117"/>
                </a:cubicBezTo>
                <a:cubicBezTo>
                  <a:pt x="91" y="117"/>
                  <a:pt x="93" y="115"/>
                  <a:pt x="93" y="115"/>
                </a:cubicBezTo>
                <a:cubicBezTo>
                  <a:pt x="93" y="115"/>
                  <a:pt x="94" y="113"/>
                  <a:pt x="94" y="113"/>
                </a:cubicBezTo>
                <a:cubicBezTo>
                  <a:pt x="93" y="111"/>
                  <a:pt x="93" y="111"/>
                  <a:pt x="93" y="111"/>
                </a:cubicBezTo>
                <a:cubicBezTo>
                  <a:pt x="94" y="109"/>
                  <a:pt x="94" y="109"/>
                  <a:pt x="94" y="109"/>
                </a:cubicBezTo>
                <a:cubicBezTo>
                  <a:pt x="95" y="108"/>
                  <a:pt x="95" y="108"/>
                  <a:pt x="95" y="108"/>
                </a:cubicBezTo>
                <a:cubicBezTo>
                  <a:pt x="98" y="106"/>
                  <a:pt x="98" y="106"/>
                  <a:pt x="98" y="106"/>
                </a:cubicBezTo>
                <a:cubicBezTo>
                  <a:pt x="98" y="104"/>
                  <a:pt x="98" y="104"/>
                  <a:pt x="98" y="104"/>
                </a:cubicBezTo>
                <a:cubicBezTo>
                  <a:pt x="98" y="104"/>
                  <a:pt x="101" y="102"/>
                  <a:pt x="101" y="102"/>
                </a:cubicBezTo>
                <a:cubicBezTo>
                  <a:pt x="101" y="101"/>
                  <a:pt x="101" y="101"/>
                  <a:pt x="101" y="101"/>
                </a:cubicBezTo>
                <a:cubicBezTo>
                  <a:pt x="101" y="101"/>
                  <a:pt x="102" y="99"/>
                  <a:pt x="102" y="99"/>
                </a:cubicBezTo>
                <a:cubicBezTo>
                  <a:pt x="103" y="95"/>
                  <a:pt x="103" y="95"/>
                  <a:pt x="103" y="95"/>
                </a:cubicBezTo>
                <a:cubicBezTo>
                  <a:pt x="103" y="91"/>
                  <a:pt x="103" y="91"/>
                  <a:pt x="103" y="91"/>
                </a:cubicBezTo>
                <a:cubicBezTo>
                  <a:pt x="103" y="91"/>
                  <a:pt x="106" y="92"/>
                  <a:pt x="106" y="92"/>
                </a:cubicBezTo>
                <a:cubicBezTo>
                  <a:pt x="107" y="93"/>
                  <a:pt x="108" y="94"/>
                  <a:pt x="108" y="94"/>
                </a:cubicBezTo>
                <a:cubicBezTo>
                  <a:pt x="108" y="94"/>
                  <a:pt x="109" y="97"/>
                  <a:pt x="109" y="97"/>
                </a:cubicBezTo>
                <a:cubicBezTo>
                  <a:pt x="109" y="97"/>
                  <a:pt x="116" y="99"/>
                  <a:pt x="116" y="99"/>
                </a:cubicBezTo>
                <a:cubicBezTo>
                  <a:pt x="116" y="99"/>
                  <a:pt x="121" y="89"/>
                  <a:pt x="121" y="89"/>
                </a:cubicBezTo>
                <a:cubicBezTo>
                  <a:pt x="121" y="88"/>
                  <a:pt x="123" y="89"/>
                  <a:pt x="123" y="89"/>
                </a:cubicBezTo>
                <a:cubicBezTo>
                  <a:pt x="123" y="89"/>
                  <a:pt x="123" y="85"/>
                  <a:pt x="123" y="85"/>
                </a:cubicBezTo>
                <a:cubicBezTo>
                  <a:pt x="123" y="85"/>
                  <a:pt x="126" y="80"/>
                  <a:pt x="126" y="80"/>
                </a:cubicBezTo>
                <a:cubicBezTo>
                  <a:pt x="130" y="84"/>
                  <a:pt x="130" y="84"/>
                  <a:pt x="130" y="84"/>
                </a:cubicBezTo>
                <a:cubicBezTo>
                  <a:pt x="132" y="81"/>
                  <a:pt x="132" y="81"/>
                  <a:pt x="132" y="81"/>
                </a:cubicBezTo>
                <a:cubicBezTo>
                  <a:pt x="133" y="79"/>
                  <a:pt x="133" y="79"/>
                  <a:pt x="133" y="79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35" y="78"/>
                  <a:pt x="135" y="78"/>
                  <a:pt x="135" y="78"/>
                </a:cubicBezTo>
                <a:cubicBezTo>
                  <a:pt x="137" y="76"/>
                  <a:pt x="137" y="76"/>
                  <a:pt x="137" y="76"/>
                </a:cubicBezTo>
                <a:cubicBezTo>
                  <a:pt x="139" y="74"/>
                  <a:pt x="139" y="74"/>
                  <a:pt x="139" y="74"/>
                </a:cubicBezTo>
                <a:cubicBezTo>
                  <a:pt x="139" y="75"/>
                  <a:pt x="139" y="75"/>
                  <a:pt x="139" y="75"/>
                </a:cubicBezTo>
                <a:cubicBezTo>
                  <a:pt x="139" y="75"/>
                  <a:pt x="141" y="72"/>
                  <a:pt x="141" y="72"/>
                </a:cubicBezTo>
                <a:cubicBezTo>
                  <a:pt x="141" y="72"/>
                  <a:pt x="146" y="66"/>
                  <a:pt x="146" y="66"/>
                </a:cubicBezTo>
                <a:cubicBezTo>
                  <a:pt x="146" y="66"/>
                  <a:pt x="146" y="65"/>
                  <a:pt x="146" y="65"/>
                </a:cubicBezTo>
                <a:cubicBezTo>
                  <a:pt x="146" y="65"/>
                  <a:pt x="145" y="64"/>
                  <a:pt x="145" y="64"/>
                </a:cubicBezTo>
                <a:cubicBezTo>
                  <a:pt x="147" y="61"/>
                  <a:pt x="147" y="61"/>
                  <a:pt x="147" y="61"/>
                </a:cubicBezTo>
                <a:cubicBezTo>
                  <a:pt x="149" y="58"/>
                  <a:pt x="149" y="58"/>
                  <a:pt x="149" y="58"/>
                </a:cubicBezTo>
                <a:cubicBezTo>
                  <a:pt x="148" y="57"/>
                  <a:pt x="148" y="57"/>
                  <a:pt x="148" y="57"/>
                </a:cubicBezTo>
                <a:cubicBezTo>
                  <a:pt x="148" y="52"/>
                  <a:pt x="148" y="52"/>
                  <a:pt x="148" y="52"/>
                </a:cubicBezTo>
                <a:cubicBezTo>
                  <a:pt x="166" y="67"/>
                  <a:pt x="166" y="67"/>
                  <a:pt x="166" y="67"/>
                </a:cubicBezTo>
                <a:cubicBezTo>
                  <a:pt x="170" y="59"/>
                  <a:pt x="170" y="59"/>
                  <a:pt x="170" y="59"/>
                </a:cubicBezTo>
                <a:cubicBezTo>
                  <a:pt x="169" y="58"/>
                  <a:pt x="169" y="58"/>
                  <a:pt x="169" y="58"/>
                </a:cubicBezTo>
                <a:lnTo>
                  <a:pt x="169" y="54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1">
            <a:extLst>
              <a:ext uri="{FF2B5EF4-FFF2-40B4-BE49-F238E27FC236}">
                <a16:creationId xmlns:a16="http://schemas.microsoft.com/office/drawing/2014/main" id="{D175C0C1-D53B-4ABA-8AE9-A0C3A7629F7F}"/>
              </a:ext>
            </a:extLst>
          </p:cNvPr>
          <p:cNvSpPr>
            <a:spLocks noEditPoints="1"/>
          </p:cNvSpPr>
          <p:nvPr/>
        </p:nvSpPr>
        <p:spPr bwMode="auto">
          <a:xfrm>
            <a:off x="3996875" y="1258003"/>
            <a:ext cx="1068976" cy="698882"/>
          </a:xfrm>
          <a:custGeom>
            <a:avLst/>
            <a:gdLst>
              <a:gd name="T0" fmla="*/ 65 w 270"/>
              <a:gd name="T1" fmla="*/ 93 h 176"/>
              <a:gd name="T2" fmla="*/ 79 w 270"/>
              <a:gd name="T3" fmla="*/ 83 h 176"/>
              <a:gd name="T4" fmla="*/ 75 w 270"/>
              <a:gd name="T5" fmla="*/ 48 h 176"/>
              <a:gd name="T6" fmla="*/ 72 w 270"/>
              <a:gd name="T7" fmla="*/ 39 h 176"/>
              <a:gd name="T8" fmla="*/ 72 w 270"/>
              <a:gd name="T9" fmla="*/ 33 h 176"/>
              <a:gd name="T10" fmla="*/ 73 w 270"/>
              <a:gd name="T11" fmla="*/ 45 h 176"/>
              <a:gd name="T12" fmla="*/ 78 w 270"/>
              <a:gd name="T13" fmla="*/ 53 h 176"/>
              <a:gd name="T14" fmla="*/ 81 w 270"/>
              <a:gd name="T15" fmla="*/ 51 h 176"/>
              <a:gd name="T16" fmla="*/ 57 w 270"/>
              <a:gd name="T17" fmla="*/ 21 h 176"/>
              <a:gd name="T18" fmla="*/ 65 w 270"/>
              <a:gd name="T19" fmla="*/ 30 h 176"/>
              <a:gd name="T20" fmla="*/ 64 w 270"/>
              <a:gd name="T21" fmla="*/ 30 h 176"/>
              <a:gd name="T22" fmla="*/ 67 w 270"/>
              <a:gd name="T23" fmla="*/ 17 h 176"/>
              <a:gd name="T24" fmla="*/ 63 w 270"/>
              <a:gd name="T25" fmla="*/ 22 h 176"/>
              <a:gd name="T26" fmla="*/ 73 w 270"/>
              <a:gd name="T27" fmla="*/ 25 h 176"/>
              <a:gd name="T28" fmla="*/ 67 w 270"/>
              <a:gd name="T29" fmla="*/ 0 h 176"/>
              <a:gd name="T30" fmla="*/ 68 w 270"/>
              <a:gd name="T31" fmla="*/ 7 h 176"/>
              <a:gd name="T32" fmla="*/ 74 w 270"/>
              <a:gd name="T33" fmla="*/ 12 h 176"/>
              <a:gd name="T34" fmla="*/ 80 w 270"/>
              <a:gd name="T35" fmla="*/ 21 h 176"/>
              <a:gd name="T36" fmla="*/ 75 w 270"/>
              <a:gd name="T37" fmla="*/ 28 h 176"/>
              <a:gd name="T38" fmla="*/ 76 w 270"/>
              <a:gd name="T39" fmla="*/ 32 h 176"/>
              <a:gd name="T40" fmla="*/ 83 w 270"/>
              <a:gd name="T41" fmla="*/ 37 h 176"/>
              <a:gd name="T42" fmla="*/ 76 w 270"/>
              <a:gd name="T43" fmla="*/ 41 h 176"/>
              <a:gd name="T44" fmla="*/ 79 w 270"/>
              <a:gd name="T45" fmla="*/ 46 h 176"/>
              <a:gd name="T46" fmla="*/ 82 w 270"/>
              <a:gd name="T47" fmla="*/ 43 h 176"/>
              <a:gd name="T48" fmla="*/ 86 w 270"/>
              <a:gd name="T49" fmla="*/ 54 h 176"/>
              <a:gd name="T50" fmla="*/ 81 w 270"/>
              <a:gd name="T51" fmla="*/ 66 h 176"/>
              <a:gd name="T52" fmla="*/ 82 w 270"/>
              <a:gd name="T53" fmla="*/ 74 h 176"/>
              <a:gd name="T54" fmla="*/ 83 w 270"/>
              <a:gd name="T55" fmla="*/ 87 h 176"/>
              <a:gd name="T56" fmla="*/ 75 w 270"/>
              <a:gd name="T57" fmla="*/ 92 h 176"/>
              <a:gd name="T58" fmla="*/ 63 w 270"/>
              <a:gd name="T59" fmla="*/ 98 h 176"/>
              <a:gd name="T60" fmla="*/ 62 w 270"/>
              <a:gd name="T61" fmla="*/ 92 h 176"/>
              <a:gd name="T62" fmla="*/ 67 w 270"/>
              <a:gd name="T63" fmla="*/ 91 h 176"/>
              <a:gd name="T64" fmla="*/ 72 w 270"/>
              <a:gd name="T65" fmla="*/ 85 h 176"/>
              <a:gd name="T66" fmla="*/ 77 w 270"/>
              <a:gd name="T67" fmla="*/ 75 h 176"/>
              <a:gd name="T68" fmla="*/ 77 w 270"/>
              <a:gd name="T69" fmla="*/ 59 h 176"/>
              <a:gd name="T70" fmla="*/ 67 w 270"/>
              <a:gd name="T71" fmla="*/ 70 h 176"/>
              <a:gd name="T72" fmla="*/ 66 w 270"/>
              <a:gd name="T73" fmla="*/ 65 h 176"/>
              <a:gd name="T74" fmla="*/ 72 w 270"/>
              <a:gd name="T75" fmla="*/ 61 h 176"/>
              <a:gd name="T76" fmla="*/ 66 w 270"/>
              <a:gd name="T77" fmla="*/ 46 h 176"/>
              <a:gd name="T78" fmla="*/ 61 w 270"/>
              <a:gd name="T79" fmla="*/ 48 h 176"/>
              <a:gd name="T80" fmla="*/ 43 w 270"/>
              <a:gd name="T81" fmla="*/ 46 h 176"/>
              <a:gd name="T82" fmla="*/ 20 w 270"/>
              <a:gd name="T83" fmla="*/ 41 h 176"/>
              <a:gd name="T84" fmla="*/ 1 w 270"/>
              <a:gd name="T85" fmla="*/ 35 h 176"/>
              <a:gd name="T86" fmla="*/ 3 w 270"/>
              <a:gd name="T87" fmla="*/ 56 h 176"/>
              <a:gd name="T88" fmla="*/ 11 w 270"/>
              <a:gd name="T89" fmla="*/ 68 h 176"/>
              <a:gd name="T90" fmla="*/ 14 w 270"/>
              <a:gd name="T91" fmla="*/ 84 h 176"/>
              <a:gd name="T92" fmla="*/ 20 w 270"/>
              <a:gd name="T93" fmla="*/ 101 h 176"/>
              <a:gd name="T94" fmla="*/ 26 w 270"/>
              <a:gd name="T95" fmla="*/ 109 h 176"/>
              <a:gd name="T96" fmla="*/ 25 w 270"/>
              <a:gd name="T97" fmla="*/ 118 h 176"/>
              <a:gd name="T98" fmla="*/ 28 w 270"/>
              <a:gd name="T99" fmla="*/ 125 h 176"/>
              <a:gd name="T100" fmla="*/ 25 w 270"/>
              <a:gd name="T101" fmla="*/ 133 h 176"/>
              <a:gd name="T102" fmla="*/ 24 w 270"/>
              <a:gd name="T103" fmla="*/ 135 h 176"/>
              <a:gd name="T104" fmla="*/ 43 w 270"/>
              <a:gd name="T105" fmla="*/ 140 h 176"/>
              <a:gd name="T106" fmla="*/ 64 w 270"/>
              <a:gd name="T107" fmla="*/ 150 h 176"/>
              <a:gd name="T108" fmla="*/ 81 w 270"/>
              <a:gd name="T109" fmla="*/ 175 h 176"/>
              <a:gd name="T110" fmla="*/ 109 w 270"/>
              <a:gd name="T111" fmla="*/ 168 h 176"/>
              <a:gd name="T112" fmla="*/ 126 w 270"/>
              <a:gd name="T113" fmla="*/ 172 h 176"/>
              <a:gd name="T114" fmla="*/ 154 w 270"/>
              <a:gd name="T115" fmla="*/ 168 h 176"/>
              <a:gd name="T116" fmla="*/ 179 w 270"/>
              <a:gd name="T117" fmla="*/ 158 h 176"/>
              <a:gd name="T118" fmla="*/ 199 w 270"/>
              <a:gd name="T119" fmla="*/ 154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0" h="176">
                <a:moveTo>
                  <a:pt x="63" y="94"/>
                </a:moveTo>
                <a:cubicBezTo>
                  <a:pt x="63" y="94"/>
                  <a:pt x="63" y="94"/>
                  <a:pt x="63" y="94"/>
                </a:cubicBezTo>
                <a:cubicBezTo>
                  <a:pt x="63" y="94"/>
                  <a:pt x="63" y="93"/>
                  <a:pt x="63" y="93"/>
                </a:cubicBezTo>
                <a:cubicBezTo>
                  <a:pt x="63" y="93"/>
                  <a:pt x="63" y="92"/>
                  <a:pt x="63" y="92"/>
                </a:cubicBezTo>
                <a:cubicBezTo>
                  <a:pt x="63" y="92"/>
                  <a:pt x="63" y="91"/>
                  <a:pt x="64" y="91"/>
                </a:cubicBezTo>
                <a:cubicBezTo>
                  <a:pt x="64" y="91"/>
                  <a:pt x="64" y="91"/>
                  <a:pt x="64" y="90"/>
                </a:cubicBezTo>
                <a:cubicBezTo>
                  <a:pt x="64" y="90"/>
                  <a:pt x="64" y="90"/>
                  <a:pt x="64" y="90"/>
                </a:cubicBezTo>
                <a:cubicBezTo>
                  <a:pt x="65" y="90"/>
                  <a:pt x="65" y="90"/>
                  <a:pt x="65" y="90"/>
                </a:cubicBezTo>
                <a:cubicBezTo>
                  <a:pt x="65" y="90"/>
                  <a:pt x="65" y="91"/>
                  <a:pt x="65" y="91"/>
                </a:cubicBezTo>
                <a:cubicBezTo>
                  <a:pt x="65" y="91"/>
                  <a:pt x="65" y="92"/>
                  <a:pt x="65" y="92"/>
                </a:cubicBezTo>
                <a:cubicBezTo>
                  <a:pt x="65" y="93"/>
                  <a:pt x="65" y="93"/>
                  <a:pt x="65" y="93"/>
                </a:cubicBezTo>
                <a:cubicBezTo>
                  <a:pt x="66" y="93"/>
                  <a:pt x="66" y="93"/>
                  <a:pt x="65" y="93"/>
                </a:cubicBezTo>
                <a:cubicBezTo>
                  <a:pt x="65" y="94"/>
                  <a:pt x="65" y="94"/>
                  <a:pt x="65" y="94"/>
                </a:cubicBezTo>
                <a:cubicBezTo>
                  <a:pt x="65" y="94"/>
                  <a:pt x="65" y="95"/>
                  <a:pt x="65" y="95"/>
                </a:cubicBezTo>
                <a:cubicBezTo>
                  <a:pt x="65" y="95"/>
                  <a:pt x="64" y="95"/>
                  <a:pt x="64" y="95"/>
                </a:cubicBezTo>
                <a:cubicBezTo>
                  <a:pt x="64" y="95"/>
                  <a:pt x="64" y="95"/>
                  <a:pt x="63" y="94"/>
                </a:cubicBezTo>
                <a:close/>
                <a:moveTo>
                  <a:pt x="77" y="85"/>
                </a:moveTo>
                <a:cubicBezTo>
                  <a:pt x="77" y="85"/>
                  <a:pt x="77" y="85"/>
                  <a:pt x="77" y="86"/>
                </a:cubicBezTo>
                <a:cubicBezTo>
                  <a:pt x="77" y="86"/>
                  <a:pt x="77" y="87"/>
                  <a:pt x="77" y="87"/>
                </a:cubicBezTo>
                <a:cubicBezTo>
                  <a:pt x="78" y="87"/>
                  <a:pt x="78" y="86"/>
                  <a:pt x="78" y="86"/>
                </a:cubicBezTo>
                <a:cubicBezTo>
                  <a:pt x="78" y="86"/>
                  <a:pt x="79" y="86"/>
                  <a:pt x="79" y="85"/>
                </a:cubicBezTo>
                <a:cubicBezTo>
                  <a:pt x="79" y="85"/>
                  <a:pt x="79" y="84"/>
                  <a:pt x="79" y="83"/>
                </a:cubicBezTo>
                <a:cubicBezTo>
                  <a:pt x="79" y="82"/>
                  <a:pt x="79" y="82"/>
                  <a:pt x="79" y="81"/>
                </a:cubicBezTo>
                <a:cubicBezTo>
                  <a:pt x="79" y="80"/>
                  <a:pt x="79" y="79"/>
                  <a:pt x="78" y="79"/>
                </a:cubicBezTo>
                <a:cubicBezTo>
                  <a:pt x="78" y="79"/>
                  <a:pt x="78" y="80"/>
                  <a:pt x="77" y="81"/>
                </a:cubicBezTo>
                <a:cubicBezTo>
                  <a:pt x="77" y="81"/>
                  <a:pt x="77" y="81"/>
                  <a:pt x="77" y="82"/>
                </a:cubicBezTo>
                <a:cubicBezTo>
                  <a:pt x="77" y="82"/>
                  <a:pt x="77" y="82"/>
                  <a:pt x="77" y="82"/>
                </a:cubicBezTo>
                <a:cubicBezTo>
                  <a:pt x="77" y="83"/>
                  <a:pt x="77" y="84"/>
                  <a:pt x="77" y="85"/>
                </a:cubicBezTo>
                <a:close/>
                <a:moveTo>
                  <a:pt x="77" y="49"/>
                </a:moveTo>
                <a:cubicBezTo>
                  <a:pt x="77" y="49"/>
                  <a:pt x="77" y="50"/>
                  <a:pt x="76" y="50"/>
                </a:cubicBezTo>
                <a:cubicBezTo>
                  <a:pt x="76" y="51"/>
                  <a:pt x="76" y="51"/>
                  <a:pt x="76" y="50"/>
                </a:cubicBezTo>
                <a:cubicBezTo>
                  <a:pt x="76" y="50"/>
                  <a:pt x="76" y="49"/>
                  <a:pt x="76" y="49"/>
                </a:cubicBezTo>
                <a:cubicBezTo>
                  <a:pt x="75" y="49"/>
                  <a:pt x="76" y="48"/>
                  <a:pt x="75" y="48"/>
                </a:cubicBezTo>
                <a:cubicBezTo>
                  <a:pt x="75" y="47"/>
                  <a:pt x="75" y="47"/>
                  <a:pt x="75" y="46"/>
                </a:cubicBezTo>
                <a:cubicBezTo>
                  <a:pt x="75" y="46"/>
                  <a:pt x="75" y="46"/>
                  <a:pt x="75" y="45"/>
                </a:cubicBezTo>
                <a:cubicBezTo>
                  <a:pt x="75" y="45"/>
                  <a:pt x="75" y="45"/>
                  <a:pt x="75" y="45"/>
                </a:cubicBezTo>
                <a:cubicBezTo>
                  <a:pt x="75" y="44"/>
                  <a:pt x="75" y="44"/>
                  <a:pt x="74" y="44"/>
                </a:cubicBezTo>
                <a:cubicBezTo>
                  <a:pt x="74" y="44"/>
                  <a:pt x="74" y="43"/>
                  <a:pt x="74" y="43"/>
                </a:cubicBezTo>
                <a:cubicBezTo>
                  <a:pt x="74" y="43"/>
                  <a:pt x="74" y="43"/>
                  <a:pt x="73" y="42"/>
                </a:cubicBezTo>
                <a:cubicBezTo>
                  <a:pt x="73" y="42"/>
                  <a:pt x="73" y="43"/>
                  <a:pt x="72" y="42"/>
                </a:cubicBezTo>
                <a:cubicBezTo>
                  <a:pt x="72" y="42"/>
                  <a:pt x="72" y="42"/>
                  <a:pt x="72" y="42"/>
                </a:cubicBezTo>
                <a:cubicBezTo>
                  <a:pt x="72" y="42"/>
                  <a:pt x="71" y="41"/>
                  <a:pt x="71" y="41"/>
                </a:cubicBezTo>
                <a:cubicBezTo>
                  <a:pt x="71" y="41"/>
                  <a:pt x="71" y="40"/>
                  <a:pt x="71" y="40"/>
                </a:cubicBezTo>
                <a:cubicBezTo>
                  <a:pt x="72" y="40"/>
                  <a:pt x="72" y="40"/>
                  <a:pt x="72" y="39"/>
                </a:cubicBezTo>
                <a:cubicBezTo>
                  <a:pt x="72" y="39"/>
                  <a:pt x="72" y="39"/>
                  <a:pt x="73" y="39"/>
                </a:cubicBezTo>
                <a:cubicBezTo>
                  <a:pt x="73" y="39"/>
                  <a:pt x="73" y="39"/>
                  <a:pt x="73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4" y="39"/>
                  <a:pt x="74" y="38"/>
                  <a:pt x="74" y="38"/>
                </a:cubicBezTo>
                <a:cubicBezTo>
                  <a:pt x="75" y="38"/>
                  <a:pt x="75" y="38"/>
                  <a:pt x="75" y="38"/>
                </a:cubicBezTo>
                <a:cubicBezTo>
                  <a:pt x="75" y="38"/>
                  <a:pt x="75" y="38"/>
                  <a:pt x="75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7"/>
                  <a:pt x="77" y="37"/>
                  <a:pt x="77" y="36"/>
                </a:cubicBezTo>
                <a:cubicBezTo>
                  <a:pt x="77" y="36"/>
                  <a:pt x="76" y="35"/>
                  <a:pt x="75" y="35"/>
                </a:cubicBezTo>
                <a:cubicBezTo>
                  <a:pt x="74" y="35"/>
                  <a:pt x="74" y="34"/>
                  <a:pt x="73" y="33"/>
                </a:cubicBezTo>
                <a:cubicBezTo>
                  <a:pt x="73" y="33"/>
                  <a:pt x="72" y="33"/>
                  <a:pt x="72" y="33"/>
                </a:cubicBezTo>
                <a:cubicBezTo>
                  <a:pt x="72" y="34"/>
                  <a:pt x="72" y="34"/>
                  <a:pt x="71" y="34"/>
                </a:cubicBezTo>
                <a:cubicBezTo>
                  <a:pt x="71" y="34"/>
                  <a:pt x="71" y="35"/>
                  <a:pt x="71" y="35"/>
                </a:cubicBezTo>
                <a:cubicBezTo>
                  <a:pt x="71" y="36"/>
                  <a:pt x="70" y="36"/>
                  <a:pt x="70" y="36"/>
                </a:cubicBezTo>
                <a:cubicBezTo>
                  <a:pt x="70" y="37"/>
                  <a:pt x="70" y="37"/>
                  <a:pt x="70" y="37"/>
                </a:cubicBezTo>
                <a:cubicBezTo>
                  <a:pt x="70" y="38"/>
                  <a:pt x="70" y="38"/>
                  <a:pt x="70" y="39"/>
                </a:cubicBezTo>
                <a:cubicBezTo>
                  <a:pt x="69" y="39"/>
                  <a:pt x="69" y="39"/>
                  <a:pt x="69" y="40"/>
                </a:cubicBezTo>
                <a:cubicBezTo>
                  <a:pt x="69" y="40"/>
                  <a:pt x="69" y="40"/>
                  <a:pt x="69" y="41"/>
                </a:cubicBezTo>
                <a:cubicBezTo>
                  <a:pt x="69" y="41"/>
                  <a:pt x="69" y="41"/>
                  <a:pt x="69" y="42"/>
                </a:cubicBezTo>
                <a:cubicBezTo>
                  <a:pt x="69" y="42"/>
                  <a:pt x="69" y="42"/>
                  <a:pt x="69" y="43"/>
                </a:cubicBezTo>
                <a:cubicBezTo>
                  <a:pt x="70" y="43"/>
                  <a:pt x="70" y="44"/>
                  <a:pt x="71" y="44"/>
                </a:cubicBezTo>
                <a:cubicBezTo>
                  <a:pt x="71" y="45"/>
                  <a:pt x="72" y="45"/>
                  <a:pt x="73" y="45"/>
                </a:cubicBezTo>
                <a:cubicBezTo>
                  <a:pt x="73" y="45"/>
                  <a:pt x="73" y="45"/>
                  <a:pt x="73" y="46"/>
                </a:cubicBezTo>
                <a:cubicBezTo>
                  <a:pt x="73" y="47"/>
                  <a:pt x="73" y="48"/>
                  <a:pt x="73" y="49"/>
                </a:cubicBezTo>
                <a:cubicBezTo>
                  <a:pt x="74" y="49"/>
                  <a:pt x="74" y="50"/>
                  <a:pt x="74" y="50"/>
                </a:cubicBezTo>
                <a:cubicBezTo>
                  <a:pt x="74" y="50"/>
                  <a:pt x="74" y="50"/>
                  <a:pt x="74" y="51"/>
                </a:cubicBezTo>
                <a:cubicBezTo>
                  <a:pt x="74" y="51"/>
                  <a:pt x="74" y="52"/>
                  <a:pt x="75" y="52"/>
                </a:cubicBezTo>
                <a:cubicBezTo>
                  <a:pt x="75" y="52"/>
                  <a:pt x="75" y="53"/>
                  <a:pt x="75" y="53"/>
                </a:cubicBezTo>
                <a:cubicBezTo>
                  <a:pt x="75" y="53"/>
                  <a:pt x="75" y="53"/>
                  <a:pt x="75" y="53"/>
                </a:cubicBezTo>
                <a:cubicBezTo>
                  <a:pt x="76" y="54"/>
                  <a:pt x="76" y="54"/>
                  <a:pt x="76" y="55"/>
                </a:cubicBezTo>
                <a:cubicBezTo>
                  <a:pt x="76" y="55"/>
                  <a:pt x="76" y="54"/>
                  <a:pt x="76" y="54"/>
                </a:cubicBezTo>
                <a:cubicBezTo>
                  <a:pt x="77" y="54"/>
                  <a:pt x="77" y="54"/>
                  <a:pt x="77" y="54"/>
                </a:cubicBezTo>
                <a:cubicBezTo>
                  <a:pt x="77" y="54"/>
                  <a:pt x="77" y="54"/>
                  <a:pt x="78" y="53"/>
                </a:cubicBezTo>
                <a:cubicBezTo>
                  <a:pt x="78" y="53"/>
                  <a:pt x="78" y="53"/>
                  <a:pt x="79" y="54"/>
                </a:cubicBezTo>
                <a:cubicBezTo>
                  <a:pt x="79" y="54"/>
                  <a:pt x="79" y="55"/>
                  <a:pt x="79" y="55"/>
                </a:cubicBezTo>
                <a:cubicBezTo>
                  <a:pt x="79" y="56"/>
                  <a:pt x="79" y="56"/>
                  <a:pt x="79" y="57"/>
                </a:cubicBezTo>
                <a:cubicBezTo>
                  <a:pt x="79" y="57"/>
                  <a:pt x="79" y="58"/>
                  <a:pt x="80" y="58"/>
                </a:cubicBezTo>
                <a:cubicBezTo>
                  <a:pt x="80" y="58"/>
                  <a:pt x="81" y="57"/>
                  <a:pt x="81" y="57"/>
                </a:cubicBezTo>
                <a:cubicBezTo>
                  <a:pt x="81" y="57"/>
                  <a:pt x="81" y="57"/>
                  <a:pt x="82" y="56"/>
                </a:cubicBezTo>
                <a:cubicBezTo>
                  <a:pt x="82" y="56"/>
                  <a:pt x="82" y="56"/>
                  <a:pt x="82" y="56"/>
                </a:cubicBezTo>
                <a:cubicBezTo>
                  <a:pt x="82" y="55"/>
                  <a:pt x="82" y="54"/>
                  <a:pt x="82" y="54"/>
                </a:cubicBezTo>
                <a:cubicBezTo>
                  <a:pt x="82" y="54"/>
                  <a:pt x="82" y="54"/>
                  <a:pt x="82" y="53"/>
                </a:cubicBezTo>
                <a:cubicBezTo>
                  <a:pt x="82" y="53"/>
                  <a:pt x="81" y="53"/>
                  <a:pt x="81" y="52"/>
                </a:cubicBezTo>
                <a:cubicBezTo>
                  <a:pt x="81" y="52"/>
                  <a:pt x="81" y="51"/>
                  <a:pt x="81" y="51"/>
                </a:cubicBezTo>
                <a:cubicBezTo>
                  <a:pt x="80" y="50"/>
                  <a:pt x="80" y="50"/>
                  <a:pt x="79" y="50"/>
                </a:cubicBezTo>
                <a:cubicBezTo>
                  <a:pt x="79" y="49"/>
                  <a:pt x="78" y="50"/>
                  <a:pt x="78" y="49"/>
                </a:cubicBezTo>
                <a:cubicBezTo>
                  <a:pt x="78" y="49"/>
                  <a:pt x="77" y="49"/>
                  <a:pt x="77" y="49"/>
                </a:cubicBezTo>
                <a:cubicBezTo>
                  <a:pt x="77" y="48"/>
                  <a:pt x="77" y="48"/>
                  <a:pt x="77" y="48"/>
                </a:cubicBezTo>
                <a:cubicBezTo>
                  <a:pt x="77" y="48"/>
                  <a:pt x="77" y="49"/>
                  <a:pt x="77" y="49"/>
                </a:cubicBezTo>
                <a:close/>
                <a:moveTo>
                  <a:pt x="59" y="27"/>
                </a:moveTo>
                <a:cubicBezTo>
                  <a:pt x="59" y="26"/>
                  <a:pt x="60" y="25"/>
                  <a:pt x="59" y="25"/>
                </a:cubicBezTo>
                <a:cubicBezTo>
                  <a:pt x="59" y="25"/>
                  <a:pt x="59" y="24"/>
                  <a:pt x="59" y="24"/>
                </a:cubicBezTo>
                <a:cubicBezTo>
                  <a:pt x="59" y="24"/>
                  <a:pt x="59" y="24"/>
                  <a:pt x="58" y="23"/>
                </a:cubicBezTo>
                <a:cubicBezTo>
                  <a:pt x="58" y="23"/>
                  <a:pt x="57" y="23"/>
                  <a:pt x="57" y="22"/>
                </a:cubicBezTo>
                <a:cubicBezTo>
                  <a:pt x="57" y="22"/>
                  <a:pt x="57" y="21"/>
                  <a:pt x="57" y="21"/>
                </a:cubicBezTo>
                <a:cubicBezTo>
                  <a:pt x="56" y="20"/>
                  <a:pt x="56" y="21"/>
                  <a:pt x="55" y="21"/>
                </a:cubicBezTo>
                <a:cubicBezTo>
                  <a:pt x="55" y="22"/>
                  <a:pt x="54" y="22"/>
                  <a:pt x="55" y="23"/>
                </a:cubicBezTo>
                <a:cubicBezTo>
                  <a:pt x="55" y="23"/>
                  <a:pt x="54" y="23"/>
                  <a:pt x="55" y="24"/>
                </a:cubicBezTo>
                <a:cubicBezTo>
                  <a:pt x="55" y="25"/>
                  <a:pt x="55" y="25"/>
                  <a:pt x="55" y="25"/>
                </a:cubicBezTo>
                <a:cubicBezTo>
                  <a:pt x="55" y="26"/>
                  <a:pt x="55" y="26"/>
                  <a:pt x="56" y="27"/>
                </a:cubicBezTo>
                <a:cubicBezTo>
                  <a:pt x="56" y="27"/>
                  <a:pt x="57" y="27"/>
                  <a:pt x="57" y="28"/>
                </a:cubicBezTo>
                <a:cubicBezTo>
                  <a:pt x="58" y="28"/>
                  <a:pt x="58" y="28"/>
                  <a:pt x="59" y="29"/>
                </a:cubicBezTo>
                <a:cubicBezTo>
                  <a:pt x="60" y="29"/>
                  <a:pt x="59" y="27"/>
                  <a:pt x="59" y="27"/>
                </a:cubicBezTo>
                <a:close/>
                <a:moveTo>
                  <a:pt x="64" y="30"/>
                </a:moveTo>
                <a:cubicBezTo>
                  <a:pt x="64" y="30"/>
                  <a:pt x="64" y="30"/>
                  <a:pt x="65" y="30"/>
                </a:cubicBezTo>
                <a:cubicBezTo>
                  <a:pt x="65" y="30"/>
                  <a:pt x="65" y="31"/>
                  <a:pt x="65" y="30"/>
                </a:cubicBezTo>
                <a:cubicBezTo>
                  <a:pt x="66" y="30"/>
                  <a:pt x="65" y="30"/>
                  <a:pt x="65" y="30"/>
                </a:cubicBezTo>
                <a:cubicBezTo>
                  <a:pt x="65" y="29"/>
                  <a:pt x="65" y="29"/>
                  <a:pt x="65" y="28"/>
                </a:cubicBezTo>
                <a:cubicBezTo>
                  <a:pt x="65" y="28"/>
                  <a:pt x="65" y="27"/>
                  <a:pt x="65" y="26"/>
                </a:cubicBezTo>
                <a:cubicBezTo>
                  <a:pt x="65" y="26"/>
                  <a:pt x="65" y="26"/>
                  <a:pt x="65" y="25"/>
                </a:cubicBezTo>
                <a:cubicBezTo>
                  <a:pt x="65" y="25"/>
                  <a:pt x="65" y="25"/>
                  <a:pt x="65" y="25"/>
                </a:cubicBezTo>
                <a:cubicBezTo>
                  <a:pt x="64" y="25"/>
                  <a:pt x="64" y="25"/>
                  <a:pt x="64" y="26"/>
                </a:cubicBezTo>
                <a:cubicBezTo>
                  <a:pt x="64" y="26"/>
                  <a:pt x="64" y="26"/>
                  <a:pt x="64" y="27"/>
                </a:cubicBezTo>
                <a:cubicBezTo>
                  <a:pt x="64" y="27"/>
                  <a:pt x="63" y="27"/>
                  <a:pt x="63" y="27"/>
                </a:cubicBezTo>
                <a:cubicBezTo>
                  <a:pt x="63" y="28"/>
                  <a:pt x="63" y="28"/>
                  <a:pt x="63" y="29"/>
                </a:cubicBezTo>
                <a:cubicBezTo>
                  <a:pt x="63" y="29"/>
                  <a:pt x="62" y="29"/>
                  <a:pt x="62" y="29"/>
                </a:cubicBezTo>
                <a:cubicBezTo>
                  <a:pt x="63" y="30"/>
                  <a:pt x="63" y="30"/>
                  <a:pt x="64" y="30"/>
                </a:cubicBezTo>
                <a:close/>
                <a:moveTo>
                  <a:pt x="63" y="18"/>
                </a:moveTo>
                <a:cubicBezTo>
                  <a:pt x="63" y="18"/>
                  <a:pt x="63" y="18"/>
                  <a:pt x="64" y="18"/>
                </a:cubicBezTo>
                <a:cubicBezTo>
                  <a:pt x="64" y="17"/>
                  <a:pt x="64" y="18"/>
                  <a:pt x="64" y="18"/>
                </a:cubicBezTo>
                <a:cubicBezTo>
                  <a:pt x="64" y="19"/>
                  <a:pt x="65" y="19"/>
                  <a:pt x="65" y="19"/>
                </a:cubicBezTo>
                <a:cubicBezTo>
                  <a:pt x="65" y="20"/>
                  <a:pt x="65" y="20"/>
                  <a:pt x="66" y="20"/>
                </a:cubicBezTo>
                <a:cubicBezTo>
                  <a:pt x="66" y="21"/>
                  <a:pt x="66" y="21"/>
                  <a:pt x="66" y="21"/>
                </a:cubicBezTo>
                <a:cubicBezTo>
                  <a:pt x="66" y="22"/>
                  <a:pt x="67" y="21"/>
                  <a:pt x="67" y="21"/>
                </a:cubicBezTo>
                <a:cubicBezTo>
                  <a:pt x="67" y="21"/>
                  <a:pt x="68" y="20"/>
                  <a:pt x="68" y="20"/>
                </a:cubicBezTo>
                <a:cubicBezTo>
                  <a:pt x="69" y="20"/>
                  <a:pt x="69" y="19"/>
                  <a:pt x="69" y="19"/>
                </a:cubicBezTo>
                <a:cubicBezTo>
                  <a:pt x="69" y="18"/>
                  <a:pt x="68" y="18"/>
                  <a:pt x="68" y="18"/>
                </a:cubicBezTo>
                <a:cubicBezTo>
                  <a:pt x="67" y="18"/>
                  <a:pt x="67" y="18"/>
                  <a:pt x="67" y="17"/>
                </a:cubicBezTo>
                <a:cubicBezTo>
                  <a:pt x="67" y="17"/>
                  <a:pt x="66" y="17"/>
                  <a:pt x="66" y="17"/>
                </a:cubicBezTo>
                <a:cubicBezTo>
                  <a:pt x="65" y="17"/>
                  <a:pt x="65" y="16"/>
                  <a:pt x="64" y="16"/>
                </a:cubicBezTo>
                <a:cubicBezTo>
                  <a:pt x="64" y="16"/>
                  <a:pt x="63" y="16"/>
                  <a:pt x="62" y="16"/>
                </a:cubicBezTo>
                <a:cubicBezTo>
                  <a:pt x="62" y="16"/>
                  <a:pt x="62" y="17"/>
                  <a:pt x="61" y="17"/>
                </a:cubicBezTo>
                <a:cubicBezTo>
                  <a:pt x="61" y="17"/>
                  <a:pt x="61" y="18"/>
                  <a:pt x="60" y="18"/>
                </a:cubicBezTo>
                <a:cubicBezTo>
                  <a:pt x="60" y="19"/>
                  <a:pt x="59" y="19"/>
                  <a:pt x="60" y="19"/>
                </a:cubicBezTo>
                <a:cubicBezTo>
                  <a:pt x="60" y="20"/>
                  <a:pt x="60" y="20"/>
                  <a:pt x="60" y="20"/>
                </a:cubicBezTo>
                <a:cubicBezTo>
                  <a:pt x="60" y="21"/>
                  <a:pt x="60" y="21"/>
                  <a:pt x="61" y="21"/>
                </a:cubicBezTo>
                <a:cubicBezTo>
                  <a:pt x="61" y="21"/>
                  <a:pt x="61" y="21"/>
                  <a:pt x="61" y="22"/>
                </a:cubicBezTo>
                <a:cubicBezTo>
                  <a:pt x="61" y="22"/>
                  <a:pt x="61" y="22"/>
                  <a:pt x="61" y="22"/>
                </a:cubicBezTo>
                <a:cubicBezTo>
                  <a:pt x="62" y="22"/>
                  <a:pt x="62" y="22"/>
                  <a:pt x="63" y="22"/>
                </a:cubicBezTo>
                <a:cubicBezTo>
                  <a:pt x="63" y="22"/>
                  <a:pt x="63" y="22"/>
                  <a:pt x="64" y="22"/>
                </a:cubicBezTo>
                <a:cubicBezTo>
                  <a:pt x="64" y="22"/>
                  <a:pt x="64" y="22"/>
                  <a:pt x="64" y="21"/>
                </a:cubicBezTo>
                <a:cubicBezTo>
                  <a:pt x="64" y="21"/>
                  <a:pt x="64" y="20"/>
                  <a:pt x="64" y="20"/>
                </a:cubicBezTo>
                <a:cubicBezTo>
                  <a:pt x="64" y="20"/>
                  <a:pt x="63" y="19"/>
                  <a:pt x="63" y="19"/>
                </a:cubicBezTo>
                <a:cubicBezTo>
                  <a:pt x="63" y="19"/>
                  <a:pt x="63" y="19"/>
                  <a:pt x="63" y="18"/>
                </a:cubicBezTo>
                <a:close/>
                <a:moveTo>
                  <a:pt x="74" y="26"/>
                </a:moveTo>
                <a:cubicBezTo>
                  <a:pt x="74" y="26"/>
                  <a:pt x="75" y="25"/>
                  <a:pt x="74" y="25"/>
                </a:cubicBezTo>
                <a:cubicBezTo>
                  <a:pt x="74" y="25"/>
                  <a:pt x="74" y="25"/>
                  <a:pt x="74" y="24"/>
                </a:cubicBezTo>
                <a:cubicBezTo>
                  <a:pt x="74" y="24"/>
                  <a:pt x="73" y="23"/>
                  <a:pt x="73" y="24"/>
                </a:cubicBezTo>
                <a:cubicBezTo>
                  <a:pt x="73" y="24"/>
                  <a:pt x="73" y="24"/>
                  <a:pt x="73" y="24"/>
                </a:cubicBezTo>
                <a:cubicBezTo>
                  <a:pt x="73" y="25"/>
                  <a:pt x="73" y="25"/>
                  <a:pt x="73" y="25"/>
                </a:cubicBezTo>
                <a:cubicBezTo>
                  <a:pt x="73" y="26"/>
                  <a:pt x="74" y="26"/>
                  <a:pt x="74" y="26"/>
                </a:cubicBezTo>
                <a:close/>
                <a:moveTo>
                  <a:pt x="269" y="147"/>
                </a:moveTo>
                <a:cubicBezTo>
                  <a:pt x="269" y="146"/>
                  <a:pt x="270" y="145"/>
                  <a:pt x="269" y="145"/>
                </a:cubicBezTo>
                <a:cubicBezTo>
                  <a:pt x="269" y="145"/>
                  <a:pt x="268" y="145"/>
                  <a:pt x="268" y="144"/>
                </a:cubicBezTo>
                <a:cubicBezTo>
                  <a:pt x="268" y="143"/>
                  <a:pt x="268" y="141"/>
                  <a:pt x="268" y="141"/>
                </a:cubicBezTo>
                <a:cubicBezTo>
                  <a:pt x="268" y="140"/>
                  <a:pt x="268" y="139"/>
                  <a:pt x="267" y="139"/>
                </a:cubicBezTo>
                <a:cubicBezTo>
                  <a:pt x="266" y="138"/>
                  <a:pt x="265" y="137"/>
                  <a:pt x="265" y="137"/>
                </a:cubicBezTo>
                <a:cubicBezTo>
                  <a:pt x="265" y="136"/>
                  <a:pt x="265" y="136"/>
                  <a:pt x="265" y="135"/>
                </a:cubicBezTo>
                <a:cubicBezTo>
                  <a:pt x="265" y="135"/>
                  <a:pt x="266" y="133"/>
                  <a:pt x="266" y="133"/>
                </a:cubicBezTo>
                <a:cubicBezTo>
                  <a:pt x="266" y="0"/>
                  <a:pt x="266" y="0"/>
                  <a:pt x="266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1"/>
                  <a:pt x="69" y="2"/>
                  <a:pt x="69" y="2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3"/>
                  <a:pt x="69" y="3"/>
                  <a:pt x="68" y="3"/>
                </a:cubicBezTo>
                <a:cubicBezTo>
                  <a:pt x="68" y="3"/>
                  <a:pt x="68" y="2"/>
                  <a:pt x="68" y="2"/>
                </a:cubicBezTo>
                <a:cubicBezTo>
                  <a:pt x="67" y="2"/>
                  <a:pt x="67" y="3"/>
                  <a:pt x="67" y="3"/>
                </a:cubicBezTo>
                <a:cubicBezTo>
                  <a:pt x="67" y="3"/>
                  <a:pt x="66" y="3"/>
                  <a:pt x="66" y="4"/>
                </a:cubicBezTo>
                <a:cubicBezTo>
                  <a:pt x="67" y="4"/>
                  <a:pt x="68" y="4"/>
                  <a:pt x="68" y="4"/>
                </a:cubicBezTo>
                <a:cubicBezTo>
                  <a:pt x="69" y="4"/>
                  <a:pt x="68" y="4"/>
                  <a:pt x="68" y="5"/>
                </a:cubicBezTo>
                <a:cubicBezTo>
                  <a:pt x="68" y="5"/>
                  <a:pt x="68" y="5"/>
                  <a:pt x="68" y="6"/>
                </a:cubicBezTo>
                <a:cubicBezTo>
                  <a:pt x="68" y="6"/>
                  <a:pt x="67" y="6"/>
                  <a:pt x="67" y="6"/>
                </a:cubicBezTo>
                <a:cubicBezTo>
                  <a:pt x="67" y="7"/>
                  <a:pt x="68" y="7"/>
                  <a:pt x="68" y="7"/>
                </a:cubicBezTo>
                <a:cubicBezTo>
                  <a:pt x="68" y="8"/>
                  <a:pt x="69" y="8"/>
                  <a:pt x="69" y="8"/>
                </a:cubicBezTo>
                <a:cubicBezTo>
                  <a:pt x="69" y="8"/>
                  <a:pt x="69" y="8"/>
                  <a:pt x="70" y="8"/>
                </a:cubicBezTo>
                <a:cubicBezTo>
                  <a:pt x="70" y="9"/>
                  <a:pt x="70" y="9"/>
                  <a:pt x="70" y="10"/>
                </a:cubicBezTo>
                <a:cubicBezTo>
                  <a:pt x="70" y="10"/>
                  <a:pt x="70" y="11"/>
                  <a:pt x="70" y="11"/>
                </a:cubicBezTo>
                <a:cubicBezTo>
                  <a:pt x="70" y="11"/>
                  <a:pt x="71" y="12"/>
                  <a:pt x="71" y="12"/>
                </a:cubicBezTo>
                <a:cubicBezTo>
                  <a:pt x="71" y="12"/>
                  <a:pt x="71" y="12"/>
                  <a:pt x="72" y="12"/>
                </a:cubicBezTo>
                <a:cubicBezTo>
                  <a:pt x="72" y="12"/>
                  <a:pt x="72" y="12"/>
                  <a:pt x="72" y="13"/>
                </a:cubicBezTo>
                <a:cubicBezTo>
                  <a:pt x="72" y="13"/>
                  <a:pt x="72" y="13"/>
                  <a:pt x="72" y="14"/>
                </a:cubicBezTo>
                <a:cubicBezTo>
                  <a:pt x="72" y="14"/>
                  <a:pt x="73" y="15"/>
                  <a:pt x="73" y="14"/>
                </a:cubicBezTo>
                <a:cubicBezTo>
                  <a:pt x="73" y="14"/>
                  <a:pt x="73" y="14"/>
                  <a:pt x="73" y="13"/>
                </a:cubicBezTo>
                <a:cubicBezTo>
                  <a:pt x="73" y="13"/>
                  <a:pt x="74" y="13"/>
                  <a:pt x="74" y="12"/>
                </a:cubicBezTo>
                <a:cubicBezTo>
                  <a:pt x="74" y="12"/>
                  <a:pt x="75" y="13"/>
                  <a:pt x="76" y="13"/>
                </a:cubicBezTo>
                <a:cubicBezTo>
                  <a:pt x="76" y="13"/>
                  <a:pt x="76" y="13"/>
                  <a:pt x="76" y="13"/>
                </a:cubicBezTo>
                <a:cubicBezTo>
                  <a:pt x="76" y="14"/>
                  <a:pt x="76" y="14"/>
                  <a:pt x="77" y="14"/>
                </a:cubicBezTo>
                <a:cubicBezTo>
                  <a:pt x="77" y="14"/>
                  <a:pt x="78" y="14"/>
                  <a:pt x="78" y="14"/>
                </a:cubicBezTo>
                <a:cubicBezTo>
                  <a:pt x="78" y="14"/>
                  <a:pt x="78" y="15"/>
                  <a:pt x="78" y="15"/>
                </a:cubicBezTo>
                <a:cubicBezTo>
                  <a:pt x="78" y="15"/>
                  <a:pt x="77" y="15"/>
                  <a:pt x="77" y="16"/>
                </a:cubicBezTo>
                <a:cubicBezTo>
                  <a:pt x="77" y="16"/>
                  <a:pt x="77" y="17"/>
                  <a:pt x="77" y="18"/>
                </a:cubicBezTo>
                <a:cubicBezTo>
                  <a:pt x="78" y="18"/>
                  <a:pt x="78" y="18"/>
                  <a:pt x="78" y="18"/>
                </a:cubicBezTo>
                <a:cubicBezTo>
                  <a:pt x="78" y="19"/>
                  <a:pt x="78" y="19"/>
                  <a:pt x="79" y="19"/>
                </a:cubicBezTo>
                <a:cubicBezTo>
                  <a:pt x="79" y="20"/>
                  <a:pt x="79" y="20"/>
                  <a:pt x="79" y="21"/>
                </a:cubicBezTo>
                <a:cubicBezTo>
                  <a:pt x="79" y="21"/>
                  <a:pt x="80" y="21"/>
                  <a:pt x="80" y="21"/>
                </a:cubicBezTo>
                <a:cubicBezTo>
                  <a:pt x="80" y="22"/>
                  <a:pt x="80" y="22"/>
                  <a:pt x="79" y="23"/>
                </a:cubicBezTo>
                <a:cubicBezTo>
                  <a:pt x="79" y="23"/>
                  <a:pt x="78" y="23"/>
                  <a:pt x="78" y="23"/>
                </a:cubicBezTo>
                <a:cubicBezTo>
                  <a:pt x="78" y="23"/>
                  <a:pt x="77" y="24"/>
                  <a:pt x="77" y="24"/>
                </a:cubicBezTo>
                <a:cubicBezTo>
                  <a:pt x="78" y="24"/>
                  <a:pt x="78" y="24"/>
                  <a:pt x="78" y="25"/>
                </a:cubicBezTo>
                <a:cubicBezTo>
                  <a:pt x="78" y="25"/>
                  <a:pt x="78" y="25"/>
                  <a:pt x="78" y="25"/>
                </a:cubicBezTo>
                <a:cubicBezTo>
                  <a:pt x="78" y="26"/>
                  <a:pt x="78" y="27"/>
                  <a:pt x="78" y="28"/>
                </a:cubicBezTo>
                <a:cubicBezTo>
                  <a:pt x="78" y="28"/>
                  <a:pt x="78" y="29"/>
                  <a:pt x="78" y="29"/>
                </a:cubicBezTo>
                <a:cubicBezTo>
                  <a:pt x="78" y="29"/>
                  <a:pt x="77" y="29"/>
                  <a:pt x="77" y="29"/>
                </a:cubicBezTo>
                <a:cubicBezTo>
                  <a:pt x="77" y="29"/>
                  <a:pt x="77" y="29"/>
                  <a:pt x="76" y="29"/>
                </a:cubicBezTo>
                <a:cubicBezTo>
                  <a:pt x="76" y="29"/>
                  <a:pt x="76" y="29"/>
                  <a:pt x="76" y="29"/>
                </a:cubicBezTo>
                <a:cubicBezTo>
                  <a:pt x="76" y="28"/>
                  <a:pt x="76" y="28"/>
                  <a:pt x="75" y="28"/>
                </a:cubicBezTo>
                <a:cubicBezTo>
                  <a:pt x="75" y="27"/>
                  <a:pt x="75" y="27"/>
                  <a:pt x="74" y="27"/>
                </a:cubicBezTo>
                <a:cubicBezTo>
                  <a:pt x="74" y="27"/>
                  <a:pt x="73" y="26"/>
                  <a:pt x="73" y="27"/>
                </a:cubicBezTo>
                <a:cubicBezTo>
                  <a:pt x="72" y="27"/>
                  <a:pt x="72" y="27"/>
                  <a:pt x="72" y="28"/>
                </a:cubicBezTo>
                <a:cubicBezTo>
                  <a:pt x="72" y="28"/>
                  <a:pt x="72" y="29"/>
                  <a:pt x="72" y="29"/>
                </a:cubicBezTo>
                <a:cubicBezTo>
                  <a:pt x="72" y="29"/>
                  <a:pt x="71" y="30"/>
                  <a:pt x="72" y="30"/>
                </a:cubicBezTo>
                <a:cubicBezTo>
                  <a:pt x="72" y="30"/>
                  <a:pt x="72" y="31"/>
                  <a:pt x="72" y="31"/>
                </a:cubicBezTo>
                <a:cubicBezTo>
                  <a:pt x="73" y="31"/>
                  <a:pt x="72" y="32"/>
                  <a:pt x="73" y="32"/>
                </a:cubicBezTo>
                <a:cubicBezTo>
                  <a:pt x="73" y="32"/>
                  <a:pt x="73" y="32"/>
                  <a:pt x="73" y="31"/>
                </a:cubicBezTo>
                <a:cubicBezTo>
                  <a:pt x="74" y="31"/>
                  <a:pt x="74" y="31"/>
                  <a:pt x="74" y="31"/>
                </a:cubicBezTo>
                <a:cubicBezTo>
                  <a:pt x="74" y="31"/>
                  <a:pt x="75" y="31"/>
                  <a:pt x="75" y="31"/>
                </a:cubicBezTo>
                <a:cubicBezTo>
                  <a:pt x="75" y="32"/>
                  <a:pt x="76" y="32"/>
                  <a:pt x="76" y="32"/>
                </a:cubicBezTo>
                <a:cubicBezTo>
                  <a:pt x="76" y="32"/>
                  <a:pt x="76" y="33"/>
                  <a:pt x="76" y="33"/>
                </a:cubicBezTo>
                <a:cubicBezTo>
                  <a:pt x="76" y="33"/>
                  <a:pt x="77" y="33"/>
                  <a:pt x="77" y="34"/>
                </a:cubicBezTo>
                <a:cubicBezTo>
                  <a:pt x="77" y="34"/>
                  <a:pt x="77" y="34"/>
                  <a:pt x="78" y="34"/>
                </a:cubicBezTo>
                <a:cubicBezTo>
                  <a:pt x="78" y="34"/>
                  <a:pt x="78" y="34"/>
                  <a:pt x="79" y="35"/>
                </a:cubicBezTo>
                <a:cubicBezTo>
                  <a:pt x="79" y="35"/>
                  <a:pt x="80" y="35"/>
                  <a:pt x="80" y="35"/>
                </a:cubicBezTo>
                <a:cubicBezTo>
                  <a:pt x="80" y="35"/>
                  <a:pt x="80" y="35"/>
                  <a:pt x="80" y="36"/>
                </a:cubicBezTo>
                <a:cubicBezTo>
                  <a:pt x="80" y="36"/>
                  <a:pt x="81" y="36"/>
                  <a:pt x="81" y="36"/>
                </a:cubicBezTo>
                <a:cubicBezTo>
                  <a:pt x="81" y="36"/>
                  <a:pt x="82" y="36"/>
                  <a:pt x="82" y="36"/>
                </a:cubicBezTo>
                <a:cubicBezTo>
                  <a:pt x="82" y="37"/>
                  <a:pt x="82" y="37"/>
                  <a:pt x="83" y="37"/>
                </a:cubicBezTo>
                <a:cubicBezTo>
                  <a:pt x="83" y="37"/>
                  <a:pt x="83" y="37"/>
                  <a:pt x="83" y="37"/>
                </a:cubicBezTo>
                <a:cubicBezTo>
                  <a:pt x="83" y="37"/>
                  <a:pt x="83" y="37"/>
                  <a:pt x="83" y="37"/>
                </a:cubicBezTo>
                <a:cubicBezTo>
                  <a:pt x="82" y="38"/>
                  <a:pt x="82" y="38"/>
                  <a:pt x="82" y="38"/>
                </a:cubicBezTo>
                <a:cubicBezTo>
                  <a:pt x="82" y="38"/>
                  <a:pt x="82" y="39"/>
                  <a:pt x="81" y="39"/>
                </a:cubicBezTo>
                <a:cubicBezTo>
                  <a:pt x="81" y="39"/>
                  <a:pt x="81" y="40"/>
                  <a:pt x="81" y="40"/>
                </a:cubicBezTo>
                <a:cubicBezTo>
                  <a:pt x="81" y="40"/>
                  <a:pt x="80" y="40"/>
                  <a:pt x="80" y="40"/>
                </a:cubicBezTo>
                <a:cubicBezTo>
                  <a:pt x="80" y="40"/>
                  <a:pt x="80" y="40"/>
                  <a:pt x="80" y="40"/>
                </a:cubicBezTo>
                <a:cubicBezTo>
                  <a:pt x="80" y="39"/>
                  <a:pt x="80" y="40"/>
                  <a:pt x="80" y="39"/>
                </a:cubicBezTo>
                <a:cubicBezTo>
                  <a:pt x="80" y="39"/>
                  <a:pt x="80" y="39"/>
                  <a:pt x="79" y="39"/>
                </a:cubicBezTo>
                <a:cubicBezTo>
                  <a:pt x="79" y="39"/>
                  <a:pt x="79" y="39"/>
                  <a:pt x="78" y="39"/>
                </a:cubicBezTo>
                <a:cubicBezTo>
                  <a:pt x="78" y="39"/>
                  <a:pt x="78" y="39"/>
                  <a:pt x="78" y="39"/>
                </a:cubicBezTo>
                <a:cubicBezTo>
                  <a:pt x="78" y="40"/>
                  <a:pt x="78" y="40"/>
                  <a:pt x="77" y="40"/>
                </a:cubicBezTo>
                <a:cubicBezTo>
                  <a:pt x="77" y="40"/>
                  <a:pt x="76" y="40"/>
                  <a:pt x="76" y="41"/>
                </a:cubicBezTo>
                <a:cubicBezTo>
                  <a:pt x="76" y="41"/>
                  <a:pt x="76" y="42"/>
                  <a:pt x="76" y="42"/>
                </a:cubicBezTo>
                <a:cubicBezTo>
                  <a:pt x="76" y="43"/>
                  <a:pt x="76" y="43"/>
                  <a:pt x="76" y="43"/>
                </a:cubicBezTo>
                <a:cubicBezTo>
                  <a:pt x="77" y="44"/>
                  <a:pt x="77" y="44"/>
                  <a:pt x="77" y="44"/>
                </a:cubicBezTo>
                <a:cubicBezTo>
                  <a:pt x="77" y="45"/>
                  <a:pt x="77" y="45"/>
                  <a:pt x="77" y="46"/>
                </a:cubicBezTo>
                <a:cubicBezTo>
                  <a:pt x="77" y="46"/>
                  <a:pt x="77" y="46"/>
                  <a:pt x="78" y="46"/>
                </a:cubicBezTo>
                <a:cubicBezTo>
                  <a:pt x="78" y="47"/>
                  <a:pt x="78" y="47"/>
                  <a:pt x="78" y="47"/>
                </a:cubicBezTo>
                <a:cubicBezTo>
                  <a:pt x="79" y="47"/>
                  <a:pt x="79" y="47"/>
                  <a:pt x="79" y="47"/>
                </a:cubicBezTo>
                <a:cubicBezTo>
                  <a:pt x="80" y="47"/>
                  <a:pt x="80" y="48"/>
                  <a:pt x="80" y="48"/>
                </a:cubicBezTo>
                <a:cubicBezTo>
                  <a:pt x="80" y="48"/>
                  <a:pt x="80" y="47"/>
                  <a:pt x="80" y="47"/>
                </a:cubicBezTo>
                <a:cubicBezTo>
                  <a:pt x="80" y="47"/>
                  <a:pt x="80" y="47"/>
                  <a:pt x="80" y="47"/>
                </a:cubicBezTo>
                <a:cubicBezTo>
                  <a:pt x="79" y="47"/>
                  <a:pt x="79" y="47"/>
                  <a:pt x="79" y="46"/>
                </a:cubicBezTo>
                <a:cubicBezTo>
                  <a:pt x="79" y="46"/>
                  <a:pt x="79" y="46"/>
                  <a:pt x="79" y="46"/>
                </a:cubicBezTo>
                <a:cubicBezTo>
                  <a:pt x="79" y="46"/>
                  <a:pt x="79" y="45"/>
                  <a:pt x="79" y="45"/>
                </a:cubicBezTo>
                <a:cubicBezTo>
                  <a:pt x="79" y="45"/>
                  <a:pt x="79" y="45"/>
                  <a:pt x="79" y="44"/>
                </a:cubicBezTo>
                <a:cubicBezTo>
                  <a:pt x="79" y="44"/>
                  <a:pt x="79" y="44"/>
                  <a:pt x="78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3"/>
                  <a:pt x="78" y="43"/>
                  <a:pt x="78" y="43"/>
                </a:cubicBezTo>
                <a:cubicBezTo>
                  <a:pt x="79" y="43"/>
                  <a:pt x="79" y="43"/>
                  <a:pt x="79" y="42"/>
                </a:cubicBezTo>
                <a:cubicBezTo>
                  <a:pt x="79" y="42"/>
                  <a:pt x="79" y="42"/>
                  <a:pt x="80" y="42"/>
                </a:cubicBezTo>
                <a:cubicBezTo>
                  <a:pt x="80" y="42"/>
                  <a:pt x="80" y="42"/>
                  <a:pt x="80" y="42"/>
                </a:cubicBezTo>
                <a:cubicBezTo>
                  <a:pt x="80" y="42"/>
                  <a:pt x="81" y="42"/>
                  <a:pt x="81" y="42"/>
                </a:cubicBezTo>
                <a:cubicBezTo>
                  <a:pt x="82" y="42"/>
                  <a:pt x="81" y="43"/>
                  <a:pt x="82" y="43"/>
                </a:cubicBezTo>
                <a:cubicBezTo>
                  <a:pt x="82" y="44"/>
                  <a:pt x="82" y="45"/>
                  <a:pt x="82" y="45"/>
                </a:cubicBezTo>
                <a:cubicBezTo>
                  <a:pt x="82" y="46"/>
                  <a:pt x="82" y="46"/>
                  <a:pt x="82" y="46"/>
                </a:cubicBezTo>
                <a:cubicBezTo>
                  <a:pt x="82" y="46"/>
                  <a:pt x="82" y="47"/>
                  <a:pt x="83" y="47"/>
                </a:cubicBezTo>
                <a:cubicBezTo>
                  <a:pt x="83" y="47"/>
                  <a:pt x="83" y="48"/>
                  <a:pt x="83" y="48"/>
                </a:cubicBezTo>
                <a:cubicBezTo>
                  <a:pt x="83" y="48"/>
                  <a:pt x="84" y="48"/>
                  <a:pt x="84" y="49"/>
                </a:cubicBezTo>
                <a:cubicBezTo>
                  <a:pt x="84" y="49"/>
                  <a:pt x="85" y="49"/>
                  <a:pt x="85" y="50"/>
                </a:cubicBezTo>
                <a:cubicBezTo>
                  <a:pt x="86" y="50"/>
                  <a:pt x="86" y="51"/>
                  <a:pt x="86" y="51"/>
                </a:cubicBezTo>
                <a:cubicBezTo>
                  <a:pt x="86" y="52"/>
                  <a:pt x="87" y="52"/>
                  <a:pt x="87" y="52"/>
                </a:cubicBezTo>
                <a:cubicBezTo>
                  <a:pt x="87" y="52"/>
                  <a:pt x="88" y="52"/>
                  <a:pt x="88" y="52"/>
                </a:cubicBezTo>
                <a:cubicBezTo>
                  <a:pt x="88" y="52"/>
                  <a:pt x="87" y="52"/>
                  <a:pt x="87" y="53"/>
                </a:cubicBezTo>
                <a:cubicBezTo>
                  <a:pt x="87" y="53"/>
                  <a:pt x="86" y="53"/>
                  <a:pt x="86" y="54"/>
                </a:cubicBezTo>
                <a:cubicBezTo>
                  <a:pt x="86" y="54"/>
                  <a:pt x="86" y="54"/>
                  <a:pt x="85" y="55"/>
                </a:cubicBezTo>
                <a:cubicBezTo>
                  <a:pt x="85" y="55"/>
                  <a:pt x="85" y="56"/>
                  <a:pt x="85" y="56"/>
                </a:cubicBezTo>
                <a:cubicBezTo>
                  <a:pt x="84" y="56"/>
                  <a:pt x="84" y="56"/>
                  <a:pt x="84" y="57"/>
                </a:cubicBezTo>
                <a:cubicBezTo>
                  <a:pt x="84" y="57"/>
                  <a:pt x="84" y="57"/>
                  <a:pt x="84" y="57"/>
                </a:cubicBezTo>
                <a:cubicBezTo>
                  <a:pt x="84" y="58"/>
                  <a:pt x="84" y="58"/>
                  <a:pt x="83" y="58"/>
                </a:cubicBezTo>
                <a:cubicBezTo>
                  <a:pt x="83" y="58"/>
                  <a:pt x="83" y="58"/>
                  <a:pt x="83" y="59"/>
                </a:cubicBezTo>
                <a:cubicBezTo>
                  <a:pt x="83" y="59"/>
                  <a:pt x="83" y="60"/>
                  <a:pt x="83" y="60"/>
                </a:cubicBezTo>
                <a:cubicBezTo>
                  <a:pt x="83" y="61"/>
                  <a:pt x="82" y="61"/>
                  <a:pt x="82" y="62"/>
                </a:cubicBezTo>
                <a:cubicBezTo>
                  <a:pt x="82" y="62"/>
                  <a:pt x="82" y="63"/>
                  <a:pt x="81" y="63"/>
                </a:cubicBezTo>
                <a:cubicBezTo>
                  <a:pt x="81" y="64"/>
                  <a:pt x="81" y="64"/>
                  <a:pt x="81" y="64"/>
                </a:cubicBezTo>
                <a:cubicBezTo>
                  <a:pt x="81" y="65"/>
                  <a:pt x="81" y="65"/>
                  <a:pt x="81" y="66"/>
                </a:cubicBezTo>
                <a:cubicBezTo>
                  <a:pt x="82" y="66"/>
                  <a:pt x="82" y="66"/>
                  <a:pt x="82" y="67"/>
                </a:cubicBezTo>
                <a:cubicBezTo>
                  <a:pt x="81" y="67"/>
                  <a:pt x="81" y="67"/>
                  <a:pt x="81" y="68"/>
                </a:cubicBezTo>
                <a:cubicBezTo>
                  <a:pt x="81" y="68"/>
                  <a:pt x="81" y="69"/>
                  <a:pt x="81" y="69"/>
                </a:cubicBezTo>
                <a:cubicBezTo>
                  <a:pt x="81" y="69"/>
                  <a:pt x="80" y="69"/>
                  <a:pt x="80" y="69"/>
                </a:cubicBezTo>
                <a:cubicBezTo>
                  <a:pt x="80" y="69"/>
                  <a:pt x="80" y="70"/>
                  <a:pt x="80" y="70"/>
                </a:cubicBezTo>
                <a:cubicBezTo>
                  <a:pt x="80" y="70"/>
                  <a:pt x="80" y="71"/>
                  <a:pt x="80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71"/>
                  <a:pt x="81" y="72"/>
                  <a:pt x="81" y="72"/>
                </a:cubicBezTo>
                <a:cubicBezTo>
                  <a:pt x="81" y="72"/>
                  <a:pt x="81" y="72"/>
                  <a:pt x="82" y="73"/>
                </a:cubicBezTo>
                <a:cubicBezTo>
                  <a:pt x="82" y="73"/>
                  <a:pt x="82" y="73"/>
                  <a:pt x="82" y="73"/>
                </a:cubicBezTo>
                <a:cubicBezTo>
                  <a:pt x="82" y="74"/>
                  <a:pt x="83" y="74"/>
                  <a:pt x="82" y="74"/>
                </a:cubicBezTo>
                <a:cubicBezTo>
                  <a:pt x="82" y="74"/>
                  <a:pt x="82" y="74"/>
                  <a:pt x="82" y="74"/>
                </a:cubicBezTo>
                <a:cubicBezTo>
                  <a:pt x="81" y="74"/>
                  <a:pt x="80" y="74"/>
                  <a:pt x="80" y="75"/>
                </a:cubicBezTo>
                <a:cubicBezTo>
                  <a:pt x="80" y="75"/>
                  <a:pt x="80" y="76"/>
                  <a:pt x="80" y="76"/>
                </a:cubicBezTo>
                <a:cubicBezTo>
                  <a:pt x="81" y="76"/>
                  <a:pt x="81" y="77"/>
                  <a:pt x="81" y="77"/>
                </a:cubicBezTo>
                <a:cubicBezTo>
                  <a:pt x="81" y="77"/>
                  <a:pt x="81" y="78"/>
                  <a:pt x="81" y="78"/>
                </a:cubicBezTo>
                <a:cubicBezTo>
                  <a:pt x="81" y="79"/>
                  <a:pt x="81" y="79"/>
                  <a:pt x="81" y="79"/>
                </a:cubicBezTo>
                <a:cubicBezTo>
                  <a:pt x="81" y="80"/>
                  <a:pt x="82" y="80"/>
                  <a:pt x="82" y="80"/>
                </a:cubicBezTo>
                <a:cubicBezTo>
                  <a:pt x="82" y="81"/>
                  <a:pt x="83" y="81"/>
                  <a:pt x="83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3" y="86"/>
                  <a:pt x="83" y="86"/>
                  <a:pt x="83" y="86"/>
                </a:cubicBezTo>
                <a:cubicBezTo>
                  <a:pt x="83" y="87"/>
                  <a:pt x="83" y="87"/>
                  <a:pt x="83" y="87"/>
                </a:cubicBezTo>
                <a:cubicBezTo>
                  <a:pt x="83" y="87"/>
                  <a:pt x="82" y="87"/>
                  <a:pt x="82" y="88"/>
                </a:cubicBezTo>
                <a:cubicBezTo>
                  <a:pt x="81" y="88"/>
                  <a:pt x="81" y="88"/>
                  <a:pt x="81" y="88"/>
                </a:cubicBezTo>
                <a:cubicBezTo>
                  <a:pt x="81" y="88"/>
                  <a:pt x="80" y="88"/>
                  <a:pt x="80" y="88"/>
                </a:cubicBezTo>
                <a:cubicBezTo>
                  <a:pt x="80" y="89"/>
                  <a:pt x="80" y="89"/>
                  <a:pt x="81" y="90"/>
                </a:cubicBezTo>
                <a:cubicBezTo>
                  <a:pt x="81" y="90"/>
                  <a:pt x="81" y="90"/>
                  <a:pt x="81" y="90"/>
                </a:cubicBezTo>
                <a:cubicBezTo>
                  <a:pt x="80" y="91"/>
                  <a:pt x="80" y="90"/>
                  <a:pt x="80" y="90"/>
                </a:cubicBezTo>
                <a:cubicBezTo>
                  <a:pt x="80" y="90"/>
                  <a:pt x="79" y="90"/>
                  <a:pt x="79" y="90"/>
                </a:cubicBezTo>
                <a:cubicBezTo>
                  <a:pt x="79" y="90"/>
                  <a:pt x="79" y="89"/>
                  <a:pt x="78" y="89"/>
                </a:cubicBezTo>
                <a:cubicBezTo>
                  <a:pt x="78" y="89"/>
                  <a:pt x="77" y="89"/>
                  <a:pt x="77" y="89"/>
                </a:cubicBezTo>
                <a:cubicBezTo>
                  <a:pt x="77" y="90"/>
                  <a:pt x="77" y="91"/>
                  <a:pt x="76" y="91"/>
                </a:cubicBezTo>
                <a:cubicBezTo>
                  <a:pt x="76" y="91"/>
                  <a:pt x="75" y="92"/>
                  <a:pt x="75" y="92"/>
                </a:cubicBezTo>
                <a:cubicBezTo>
                  <a:pt x="75" y="93"/>
                  <a:pt x="75" y="93"/>
                  <a:pt x="75" y="94"/>
                </a:cubicBezTo>
                <a:cubicBezTo>
                  <a:pt x="75" y="94"/>
                  <a:pt x="74" y="95"/>
                  <a:pt x="74" y="95"/>
                </a:cubicBezTo>
                <a:cubicBezTo>
                  <a:pt x="73" y="96"/>
                  <a:pt x="73" y="97"/>
                  <a:pt x="72" y="98"/>
                </a:cubicBezTo>
                <a:cubicBezTo>
                  <a:pt x="71" y="99"/>
                  <a:pt x="70" y="99"/>
                  <a:pt x="70" y="99"/>
                </a:cubicBezTo>
                <a:cubicBezTo>
                  <a:pt x="69" y="98"/>
                  <a:pt x="69" y="98"/>
                  <a:pt x="69" y="98"/>
                </a:cubicBezTo>
                <a:cubicBezTo>
                  <a:pt x="68" y="98"/>
                  <a:pt x="68" y="97"/>
                  <a:pt x="68" y="97"/>
                </a:cubicBezTo>
                <a:cubicBezTo>
                  <a:pt x="67" y="97"/>
                  <a:pt x="67" y="96"/>
                  <a:pt x="66" y="96"/>
                </a:cubicBezTo>
                <a:cubicBezTo>
                  <a:pt x="66" y="95"/>
                  <a:pt x="65" y="96"/>
                  <a:pt x="65" y="96"/>
                </a:cubicBezTo>
                <a:cubicBezTo>
                  <a:pt x="65" y="96"/>
                  <a:pt x="65" y="96"/>
                  <a:pt x="64" y="97"/>
                </a:cubicBezTo>
                <a:cubicBezTo>
                  <a:pt x="64" y="97"/>
                  <a:pt x="64" y="96"/>
                  <a:pt x="64" y="97"/>
                </a:cubicBezTo>
                <a:cubicBezTo>
                  <a:pt x="63" y="97"/>
                  <a:pt x="63" y="98"/>
                  <a:pt x="63" y="98"/>
                </a:cubicBezTo>
                <a:cubicBezTo>
                  <a:pt x="63" y="98"/>
                  <a:pt x="64" y="100"/>
                  <a:pt x="63" y="100"/>
                </a:cubicBezTo>
                <a:cubicBezTo>
                  <a:pt x="63" y="100"/>
                  <a:pt x="63" y="99"/>
                  <a:pt x="63" y="99"/>
                </a:cubicBezTo>
                <a:cubicBezTo>
                  <a:pt x="62" y="98"/>
                  <a:pt x="62" y="99"/>
                  <a:pt x="62" y="99"/>
                </a:cubicBezTo>
                <a:cubicBezTo>
                  <a:pt x="61" y="99"/>
                  <a:pt x="61" y="100"/>
                  <a:pt x="60" y="100"/>
                </a:cubicBezTo>
                <a:cubicBezTo>
                  <a:pt x="60" y="99"/>
                  <a:pt x="61" y="99"/>
                  <a:pt x="61" y="99"/>
                </a:cubicBezTo>
                <a:cubicBezTo>
                  <a:pt x="61" y="98"/>
                  <a:pt x="61" y="98"/>
                  <a:pt x="62" y="97"/>
                </a:cubicBezTo>
                <a:cubicBezTo>
                  <a:pt x="62" y="97"/>
                  <a:pt x="62" y="97"/>
                  <a:pt x="62" y="96"/>
                </a:cubicBezTo>
                <a:cubicBezTo>
                  <a:pt x="62" y="96"/>
                  <a:pt x="62" y="96"/>
                  <a:pt x="61" y="96"/>
                </a:cubicBezTo>
                <a:cubicBezTo>
                  <a:pt x="61" y="95"/>
                  <a:pt x="61" y="95"/>
                  <a:pt x="62" y="95"/>
                </a:cubicBezTo>
                <a:cubicBezTo>
                  <a:pt x="62" y="95"/>
                  <a:pt x="62" y="94"/>
                  <a:pt x="62" y="94"/>
                </a:cubicBezTo>
                <a:cubicBezTo>
                  <a:pt x="62" y="93"/>
                  <a:pt x="62" y="93"/>
                  <a:pt x="62" y="92"/>
                </a:cubicBezTo>
                <a:cubicBezTo>
                  <a:pt x="62" y="92"/>
                  <a:pt x="62" y="91"/>
                  <a:pt x="62" y="91"/>
                </a:cubicBezTo>
                <a:cubicBezTo>
                  <a:pt x="63" y="90"/>
                  <a:pt x="63" y="90"/>
                  <a:pt x="63" y="89"/>
                </a:cubicBezTo>
                <a:cubicBezTo>
                  <a:pt x="64" y="89"/>
                  <a:pt x="64" y="88"/>
                  <a:pt x="64" y="88"/>
                </a:cubicBezTo>
                <a:cubicBezTo>
                  <a:pt x="65" y="88"/>
                  <a:pt x="65" y="88"/>
                  <a:pt x="65" y="88"/>
                </a:cubicBezTo>
                <a:cubicBezTo>
                  <a:pt x="66" y="88"/>
                  <a:pt x="66" y="87"/>
                  <a:pt x="66" y="87"/>
                </a:cubicBezTo>
                <a:cubicBezTo>
                  <a:pt x="66" y="87"/>
                  <a:pt x="65" y="86"/>
                  <a:pt x="66" y="86"/>
                </a:cubicBezTo>
                <a:cubicBezTo>
                  <a:pt x="66" y="86"/>
                  <a:pt x="67" y="86"/>
                  <a:pt x="67" y="87"/>
                </a:cubicBezTo>
                <a:cubicBezTo>
                  <a:pt x="67" y="87"/>
                  <a:pt x="67" y="87"/>
                  <a:pt x="67" y="87"/>
                </a:cubicBezTo>
                <a:cubicBezTo>
                  <a:pt x="67" y="88"/>
                  <a:pt x="67" y="88"/>
                  <a:pt x="67" y="88"/>
                </a:cubicBezTo>
                <a:cubicBezTo>
                  <a:pt x="67" y="89"/>
                  <a:pt x="67" y="89"/>
                  <a:pt x="67" y="90"/>
                </a:cubicBezTo>
                <a:cubicBezTo>
                  <a:pt x="67" y="90"/>
                  <a:pt x="67" y="90"/>
                  <a:pt x="67" y="91"/>
                </a:cubicBezTo>
                <a:cubicBezTo>
                  <a:pt x="67" y="91"/>
                  <a:pt x="67" y="92"/>
                  <a:pt x="67" y="92"/>
                </a:cubicBezTo>
                <a:cubicBezTo>
                  <a:pt x="67" y="92"/>
                  <a:pt x="67" y="93"/>
                  <a:pt x="67" y="93"/>
                </a:cubicBezTo>
                <a:cubicBezTo>
                  <a:pt x="67" y="93"/>
                  <a:pt x="67" y="93"/>
                  <a:pt x="67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8" y="95"/>
                  <a:pt x="68" y="95"/>
                  <a:pt x="68" y="95"/>
                </a:cubicBezTo>
                <a:cubicBezTo>
                  <a:pt x="69" y="95"/>
                  <a:pt x="69" y="95"/>
                  <a:pt x="69" y="94"/>
                </a:cubicBezTo>
                <a:cubicBezTo>
                  <a:pt x="69" y="93"/>
                  <a:pt x="69" y="93"/>
                  <a:pt x="69" y="92"/>
                </a:cubicBezTo>
                <a:cubicBezTo>
                  <a:pt x="69" y="91"/>
                  <a:pt x="70" y="90"/>
                  <a:pt x="70" y="89"/>
                </a:cubicBezTo>
                <a:cubicBezTo>
                  <a:pt x="70" y="89"/>
                  <a:pt x="70" y="88"/>
                  <a:pt x="70" y="87"/>
                </a:cubicBezTo>
                <a:cubicBezTo>
                  <a:pt x="70" y="87"/>
                  <a:pt x="70" y="87"/>
                  <a:pt x="71" y="86"/>
                </a:cubicBezTo>
                <a:cubicBezTo>
                  <a:pt x="71" y="86"/>
                  <a:pt x="72" y="85"/>
                  <a:pt x="72" y="85"/>
                </a:cubicBezTo>
                <a:cubicBezTo>
                  <a:pt x="72" y="86"/>
                  <a:pt x="73" y="86"/>
                  <a:pt x="72" y="86"/>
                </a:cubicBezTo>
                <a:cubicBezTo>
                  <a:pt x="72" y="87"/>
                  <a:pt x="72" y="87"/>
                  <a:pt x="72" y="87"/>
                </a:cubicBezTo>
                <a:cubicBezTo>
                  <a:pt x="72" y="88"/>
                  <a:pt x="72" y="88"/>
                  <a:pt x="72" y="89"/>
                </a:cubicBezTo>
                <a:cubicBezTo>
                  <a:pt x="72" y="89"/>
                  <a:pt x="72" y="89"/>
                  <a:pt x="73" y="90"/>
                </a:cubicBezTo>
                <a:cubicBezTo>
                  <a:pt x="73" y="90"/>
                  <a:pt x="73" y="90"/>
                  <a:pt x="74" y="90"/>
                </a:cubicBezTo>
                <a:cubicBezTo>
                  <a:pt x="74" y="91"/>
                  <a:pt x="75" y="91"/>
                  <a:pt x="75" y="90"/>
                </a:cubicBezTo>
                <a:cubicBezTo>
                  <a:pt x="75" y="90"/>
                  <a:pt x="75" y="90"/>
                  <a:pt x="75" y="90"/>
                </a:cubicBezTo>
                <a:cubicBezTo>
                  <a:pt x="75" y="78"/>
                  <a:pt x="75" y="78"/>
                  <a:pt x="75" y="78"/>
                </a:cubicBezTo>
                <a:cubicBezTo>
                  <a:pt x="75" y="75"/>
                  <a:pt x="75" y="75"/>
                  <a:pt x="75" y="75"/>
                </a:cubicBezTo>
                <a:cubicBezTo>
                  <a:pt x="75" y="75"/>
                  <a:pt x="75" y="75"/>
                  <a:pt x="76" y="75"/>
                </a:cubicBezTo>
                <a:cubicBezTo>
                  <a:pt x="76" y="74"/>
                  <a:pt x="76" y="75"/>
                  <a:pt x="77" y="75"/>
                </a:cubicBezTo>
                <a:cubicBezTo>
                  <a:pt x="78" y="75"/>
                  <a:pt x="77" y="73"/>
                  <a:pt x="77" y="73"/>
                </a:cubicBezTo>
                <a:cubicBezTo>
                  <a:pt x="77" y="72"/>
                  <a:pt x="77" y="72"/>
                  <a:pt x="77" y="71"/>
                </a:cubicBezTo>
                <a:cubicBezTo>
                  <a:pt x="77" y="71"/>
                  <a:pt x="77" y="70"/>
                  <a:pt x="77" y="70"/>
                </a:cubicBezTo>
                <a:cubicBezTo>
                  <a:pt x="77" y="70"/>
                  <a:pt x="77" y="70"/>
                  <a:pt x="77" y="70"/>
                </a:cubicBezTo>
                <a:cubicBezTo>
                  <a:pt x="76" y="69"/>
                  <a:pt x="77" y="68"/>
                  <a:pt x="76" y="68"/>
                </a:cubicBezTo>
                <a:cubicBezTo>
                  <a:pt x="76" y="68"/>
                  <a:pt x="75" y="68"/>
                  <a:pt x="76" y="67"/>
                </a:cubicBezTo>
                <a:cubicBezTo>
                  <a:pt x="76" y="67"/>
                  <a:pt x="77" y="67"/>
                  <a:pt x="77" y="67"/>
                </a:cubicBezTo>
                <a:cubicBezTo>
                  <a:pt x="78" y="67"/>
                  <a:pt x="78" y="66"/>
                  <a:pt x="78" y="65"/>
                </a:cubicBezTo>
                <a:cubicBezTo>
                  <a:pt x="78" y="64"/>
                  <a:pt x="78" y="63"/>
                  <a:pt x="78" y="62"/>
                </a:cubicBezTo>
                <a:cubicBezTo>
                  <a:pt x="78" y="62"/>
                  <a:pt x="77" y="61"/>
                  <a:pt x="77" y="61"/>
                </a:cubicBezTo>
                <a:cubicBezTo>
                  <a:pt x="77" y="60"/>
                  <a:pt x="77" y="60"/>
                  <a:pt x="77" y="59"/>
                </a:cubicBezTo>
                <a:cubicBezTo>
                  <a:pt x="77" y="59"/>
                  <a:pt x="77" y="59"/>
                  <a:pt x="77" y="58"/>
                </a:cubicBezTo>
                <a:cubicBezTo>
                  <a:pt x="76" y="58"/>
                  <a:pt x="76" y="58"/>
                  <a:pt x="76" y="58"/>
                </a:cubicBezTo>
                <a:cubicBezTo>
                  <a:pt x="75" y="58"/>
                  <a:pt x="75" y="58"/>
                  <a:pt x="75" y="59"/>
                </a:cubicBezTo>
                <a:cubicBezTo>
                  <a:pt x="74" y="59"/>
                  <a:pt x="74" y="59"/>
                  <a:pt x="74" y="60"/>
                </a:cubicBezTo>
                <a:cubicBezTo>
                  <a:pt x="73" y="60"/>
                  <a:pt x="73" y="60"/>
                  <a:pt x="73" y="61"/>
                </a:cubicBezTo>
                <a:cubicBezTo>
                  <a:pt x="72" y="62"/>
                  <a:pt x="72" y="62"/>
                  <a:pt x="72" y="63"/>
                </a:cubicBezTo>
                <a:cubicBezTo>
                  <a:pt x="71" y="63"/>
                  <a:pt x="71" y="63"/>
                  <a:pt x="71" y="64"/>
                </a:cubicBezTo>
                <a:cubicBezTo>
                  <a:pt x="70" y="65"/>
                  <a:pt x="70" y="65"/>
                  <a:pt x="70" y="66"/>
                </a:cubicBezTo>
                <a:cubicBezTo>
                  <a:pt x="70" y="66"/>
                  <a:pt x="70" y="67"/>
                  <a:pt x="69" y="68"/>
                </a:cubicBezTo>
                <a:cubicBezTo>
                  <a:pt x="69" y="68"/>
                  <a:pt x="69" y="69"/>
                  <a:pt x="69" y="69"/>
                </a:cubicBezTo>
                <a:cubicBezTo>
                  <a:pt x="68" y="70"/>
                  <a:pt x="68" y="70"/>
                  <a:pt x="67" y="70"/>
                </a:cubicBezTo>
                <a:cubicBezTo>
                  <a:pt x="65" y="71"/>
                  <a:pt x="62" y="73"/>
                  <a:pt x="61" y="76"/>
                </a:cubicBezTo>
                <a:cubicBezTo>
                  <a:pt x="61" y="76"/>
                  <a:pt x="61" y="77"/>
                  <a:pt x="60" y="77"/>
                </a:cubicBezTo>
                <a:cubicBezTo>
                  <a:pt x="59" y="77"/>
                  <a:pt x="59" y="77"/>
                  <a:pt x="59" y="76"/>
                </a:cubicBezTo>
                <a:cubicBezTo>
                  <a:pt x="59" y="76"/>
                  <a:pt x="59" y="76"/>
                  <a:pt x="59" y="75"/>
                </a:cubicBezTo>
                <a:cubicBezTo>
                  <a:pt x="60" y="75"/>
                  <a:pt x="60" y="74"/>
                  <a:pt x="60" y="74"/>
                </a:cubicBezTo>
                <a:cubicBezTo>
                  <a:pt x="60" y="74"/>
                  <a:pt x="61" y="73"/>
                  <a:pt x="61" y="73"/>
                </a:cubicBezTo>
                <a:cubicBezTo>
                  <a:pt x="62" y="73"/>
                  <a:pt x="62" y="72"/>
                  <a:pt x="63" y="72"/>
                </a:cubicBezTo>
                <a:cubicBezTo>
                  <a:pt x="63" y="71"/>
                  <a:pt x="63" y="70"/>
                  <a:pt x="63" y="69"/>
                </a:cubicBezTo>
                <a:cubicBezTo>
                  <a:pt x="63" y="69"/>
                  <a:pt x="64" y="68"/>
                  <a:pt x="65" y="67"/>
                </a:cubicBezTo>
                <a:cubicBezTo>
                  <a:pt x="65" y="67"/>
                  <a:pt x="65" y="66"/>
                  <a:pt x="66" y="66"/>
                </a:cubicBezTo>
                <a:cubicBezTo>
                  <a:pt x="66" y="66"/>
                  <a:pt x="66" y="66"/>
                  <a:pt x="66" y="65"/>
                </a:cubicBezTo>
                <a:cubicBezTo>
                  <a:pt x="67" y="65"/>
                  <a:pt x="67" y="65"/>
                  <a:pt x="67" y="65"/>
                </a:cubicBezTo>
                <a:cubicBezTo>
                  <a:pt x="67" y="66"/>
                  <a:pt x="67" y="66"/>
                  <a:pt x="67" y="67"/>
                </a:cubicBezTo>
                <a:cubicBezTo>
                  <a:pt x="67" y="67"/>
                  <a:pt x="66" y="68"/>
                  <a:pt x="67" y="69"/>
                </a:cubicBezTo>
                <a:cubicBezTo>
                  <a:pt x="67" y="70"/>
                  <a:pt x="68" y="69"/>
                  <a:pt x="68" y="68"/>
                </a:cubicBezTo>
                <a:cubicBezTo>
                  <a:pt x="68" y="68"/>
                  <a:pt x="68" y="67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5"/>
                  <a:pt x="69" y="65"/>
                  <a:pt x="69" y="64"/>
                </a:cubicBezTo>
                <a:cubicBezTo>
                  <a:pt x="69" y="64"/>
                  <a:pt x="69" y="64"/>
                  <a:pt x="69" y="63"/>
                </a:cubicBezTo>
                <a:cubicBezTo>
                  <a:pt x="69" y="63"/>
                  <a:pt x="70" y="63"/>
                  <a:pt x="70" y="62"/>
                </a:cubicBezTo>
                <a:cubicBezTo>
                  <a:pt x="70" y="62"/>
                  <a:pt x="71" y="62"/>
                  <a:pt x="71" y="61"/>
                </a:cubicBezTo>
                <a:cubicBezTo>
                  <a:pt x="71" y="61"/>
                  <a:pt x="72" y="61"/>
                  <a:pt x="72" y="61"/>
                </a:cubicBezTo>
                <a:cubicBezTo>
                  <a:pt x="72" y="60"/>
                  <a:pt x="72" y="60"/>
                  <a:pt x="72" y="60"/>
                </a:cubicBezTo>
                <a:cubicBezTo>
                  <a:pt x="72" y="59"/>
                  <a:pt x="72" y="59"/>
                  <a:pt x="72" y="59"/>
                </a:cubicBezTo>
                <a:cubicBezTo>
                  <a:pt x="72" y="58"/>
                  <a:pt x="72" y="58"/>
                  <a:pt x="72" y="58"/>
                </a:cubicBezTo>
                <a:cubicBezTo>
                  <a:pt x="72" y="56"/>
                  <a:pt x="70" y="55"/>
                  <a:pt x="70" y="54"/>
                </a:cubicBezTo>
                <a:cubicBezTo>
                  <a:pt x="70" y="53"/>
                  <a:pt x="70" y="53"/>
                  <a:pt x="70" y="53"/>
                </a:cubicBezTo>
                <a:cubicBezTo>
                  <a:pt x="70" y="52"/>
                  <a:pt x="70" y="52"/>
                  <a:pt x="70" y="52"/>
                </a:cubicBezTo>
                <a:cubicBezTo>
                  <a:pt x="69" y="51"/>
                  <a:pt x="69" y="51"/>
                  <a:pt x="69" y="50"/>
                </a:cubicBezTo>
                <a:cubicBezTo>
                  <a:pt x="68" y="50"/>
                  <a:pt x="68" y="49"/>
                  <a:pt x="67" y="49"/>
                </a:cubicBezTo>
                <a:cubicBezTo>
                  <a:pt x="67" y="48"/>
                  <a:pt x="67" y="48"/>
                  <a:pt x="67" y="47"/>
                </a:cubicBezTo>
                <a:cubicBezTo>
                  <a:pt x="68" y="47"/>
                  <a:pt x="69" y="46"/>
                  <a:pt x="68" y="46"/>
                </a:cubicBezTo>
                <a:cubicBezTo>
                  <a:pt x="68" y="45"/>
                  <a:pt x="67" y="45"/>
                  <a:pt x="66" y="46"/>
                </a:cubicBezTo>
                <a:cubicBezTo>
                  <a:pt x="66" y="46"/>
                  <a:pt x="66" y="46"/>
                  <a:pt x="66" y="46"/>
                </a:cubicBezTo>
                <a:cubicBezTo>
                  <a:pt x="66" y="46"/>
                  <a:pt x="65" y="46"/>
                  <a:pt x="65" y="47"/>
                </a:cubicBezTo>
                <a:cubicBezTo>
                  <a:pt x="65" y="47"/>
                  <a:pt x="65" y="47"/>
                  <a:pt x="65" y="47"/>
                </a:cubicBezTo>
                <a:cubicBezTo>
                  <a:pt x="65" y="48"/>
                  <a:pt x="65" y="48"/>
                  <a:pt x="65" y="48"/>
                </a:cubicBezTo>
                <a:cubicBezTo>
                  <a:pt x="64" y="48"/>
                  <a:pt x="64" y="49"/>
                  <a:pt x="64" y="50"/>
                </a:cubicBezTo>
                <a:cubicBezTo>
                  <a:pt x="64" y="50"/>
                  <a:pt x="65" y="50"/>
                  <a:pt x="65" y="51"/>
                </a:cubicBezTo>
                <a:cubicBezTo>
                  <a:pt x="65" y="51"/>
                  <a:pt x="66" y="52"/>
                  <a:pt x="66" y="52"/>
                </a:cubicBezTo>
                <a:cubicBezTo>
                  <a:pt x="65" y="53"/>
                  <a:pt x="65" y="52"/>
                  <a:pt x="64" y="52"/>
                </a:cubicBezTo>
                <a:cubicBezTo>
                  <a:pt x="64" y="51"/>
                  <a:pt x="64" y="51"/>
                  <a:pt x="63" y="51"/>
                </a:cubicBezTo>
                <a:cubicBezTo>
                  <a:pt x="63" y="50"/>
                  <a:pt x="62" y="50"/>
                  <a:pt x="62" y="49"/>
                </a:cubicBezTo>
                <a:cubicBezTo>
                  <a:pt x="62" y="49"/>
                  <a:pt x="61" y="49"/>
                  <a:pt x="61" y="48"/>
                </a:cubicBezTo>
                <a:cubicBezTo>
                  <a:pt x="61" y="48"/>
                  <a:pt x="61" y="48"/>
                  <a:pt x="60" y="49"/>
                </a:cubicBezTo>
                <a:cubicBezTo>
                  <a:pt x="60" y="49"/>
                  <a:pt x="61" y="50"/>
                  <a:pt x="60" y="51"/>
                </a:cubicBezTo>
                <a:cubicBezTo>
                  <a:pt x="60" y="52"/>
                  <a:pt x="60" y="51"/>
                  <a:pt x="60" y="51"/>
                </a:cubicBezTo>
                <a:cubicBezTo>
                  <a:pt x="59" y="50"/>
                  <a:pt x="59" y="50"/>
                  <a:pt x="59" y="49"/>
                </a:cubicBezTo>
                <a:cubicBezTo>
                  <a:pt x="58" y="49"/>
                  <a:pt x="58" y="48"/>
                  <a:pt x="58" y="48"/>
                </a:cubicBezTo>
                <a:cubicBezTo>
                  <a:pt x="58" y="47"/>
                  <a:pt x="57" y="47"/>
                  <a:pt x="57" y="46"/>
                </a:cubicBezTo>
                <a:cubicBezTo>
                  <a:pt x="56" y="46"/>
                  <a:pt x="56" y="44"/>
                  <a:pt x="55" y="45"/>
                </a:cubicBezTo>
                <a:cubicBezTo>
                  <a:pt x="55" y="46"/>
                  <a:pt x="54" y="46"/>
                  <a:pt x="53" y="46"/>
                </a:cubicBezTo>
                <a:cubicBezTo>
                  <a:pt x="53" y="46"/>
                  <a:pt x="52" y="47"/>
                  <a:pt x="52" y="47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47"/>
                  <a:pt x="44" y="46"/>
                  <a:pt x="43" y="46"/>
                </a:cubicBezTo>
                <a:cubicBezTo>
                  <a:pt x="42" y="46"/>
                  <a:pt x="42" y="45"/>
                  <a:pt x="41" y="45"/>
                </a:cubicBezTo>
                <a:cubicBezTo>
                  <a:pt x="41" y="45"/>
                  <a:pt x="41" y="45"/>
                  <a:pt x="41" y="45"/>
                </a:cubicBezTo>
                <a:cubicBezTo>
                  <a:pt x="27" y="45"/>
                  <a:pt x="27" y="45"/>
                  <a:pt x="27" y="45"/>
                </a:cubicBezTo>
                <a:cubicBezTo>
                  <a:pt x="27" y="45"/>
                  <a:pt x="26" y="45"/>
                  <a:pt x="26" y="44"/>
                </a:cubicBezTo>
                <a:cubicBezTo>
                  <a:pt x="26" y="44"/>
                  <a:pt x="26" y="44"/>
                  <a:pt x="25" y="44"/>
                </a:cubicBezTo>
                <a:cubicBezTo>
                  <a:pt x="25" y="44"/>
                  <a:pt x="25" y="44"/>
                  <a:pt x="24" y="44"/>
                </a:cubicBezTo>
                <a:cubicBezTo>
                  <a:pt x="24" y="44"/>
                  <a:pt x="24" y="44"/>
                  <a:pt x="24" y="44"/>
                </a:cubicBezTo>
                <a:cubicBezTo>
                  <a:pt x="23" y="43"/>
                  <a:pt x="23" y="43"/>
                  <a:pt x="22" y="43"/>
                </a:cubicBezTo>
                <a:cubicBezTo>
                  <a:pt x="22" y="43"/>
                  <a:pt x="22" y="42"/>
                  <a:pt x="22" y="42"/>
                </a:cubicBezTo>
                <a:cubicBezTo>
                  <a:pt x="22" y="42"/>
                  <a:pt x="22" y="42"/>
                  <a:pt x="21" y="42"/>
                </a:cubicBezTo>
                <a:cubicBezTo>
                  <a:pt x="21" y="42"/>
                  <a:pt x="21" y="41"/>
                  <a:pt x="20" y="41"/>
                </a:cubicBezTo>
                <a:cubicBezTo>
                  <a:pt x="20" y="41"/>
                  <a:pt x="19" y="41"/>
                  <a:pt x="19" y="41"/>
                </a:cubicBezTo>
                <a:cubicBezTo>
                  <a:pt x="18" y="40"/>
                  <a:pt x="17" y="40"/>
                  <a:pt x="17" y="40"/>
                </a:cubicBezTo>
                <a:cubicBezTo>
                  <a:pt x="16" y="40"/>
                  <a:pt x="15" y="39"/>
                  <a:pt x="14" y="39"/>
                </a:cubicBezTo>
                <a:cubicBezTo>
                  <a:pt x="13" y="38"/>
                  <a:pt x="12" y="38"/>
                  <a:pt x="11" y="37"/>
                </a:cubicBezTo>
                <a:cubicBezTo>
                  <a:pt x="10" y="36"/>
                  <a:pt x="9" y="36"/>
                  <a:pt x="7" y="35"/>
                </a:cubicBezTo>
                <a:cubicBezTo>
                  <a:pt x="6" y="35"/>
                  <a:pt x="6" y="34"/>
                  <a:pt x="5" y="34"/>
                </a:cubicBezTo>
                <a:cubicBezTo>
                  <a:pt x="4" y="34"/>
                  <a:pt x="3" y="34"/>
                  <a:pt x="2" y="34"/>
                </a:cubicBezTo>
                <a:cubicBezTo>
                  <a:pt x="2" y="34"/>
                  <a:pt x="2" y="34"/>
                  <a:pt x="1" y="33"/>
                </a:cubicBezTo>
                <a:cubicBezTo>
                  <a:pt x="1" y="33"/>
                  <a:pt x="1" y="33"/>
                  <a:pt x="1" y="33"/>
                </a:cubicBezTo>
                <a:cubicBezTo>
                  <a:pt x="0" y="33"/>
                  <a:pt x="1" y="34"/>
                  <a:pt x="1" y="34"/>
                </a:cubicBezTo>
                <a:cubicBezTo>
                  <a:pt x="1" y="34"/>
                  <a:pt x="1" y="35"/>
                  <a:pt x="1" y="35"/>
                </a:cubicBezTo>
                <a:cubicBezTo>
                  <a:pt x="1" y="36"/>
                  <a:pt x="2" y="36"/>
                  <a:pt x="2" y="37"/>
                </a:cubicBezTo>
                <a:cubicBezTo>
                  <a:pt x="2" y="37"/>
                  <a:pt x="2" y="38"/>
                  <a:pt x="2" y="39"/>
                </a:cubicBezTo>
                <a:cubicBezTo>
                  <a:pt x="2" y="40"/>
                  <a:pt x="2" y="40"/>
                  <a:pt x="2" y="41"/>
                </a:cubicBezTo>
                <a:cubicBezTo>
                  <a:pt x="2" y="41"/>
                  <a:pt x="2" y="42"/>
                  <a:pt x="1" y="42"/>
                </a:cubicBezTo>
                <a:cubicBezTo>
                  <a:pt x="1" y="42"/>
                  <a:pt x="1" y="43"/>
                  <a:pt x="1" y="44"/>
                </a:cubicBezTo>
                <a:cubicBezTo>
                  <a:pt x="1" y="45"/>
                  <a:pt x="1" y="45"/>
                  <a:pt x="2" y="46"/>
                </a:cubicBezTo>
                <a:cubicBezTo>
                  <a:pt x="2" y="47"/>
                  <a:pt x="2" y="48"/>
                  <a:pt x="2" y="49"/>
                </a:cubicBezTo>
                <a:cubicBezTo>
                  <a:pt x="2" y="49"/>
                  <a:pt x="2" y="50"/>
                  <a:pt x="2" y="50"/>
                </a:cubicBezTo>
                <a:cubicBezTo>
                  <a:pt x="2" y="51"/>
                  <a:pt x="2" y="51"/>
                  <a:pt x="2" y="51"/>
                </a:cubicBezTo>
                <a:cubicBezTo>
                  <a:pt x="2" y="52"/>
                  <a:pt x="2" y="53"/>
                  <a:pt x="2" y="54"/>
                </a:cubicBezTo>
                <a:cubicBezTo>
                  <a:pt x="3" y="54"/>
                  <a:pt x="3" y="55"/>
                  <a:pt x="3" y="56"/>
                </a:cubicBezTo>
                <a:cubicBezTo>
                  <a:pt x="3" y="56"/>
                  <a:pt x="3" y="56"/>
                  <a:pt x="3" y="56"/>
                </a:cubicBezTo>
                <a:cubicBezTo>
                  <a:pt x="3" y="57"/>
                  <a:pt x="3" y="58"/>
                  <a:pt x="4" y="58"/>
                </a:cubicBezTo>
                <a:cubicBezTo>
                  <a:pt x="4" y="59"/>
                  <a:pt x="4" y="59"/>
                  <a:pt x="4" y="59"/>
                </a:cubicBezTo>
                <a:cubicBezTo>
                  <a:pt x="5" y="60"/>
                  <a:pt x="5" y="60"/>
                  <a:pt x="5" y="60"/>
                </a:cubicBezTo>
                <a:cubicBezTo>
                  <a:pt x="6" y="61"/>
                  <a:pt x="7" y="61"/>
                  <a:pt x="8" y="62"/>
                </a:cubicBezTo>
                <a:cubicBezTo>
                  <a:pt x="8" y="62"/>
                  <a:pt x="9" y="62"/>
                  <a:pt x="9" y="63"/>
                </a:cubicBezTo>
                <a:cubicBezTo>
                  <a:pt x="9" y="63"/>
                  <a:pt x="9" y="64"/>
                  <a:pt x="10" y="64"/>
                </a:cubicBezTo>
                <a:cubicBezTo>
                  <a:pt x="10" y="64"/>
                  <a:pt x="10" y="64"/>
                  <a:pt x="10" y="65"/>
                </a:cubicBezTo>
                <a:cubicBezTo>
                  <a:pt x="10" y="65"/>
                  <a:pt x="10" y="65"/>
                  <a:pt x="10" y="66"/>
                </a:cubicBezTo>
                <a:cubicBezTo>
                  <a:pt x="11" y="66"/>
                  <a:pt x="11" y="66"/>
                  <a:pt x="11" y="67"/>
                </a:cubicBezTo>
                <a:cubicBezTo>
                  <a:pt x="11" y="67"/>
                  <a:pt x="11" y="67"/>
                  <a:pt x="11" y="68"/>
                </a:cubicBezTo>
                <a:cubicBezTo>
                  <a:pt x="11" y="68"/>
                  <a:pt x="11" y="68"/>
                  <a:pt x="11" y="6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0"/>
                  <a:pt x="12" y="71"/>
                  <a:pt x="12" y="71"/>
                </a:cubicBezTo>
                <a:cubicBezTo>
                  <a:pt x="12" y="72"/>
                  <a:pt x="13" y="73"/>
                  <a:pt x="13" y="74"/>
                </a:cubicBezTo>
                <a:cubicBezTo>
                  <a:pt x="13" y="74"/>
                  <a:pt x="12" y="75"/>
                  <a:pt x="13" y="75"/>
                </a:cubicBezTo>
                <a:cubicBezTo>
                  <a:pt x="13" y="75"/>
                  <a:pt x="13" y="75"/>
                  <a:pt x="13" y="76"/>
                </a:cubicBezTo>
                <a:cubicBezTo>
                  <a:pt x="13" y="76"/>
                  <a:pt x="13" y="76"/>
                  <a:pt x="13" y="76"/>
                </a:cubicBezTo>
                <a:cubicBezTo>
                  <a:pt x="13" y="77"/>
                  <a:pt x="13" y="79"/>
                  <a:pt x="13" y="80"/>
                </a:cubicBezTo>
                <a:cubicBezTo>
                  <a:pt x="13" y="80"/>
                  <a:pt x="13" y="81"/>
                  <a:pt x="14" y="81"/>
                </a:cubicBezTo>
                <a:cubicBezTo>
                  <a:pt x="14" y="81"/>
                  <a:pt x="14" y="82"/>
                  <a:pt x="14" y="82"/>
                </a:cubicBezTo>
                <a:cubicBezTo>
                  <a:pt x="14" y="83"/>
                  <a:pt x="14" y="84"/>
                  <a:pt x="14" y="84"/>
                </a:cubicBezTo>
                <a:cubicBezTo>
                  <a:pt x="15" y="85"/>
                  <a:pt x="15" y="86"/>
                  <a:pt x="16" y="87"/>
                </a:cubicBezTo>
                <a:cubicBezTo>
                  <a:pt x="16" y="87"/>
                  <a:pt x="16" y="88"/>
                  <a:pt x="17" y="89"/>
                </a:cubicBezTo>
                <a:cubicBezTo>
                  <a:pt x="17" y="89"/>
                  <a:pt x="18" y="90"/>
                  <a:pt x="18" y="91"/>
                </a:cubicBezTo>
                <a:cubicBezTo>
                  <a:pt x="18" y="92"/>
                  <a:pt x="18" y="92"/>
                  <a:pt x="18" y="93"/>
                </a:cubicBezTo>
                <a:cubicBezTo>
                  <a:pt x="18" y="93"/>
                  <a:pt x="18" y="93"/>
                  <a:pt x="19" y="93"/>
                </a:cubicBezTo>
                <a:cubicBezTo>
                  <a:pt x="19" y="94"/>
                  <a:pt x="19" y="94"/>
                  <a:pt x="19" y="94"/>
                </a:cubicBezTo>
                <a:cubicBezTo>
                  <a:pt x="19" y="95"/>
                  <a:pt x="18" y="95"/>
                  <a:pt x="19" y="96"/>
                </a:cubicBezTo>
                <a:cubicBezTo>
                  <a:pt x="19" y="96"/>
                  <a:pt x="19" y="96"/>
                  <a:pt x="19" y="97"/>
                </a:cubicBezTo>
                <a:cubicBezTo>
                  <a:pt x="19" y="97"/>
                  <a:pt x="19" y="97"/>
                  <a:pt x="19" y="97"/>
                </a:cubicBezTo>
                <a:cubicBezTo>
                  <a:pt x="19" y="98"/>
                  <a:pt x="19" y="98"/>
                  <a:pt x="19" y="99"/>
                </a:cubicBezTo>
                <a:cubicBezTo>
                  <a:pt x="19" y="100"/>
                  <a:pt x="19" y="100"/>
                  <a:pt x="20" y="101"/>
                </a:cubicBezTo>
                <a:cubicBezTo>
                  <a:pt x="20" y="101"/>
                  <a:pt x="20" y="102"/>
                  <a:pt x="20" y="103"/>
                </a:cubicBezTo>
                <a:cubicBezTo>
                  <a:pt x="20" y="103"/>
                  <a:pt x="21" y="103"/>
                  <a:pt x="21" y="103"/>
                </a:cubicBezTo>
                <a:cubicBezTo>
                  <a:pt x="21" y="103"/>
                  <a:pt x="22" y="102"/>
                  <a:pt x="22" y="102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3" y="103"/>
                  <a:pt x="24" y="103"/>
                  <a:pt x="24" y="103"/>
                </a:cubicBezTo>
                <a:cubicBezTo>
                  <a:pt x="25" y="104"/>
                  <a:pt x="26" y="104"/>
                  <a:pt x="28" y="105"/>
                </a:cubicBezTo>
                <a:cubicBezTo>
                  <a:pt x="28" y="105"/>
                  <a:pt x="29" y="105"/>
                  <a:pt x="29" y="106"/>
                </a:cubicBezTo>
                <a:cubicBezTo>
                  <a:pt x="30" y="106"/>
                  <a:pt x="30" y="106"/>
                  <a:pt x="30" y="106"/>
                </a:cubicBezTo>
                <a:cubicBezTo>
                  <a:pt x="29" y="107"/>
                  <a:pt x="28" y="107"/>
                  <a:pt x="28" y="108"/>
                </a:cubicBezTo>
                <a:cubicBezTo>
                  <a:pt x="27" y="108"/>
                  <a:pt x="27" y="108"/>
                  <a:pt x="27" y="108"/>
                </a:cubicBezTo>
                <a:cubicBezTo>
                  <a:pt x="26" y="109"/>
                  <a:pt x="26" y="109"/>
                  <a:pt x="26" y="109"/>
                </a:cubicBezTo>
                <a:cubicBezTo>
                  <a:pt x="25" y="109"/>
                  <a:pt x="24" y="110"/>
                  <a:pt x="24" y="110"/>
                </a:cubicBezTo>
                <a:cubicBezTo>
                  <a:pt x="23" y="111"/>
                  <a:pt x="22" y="110"/>
                  <a:pt x="22" y="110"/>
                </a:cubicBezTo>
                <a:cubicBezTo>
                  <a:pt x="22" y="110"/>
                  <a:pt x="22" y="109"/>
                  <a:pt x="21" y="109"/>
                </a:cubicBezTo>
                <a:cubicBezTo>
                  <a:pt x="21" y="109"/>
                  <a:pt x="21" y="110"/>
                  <a:pt x="21" y="110"/>
                </a:cubicBezTo>
                <a:cubicBezTo>
                  <a:pt x="21" y="111"/>
                  <a:pt x="22" y="111"/>
                  <a:pt x="22" y="112"/>
                </a:cubicBezTo>
                <a:cubicBezTo>
                  <a:pt x="22" y="113"/>
                  <a:pt x="22" y="113"/>
                  <a:pt x="22" y="114"/>
                </a:cubicBezTo>
                <a:cubicBezTo>
                  <a:pt x="22" y="114"/>
                  <a:pt x="22" y="115"/>
                  <a:pt x="22" y="115"/>
                </a:cubicBezTo>
                <a:cubicBezTo>
                  <a:pt x="22" y="115"/>
                  <a:pt x="23" y="116"/>
                  <a:pt x="23" y="116"/>
                </a:cubicBezTo>
                <a:cubicBezTo>
                  <a:pt x="23" y="117"/>
                  <a:pt x="23" y="117"/>
                  <a:pt x="23" y="117"/>
                </a:cubicBezTo>
                <a:cubicBezTo>
                  <a:pt x="23" y="118"/>
                  <a:pt x="24" y="118"/>
                  <a:pt x="24" y="118"/>
                </a:cubicBezTo>
                <a:cubicBezTo>
                  <a:pt x="25" y="118"/>
                  <a:pt x="25" y="118"/>
                  <a:pt x="25" y="118"/>
                </a:cubicBezTo>
                <a:cubicBezTo>
                  <a:pt x="25" y="119"/>
                  <a:pt x="26" y="119"/>
                  <a:pt x="27" y="118"/>
                </a:cubicBezTo>
                <a:cubicBezTo>
                  <a:pt x="27" y="118"/>
                  <a:pt x="27" y="118"/>
                  <a:pt x="27" y="117"/>
                </a:cubicBezTo>
                <a:cubicBezTo>
                  <a:pt x="28" y="117"/>
                  <a:pt x="29" y="117"/>
                  <a:pt x="30" y="118"/>
                </a:cubicBezTo>
                <a:cubicBezTo>
                  <a:pt x="31" y="118"/>
                  <a:pt x="31" y="118"/>
                  <a:pt x="31" y="119"/>
                </a:cubicBezTo>
                <a:cubicBezTo>
                  <a:pt x="31" y="119"/>
                  <a:pt x="31" y="119"/>
                  <a:pt x="31" y="120"/>
                </a:cubicBezTo>
                <a:cubicBezTo>
                  <a:pt x="30" y="120"/>
                  <a:pt x="30" y="120"/>
                  <a:pt x="29" y="120"/>
                </a:cubicBezTo>
                <a:cubicBezTo>
                  <a:pt x="29" y="120"/>
                  <a:pt x="29" y="120"/>
                  <a:pt x="28" y="121"/>
                </a:cubicBezTo>
                <a:cubicBezTo>
                  <a:pt x="28" y="121"/>
                  <a:pt x="28" y="121"/>
                  <a:pt x="28" y="122"/>
                </a:cubicBezTo>
                <a:cubicBezTo>
                  <a:pt x="28" y="122"/>
                  <a:pt x="27" y="123"/>
                  <a:pt x="27" y="123"/>
                </a:cubicBezTo>
                <a:cubicBezTo>
                  <a:pt x="27" y="124"/>
                  <a:pt x="27" y="124"/>
                  <a:pt x="27" y="124"/>
                </a:cubicBezTo>
                <a:cubicBezTo>
                  <a:pt x="28" y="125"/>
                  <a:pt x="28" y="125"/>
                  <a:pt x="28" y="125"/>
                </a:cubicBezTo>
                <a:cubicBezTo>
                  <a:pt x="29" y="126"/>
                  <a:pt x="29" y="126"/>
                  <a:pt x="29" y="127"/>
                </a:cubicBezTo>
                <a:cubicBezTo>
                  <a:pt x="29" y="127"/>
                  <a:pt x="29" y="127"/>
                  <a:pt x="29" y="128"/>
                </a:cubicBezTo>
                <a:cubicBezTo>
                  <a:pt x="28" y="128"/>
                  <a:pt x="29" y="129"/>
                  <a:pt x="29" y="129"/>
                </a:cubicBezTo>
                <a:cubicBezTo>
                  <a:pt x="28" y="130"/>
                  <a:pt x="28" y="130"/>
                  <a:pt x="28" y="130"/>
                </a:cubicBezTo>
                <a:cubicBezTo>
                  <a:pt x="28" y="131"/>
                  <a:pt x="28" y="131"/>
                  <a:pt x="28" y="132"/>
                </a:cubicBezTo>
                <a:cubicBezTo>
                  <a:pt x="29" y="132"/>
                  <a:pt x="29" y="132"/>
                  <a:pt x="29" y="133"/>
                </a:cubicBezTo>
                <a:cubicBezTo>
                  <a:pt x="29" y="134"/>
                  <a:pt x="28" y="134"/>
                  <a:pt x="28" y="134"/>
                </a:cubicBezTo>
                <a:cubicBezTo>
                  <a:pt x="28" y="135"/>
                  <a:pt x="28" y="135"/>
                  <a:pt x="27" y="136"/>
                </a:cubicBezTo>
                <a:cubicBezTo>
                  <a:pt x="27" y="136"/>
                  <a:pt x="26" y="136"/>
                  <a:pt x="26" y="136"/>
                </a:cubicBezTo>
                <a:cubicBezTo>
                  <a:pt x="26" y="135"/>
                  <a:pt x="26" y="135"/>
                  <a:pt x="26" y="135"/>
                </a:cubicBezTo>
                <a:cubicBezTo>
                  <a:pt x="25" y="134"/>
                  <a:pt x="25" y="134"/>
                  <a:pt x="25" y="133"/>
                </a:cubicBezTo>
                <a:cubicBezTo>
                  <a:pt x="25" y="133"/>
                  <a:pt x="26" y="132"/>
                  <a:pt x="25" y="132"/>
                </a:cubicBezTo>
                <a:cubicBezTo>
                  <a:pt x="25" y="132"/>
                  <a:pt x="25" y="132"/>
                  <a:pt x="25" y="131"/>
                </a:cubicBezTo>
                <a:cubicBezTo>
                  <a:pt x="25" y="131"/>
                  <a:pt x="25" y="131"/>
                  <a:pt x="25" y="130"/>
                </a:cubicBezTo>
                <a:cubicBezTo>
                  <a:pt x="24" y="129"/>
                  <a:pt x="25" y="128"/>
                  <a:pt x="25" y="126"/>
                </a:cubicBezTo>
                <a:cubicBezTo>
                  <a:pt x="25" y="126"/>
                  <a:pt x="25" y="125"/>
                  <a:pt x="25" y="125"/>
                </a:cubicBezTo>
                <a:cubicBezTo>
                  <a:pt x="25" y="125"/>
                  <a:pt x="24" y="124"/>
                  <a:pt x="24" y="124"/>
                </a:cubicBezTo>
                <a:cubicBezTo>
                  <a:pt x="24" y="124"/>
                  <a:pt x="24" y="123"/>
                  <a:pt x="24" y="123"/>
                </a:cubicBezTo>
                <a:cubicBezTo>
                  <a:pt x="24" y="123"/>
                  <a:pt x="24" y="124"/>
                  <a:pt x="23" y="124"/>
                </a:cubicBezTo>
                <a:cubicBezTo>
                  <a:pt x="23" y="125"/>
                  <a:pt x="23" y="127"/>
                  <a:pt x="23" y="128"/>
                </a:cubicBezTo>
                <a:cubicBezTo>
                  <a:pt x="23" y="129"/>
                  <a:pt x="23" y="131"/>
                  <a:pt x="23" y="132"/>
                </a:cubicBezTo>
                <a:cubicBezTo>
                  <a:pt x="23" y="133"/>
                  <a:pt x="23" y="134"/>
                  <a:pt x="24" y="135"/>
                </a:cubicBezTo>
                <a:cubicBezTo>
                  <a:pt x="24" y="136"/>
                  <a:pt x="24" y="137"/>
                  <a:pt x="24" y="138"/>
                </a:cubicBezTo>
                <a:cubicBezTo>
                  <a:pt x="24" y="139"/>
                  <a:pt x="25" y="139"/>
                  <a:pt x="26" y="139"/>
                </a:cubicBezTo>
                <a:cubicBezTo>
                  <a:pt x="27" y="140"/>
                  <a:pt x="27" y="140"/>
                  <a:pt x="28" y="141"/>
                </a:cubicBezTo>
                <a:cubicBezTo>
                  <a:pt x="28" y="141"/>
                  <a:pt x="28" y="142"/>
                  <a:pt x="29" y="142"/>
                </a:cubicBezTo>
                <a:cubicBezTo>
                  <a:pt x="29" y="142"/>
                  <a:pt x="30" y="141"/>
                  <a:pt x="30" y="141"/>
                </a:cubicBezTo>
                <a:cubicBezTo>
                  <a:pt x="31" y="141"/>
                  <a:pt x="31" y="141"/>
                  <a:pt x="32" y="141"/>
                </a:cubicBezTo>
                <a:cubicBezTo>
                  <a:pt x="33" y="141"/>
                  <a:pt x="34" y="140"/>
                  <a:pt x="35" y="139"/>
                </a:cubicBezTo>
                <a:cubicBezTo>
                  <a:pt x="35" y="139"/>
                  <a:pt x="36" y="139"/>
                  <a:pt x="36" y="140"/>
                </a:cubicBezTo>
                <a:cubicBezTo>
                  <a:pt x="36" y="140"/>
                  <a:pt x="36" y="140"/>
                  <a:pt x="37" y="140"/>
                </a:cubicBezTo>
                <a:cubicBezTo>
                  <a:pt x="38" y="141"/>
                  <a:pt x="39" y="140"/>
                  <a:pt x="40" y="140"/>
                </a:cubicBezTo>
                <a:cubicBezTo>
                  <a:pt x="41" y="140"/>
                  <a:pt x="42" y="140"/>
                  <a:pt x="43" y="140"/>
                </a:cubicBezTo>
                <a:cubicBezTo>
                  <a:pt x="44" y="141"/>
                  <a:pt x="45" y="142"/>
                  <a:pt x="45" y="142"/>
                </a:cubicBezTo>
                <a:cubicBezTo>
                  <a:pt x="46" y="143"/>
                  <a:pt x="47" y="144"/>
                  <a:pt x="48" y="145"/>
                </a:cubicBezTo>
                <a:cubicBezTo>
                  <a:pt x="48" y="145"/>
                  <a:pt x="49" y="146"/>
                  <a:pt x="49" y="146"/>
                </a:cubicBezTo>
                <a:cubicBezTo>
                  <a:pt x="50" y="146"/>
                  <a:pt x="50" y="146"/>
                  <a:pt x="50" y="146"/>
                </a:cubicBezTo>
                <a:cubicBezTo>
                  <a:pt x="51" y="146"/>
                  <a:pt x="51" y="146"/>
                  <a:pt x="52" y="146"/>
                </a:cubicBezTo>
                <a:cubicBezTo>
                  <a:pt x="52" y="146"/>
                  <a:pt x="53" y="145"/>
                  <a:pt x="54" y="145"/>
                </a:cubicBezTo>
                <a:cubicBezTo>
                  <a:pt x="54" y="145"/>
                  <a:pt x="55" y="145"/>
                  <a:pt x="55" y="145"/>
                </a:cubicBezTo>
                <a:cubicBezTo>
                  <a:pt x="56" y="145"/>
                  <a:pt x="57" y="145"/>
                  <a:pt x="58" y="146"/>
                </a:cubicBezTo>
                <a:cubicBezTo>
                  <a:pt x="59" y="146"/>
                  <a:pt x="59" y="147"/>
                  <a:pt x="60" y="147"/>
                </a:cubicBezTo>
                <a:cubicBezTo>
                  <a:pt x="60" y="148"/>
                  <a:pt x="61" y="148"/>
                  <a:pt x="61" y="148"/>
                </a:cubicBezTo>
                <a:cubicBezTo>
                  <a:pt x="62" y="149"/>
                  <a:pt x="63" y="149"/>
                  <a:pt x="64" y="150"/>
                </a:cubicBezTo>
                <a:cubicBezTo>
                  <a:pt x="64" y="151"/>
                  <a:pt x="64" y="152"/>
                  <a:pt x="64" y="153"/>
                </a:cubicBezTo>
                <a:cubicBezTo>
                  <a:pt x="65" y="154"/>
                  <a:pt x="65" y="155"/>
                  <a:pt x="66" y="156"/>
                </a:cubicBezTo>
                <a:cubicBezTo>
                  <a:pt x="66" y="156"/>
                  <a:pt x="67" y="157"/>
                  <a:pt x="67" y="157"/>
                </a:cubicBezTo>
                <a:cubicBezTo>
                  <a:pt x="68" y="158"/>
                  <a:pt x="68" y="159"/>
                  <a:pt x="68" y="161"/>
                </a:cubicBezTo>
                <a:cubicBezTo>
                  <a:pt x="68" y="162"/>
                  <a:pt x="68" y="163"/>
                  <a:pt x="68" y="164"/>
                </a:cubicBezTo>
                <a:cubicBezTo>
                  <a:pt x="68" y="165"/>
                  <a:pt x="69" y="166"/>
                  <a:pt x="69" y="167"/>
                </a:cubicBezTo>
                <a:cubicBezTo>
                  <a:pt x="69" y="167"/>
                  <a:pt x="69" y="168"/>
                  <a:pt x="69" y="168"/>
                </a:cubicBezTo>
                <a:cubicBezTo>
                  <a:pt x="69" y="169"/>
                  <a:pt x="69" y="169"/>
                  <a:pt x="69" y="170"/>
                </a:cubicBezTo>
                <a:cubicBezTo>
                  <a:pt x="70" y="171"/>
                  <a:pt x="70" y="171"/>
                  <a:pt x="71" y="172"/>
                </a:cubicBezTo>
                <a:cubicBezTo>
                  <a:pt x="73" y="174"/>
                  <a:pt x="76" y="174"/>
                  <a:pt x="78" y="175"/>
                </a:cubicBezTo>
                <a:cubicBezTo>
                  <a:pt x="79" y="175"/>
                  <a:pt x="80" y="175"/>
                  <a:pt x="81" y="175"/>
                </a:cubicBezTo>
                <a:cubicBezTo>
                  <a:pt x="82" y="175"/>
                  <a:pt x="82" y="175"/>
                  <a:pt x="83" y="176"/>
                </a:cubicBezTo>
                <a:cubicBezTo>
                  <a:pt x="83" y="176"/>
                  <a:pt x="84" y="176"/>
                  <a:pt x="84" y="176"/>
                </a:cubicBezTo>
                <a:cubicBezTo>
                  <a:pt x="87" y="176"/>
                  <a:pt x="87" y="176"/>
                  <a:pt x="87" y="176"/>
                </a:cubicBezTo>
                <a:cubicBezTo>
                  <a:pt x="88" y="176"/>
                  <a:pt x="89" y="175"/>
                  <a:pt x="90" y="175"/>
                </a:cubicBezTo>
                <a:cubicBezTo>
                  <a:pt x="92" y="174"/>
                  <a:pt x="94" y="173"/>
                  <a:pt x="95" y="172"/>
                </a:cubicBezTo>
                <a:cubicBezTo>
                  <a:pt x="96" y="171"/>
                  <a:pt x="97" y="171"/>
                  <a:pt x="98" y="170"/>
                </a:cubicBezTo>
                <a:cubicBezTo>
                  <a:pt x="99" y="170"/>
                  <a:pt x="100" y="169"/>
                  <a:pt x="101" y="169"/>
                </a:cubicBezTo>
                <a:cubicBezTo>
                  <a:pt x="101" y="169"/>
                  <a:pt x="102" y="169"/>
                  <a:pt x="102" y="169"/>
                </a:cubicBezTo>
                <a:cubicBezTo>
                  <a:pt x="104" y="169"/>
                  <a:pt x="106" y="170"/>
                  <a:pt x="107" y="169"/>
                </a:cubicBezTo>
                <a:cubicBezTo>
                  <a:pt x="107" y="169"/>
                  <a:pt x="108" y="169"/>
                  <a:pt x="108" y="168"/>
                </a:cubicBezTo>
                <a:cubicBezTo>
                  <a:pt x="108" y="168"/>
                  <a:pt x="109" y="168"/>
                  <a:pt x="109" y="168"/>
                </a:cubicBezTo>
                <a:cubicBezTo>
                  <a:pt x="110" y="168"/>
                  <a:pt x="111" y="168"/>
                  <a:pt x="112" y="168"/>
                </a:cubicBezTo>
                <a:cubicBezTo>
                  <a:pt x="113" y="169"/>
                  <a:pt x="113" y="169"/>
                  <a:pt x="113" y="169"/>
                </a:cubicBezTo>
                <a:cubicBezTo>
                  <a:pt x="114" y="169"/>
                  <a:pt x="114" y="169"/>
                  <a:pt x="115" y="169"/>
                </a:cubicBezTo>
                <a:cubicBezTo>
                  <a:pt x="115" y="169"/>
                  <a:pt x="116" y="169"/>
                  <a:pt x="116" y="169"/>
                </a:cubicBezTo>
                <a:cubicBezTo>
                  <a:pt x="116" y="169"/>
                  <a:pt x="117" y="169"/>
                  <a:pt x="117" y="169"/>
                </a:cubicBezTo>
                <a:cubicBezTo>
                  <a:pt x="118" y="169"/>
                  <a:pt x="118" y="169"/>
                  <a:pt x="119" y="170"/>
                </a:cubicBezTo>
                <a:cubicBezTo>
                  <a:pt x="120" y="170"/>
                  <a:pt x="120" y="170"/>
                  <a:pt x="121" y="170"/>
                </a:cubicBezTo>
                <a:cubicBezTo>
                  <a:pt x="121" y="171"/>
                  <a:pt x="121" y="171"/>
                  <a:pt x="121" y="171"/>
                </a:cubicBezTo>
                <a:cubicBezTo>
                  <a:pt x="122" y="172"/>
                  <a:pt x="121" y="173"/>
                  <a:pt x="122" y="173"/>
                </a:cubicBezTo>
                <a:cubicBezTo>
                  <a:pt x="123" y="174"/>
                  <a:pt x="124" y="174"/>
                  <a:pt x="124" y="173"/>
                </a:cubicBezTo>
                <a:cubicBezTo>
                  <a:pt x="125" y="173"/>
                  <a:pt x="125" y="172"/>
                  <a:pt x="126" y="172"/>
                </a:cubicBezTo>
                <a:cubicBezTo>
                  <a:pt x="126" y="171"/>
                  <a:pt x="127" y="171"/>
                  <a:pt x="128" y="171"/>
                </a:cubicBezTo>
                <a:cubicBezTo>
                  <a:pt x="128" y="171"/>
                  <a:pt x="129" y="171"/>
                  <a:pt x="130" y="171"/>
                </a:cubicBezTo>
                <a:cubicBezTo>
                  <a:pt x="131" y="171"/>
                  <a:pt x="132" y="172"/>
                  <a:pt x="133" y="172"/>
                </a:cubicBezTo>
                <a:cubicBezTo>
                  <a:pt x="134" y="171"/>
                  <a:pt x="135" y="171"/>
                  <a:pt x="136" y="170"/>
                </a:cubicBezTo>
                <a:cubicBezTo>
                  <a:pt x="137" y="169"/>
                  <a:pt x="138" y="169"/>
                  <a:pt x="139" y="168"/>
                </a:cubicBezTo>
                <a:cubicBezTo>
                  <a:pt x="139" y="168"/>
                  <a:pt x="140" y="168"/>
                  <a:pt x="141" y="167"/>
                </a:cubicBezTo>
                <a:cubicBezTo>
                  <a:pt x="141" y="167"/>
                  <a:pt x="142" y="167"/>
                  <a:pt x="143" y="167"/>
                </a:cubicBezTo>
                <a:cubicBezTo>
                  <a:pt x="143" y="167"/>
                  <a:pt x="144" y="167"/>
                  <a:pt x="144" y="168"/>
                </a:cubicBezTo>
                <a:cubicBezTo>
                  <a:pt x="145" y="168"/>
                  <a:pt x="145" y="168"/>
                  <a:pt x="146" y="169"/>
                </a:cubicBezTo>
                <a:cubicBezTo>
                  <a:pt x="147" y="169"/>
                  <a:pt x="149" y="169"/>
                  <a:pt x="150" y="169"/>
                </a:cubicBezTo>
                <a:cubicBezTo>
                  <a:pt x="151" y="169"/>
                  <a:pt x="153" y="169"/>
                  <a:pt x="154" y="168"/>
                </a:cubicBezTo>
                <a:cubicBezTo>
                  <a:pt x="155" y="168"/>
                  <a:pt x="156" y="168"/>
                  <a:pt x="157" y="167"/>
                </a:cubicBezTo>
                <a:cubicBezTo>
                  <a:pt x="159" y="166"/>
                  <a:pt x="161" y="164"/>
                  <a:pt x="163" y="164"/>
                </a:cubicBezTo>
                <a:cubicBezTo>
                  <a:pt x="164" y="163"/>
                  <a:pt x="165" y="163"/>
                  <a:pt x="166" y="163"/>
                </a:cubicBezTo>
                <a:cubicBezTo>
                  <a:pt x="167" y="163"/>
                  <a:pt x="167" y="163"/>
                  <a:pt x="168" y="162"/>
                </a:cubicBezTo>
                <a:cubicBezTo>
                  <a:pt x="168" y="162"/>
                  <a:pt x="168" y="162"/>
                  <a:pt x="169" y="162"/>
                </a:cubicBezTo>
                <a:cubicBezTo>
                  <a:pt x="169" y="162"/>
                  <a:pt x="170" y="162"/>
                  <a:pt x="171" y="162"/>
                </a:cubicBezTo>
                <a:cubicBezTo>
                  <a:pt x="171" y="162"/>
                  <a:pt x="172" y="162"/>
                  <a:pt x="172" y="162"/>
                </a:cubicBezTo>
                <a:cubicBezTo>
                  <a:pt x="173" y="161"/>
                  <a:pt x="174" y="161"/>
                  <a:pt x="175" y="160"/>
                </a:cubicBezTo>
                <a:cubicBezTo>
                  <a:pt x="175" y="160"/>
                  <a:pt x="175" y="160"/>
                  <a:pt x="176" y="159"/>
                </a:cubicBezTo>
                <a:cubicBezTo>
                  <a:pt x="176" y="159"/>
                  <a:pt x="176" y="159"/>
                  <a:pt x="177" y="158"/>
                </a:cubicBezTo>
                <a:cubicBezTo>
                  <a:pt x="177" y="158"/>
                  <a:pt x="178" y="158"/>
                  <a:pt x="179" y="158"/>
                </a:cubicBezTo>
                <a:cubicBezTo>
                  <a:pt x="180" y="158"/>
                  <a:pt x="181" y="158"/>
                  <a:pt x="181" y="158"/>
                </a:cubicBezTo>
                <a:cubicBezTo>
                  <a:pt x="182" y="159"/>
                  <a:pt x="182" y="158"/>
                  <a:pt x="183" y="158"/>
                </a:cubicBezTo>
                <a:cubicBezTo>
                  <a:pt x="183" y="158"/>
                  <a:pt x="184" y="158"/>
                  <a:pt x="185" y="158"/>
                </a:cubicBezTo>
                <a:cubicBezTo>
                  <a:pt x="185" y="158"/>
                  <a:pt x="185" y="158"/>
                  <a:pt x="186" y="157"/>
                </a:cubicBezTo>
                <a:cubicBezTo>
                  <a:pt x="186" y="157"/>
                  <a:pt x="187" y="157"/>
                  <a:pt x="187" y="157"/>
                </a:cubicBezTo>
                <a:cubicBezTo>
                  <a:pt x="187" y="157"/>
                  <a:pt x="188" y="157"/>
                  <a:pt x="188" y="157"/>
                </a:cubicBezTo>
                <a:cubicBezTo>
                  <a:pt x="189" y="157"/>
                  <a:pt x="191" y="157"/>
                  <a:pt x="192" y="157"/>
                </a:cubicBezTo>
                <a:cubicBezTo>
                  <a:pt x="193" y="157"/>
                  <a:pt x="193" y="157"/>
                  <a:pt x="194" y="157"/>
                </a:cubicBezTo>
                <a:cubicBezTo>
                  <a:pt x="195" y="156"/>
                  <a:pt x="195" y="156"/>
                  <a:pt x="196" y="155"/>
                </a:cubicBezTo>
                <a:cubicBezTo>
                  <a:pt x="196" y="155"/>
                  <a:pt x="197" y="155"/>
                  <a:pt x="197" y="154"/>
                </a:cubicBezTo>
                <a:cubicBezTo>
                  <a:pt x="198" y="154"/>
                  <a:pt x="198" y="154"/>
                  <a:pt x="199" y="154"/>
                </a:cubicBezTo>
                <a:cubicBezTo>
                  <a:pt x="270" y="154"/>
                  <a:pt x="270" y="154"/>
                  <a:pt x="270" y="154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150"/>
                  <a:pt x="269" y="147"/>
                  <a:pt x="269" y="147"/>
                </a:cubicBezTo>
                <a:close/>
              </a:path>
            </a:pathLst>
          </a:custGeom>
          <a:solidFill>
            <a:srgbClr val="7030A0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Freeform 12">
            <a:extLst>
              <a:ext uri="{FF2B5EF4-FFF2-40B4-BE49-F238E27FC236}">
                <a16:creationId xmlns:a16="http://schemas.microsoft.com/office/drawing/2014/main" id="{6A234852-6C39-4039-9DE3-DBB363B31AEF}"/>
              </a:ext>
            </a:extLst>
          </p:cNvPr>
          <p:cNvSpPr>
            <a:spLocks noEditPoints="1"/>
          </p:cNvSpPr>
          <p:nvPr/>
        </p:nvSpPr>
        <p:spPr bwMode="auto">
          <a:xfrm>
            <a:off x="9614367" y="3086994"/>
            <a:ext cx="1151586" cy="510531"/>
          </a:xfrm>
          <a:custGeom>
            <a:avLst/>
            <a:gdLst>
              <a:gd name="T0" fmla="*/ 270 w 291"/>
              <a:gd name="T1" fmla="*/ 129 h 129"/>
              <a:gd name="T2" fmla="*/ 290 w 291"/>
              <a:gd name="T3" fmla="*/ 67 h 129"/>
              <a:gd name="T4" fmla="*/ 288 w 291"/>
              <a:gd name="T5" fmla="*/ 67 h 129"/>
              <a:gd name="T6" fmla="*/ 278 w 291"/>
              <a:gd name="T7" fmla="*/ 65 h 129"/>
              <a:gd name="T8" fmla="*/ 283 w 291"/>
              <a:gd name="T9" fmla="*/ 72 h 129"/>
              <a:gd name="T10" fmla="*/ 276 w 291"/>
              <a:gd name="T11" fmla="*/ 83 h 129"/>
              <a:gd name="T12" fmla="*/ 270 w 291"/>
              <a:gd name="T13" fmla="*/ 93 h 129"/>
              <a:gd name="T14" fmla="*/ 267 w 291"/>
              <a:gd name="T15" fmla="*/ 101 h 129"/>
              <a:gd name="T16" fmla="*/ 264 w 291"/>
              <a:gd name="T17" fmla="*/ 97 h 129"/>
              <a:gd name="T18" fmla="*/ 266 w 291"/>
              <a:gd name="T19" fmla="*/ 88 h 129"/>
              <a:gd name="T20" fmla="*/ 274 w 291"/>
              <a:gd name="T21" fmla="*/ 73 h 129"/>
              <a:gd name="T22" fmla="*/ 278 w 291"/>
              <a:gd name="T23" fmla="*/ 65 h 129"/>
              <a:gd name="T24" fmla="*/ 69 w 291"/>
              <a:gd name="T25" fmla="*/ 126 h 129"/>
              <a:gd name="T26" fmla="*/ 18 w 291"/>
              <a:gd name="T27" fmla="*/ 120 h 129"/>
              <a:gd name="T28" fmla="*/ 28 w 291"/>
              <a:gd name="T29" fmla="*/ 110 h 129"/>
              <a:gd name="T30" fmla="*/ 46 w 291"/>
              <a:gd name="T31" fmla="*/ 97 h 129"/>
              <a:gd name="T32" fmla="*/ 59 w 291"/>
              <a:gd name="T33" fmla="*/ 90 h 129"/>
              <a:gd name="T34" fmla="*/ 68 w 291"/>
              <a:gd name="T35" fmla="*/ 100 h 129"/>
              <a:gd name="T36" fmla="*/ 96 w 291"/>
              <a:gd name="T37" fmla="*/ 96 h 129"/>
              <a:gd name="T38" fmla="*/ 105 w 291"/>
              <a:gd name="T39" fmla="*/ 90 h 129"/>
              <a:gd name="T40" fmla="*/ 118 w 291"/>
              <a:gd name="T41" fmla="*/ 83 h 129"/>
              <a:gd name="T42" fmla="*/ 123 w 291"/>
              <a:gd name="T43" fmla="*/ 69 h 129"/>
              <a:gd name="T44" fmla="*/ 130 w 291"/>
              <a:gd name="T45" fmla="*/ 56 h 129"/>
              <a:gd name="T46" fmla="*/ 138 w 291"/>
              <a:gd name="T47" fmla="*/ 43 h 129"/>
              <a:gd name="T48" fmla="*/ 156 w 291"/>
              <a:gd name="T49" fmla="*/ 37 h 129"/>
              <a:gd name="T50" fmla="*/ 168 w 291"/>
              <a:gd name="T51" fmla="*/ 27 h 129"/>
              <a:gd name="T52" fmla="*/ 176 w 291"/>
              <a:gd name="T53" fmla="*/ 20 h 129"/>
              <a:gd name="T54" fmla="*/ 183 w 291"/>
              <a:gd name="T55" fmla="*/ 5 h 129"/>
              <a:gd name="T56" fmla="*/ 212 w 291"/>
              <a:gd name="T57" fmla="*/ 14 h 129"/>
              <a:gd name="T58" fmla="*/ 224 w 291"/>
              <a:gd name="T59" fmla="*/ 22 h 129"/>
              <a:gd name="T60" fmla="*/ 229 w 291"/>
              <a:gd name="T61" fmla="*/ 28 h 129"/>
              <a:gd name="T62" fmla="*/ 226 w 291"/>
              <a:gd name="T63" fmla="*/ 37 h 129"/>
              <a:gd name="T64" fmla="*/ 221 w 291"/>
              <a:gd name="T65" fmla="*/ 42 h 129"/>
              <a:gd name="T66" fmla="*/ 228 w 291"/>
              <a:gd name="T67" fmla="*/ 50 h 129"/>
              <a:gd name="T68" fmla="*/ 239 w 291"/>
              <a:gd name="T69" fmla="*/ 60 h 129"/>
              <a:gd name="T70" fmla="*/ 250 w 291"/>
              <a:gd name="T71" fmla="*/ 67 h 129"/>
              <a:gd name="T72" fmla="*/ 254 w 291"/>
              <a:gd name="T73" fmla="*/ 73 h 129"/>
              <a:gd name="T74" fmla="*/ 252 w 291"/>
              <a:gd name="T75" fmla="*/ 72 h 129"/>
              <a:gd name="T76" fmla="*/ 253 w 291"/>
              <a:gd name="T77" fmla="*/ 81 h 129"/>
              <a:gd name="T78" fmla="*/ 246 w 291"/>
              <a:gd name="T79" fmla="*/ 79 h 129"/>
              <a:gd name="T80" fmla="*/ 237 w 291"/>
              <a:gd name="T81" fmla="*/ 69 h 129"/>
              <a:gd name="T82" fmla="*/ 239 w 291"/>
              <a:gd name="T83" fmla="*/ 73 h 129"/>
              <a:gd name="T84" fmla="*/ 245 w 291"/>
              <a:gd name="T85" fmla="*/ 81 h 129"/>
              <a:gd name="T86" fmla="*/ 252 w 291"/>
              <a:gd name="T87" fmla="*/ 86 h 129"/>
              <a:gd name="T88" fmla="*/ 255 w 291"/>
              <a:gd name="T89" fmla="*/ 90 h 129"/>
              <a:gd name="T90" fmla="*/ 254 w 291"/>
              <a:gd name="T91" fmla="*/ 95 h 129"/>
              <a:gd name="T92" fmla="*/ 249 w 291"/>
              <a:gd name="T93" fmla="*/ 92 h 129"/>
              <a:gd name="T94" fmla="*/ 251 w 291"/>
              <a:gd name="T95" fmla="*/ 100 h 129"/>
              <a:gd name="T96" fmla="*/ 254 w 291"/>
              <a:gd name="T97" fmla="*/ 109 h 129"/>
              <a:gd name="T98" fmla="*/ 248 w 291"/>
              <a:gd name="T99" fmla="*/ 109 h 129"/>
              <a:gd name="T100" fmla="*/ 241 w 291"/>
              <a:gd name="T101" fmla="*/ 100 h 129"/>
              <a:gd name="T102" fmla="*/ 232 w 291"/>
              <a:gd name="T103" fmla="*/ 99 h 129"/>
              <a:gd name="T104" fmla="*/ 236 w 291"/>
              <a:gd name="T105" fmla="*/ 100 h 129"/>
              <a:gd name="T106" fmla="*/ 245 w 291"/>
              <a:gd name="T107" fmla="*/ 110 h 129"/>
              <a:gd name="T108" fmla="*/ 247 w 291"/>
              <a:gd name="T109" fmla="*/ 116 h 129"/>
              <a:gd name="T110" fmla="*/ 253 w 291"/>
              <a:gd name="T111" fmla="*/ 117 h 129"/>
              <a:gd name="T112" fmla="*/ 259 w 291"/>
              <a:gd name="T113" fmla="*/ 113 h 129"/>
              <a:gd name="T114" fmla="*/ 265 w 291"/>
              <a:gd name="T115" fmla="*/ 115 h 129"/>
              <a:gd name="T116" fmla="*/ 267 w 291"/>
              <a:gd name="T117" fmla="*/ 122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91" h="129">
                <a:moveTo>
                  <a:pt x="270" y="129"/>
                </a:moveTo>
                <a:cubicBezTo>
                  <a:pt x="268" y="129"/>
                  <a:pt x="268" y="129"/>
                  <a:pt x="268" y="129"/>
                </a:cubicBezTo>
                <a:cubicBezTo>
                  <a:pt x="268" y="128"/>
                  <a:pt x="268" y="128"/>
                  <a:pt x="268" y="128"/>
                </a:cubicBezTo>
                <a:cubicBezTo>
                  <a:pt x="268" y="127"/>
                  <a:pt x="268" y="127"/>
                  <a:pt x="268" y="127"/>
                </a:cubicBezTo>
                <a:cubicBezTo>
                  <a:pt x="269" y="126"/>
                  <a:pt x="270" y="128"/>
                  <a:pt x="270" y="128"/>
                </a:cubicBezTo>
                <a:cubicBezTo>
                  <a:pt x="270" y="128"/>
                  <a:pt x="270" y="128"/>
                  <a:pt x="270" y="129"/>
                </a:cubicBezTo>
                <a:close/>
                <a:moveTo>
                  <a:pt x="287" y="71"/>
                </a:moveTo>
                <a:cubicBezTo>
                  <a:pt x="288" y="70"/>
                  <a:pt x="288" y="70"/>
                  <a:pt x="288" y="70"/>
                </a:cubicBezTo>
                <a:cubicBezTo>
                  <a:pt x="288" y="70"/>
                  <a:pt x="288" y="69"/>
                  <a:pt x="288" y="69"/>
                </a:cubicBezTo>
                <a:cubicBezTo>
                  <a:pt x="289" y="69"/>
                  <a:pt x="289" y="68"/>
                  <a:pt x="289" y="68"/>
                </a:cubicBezTo>
                <a:cubicBezTo>
                  <a:pt x="289" y="68"/>
                  <a:pt x="289" y="68"/>
                  <a:pt x="289" y="67"/>
                </a:cubicBezTo>
                <a:cubicBezTo>
                  <a:pt x="289" y="67"/>
                  <a:pt x="290" y="67"/>
                  <a:pt x="290" y="67"/>
                </a:cubicBezTo>
                <a:cubicBezTo>
                  <a:pt x="290" y="67"/>
                  <a:pt x="290" y="66"/>
                  <a:pt x="290" y="66"/>
                </a:cubicBezTo>
                <a:cubicBezTo>
                  <a:pt x="290" y="66"/>
                  <a:pt x="290" y="66"/>
                  <a:pt x="290" y="66"/>
                </a:cubicBezTo>
                <a:cubicBezTo>
                  <a:pt x="291" y="65"/>
                  <a:pt x="291" y="65"/>
                  <a:pt x="291" y="65"/>
                </a:cubicBezTo>
                <a:cubicBezTo>
                  <a:pt x="291" y="65"/>
                  <a:pt x="290" y="65"/>
                  <a:pt x="290" y="65"/>
                </a:cubicBezTo>
                <a:cubicBezTo>
                  <a:pt x="290" y="65"/>
                  <a:pt x="290" y="66"/>
                  <a:pt x="289" y="66"/>
                </a:cubicBezTo>
                <a:cubicBezTo>
                  <a:pt x="289" y="66"/>
                  <a:pt x="289" y="67"/>
                  <a:pt x="288" y="67"/>
                </a:cubicBezTo>
                <a:cubicBezTo>
                  <a:pt x="288" y="67"/>
                  <a:pt x="287" y="68"/>
                  <a:pt x="287" y="68"/>
                </a:cubicBezTo>
                <a:cubicBezTo>
                  <a:pt x="287" y="68"/>
                  <a:pt x="287" y="69"/>
                  <a:pt x="287" y="69"/>
                </a:cubicBezTo>
                <a:cubicBezTo>
                  <a:pt x="287" y="69"/>
                  <a:pt x="287" y="69"/>
                  <a:pt x="287" y="69"/>
                </a:cubicBezTo>
                <a:cubicBezTo>
                  <a:pt x="287" y="70"/>
                  <a:pt x="287" y="70"/>
                  <a:pt x="287" y="70"/>
                </a:cubicBezTo>
                <a:cubicBezTo>
                  <a:pt x="287" y="70"/>
                  <a:pt x="287" y="71"/>
                  <a:pt x="287" y="71"/>
                </a:cubicBezTo>
                <a:close/>
                <a:moveTo>
                  <a:pt x="278" y="65"/>
                </a:moveTo>
                <a:cubicBezTo>
                  <a:pt x="285" y="65"/>
                  <a:pt x="285" y="65"/>
                  <a:pt x="285" y="65"/>
                </a:cubicBezTo>
                <a:cubicBezTo>
                  <a:pt x="285" y="65"/>
                  <a:pt x="285" y="65"/>
                  <a:pt x="285" y="65"/>
                </a:cubicBezTo>
                <a:cubicBezTo>
                  <a:pt x="285" y="66"/>
                  <a:pt x="284" y="67"/>
                  <a:pt x="284" y="68"/>
                </a:cubicBezTo>
                <a:cubicBezTo>
                  <a:pt x="284" y="68"/>
                  <a:pt x="284" y="69"/>
                  <a:pt x="284" y="69"/>
                </a:cubicBezTo>
                <a:cubicBezTo>
                  <a:pt x="284" y="69"/>
                  <a:pt x="284" y="70"/>
                  <a:pt x="284" y="70"/>
                </a:cubicBezTo>
                <a:cubicBezTo>
                  <a:pt x="283" y="71"/>
                  <a:pt x="283" y="71"/>
                  <a:pt x="283" y="72"/>
                </a:cubicBezTo>
                <a:cubicBezTo>
                  <a:pt x="283" y="72"/>
                  <a:pt x="283" y="72"/>
                  <a:pt x="282" y="72"/>
                </a:cubicBezTo>
                <a:cubicBezTo>
                  <a:pt x="282" y="73"/>
                  <a:pt x="282" y="73"/>
                  <a:pt x="282" y="73"/>
                </a:cubicBezTo>
                <a:cubicBezTo>
                  <a:pt x="282" y="74"/>
                  <a:pt x="281" y="74"/>
                  <a:pt x="281" y="75"/>
                </a:cubicBezTo>
                <a:cubicBezTo>
                  <a:pt x="281" y="75"/>
                  <a:pt x="281" y="76"/>
                  <a:pt x="280" y="76"/>
                </a:cubicBezTo>
                <a:cubicBezTo>
                  <a:pt x="279" y="78"/>
                  <a:pt x="278" y="79"/>
                  <a:pt x="277" y="81"/>
                </a:cubicBezTo>
                <a:cubicBezTo>
                  <a:pt x="277" y="82"/>
                  <a:pt x="276" y="82"/>
                  <a:pt x="276" y="83"/>
                </a:cubicBezTo>
                <a:cubicBezTo>
                  <a:pt x="276" y="85"/>
                  <a:pt x="276" y="86"/>
                  <a:pt x="276" y="87"/>
                </a:cubicBezTo>
                <a:cubicBezTo>
                  <a:pt x="276" y="88"/>
                  <a:pt x="276" y="89"/>
                  <a:pt x="274" y="89"/>
                </a:cubicBezTo>
                <a:cubicBezTo>
                  <a:pt x="274" y="89"/>
                  <a:pt x="274" y="89"/>
                  <a:pt x="273" y="89"/>
                </a:cubicBezTo>
                <a:cubicBezTo>
                  <a:pt x="273" y="89"/>
                  <a:pt x="272" y="89"/>
                  <a:pt x="272" y="90"/>
                </a:cubicBezTo>
                <a:cubicBezTo>
                  <a:pt x="271" y="90"/>
                  <a:pt x="271" y="91"/>
                  <a:pt x="271" y="92"/>
                </a:cubicBezTo>
                <a:cubicBezTo>
                  <a:pt x="271" y="92"/>
                  <a:pt x="271" y="92"/>
                  <a:pt x="270" y="93"/>
                </a:cubicBezTo>
                <a:cubicBezTo>
                  <a:pt x="269" y="93"/>
                  <a:pt x="269" y="94"/>
                  <a:pt x="269" y="94"/>
                </a:cubicBezTo>
                <a:cubicBezTo>
                  <a:pt x="268" y="94"/>
                  <a:pt x="268" y="95"/>
                  <a:pt x="268" y="95"/>
                </a:cubicBezTo>
                <a:cubicBezTo>
                  <a:pt x="268" y="96"/>
                  <a:pt x="268" y="96"/>
                  <a:pt x="268" y="96"/>
                </a:cubicBezTo>
                <a:cubicBezTo>
                  <a:pt x="267" y="97"/>
                  <a:pt x="267" y="97"/>
                  <a:pt x="268" y="98"/>
                </a:cubicBezTo>
                <a:cubicBezTo>
                  <a:pt x="268" y="98"/>
                  <a:pt x="268" y="99"/>
                  <a:pt x="268" y="99"/>
                </a:cubicBezTo>
                <a:cubicBezTo>
                  <a:pt x="268" y="100"/>
                  <a:pt x="268" y="101"/>
                  <a:pt x="267" y="101"/>
                </a:cubicBezTo>
                <a:cubicBezTo>
                  <a:pt x="267" y="102"/>
                  <a:pt x="267" y="103"/>
                  <a:pt x="266" y="103"/>
                </a:cubicBezTo>
                <a:cubicBezTo>
                  <a:pt x="266" y="103"/>
                  <a:pt x="266" y="102"/>
                  <a:pt x="266" y="102"/>
                </a:cubicBezTo>
                <a:cubicBezTo>
                  <a:pt x="266" y="101"/>
                  <a:pt x="266" y="101"/>
                  <a:pt x="265" y="101"/>
                </a:cubicBezTo>
                <a:cubicBezTo>
                  <a:pt x="265" y="101"/>
                  <a:pt x="265" y="100"/>
                  <a:pt x="265" y="100"/>
                </a:cubicBezTo>
                <a:cubicBezTo>
                  <a:pt x="264" y="100"/>
                  <a:pt x="264" y="99"/>
                  <a:pt x="264" y="98"/>
                </a:cubicBezTo>
                <a:cubicBezTo>
                  <a:pt x="264" y="98"/>
                  <a:pt x="264" y="97"/>
                  <a:pt x="264" y="97"/>
                </a:cubicBezTo>
                <a:cubicBezTo>
                  <a:pt x="264" y="97"/>
                  <a:pt x="264" y="96"/>
                  <a:pt x="264" y="96"/>
                </a:cubicBezTo>
                <a:cubicBezTo>
                  <a:pt x="264" y="95"/>
                  <a:pt x="265" y="95"/>
                  <a:pt x="265" y="94"/>
                </a:cubicBezTo>
                <a:cubicBezTo>
                  <a:pt x="265" y="93"/>
                  <a:pt x="265" y="93"/>
                  <a:pt x="266" y="92"/>
                </a:cubicBezTo>
                <a:cubicBezTo>
                  <a:pt x="266" y="92"/>
                  <a:pt x="266" y="91"/>
                  <a:pt x="266" y="91"/>
                </a:cubicBezTo>
                <a:cubicBezTo>
                  <a:pt x="266" y="90"/>
                  <a:pt x="266" y="90"/>
                  <a:pt x="266" y="89"/>
                </a:cubicBezTo>
                <a:cubicBezTo>
                  <a:pt x="266" y="89"/>
                  <a:pt x="266" y="89"/>
                  <a:pt x="266" y="88"/>
                </a:cubicBezTo>
                <a:cubicBezTo>
                  <a:pt x="267" y="87"/>
                  <a:pt x="267" y="86"/>
                  <a:pt x="267" y="86"/>
                </a:cubicBezTo>
                <a:cubicBezTo>
                  <a:pt x="267" y="85"/>
                  <a:pt x="268" y="83"/>
                  <a:pt x="268" y="82"/>
                </a:cubicBezTo>
                <a:cubicBezTo>
                  <a:pt x="269" y="82"/>
                  <a:pt x="269" y="81"/>
                  <a:pt x="269" y="81"/>
                </a:cubicBezTo>
                <a:cubicBezTo>
                  <a:pt x="269" y="80"/>
                  <a:pt x="270" y="80"/>
                  <a:pt x="270" y="79"/>
                </a:cubicBezTo>
                <a:cubicBezTo>
                  <a:pt x="271" y="78"/>
                  <a:pt x="272" y="77"/>
                  <a:pt x="272" y="76"/>
                </a:cubicBezTo>
                <a:cubicBezTo>
                  <a:pt x="273" y="75"/>
                  <a:pt x="274" y="74"/>
                  <a:pt x="274" y="73"/>
                </a:cubicBezTo>
                <a:cubicBezTo>
                  <a:pt x="275" y="73"/>
                  <a:pt x="276" y="72"/>
                  <a:pt x="276" y="71"/>
                </a:cubicBezTo>
                <a:cubicBezTo>
                  <a:pt x="276" y="70"/>
                  <a:pt x="274" y="71"/>
                  <a:pt x="274" y="70"/>
                </a:cubicBezTo>
                <a:cubicBezTo>
                  <a:pt x="274" y="69"/>
                  <a:pt x="276" y="69"/>
                  <a:pt x="276" y="69"/>
                </a:cubicBezTo>
                <a:cubicBezTo>
                  <a:pt x="276" y="68"/>
                  <a:pt x="276" y="68"/>
                  <a:pt x="276" y="68"/>
                </a:cubicBezTo>
                <a:cubicBezTo>
                  <a:pt x="276" y="68"/>
                  <a:pt x="276" y="68"/>
                  <a:pt x="276" y="68"/>
                </a:cubicBezTo>
                <a:lnTo>
                  <a:pt x="278" y="65"/>
                </a:lnTo>
                <a:close/>
                <a:moveTo>
                  <a:pt x="266" y="128"/>
                </a:moveTo>
                <a:cubicBezTo>
                  <a:pt x="266" y="129"/>
                  <a:pt x="266" y="129"/>
                  <a:pt x="267" y="129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69" y="127"/>
                  <a:pt x="69" y="127"/>
                  <a:pt x="69" y="127"/>
                </a:cubicBezTo>
                <a:cubicBezTo>
                  <a:pt x="69" y="126"/>
                  <a:pt x="69" y="126"/>
                  <a:pt x="69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0" y="126"/>
                  <a:pt x="0" y="126"/>
                  <a:pt x="0" y="126"/>
                </a:cubicBezTo>
                <a:cubicBezTo>
                  <a:pt x="6" y="123"/>
                  <a:pt x="6" y="123"/>
                  <a:pt x="6" y="123"/>
                </a:cubicBezTo>
                <a:cubicBezTo>
                  <a:pt x="6" y="123"/>
                  <a:pt x="9" y="123"/>
                  <a:pt x="9" y="123"/>
                </a:cubicBezTo>
                <a:cubicBezTo>
                  <a:pt x="9" y="123"/>
                  <a:pt x="13" y="122"/>
                  <a:pt x="14" y="122"/>
                </a:cubicBezTo>
                <a:cubicBezTo>
                  <a:pt x="14" y="121"/>
                  <a:pt x="17" y="121"/>
                  <a:pt x="18" y="120"/>
                </a:cubicBezTo>
                <a:cubicBezTo>
                  <a:pt x="18" y="120"/>
                  <a:pt x="19" y="119"/>
                  <a:pt x="19" y="119"/>
                </a:cubicBezTo>
                <a:cubicBezTo>
                  <a:pt x="19" y="118"/>
                  <a:pt x="20" y="116"/>
                  <a:pt x="20" y="116"/>
                </a:cubicBezTo>
                <a:cubicBezTo>
                  <a:pt x="21" y="116"/>
                  <a:pt x="23" y="115"/>
                  <a:pt x="24" y="115"/>
                </a:cubicBezTo>
                <a:cubicBezTo>
                  <a:pt x="25" y="115"/>
                  <a:pt x="25" y="115"/>
                  <a:pt x="26" y="115"/>
                </a:cubicBezTo>
                <a:cubicBezTo>
                  <a:pt x="26" y="114"/>
                  <a:pt x="27" y="113"/>
                  <a:pt x="28" y="113"/>
                </a:cubicBezTo>
                <a:cubicBezTo>
                  <a:pt x="28" y="112"/>
                  <a:pt x="27" y="110"/>
                  <a:pt x="28" y="110"/>
                </a:cubicBezTo>
                <a:cubicBezTo>
                  <a:pt x="29" y="109"/>
                  <a:pt x="31" y="108"/>
                  <a:pt x="31" y="108"/>
                </a:cubicBezTo>
                <a:cubicBezTo>
                  <a:pt x="32" y="107"/>
                  <a:pt x="32" y="108"/>
                  <a:pt x="32" y="107"/>
                </a:cubicBezTo>
                <a:cubicBezTo>
                  <a:pt x="33" y="106"/>
                  <a:pt x="33" y="105"/>
                  <a:pt x="33" y="104"/>
                </a:cubicBezTo>
                <a:cubicBezTo>
                  <a:pt x="33" y="104"/>
                  <a:pt x="35" y="103"/>
                  <a:pt x="36" y="102"/>
                </a:cubicBezTo>
                <a:cubicBezTo>
                  <a:pt x="37" y="101"/>
                  <a:pt x="40" y="99"/>
                  <a:pt x="41" y="99"/>
                </a:cubicBezTo>
                <a:cubicBezTo>
                  <a:pt x="43" y="98"/>
                  <a:pt x="45" y="98"/>
                  <a:pt x="46" y="97"/>
                </a:cubicBezTo>
                <a:cubicBezTo>
                  <a:pt x="47" y="97"/>
                  <a:pt x="48" y="95"/>
                  <a:pt x="49" y="94"/>
                </a:cubicBezTo>
                <a:cubicBezTo>
                  <a:pt x="50" y="94"/>
                  <a:pt x="58" y="86"/>
                  <a:pt x="58" y="86"/>
                </a:cubicBezTo>
                <a:cubicBezTo>
                  <a:pt x="60" y="87"/>
                  <a:pt x="60" y="87"/>
                  <a:pt x="60" y="87"/>
                </a:cubicBezTo>
                <a:cubicBezTo>
                  <a:pt x="60" y="87"/>
                  <a:pt x="59" y="88"/>
                  <a:pt x="59" y="88"/>
                </a:cubicBezTo>
                <a:cubicBezTo>
                  <a:pt x="59" y="88"/>
                  <a:pt x="58" y="89"/>
                  <a:pt x="58" y="89"/>
                </a:cubicBezTo>
                <a:cubicBezTo>
                  <a:pt x="59" y="90"/>
                  <a:pt x="59" y="90"/>
                  <a:pt x="59" y="90"/>
                </a:cubicBezTo>
                <a:cubicBezTo>
                  <a:pt x="59" y="91"/>
                  <a:pt x="59" y="91"/>
                  <a:pt x="59" y="91"/>
                </a:cubicBezTo>
                <a:cubicBezTo>
                  <a:pt x="59" y="91"/>
                  <a:pt x="60" y="94"/>
                  <a:pt x="60" y="94"/>
                </a:cubicBezTo>
                <a:cubicBezTo>
                  <a:pt x="60" y="94"/>
                  <a:pt x="63" y="96"/>
                  <a:pt x="63" y="96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7" y="98"/>
                  <a:pt x="67" y="98"/>
                </a:cubicBezTo>
                <a:cubicBezTo>
                  <a:pt x="67" y="98"/>
                  <a:pt x="68" y="100"/>
                  <a:pt x="68" y="100"/>
                </a:cubicBezTo>
                <a:cubicBezTo>
                  <a:pt x="68" y="101"/>
                  <a:pt x="73" y="100"/>
                  <a:pt x="73" y="100"/>
                </a:cubicBezTo>
                <a:cubicBezTo>
                  <a:pt x="79" y="94"/>
                  <a:pt x="79" y="94"/>
                  <a:pt x="79" y="94"/>
                </a:cubicBezTo>
                <a:cubicBezTo>
                  <a:pt x="84" y="99"/>
                  <a:pt x="84" y="99"/>
                  <a:pt x="84" y="99"/>
                </a:cubicBezTo>
                <a:cubicBezTo>
                  <a:pt x="87" y="97"/>
                  <a:pt x="87" y="97"/>
                  <a:pt x="87" y="97"/>
                </a:cubicBezTo>
                <a:cubicBezTo>
                  <a:pt x="89" y="97"/>
                  <a:pt x="89" y="97"/>
                  <a:pt x="89" y="97"/>
                </a:cubicBezTo>
                <a:cubicBezTo>
                  <a:pt x="96" y="96"/>
                  <a:pt x="96" y="96"/>
                  <a:pt x="96" y="96"/>
                </a:cubicBezTo>
                <a:cubicBezTo>
                  <a:pt x="97" y="94"/>
                  <a:pt x="97" y="94"/>
                  <a:pt x="97" y="94"/>
                </a:cubicBezTo>
                <a:cubicBezTo>
                  <a:pt x="96" y="93"/>
                  <a:pt x="96" y="93"/>
                  <a:pt x="96" y="93"/>
                </a:cubicBezTo>
                <a:cubicBezTo>
                  <a:pt x="97" y="91"/>
                  <a:pt x="97" y="91"/>
                  <a:pt x="97" y="91"/>
                </a:cubicBezTo>
                <a:cubicBezTo>
                  <a:pt x="98" y="92"/>
                  <a:pt x="98" y="92"/>
                  <a:pt x="98" y="92"/>
                </a:cubicBezTo>
                <a:cubicBezTo>
                  <a:pt x="101" y="93"/>
                  <a:pt x="101" y="93"/>
                  <a:pt x="101" y="93"/>
                </a:cubicBezTo>
                <a:cubicBezTo>
                  <a:pt x="105" y="90"/>
                  <a:pt x="105" y="90"/>
                  <a:pt x="105" y="90"/>
                </a:cubicBezTo>
                <a:cubicBezTo>
                  <a:pt x="108" y="88"/>
                  <a:pt x="108" y="88"/>
                  <a:pt x="108" y="88"/>
                </a:cubicBezTo>
                <a:cubicBezTo>
                  <a:pt x="110" y="91"/>
                  <a:pt x="110" y="91"/>
                  <a:pt x="110" y="91"/>
                </a:cubicBezTo>
                <a:cubicBezTo>
                  <a:pt x="116" y="87"/>
                  <a:pt x="116" y="87"/>
                  <a:pt x="116" y="87"/>
                </a:cubicBezTo>
                <a:cubicBezTo>
                  <a:pt x="116" y="87"/>
                  <a:pt x="116" y="86"/>
                  <a:pt x="115" y="86"/>
                </a:cubicBezTo>
                <a:cubicBezTo>
                  <a:pt x="115" y="86"/>
                  <a:pt x="115" y="85"/>
                  <a:pt x="115" y="84"/>
                </a:cubicBezTo>
                <a:cubicBezTo>
                  <a:pt x="115" y="84"/>
                  <a:pt x="118" y="83"/>
                  <a:pt x="118" y="83"/>
                </a:cubicBezTo>
                <a:cubicBezTo>
                  <a:pt x="118" y="82"/>
                  <a:pt x="118" y="82"/>
                  <a:pt x="118" y="82"/>
                </a:cubicBezTo>
                <a:cubicBezTo>
                  <a:pt x="118" y="82"/>
                  <a:pt x="117" y="80"/>
                  <a:pt x="117" y="80"/>
                </a:cubicBezTo>
                <a:cubicBezTo>
                  <a:pt x="117" y="80"/>
                  <a:pt x="117" y="78"/>
                  <a:pt x="117" y="78"/>
                </a:cubicBezTo>
                <a:cubicBezTo>
                  <a:pt x="119" y="73"/>
                  <a:pt x="119" y="73"/>
                  <a:pt x="119" y="73"/>
                </a:cubicBezTo>
                <a:cubicBezTo>
                  <a:pt x="119" y="73"/>
                  <a:pt x="120" y="71"/>
                  <a:pt x="120" y="71"/>
                </a:cubicBezTo>
                <a:cubicBezTo>
                  <a:pt x="120" y="71"/>
                  <a:pt x="123" y="69"/>
                  <a:pt x="123" y="69"/>
                </a:cubicBezTo>
                <a:cubicBezTo>
                  <a:pt x="123" y="68"/>
                  <a:pt x="126" y="65"/>
                  <a:pt x="126" y="65"/>
                </a:cubicBezTo>
                <a:cubicBezTo>
                  <a:pt x="126" y="65"/>
                  <a:pt x="128" y="63"/>
                  <a:pt x="128" y="63"/>
                </a:cubicBezTo>
                <a:cubicBezTo>
                  <a:pt x="128" y="63"/>
                  <a:pt x="129" y="61"/>
                  <a:pt x="129" y="61"/>
                </a:cubicBezTo>
                <a:cubicBezTo>
                  <a:pt x="128" y="59"/>
                  <a:pt x="128" y="59"/>
                  <a:pt x="128" y="59"/>
                </a:cubicBezTo>
                <a:cubicBezTo>
                  <a:pt x="129" y="57"/>
                  <a:pt x="129" y="57"/>
                  <a:pt x="129" y="57"/>
                </a:cubicBezTo>
                <a:cubicBezTo>
                  <a:pt x="130" y="56"/>
                  <a:pt x="130" y="56"/>
                  <a:pt x="130" y="56"/>
                </a:cubicBezTo>
                <a:cubicBezTo>
                  <a:pt x="133" y="54"/>
                  <a:pt x="133" y="54"/>
                  <a:pt x="133" y="54"/>
                </a:cubicBezTo>
                <a:cubicBezTo>
                  <a:pt x="133" y="52"/>
                  <a:pt x="133" y="52"/>
                  <a:pt x="133" y="52"/>
                </a:cubicBezTo>
                <a:cubicBezTo>
                  <a:pt x="133" y="52"/>
                  <a:pt x="136" y="50"/>
                  <a:pt x="136" y="50"/>
                </a:cubicBezTo>
                <a:cubicBezTo>
                  <a:pt x="136" y="49"/>
                  <a:pt x="136" y="49"/>
                  <a:pt x="136" y="49"/>
                </a:cubicBezTo>
                <a:cubicBezTo>
                  <a:pt x="136" y="49"/>
                  <a:pt x="137" y="47"/>
                  <a:pt x="137" y="47"/>
                </a:cubicBezTo>
                <a:cubicBezTo>
                  <a:pt x="138" y="43"/>
                  <a:pt x="138" y="43"/>
                  <a:pt x="138" y="43"/>
                </a:cubicBezTo>
                <a:cubicBezTo>
                  <a:pt x="138" y="39"/>
                  <a:pt x="138" y="39"/>
                  <a:pt x="138" y="39"/>
                </a:cubicBezTo>
                <a:cubicBezTo>
                  <a:pt x="138" y="39"/>
                  <a:pt x="141" y="40"/>
                  <a:pt x="141" y="40"/>
                </a:cubicBezTo>
                <a:cubicBezTo>
                  <a:pt x="142" y="41"/>
                  <a:pt x="143" y="42"/>
                  <a:pt x="143" y="42"/>
                </a:cubicBezTo>
                <a:cubicBezTo>
                  <a:pt x="143" y="42"/>
                  <a:pt x="144" y="45"/>
                  <a:pt x="144" y="45"/>
                </a:cubicBezTo>
                <a:cubicBezTo>
                  <a:pt x="144" y="45"/>
                  <a:pt x="151" y="47"/>
                  <a:pt x="151" y="47"/>
                </a:cubicBezTo>
                <a:cubicBezTo>
                  <a:pt x="151" y="47"/>
                  <a:pt x="156" y="37"/>
                  <a:pt x="156" y="37"/>
                </a:cubicBezTo>
                <a:cubicBezTo>
                  <a:pt x="156" y="36"/>
                  <a:pt x="158" y="37"/>
                  <a:pt x="158" y="37"/>
                </a:cubicBezTo>
                <a:cubicBezTo>
                  <a:pt x="158" y="37"/>
                  <a:pt x="158" y="33"/>
                  <a:pt x="158" y="33"/>
                </a:cubicBezTo>
                <a:cubicBezTo>
                  <a:pt x="158" y="33"/>
                  <a:pt x="161" y="28"/>
                  <a:pt x="161" y="28"/>
                </a:cubicBezTo>
                <a:cubicBezTo>
                  <a:pt x="165" y="32"/>
                  <a:pt x="165" y="32"/>
                  <a:pt x="165" y="32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68" y="27"/>
                  <a:pt x="168" y="27"/>
                  <a:pt x="168" y="27"/>
                </a:cubicBezTo>
                <a:cubicBezTo>
                  <a:pt x="170" y="24"/>
                  <a:pt x="170" y="24"/>
                  <a:pt x="170" y="24"/>
                </a:cubicBezTo>
                <a:cubicBezTo>
                  <a:pt x="170" y="26"/>
                  <a:pt x="170" y="26"/>
                  <a:pt x="170" y="26"/>
                </a:cubicBezTo>
                <a:cubicBezTo>
                  <a:pt x="172" y="24"/>
                  <a:pt x="172" y="24"/>
                  <a:pt x="172" y="24"/>
                </a:cubicBezTo>
                <a:cubicBezTo>
                  <a:pt x="174" y="22"/>
                  <a:pt x="174" y="22"/>
                  <a:pt x="174" y="22"/>
                </a:cubicBezTo>
                <a:cubicBezTo>
                  <a:pt x="174" y="23"/>
                  <a:pt x="174" y="23"/>
                  <a:pt x="174" y="23"/>
                </a:cubicBezTo>
                <a:cubicBezTo>
                  <a:pt x="174" y="23"/>
                  <a:pt x="176" y="20"/>
                  <a:pt x="176" y="20"/>
                </a:cubicBezTo>
                <a:cubicBezTo>
                  <a:pt x="176" y="20"/>
                  <a:pt x="181" y="14"/>
                  <a:pt x="181" y="14"/>
                </a:cubicBezTo>
                <a:cubicBezTo>
                  <a:pt x="181" y="14"/>
                  <a:pt x="181" y="13"/>
                  <a:pt x="181" y="13"/>
                </a:cubicBezTo>
                <a:cubicBezTo>
                  <a:pt x="181" y="13"/>
                  <a:pt x="180" y="12"/>
                  <a:pt x="180" y="12"/>
                </a:cubicBezTo>
                <a:cubicBezTo>
                  <a:pt x="182" y="9"/>
                  <a:pt x="182" y="9"/>
                  <a:pt x="182" y="9"/>
                </a:cubicBezTo>
                <a:cubicBezTo>
                  <a:pt x="184" y="6"/>
                  <a:pt x="184" y="6"/>
                  <a:pt x="184" y="6"/>
                </a:cubicBezTo>
                <a:cubicBezTo>
                  <a:pt x="183" y="5"/>
                  <a:pt x="183" y="5"/>
                  <a:pt x="183" y="5"/>
                </a:cubicBezTo>
                <a:cubicBezTo>
                  <a:pt x="183" y="0"/>
                  <a:pt x="183" y="0"/>
                  <a:pt x="183" y="0"/>
                </a:cubicBezTo>
                <a:cubicBezTo>
                  <a:pt x="201" y="15"/>
                  <a:pt x="201" y="15"/>
                  <a:pt x="201" y="15"/>
                </a:cubicBezTo>
                <a:cubicBezTo>
                  <a:pt x="205" y="7"/>
                  <a:pt x="205" y="7"/>
                  <a:pt x="205" y="7"/>
                </a:cubicBezTo>
                <a:cubicBezTo>
                  <a:pt x="205" y="7"/>
                  <a:pt x="210" y="7"/>
                  <a:pt x="211" y="8"/>
                </a:cubicBezTo>
                <a:cubicBezTo>
                  <a:pt x="211" y="8"/>
                  <a:pt x="214" y="11"/>
                  <a:pt x="214" y="11"/>
                </a:cubicBezTo>
                <a:cubicBezTo>
                  <a:pt x="214" y="11"/>
                  <a:pt x="212" y="14"/>
                  <a:pt x="212" y="14"/>
                </a:cubicBezTo>
                <a:cubicBezTo>
                  <a:pt x="212" y="14"/>
                  <a:pt x="212" y="16"/>
                  <a:pt x="212" y="16"/>
                </a:cubicBezTo>
                <a:cubicBezTo>
                  <a:pt x="212" y="17"/>
                  <a:pt x="215" y="18"/>
                  <a:pt x="215" y="18"/>
                </a:cubicBezTo>
                <a:cubicBezTo>
                  <a:pt x="216" y="18"/>
                  <a:pt x="219" y="19"/>
                  <a:pt x="219" y="19"/>
                </a:cubicBezTo>
                <a:cubicBezTo>
                  <a:pt x="220" y="19"/>
                  <a:pt x="221" y="20"/>
                  <a:pt x="221" y="20"/>
                </a:cubicBezTo>
                <a:cubicBezTo>
                  <a:pt x="221" y="20"/>
                  <a:pt x="222" y="22"/>
                  <a:pt x="222" y="22"/>
                </a:cubicBezTo>
                <a:cubicBezTo>
                  <a:pt x="222" y="22"/>
                  <a:pt x="224" y="22"/>
                  <a:pt x="224" y="22"/>
                </a:cubicBezTo>
                <a:cubicBezTo>
                  <a:pt x="224" y="22"/>
                  <a:pt x="226" y="24"/>
                  <a:pt x="226" y="24"/>
                </a:cubicBezTo>
                <a:cubicBezTo>
                  <a:pt x="226" y="25"/>
                  <a:pt x="229" y="21"/>
                  <a:pt x="229" y="21"/>
                </a:cubicBezTo>
                <a:cubicBezTo>
                  <a:pt x="232" y="25"/>
                  <a:pt x="232" y="25"/>
                  <a:pt x="232" y="25"/>
                </a:cubicBezTo>
                <a:cubicBezTo>
                  <a:pt x="232" y="27"/>
                  <a:pt x="232" y="27"/>
                  <a:pt x="232" y="27"/>
                </a:cubicBezTo>
                <a:cubicBezTo>
                  <a:pt x="230" y="28"/>
                  <a:pt x="230" y="28"/>
                  <a:pt x="230" y="28"/>
                </a:cubicBezTo>
                <a:cubicBezTo>
                  <a:pt x="229" y="28"/>
                  <a:pt x="229" y="28"/>
                  <a:pt x="229" y="28"/>
                </a:cubicBezTo>
                <a:cubicBezTo>
                  <a:pt x="229" y="33"/>
                  <a:pt x="229" y="33"/>
                  <a:pt x="229" y="33"/>
                </a:cubicBezTo>
                <a:cubicBezTo>
                  <a:pt x="228" y="33"/>
                  <a:pt x="228" y="34"/>
                  <a:pt x="227" y="34"/>
                </a:cubicBezTo>
                <a:cubicBezTo>
                  <a:pt x="227" y="35"/>
                  <a:pt x="226" y="35"/>
                  <a:pt x="225" y="35"/>
                </a:cubicBezTo>
                <a:cubicBezTo>
                  <a:pt x="225" y="36"/>
                  <a:pt x="225" y="36"/>
                  <a:pt x="225" y="36"/>
                </a:cubicBezTo>
                <a:cubicBezTo>
                  <a:pt x="225" y="36"/>
                  <a:pt x="225" y="36"/>
                  <a:pt x="225" y="37"/>
                </a:cubicBezTo>
                <a:cubicBezTo>
                  <a:pt x="226" y="37"/>
                  <a:pt x="226" y="37"/>
                  <a:pt x="226" y="37"/>
                </a:cubicBezTo>
                <a:cubicBezTo>
                  <a:pt x="226" y="37"/>
                  <a:pt x="225" y="38"/>
                  <a:pt x="225" y="38"/>
                </a:cubicBezTo>
                <a:cubicBezTo>
                  <a:pt x="225" y="38"/>
                  <a:pt x="224" y="38"/>
                  <a:pt x="224" y="38"/>
                </a:cubicBezTo>
                <a:cubicBezTo>
                  <a:pt x="224" y="38"/>
                  <a:pt x="223" y="37"/>
                  <a:pt x="223" y="37"/>
                </a:cubicBezTo>
                <a:cubicBezTo>
                  <a:pt x="222" y="37"/>
                  <a:pt x="222" y="38"/>
                  <a:pt x="222" y="38"/>
                </a:cubicBezTo>
                <a:cubicBezTo>
                  <a:pt x="222" y="39"/>
                  <a:pt x="221" y="40"/>
                  <a:pt x="221" y="40"/>
                </a:cubicBezTo>
                <a:cubicBezTo>
                  <a:pt x="221" y="41"/>
                  <a:pt x="221" y="42"/>
                  <a:pt x="221" y="42"/>
                </a:cubicBezTo>
                <a:cubicBezTo>
                  <a:pt x="221" y="44"/>
                  <a:pt x="220" y="45"/>
                  <a:pt x="220" y="47"/>
                </a:cubicBezTo>
                <a:cubicBezTo>
                  <a:pt x="220" y="48"/>
                  <a:pt x="220" y="48"/>
                  <a:pt x="220" y="49"/>
                </a:cubicBezTo>
                <a:cubicBezTo>
                  <a:pt x="220" y="50"/>
                  <a:pt x="221" y="50"/>
                  <a:pt x="222" y="50"/>
                </a:cubicBezTo>
                <a:cubicBezTo>
                  <a:pt x="223" y="51"/>
                  <a:pt x="224" y="51"/>
                  <a:pt x="225" y="50"/>
                </a:cubicBezTo>
                <a:cubicBezTo>
                  <a:pt x="225" y="50"/>
                  <a:pt x="226" y="50"/>
                  <a:pt x="227" y="50"/>
                </a:cubicBezTo>
                <a:cubicBezTo>
                  <a:pt x="227" y="50"/>
                  <a:pt x="228" y="50"/>
                  <a:pt x="228" y="50"/>
                </a:cubicBezTo>
                <a:cubicBezTo>
                  <a:pt x="229" y="49"/>
                  <a:pt x="230" y="49"/>
                  <a:pt x="230" y="49"/>
                </a:cubicBezTo>
                <a:cubicBezTo>
                  <a:pt x="230" y="49"/>
                  <a:pt x="230" y="50"/>
                  <a:pt x="230" y="50"/>
                </a:cubicBezTo>
                <a:cubicBezTo>
                  <a:pt x="230" y="51"/>
                  <a:pt x="230" y="52"/>
                  <a:pt x="230" y="53"/>
                </a:cubicBezTo>
                <a:cubicBezTo>
                  <a:pt x="231" y="54"/>
                  <a:pt x="231" y="55"/>
                  <a:pt x="232" y="56"/>
                </a:cubicBezTo>
                <a:cubicBezTo>
                  <a:pt x="234" y="57"/>
                  <a:pt x="235" y="58"/>
                  <a:pt x="236" y="59"/>
                </a:cubicBezTo>
                <a:cubicBezTo>
                  <a:pt x="237" y="59"/>
                  <a:pt x="238" y="60"/>
                  <a:pt x="239" y="60"/>
                </a:cubicBezTo>
                <a:cubicBezTo>
                  <a:pt x="240" y="60"/>
                  <a:pt x="240" y="60"/>
                  <a:pt x="241" y="60"/>
                </a:cubicBezTo>
                <a:cubicBezTo>
                  <a:pt x="242" y="60"/>
                  <a:pt x="242" y="60"/>
                  <a:pt x="243" y="60"/>
                </a:cubicBezTo>
                <a:cubicBezTo>
                  <a:pt x="243" y="61"/>
                  <a:pt x="244" y="61"/>
                  <a:pt x="244" y="61"/>
                </a:cubicBezTo>
                <a:cubicBezTo>
                  <a:pt x="245" y="62"/>
                  <a:pt x="245" y="63"/>
                  <a:pt x="246" y="63"/>
                </a:cubicBezTo>
                <a:cubicBezTo>
                  <a:pt x="246" y="64"/>
                  <a:pt x="247" y="65"/>
                  <a:pt x="247" y="65"/>
                </a:cubicBezTo>
                <a:cubicBezTo>
                  <a:pt x="248" y="66"/>
                  <a:pt x="249" y="67"/>
                  <a:pt x="250" y="67"/>
                </a:cubicBezTo>
                <a:cubicBezTo>
                  <a:pt x="251" y="68"/>
                  <a:pt x="252" y="68"/>
                  <a:pt x="253" y="69"/>
                </a:cubicBezTo>
                <a:cubicBezTo>
                  <a:pt x="254" y="69"/>
                  <a:pt x="254" y="69"/>
                  <a:pt x="255" y="70"/>
                </a:cubicBezTo>
                <a:cubicBezTo>
                  <a:pt x="255" y="70"/>
                  <a:pt x="255" y="71"/>
                  <a:pt x="255" y="72"/>
                </a:cubicBezTo>
                <a:cubicBezTo>
                  <a:pt x="255" y="72"/>
                  <a:pt x="255" y="72"/>
                  <a:pt x="255" y="73"/>
                </a:cubicBezTo>
                <a:cubicBezTo>
                  <a:pt x="255" y="73"/>
                  <a:pt x="255" y="74"/>
                  <a:pt x="255" y="74"/>
                </a:cubicBezTo>
                <a:cubicBezTo>
                  <a:pt x="255" y="74"/>
                  <a:pt x="255" y="73"/>
                  <a:pt x="254" y="73"/>
                </a:cubicBezTo>
                <a:cubicBezTo>
                  <a:pt x="254" y="73"/>
                  <a:pt x="254" y="72"/>
                  <a:pt x="254" y="72"/>
                </a:cubicBezTo>
                <a:cubicBezTo>
                  <a:pt x="253" y="72"/>
                  <a:pt x="253" y="72"/>
                  <a:pt x="252" y="72"/>
                </a:cubicBezTo>
                <a:cubicBezTo>
                  <a:pt x="251" y="72"/>
                  <a:pt x="251" y="72"/>
                  <a:pt x="251" y="72"/>
                </a:cubicBezTo>
                <a:cubicBezTo>
                  <a:pt x="250" y="71"/>
                  <a:pt x="249" y="71"/>
                  <a:pt x="249" y="72"/>
                </a:cubicBezTo>
                <a:cubicBezTo>
                  <a:pt x="250" y="72"/>
                  <a:pt x="250" y="72"/>
                  <a:pt x="250" y="72"/>
                </a:cubicBezTo>
                <a:cubicBezTo>
                  <a:pt x="251" y="72"/>
                  <a:pt x="251" y="72"/>
                  <a:pt x="252" y="72"/>
                </a:cubicBezTo>
                <a:cubicBezTo>
                  <a:pt x="252" y="73"/>
                  <a:pt x="253" y="73"/>
                  <a:pt x="253" y="73"/>
                </a:cubicBezTo>
                <a:cubicBezTo>
                  <a:pt x="254" y="74"/>
                  <a:pt x="255" y="75"/>
                  <a:pt x="255" y="77"/>
                </a:cubicBezTo>
                <a:cubicBezTo>
                  <a:pt x="255" y="77"/>
                  <a:pt x="255" y="77"/>
                  <a:pt x="255" y="78"/>
                </a:cubicBezTo>
                <a:cubicBezTo>
                  <a:pt x="255" y="78"/>
                  <a:pt x="255" y="79"/>
                  <a:pt x="255" y="79"/>
                </a:cubicBezTo>
                <a:cubicBezTo>
                  <a:pt x="255" y="79"/>
                  <a:pt x="254" y="80"/>
                  <a:pt x="254" y="80"/>
                </a:cubicBezTo>
                <a:cubicBezTo>
                  <a:pt x="254" y="80"/>
                  <a:pt x="254" y="81"/>
                  <a:pt x="253" y="81"/>
                </a:cubicBezTo>
                <a:cubicBezTo>
                  <a:pt x="253" y="82"/>
                  <a:pt x="253" y="83"/>
                  <a:pt x="252" y="82"/>
                </a:cubicBezTo>
                <a:cubicBezTo>
                  <a:pt x="251" y="82"/>
                  <a:pt x="251" y="82"/>
                  <a:pt x="251" y="81"/>
                </a:cubicBezTo>
                <a:cubicBezTo>
                  <a:pt x="250" y="81"/>
                  <a:pt x="249" y="81"/>
                  <a:pt x="248" y="81"/>
                </a:cubicBezTo>
                <a:cubicBezTo>
                  <a:pt x="248" y="81"/>
                  <a:pt x="247" y="81"/>
                  <a:pt x="247" y="80"/>
                </a:cubicBezTo>
                <a:cubicBezTo>
                  <a:pt x="247" y="80"/>
                  <a:pt x="247" y="80"/>
                  <a:pt x="247" y="80"/>
                </a:cubicBezTo>
                <a:cubicBezTo>
                  <a:pt x="247" y="80"/>
                  <a:pt x="246" y="79"/>
                  <a:pt x="246" y="79"/>
                </a:cubicBezTo>
                <a:cubicBezTo>
                  <a:pt x="246" y="79"/>
                  <a:pt x="246" y="78"/>
                  <a:pt x="246" y="77"/>
                </a:cubicBezTo>
                <a:cubicBezTo>
                  <a:pt x="246" y="77"/>
                  <a:pt x="245" y="76"/>
                  <a:pt x="245" y="76"/>
                </a:cubicBezTo>
                <a:cubicBezTo>
                  <a:pt x="243" y="75"/>
                  <a:pt x="242" y="75"/>
                  <a:pt x="241" y="73"/>
                </a:cubicBezTo>
                <a:cubicBezTo>
                  <a:pt x="240" y="73"/>
                  <a:pt x="240" y="72"/>
                  <a:pt x="239" y="72"/>
                </a:cubicBezTo>
                <a:cubicBezTo>
                  <a:pt x="238" y="71"/>
                  <a:pt x="238" y="71"/>
                  <a:pt x="238" y="70"/>
                </a:cubicBezTo>
                <a:cubicBezTo>
                  <a:pt x="237" y="70"/>
                  <a:pt x="237" y="69"/>
                  <a:pt x="237" y="69"/>
                </a:cubicBezTo>
                <a:cubicBezTo>
                  <a:pt x="237" y="68"/>
                  <a:pt x="236" y="67"/>
                  <a:pt x="236" y="67"/>
                </a:cubicBezTo>
                <a:cubicBezTo>
                  <a:pt x="236" y="67"/>
                  <a:pt x="236" y="68"/>
                  <a:pt x="236" y="69"/>
                </a:cubicBezTo>
                <a:cubicBezTo>
                  <a:pt x="236" y="69"/>
                  <a:pt x="236" y="69"/>
                  <a:pt x="236" y="70"/>
                </a:cubicBezTo>
                <a:cubicBezTo>
                  <a:pt x="236" y="71"/>
                  <a:pt x="236" y="71"/>
                  <a:pt x="237" y="71"/>
                </a:cubicBezTo>
                <a:cubicBezTo>
                  <a:pt x="237" y="72"/>
                  <a:pt x="238" y="72"/>
                  <a:pt x="238" y="73"/>
                </a:cubicBezTo>
                <a:cubicBezTo>
                  <a:pt x="238" y="73"/>
                  <a:pt x="239" y="73"/>
                  <a:pt x="239" y="73"/>
                </a:cubicBezTo>
                <a:cubicBezTo>
                  <a:pt x="239" y="74"/>
                  <a:pt x="240" y="74"/>
                  <a:pt x="240" y="74"/>
                </a:cubicBezTo>
                <a:cubicBezTo>
                  <a:pt x="240" y="75"/>
                  <a:pt x="240" y="75"/>
                  <a:pt x="241" y="76"/>
                </a:cubicBezTo>
                <a:cubicBezTo>
                  <a:pt x="241" y="76"/>
                  <a:pt x="242" y="77"/>
                  <a:pt x="242" y="77"/>
                </a:cubicBezTo>
                <a:cubicBezTo>
                  <a:pt x="243" y="78"/>
                  <a:pt x="243" y="78"/>
                  <a:pt x="243" y="78"/>
                </a:cubicBezTo>
                <a:cubicBezTo>
                  <a:pt x="243" y="79"/>
                  <a:pt x="244" y="79"/>
                  <a:pt x="244" y="79"/>
                </a:cubicBezTo>
                <a:cubicBezTo>
                  <a:pt x="244" y="80"/>
                  <a:pt x="245" y="80"/>
                  <a:pt x="245" y="81"/>
                </a:cubicBezTo>
                <a:cubicBezTo>
                  <a:pt x="245" y="81"/>
                  <a:pt x="245" y="82"/>
                  <a:pt x="245" y="82"/>
                </a:cubicBezTo>
                <a:cubicBezTo>
                  <a:pt x="245" y="83"/>
                  <a:pt x="247" y="83"/>
                  <a:pt x="248" y="83"/>
                </a:cubicBezTo>
                <a:cubicBezTo>
                  <a:pt x="248" y="82"/>
                  <a:pt x="249" y="82"/>
                  <a:pt x="250" y="83"/>
                </a:cubicBezTo>
                <a:cubicBezTo>
                  <a:pt x="250" y="83"/>
                  <a:pt x="250" y="83"/>
                  <a:pt x="250" y="83"/>
                </a:cubicBezTo>
                <a:cubicBezTo>
                  <a:pt x="250" y="84"/>
                  <a:pt x="251" y="84"/>
                  <a:pt x="251" y="84"/>
                </a:cubicBezTo>
                <a:cubicBezTo>
                  <a:pt x="251" y="85"/>
                  <a:pt x="251" y="85"/>
                  <a:pt x="252" y="86"/>
                </a:cubicBezTo>
                <a:cubicBezTo>
                  <a:pt x="252" y="86"/>
                  <a:pt x="253" y="86"/>
                  <a:pt x="253" y="86"/>
                </a:cubicBezTo>
                <a:cubicBezTo>
                  <a:pt x="253" y="86"/>
                  <a:pt x="252" y="86"/>
                  <a:pt x="252" y="87"/>
                </a:cubicBezTo>
                <a:cubicBezTo>
                  <a:pt x="252" y="87"/>
                  <a:pt x="251" y="87"/>
                  <a:pt x="251" y="87"/>
                </a:cubicBezTo>
                <a:cubicBezTo>
                  <a:pt x="252" y="88"/>
                  <a:pt x="252" y="88"/>
                  <a:pt x="253" y="88"/>
                </a:cubicBezTo>
                <a:cubicBezTo>
                  <a:pt x="253" y="89"/>
                  <a:pt x="253" y="89"/>
                  <a:pt x="254" y="89"/>
                </a:cubicBezTo>
                <a:cubicBezTo>
                  <a:pt x="254" y="89"/>
                  <a:pt x="254" y="89"/>
                  <a:pt x="255" y="90"/>
                </a:cubicBezTo>
                <a:cubicBezTo>
                  <a:pt x="255" y="90"/>
                  <a:pt x="255" y="90"/>
                  <a:pt x="256" y="90"/>
                </a:cubicBezTo>
                <a:cubicBezTo>
                  <a:pt x="256" y="91"/>
                  <a:pt x="256" y="91"/>
                  <a:pt x="256" y="91"/>
                </a:cubicBezTo>
                <a:cubicBezTo>
                  <a:pt x="256" y="92"/>
                  <a:pt x="256" y="93"/>
                  <a:pt x="256" y="94"/>
                </a:cubicBezTo>
                <a:cubicBezTo>
                  <a:pt x="256" y="94"/>
                  <a:pt x="256" y="95"/>
                  <a:pt x="255" y="95"/>
                </a:cubicBezTo>
                <a:cubicBezTo>
                  <a:pt x="255" y="95"/>
                  <a:pt x="255" y="95"/>
                  <a:pt x="255" y="95"/>
                </a:cubicBezTo>
                <a:cubicBezTo>
                  <a:pt x="254" y="95"/>
                  <a:pt x="254" y="95"/>
                  <a:pt x="254" y="95"/>
                </a:cubicBezTo>
                <a:cubicBezTo>
                  <a:pt x="254" y="94"/>
                  <a:pt x="254" y="94"/>
                  <a:pt x="254" y="94"/>
                </a:cubicBezTo>
                <a:cubicBezTo>
                  <a:pt x="254" y="93"/>
                  <a:pt x="253" y="93"/>
                  <a:pt x="253" y="92"/>
                </a:cubicBezTo>
                <a:cubicBezTo>
                  <a:pt x="252" y="92"/>
                  <a:pt x="251" y="91"/>
                  <a:pt x="251" y="91"/>
                </a:cubicBezTo>
                <a:cubicBezTo>
                  <a:pt x="250" y="92"/>
                  <a:pt x="251" y="93"/>
                  <a:pt x="250" y="93"/>
                </a:cubicBezTo>
                <a:cubicBezTo>
                  <a:pt x="250" y="93"/>
                  <a:pt x="250" y="93"/>
                  <a:pt x="249" y="93"/>
                </a:cubicBezTo>
                <a:cubicBezTo>
                  <a:pt x="249" y="93"/>
                  <a:pt x="249" y="93"/>
                  <a:pt x="249" y="92"/>
                </a:cubicBezTo>
                <a:cubicBezTo>
                  <a:pt x="249" y="93"/>
                  <a:pt x="249" y="93"/>
                  <a:pt x="249" y="94"/>
                </a:cubicBezTo>
                <a:cubicBezTo>
                  <a:pt x="250" y="94"/>
                  <a:pt x="251" y="95"/>
                  <a:pt x="251" y="95"/>
                </a:cubicBezTo>
                <a:cubicBezTo>
                  <a:pt x="251" y="95"/>
                  <a:pt x="251" y="96"/>
                  <a:pt x="251" y="96"/>
                </a:cubicBezTo>
                <a:cubicBezTo>
                  <a:pt x="251" y="96"/>
                  <a:pt x="251" y="96"/>
                  <a:pt x="251" y="97"/>
                </a:cubicBezTo>
                <a:cubicBezTo>
                  <a:pt x="251" y="97"/>
                  <a:pt x="251" y="97"/>
                  <a:pt x="251" y="98"/>
                </a:cubicBezTo>
                <a:cubicBezTo>
                  <a:pt x="251" y="98"/>
                  <a:pt x="251" y="99"/>
                  <a:pt x="251" y="100"/>
                </a:cubicBezTo>
                <a:cubicBezTo>
                  <a:pt x="251" y="101"/>
                  <a:pt x="251" y="101"/>
                  <a:pt x="252" y="102"/>
                </a:cubicBezTo>
                <a:cubicBezTo>
                  <a:pt x="252" y="102"/>
                  <a:pt x="252" y="103"/>
                  <a:pt x="253" y="103"/>
                </a:cubicBezTo>
                <a:cubicBezTo>
                  <a:pt x="253" y="103"/>
                  <a:pt x="253" y="103"/>
                  <a:pt x="254" y="104"/>
                </a:cubicBezTo>
                <a:cubicBezTo>
                  <a:pt x="254" y="105"/>
                  <a:pt x="253" y="106"/>
                  <a:pt x="254" y="107"/>
                </a:cubicBezTo>
                <a:cubicBezTo>
                  <a:pt x="254" y="107"/>
                  <a:pt x="254" y="108"/>
                  <a:pt x="254" y="108"/>
                </a:cubicBezTo>
                <a:cubicBezTo>
                  <a:pt x="255" y="108"/>
                  <a:pt x="255" y="109"/>
                  <a:pt x="254" y="109"/>
                </a:cubicBezTo>
                <a:cubicBezTo>
                  <a:pt x="254" y="110"/>
                  <a:pt x="254" y="110"/>
                  <a:pt x="253" y="110"/>
                </a:cubicBezTo>
                <a:cubicBezTo>
                  <a:pt x="253" y="110"/>
                  <a:pt x="253" y="110"/>
                  <a:pt x="253" y="110"/>
                </a:cubicBezTo>
                <a:cubicBezTo>
                  <a:pt x="253" y="110"/>
                  <a:pt x="253" y="110"/>
                  <a:pt x="252" y="110"/>
                </a:cubicBezTo>
                <a:cubicBezTo>
                  <a:pt x="252" y="111"/>
                  <a:pt x="252" y="111"/>
                  <a:pt x="251" y="111"/>
                </a:cubicBezTo>
                <a:cubicBezTo>
                  <a:pt x="251" y="110"/>
                  <a:pt x="250" y="110"/>
                  <a:pt x="250" y="110"/>
                </a:cubicBezTo>
                <a:cubicBezTo>
                  <a:pt x="250" y="109"/>
                  <a:pt x="249" y="109"/>
                  <a:pt x="248" y="109"/>
                </a:cubicBezTo>
                <a:cubicBezTo>
                  <a:pt x="248" y="108"/>
                  <a:pt x="248" y="108"/>
                  <a:pt x="247" y="108"/>
                </a:cubicBezTo>
                <a:cubicBezTo>
                  <a:pt x="246" y="107"/>
                  <a:pt x="245" y="106"/>
                  <a:pt x="244" y="105"/>
                </a:cubicBezTo>
                <a:cubicBezTo>
                  <a:pt x="244" y="104"/>
                  <a:pt x="244" y="104"/>
                  <a:pt x="244" y="103"/>
                </a:cubicBezTo>
                <a:cubicBezTo>
                  <a:pt x="244" y="102"/>
                  <a:pt x="244" y="102"/>
                  <a:pt x="243" y="101"/>
                </a:cubicBezTo>
                <a:cubicBezTo>
                  <a:pt x="243" y="101"/>
                  <a:pt x="243" y="100"/>
                  <a:pt x="242" y="100"/>
                </a:cubicBezTo>
                <a:cubicBezTo>
                  <a:pt x="242" y="100"/>
                  <a:pt x="241" y="100"/>
                  <a:pt x="241" y="100"/>
                </a:cubicBezTo>
                <a:cubicBezTo>
                  <a:pt x="240" y="101"/>
                  <a:pt x="239" y="100"/>
                  <a:pt x="239" y="100"/>
                </a:cubicBezTo>
                <a:cubicBezTo>
                  <a:pt x="238" y="100"/>
                  <a:pt x="238" y="100"/>
                  <a:pt x="238" y="100"/>
                </a:cubicBezTo>
                <a:cubicBezTo>
                  <a:pt x="237" y="100"/>
                  <a:pt x="237" y="100"/>
                  <a:pt x="236" y="100"/>
                </a:cubicBezTo>
                <a:cubicBezTo>
                  <a:pt x="236" y="100"/>
                  <a:pt x="236" y="99"/>
                  <a:pt x="235" y="99"/>
                </a:cubicBezTo>
                <a:cubicBezTo>
                  <a:pt x="235" y="99"/>
                  <a:pt x="234" y="99"/>
                  <a:pt x="234" y="99"/>
                </a:cubicBezTo>
                <a:cubicBezTo>
                  <a:pt x="233" y="99"/>
                  <a:pt x="233" y="99"/>
                  <a:pt x="232" y="99"/>
                </a:cubicBezTo>
                <a:cubicBezTo>
                  <a:pt x="232" y="99"/>
                  <a:pt x="232" y="98"/>
                  <a:pt x="231" y="98"/>
                </a:cubicBezTo>
                <a:cubicBezTo>
                  <a:pt x="231" y="98"/>
                  <a:pt x="231" y="97"/>
                  <a:pt x="231" y="98"/>
                </a:cubicBezTo>
                <a:cubicBezTo>
                  <a:pt x="230" y="98"/>
                  <a:pt x="231" y="98"/>
                  <a:pt x="231" y="98"/>
                </a:cubicBezTo>
                <a:cubicBezTo>
                  <a:pt x="231" y="99"/>
                  <a:pt x="232" y="99"/>
                  <a:pt x="232" y="99"/>
                </a:cubicBezTo>
                <a:cubicBezTo>
                  <a:pt x="233" y="100"/>
                  <a:pt x="233" y="100"/>
                  <a:pt x="234" y="100"/>
                </a:cubicBezTo>
                <a:cubicBezTo>
                  <a:pt x="235" y="100"/>
                  <a:pt x="236" y="100"/>
                  <a:pt x="236" y="100"/>
                </a:cubicBezTo>
                <a:cubicBezTo>
                  <a:pt x="237" y="101"/>
                  <a:pt x="238" y="102"/>
                  <a:pt x="239" y="102"/>
                </a:cubicBezTo>
                <a:cubicBezTo>
                  <a:pt x="240" y="102"/>
                  <a:pt x="241" y="103"/>
                  <a:pt x="241" y="104"/>
                </a:cubicBezTo>
                <a:cubicBezTo>
                  <a:pt x="242" y="105"/>
                  <a:pt x="241" y="107"/>
                  <a:pt x="242" y="108"/>
                </a:cubicBezTo>
                <a:cubicBezTo>
                  <a:pt x="242" y="108"/>
                  <a:pt x="243" y="108"/>
                  <a:pt x="243" y="108"/>
                </a:cubicBezTo>
                <a:cubicBezTo>
                  <a:pt x="244" y="109"/>
                  <a:pt x="244" y="109"/>
                  <a:pt x="244" y="109"/>
                </a:cubicBezTo>
                <a:cubicBezTo>
                  <a:pt x="245" y="109"/>
                  <a:pt x="245" y="110"/>
                  <a:pt x="245" y="110"/>
                </a:cubicBezTo>
                <a:cubicBezTo>
                  <a:pt x="246" y="110"/>
                  <a:pt x="246" y="110"/>
                  <a:pt x="247" y="111"/>
                </a:cubicBezTo>
                <a:cubicBezTo>
                  <a:pt x="248" y="111"/>
                  <a:pt x="248" y="111"/>
                  <a:pt x="248" y="112"/>
                </a:cubicBezTo>
                <a:cubicBezTo>
                  <a:pt x="248" y="112"/>
                  <a:pt x="248" y="113"/>
                  <a:pt x="248" y="113"/>
                </a:cubicBezTo>
                <a:cubicBezTo>
                  <a:pt x="248" y="113"/>
                  <a:pt x="248" y="114"/>
                  <a:pt x="248" y="114"/>
                </a:cubicBezTo>
                <a:cubicBezTo>
                  <a:pt x="247" y="114"/>
                  <a:pt x="246" y="115"/>
                  <a:pt x="246" y="116"/>
                </a:cubicBezTo>
                <a:cubicBezTo>
                  <a:pt x="245" y="116"/>
                  <a:pt x="246" y="117"/>
                  <a:pt x="247" y="116"/>
                </a:cubicBezTo>
                <a:cubicBezTo>
                  <a:pt x="247" y="116"/>
                  <a:pt x="247" y="116"/>
                  <a:pt x="247" y="115"/>
                </a:cubicBezTo>
                <a:cubicBezTo>
                  <a:pt x="248" y="115"/>
                  <a:pt x="248" y="115"/>
                  <a:pt x="248" y="114"/>
                </a:cubicBezTo>
                <a:cubicBezTo>
                  <a:pt x="249" y="114"/>
                  <a:pt x="250" y="114"/>
                  <a:pt x="252" y="114"/>
                </a:cubicBezTo>
                <a:cubicBezTo>
                  <a:pt x="252" y="114"/>
                  <a:pt x="253" y="114"/>
                  <a:pt x="252" y="115"/>
                </a:cubicBezTo>
                <a:cubicBezTo>
                  <a:pt x="252" y="115"/>
                  <a:pt x="252" y="116"/>
                  <a:pt x="252" y="116"/>
                </a:cubicBezTo>
                <a:cubicBezTo>
                  <a:pt x="251" y="116"/>
                  <a:pt x="252" y="117"/>
                  <a:pt x="253" y="117"/>
                </a:cubicBezTo>
                <a:cubicBezTo>
                  <a:pt x="253" y="116"/>
                  <a:pt x="254" y="116"/>
                  <a:pt x="255" y="115"/>
                </a:cubicBezTo>
                <a:cubicBezTo>
                  <a:pt x="255" y="115"/>
                  <a:pt x="255" y="114"/>
                  <a:pt x="255" y="114"/>
                </a:cubicBezTo>
                <a:cubicBezTo>
                  <a:pt x="255" y="114"/>
                  <a:pt x="254" y="113"/>
                  <a:pt x="254" y="113"/>
                </a:cubicBezTo>
                <a:cubicBezTo>
                  <a:pt x="254" y="113"/>
                  <a:pt x="254" y="112"/>
                  <a:pt x="255" y="111"/>
                </a:cubicBezTo>
                <a:cubicBezTo>
                  <a:pt x="256" y="111"/>
                  <a:pt x="256" y="112"/>
                  <a:pt x="257" y="112"/>
                </a:cubicBezTo>
                <a:cubicBezTo>
                  <a:pt x="258" y="112"/>
                  <a:pt x="258" y="112"/>
                  <a:pt x="259" y="113"/>
                </a:cubicBezTo>
                <a:cubicBezTo>
                  <a:pt x="259" y="113"/>
                  <a:pt x="260" y="113"/>
                  <a:pt x="260" y="113"/>
                </a:cubicBezTo>
                <a:cubicBezTo>
                  <a:pt x="261" y="113"/>
                  <a:pt x="262" y="113"/>
                  <a:pt x="263" y="113"/>
                </a:cubicBezTo>
                <a:cubicBezTo>
                  <a:pt x="264" y="114"/>
                  <a:pt x="264" y="113"/>
                  <a:pt x="265" y="113"/>
                </a:cubicBezTo>
                <a:cubicBezTo>
                  <a:pt x="266" y="113"/>
                  <a:pt x="266" y="113"/>
                  <a:pt x="265" y="114"/>
                </a:cubicBezTo>
                <a:cubicBezTo>
                  <a:pt x="265" y="114"/>
                  <a:pt x="265" y="114"/>
                  <a:pt x="265" y="114"/>
                </a:cubicBezTo>
                <a:cubicBezTo>
                  <a:pt x="265" y="115"/>
                  <a:pt x="265" y="115"/>
                  <a:pt x="265" y="115"/>
                </a:cubicBezTo>
                <a:cubicBezTo>
                  <a:pt x="266" y="116"/>
                  <a:pt x="265" y="116"/>
                  <a:pt x="266" y="116"/>
                </a:cubicBezTo>
                <a:cubicBezTo>
                  <a:pt x="266" y="117"/>
                  <a:pt x="266" y="117"/>
                  <a:pt x="266" y="118"/>
                </a:cubicBezTo>
                <a:cubicBezTo>
                  <a:pt x="266" y="118"/>
                  <a:pt x="266" y="118"/>
                  <a:pt x="267" y="119"/>
                </a:cubicBezTo>
                <a:cubicBezTo>
                  <a:pt x="267" y="119"/>
                  <a:pt x="266" y="119"/>
                  <a:pt x="267" y="120"/>
                </a:cubicBezTo>
                <a:cubicBezTo>
                  <a:pt x="267" y="120"/>
                  <a:pt x="267" y="120"/>
                  <a:pt x="267" y="120"/>
                </a:cubicBezTo>
                <a:cubicBezTo>
                  <a:pt x="267" y="121"/>
                  <a:pt x="267" y="121"/>
                  <a:pt x="267" y="122"/>
                </a:cubicBezTo>
                <a:cubicBezTo>
                  <a:pt x="266" y="122"/>
                  <a:pt x="266" y="123"/>
                  <a:pt x="266" y="124"/>
                </a:cubicBezTo>
                <a:cubicBezTo>
                  <a:pt x="266" y="124"/>
                  <a:pt x="266" y="125"/>
                  <a:pt x="265" y="125"/>
                </a:cubicBezTo>
                <a:cubicBezTo>
                  <a:pt x="265" y="126"/>
                  <a:pt x="265" y="126"/>
                  <a:pt x="265" y="127"/>
                </a:cubicBezTo>
                <a:cubicBezTo>
                  <a:pt x="265" y="128"/>
                  <a:pt x="265" y="128"/>
                  <a:pt x="266" y="128"/>
                </a:cubicBez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D68CB3A1-FE60-48A9-A167-E4FBDC6F2922}"/>
              </a:ext>
            </a:extLst>
          </p:cNvPr>
          <p:cNvSpPr>
            <a:spLocks/>
          </p:cNvSpPr>
          <p:nvPr/>
        </p:nvSpPr>
        <p:spPr bwMode="auto">
          <a:xfrm>
            <a:off x="11012132" y="2059322"/>
            <a:ext cx="264353" cy="436182"/>
          </a:xfrm>
          <a:custGeom>
            <a:avLst/>
            <a:gdLst>
              <a:gd name="T0" fmla="*/ 2 w 67"/>
              <a:gd name="T1" fmla="*/ 8 h 110"/>
              <a:gd name="T2" fmla="*/ 3 w 67"/>
              <a:gd name="T3" fmla="*/ 13 h 110"/>
              <a:gd name="T4" fmla="*/ 2 w 67"/>
              <a:gd name="T5" fmla="*/ 21 h 110"/>
              <a:gd name="T6" fmla="*/ 4 w 67"/>
              <a:gd name="T7" fmla="*/ 28 h 110"/>
              <a:gd name="T8" fmla="*/ 4 w 67"/>
              <a:gd name="T9" fmla="*/ 37 h 110"/>
              <a:gd name="T10" fmla="*/ 1 w 67"/>
              <a:gd name="T11" fmla="*/ 41 h 110"/>
              <a:gd name="T12" fmla="*/ 0 w 67"/>
              <a:gd name="T13" fmla="*/ 47 h 110"/>
              <a:gd name="T14" fmla="*/ 1 w 67"/>
              <a:gd name="T15" fmla="*/ 53 h 110"/>
              <a:gd name="T16" fmla="*/ 3 w 67"/>
              <a:gd name="T17" fmla="*/ 61 h 110"/>
              <a:gd name="T18" fmla="*/ 0 w 67"/>
              <a:gd name="T19" fmla="*/ 68 h 110"/>
              <a:gd name="T20" fmla="*/ 2 w 67"/>
              <a:gd name="T21" fmla="*/ 70 h 110"/>
              <a:gd name="T22" fmla="*/ 3 w 67"/>
              <a:gd name="T23" fmla="*/ 68 h 110"/>
              <a:gd name="T24" fmla="*/ 5 w 67"/>
              <a:gd name="T25" fmla="*/ 70 h 110"/>
              <a:gd name="T26" fmla="*/ 5 w 67"/>
              <a:gd name="T27" fmla="*/ 105 h 110"/>
              <a:gd name="T28" fmla="*/ 33 w 67"/>
              <a:gd name="T29" fmla="*/ 110 h 110"/>
              <a:gd name="T30" fmla="*/ 31 w 67"/>
              <a:gd name="T31" fmla="*/ 106 h 110"/>
              <a:gd name="T32" fmla="*/ 31 w 67"/>
              <a:gd name="T33" fmla="*/ 101 h 110"/>
              <a:gd name="T34" fmla="*/ 33 w 67"/>
              <a:gd name="T35" fmla="*/ 97 h 110"/>
              <a:gd name="T36" fmla="*/ 33 w 67"/>
              <a:gd name="T37" fmla="*/ 90 h 110"/>
              <a:gd name="T38" fmla="*/ 36 w 67"/>
              <a:gd name="T39" fmla="*/ 83 h 110"/>
              <a:gd name="T40" fmla="*/ 36 w 67"/>
              <a:gd name="T41" fmla="*/ 77 h 110"/>
              <a:gd name="T42" fmla="*/ 37 w 67"/>
              <a:gd name="T43" fmla="*/ 68 h 110"/>
              <a:gd name="T44" fmla="*/ 39 w 67"/>
              <a:gd name="T45" fmla="*/ 63 h 110"/>
              <a:gd name="T46" fmla="*/ 42 w 67"/>
              <a:gd name="T47" fmla="*/ 57 h 110"/>
              <a:gd name="T48" fmla="*/ 46 w 67"/>
              <a:gd name="T49" fmla="*/ 52 h 110"/>
              <a:gd name="T50" fmla="*/ 48 w 67"/>
              <a:gd name="T51" fmla="*/ 46 h 110"/>
              <a:gd name="T52" fmla="*/ 48 w 67"/>
              <a:gd name="T53" fmla="*/ 36 h 110"/>
              <a:gd name="T54" fmla="*/ 51 w 67"/>
              <a:gd name="T55" fmla="*/ 33 h 110"/>
              <a:gd name="T56" fmla="*/ 56 w 67"/>
              <a:gd name="T57" fmla="*/ 32 h 110"/>
              <a:gd name="T58" fmla="*/ 60 w 67"/>
              <a:gd name="T59" fmla="*/ 29 h 110"/>
              <a:gd name="T60" fmla="*/ 63 w 67"/>
              <a:gd name="T61" fmla="*/ 26 h 110"/>
              <a:gd name="T62" fmla="*/ 64 w 67"/>
              <a:gd name="T63" fmla="*/ 23 h 110"/>
              <a:gd name="T64" fmla="*/ 66 w 67"/>
              <a:gd name="T65" fmla="*/ 21 h 110"/>
              <a:gd name="T66" fmla="*/ 62 w 67"/>
              <a:gd name="T67" fmla="*/ 14 h 110"/>
              <a:gd name="T68" fmla="*/ 64 w 67"/>
              <a:gd name="T69" fmla="*/ 10 h 110"/>
              <a:gd name="T70" fmla="*/ 67 w 67"/>
              <a:gd name="T71" fmla="*/ 6 h 110"/>
              <a:gd name="T72" fmla="*/ 66 w 67"/>
              <a:gd name="T73" fmla="*/ 3 h 110"/>
              <a:gd name="T74" fmla="*/ 10 w 67"/>
              <a:gd name="T75" fmla="*/ 0 h 110"/>
              <a:gd name="T76" fmla="*/ 3 w 67"/>
              <a:gd name="T77" fmla="*/ 5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7" h="110">
                <a:moveTo>
                  <a:pt x="3" y="5"/>
                </a:moveTo>
                <a:cubicBezTo>
                  <a:pt x="3" y="6"/>
                  <a:pt x="2" y="7"/>
                  <a:pt x="2" y="8"/>
                </a:cubicBezTo>
                <a:cubicBezTo>
                  <a:pt x="1" y="9"/>
                  <a:pt x="2" y="9"/>
                  <a:pt x="3" y="10"/>
                </a:cubicBezTo>
                <a:cubicBezTo>
                  <a:pt x="3" y="11"/>
                  <a:pt x="3" y="12"/>
                  <a:pt x="3" y="13"/>
                </a:cubicBezTo>
                <a:cubicBezTo>
                  <a:pt x="3" y="13"/>
                  <a:pt x="3" y="15"/>
                  <a:pt x="2" y="16"/>
                </a:cubicBezTo>
                <a:cubicBezTo>
                  <a:pt x="2" y="18"/>
                  <a:pt x="2" y="20"/>
                  <a:pt x="2" y="21"/>
                </a:cubicBezTo>
                <a:cubicBezTo>
                  <a:pt x="1" y="22"/>
                  <a:pt x="3" y="24"/>
                  <a:pt x="4" y="25"/>
                </a:cubicBezTo>
                <a:cubicBezTo>
                  <a:pt x="4" y="26"/>
                  <a:pt x="4" y="28"/>
                  <a:pt x="4" y="28"/>
                </a:cubicBezTo>
                <a:cubicBezTo>
                  <a:pt x="4" y="29"/>
                  <a:pt x="4" y="31"/>
                  <a:pt x="4" y="32"/>
                </a:cubicBezTo>
                <a:cubicBezTo>
                  <a:pt x="3" y="32"/>
                  <a:pt x="4" y="37"/>
                  <a:pt x="4" y="37"/>
                </a:cubicBezTo>
                <a:cubicBezTo>
                  <a:pt x="4" y="37"/>
                  <a:pt x="3" y="38"/>
                  <a:pt x="3" y="39"/>
                </a:cubicBezTo>
                <a:cubicBezTo>
                  <a:pt x="2" y="39"/>
                  <a:pt x="1" y="40"/>
                  <a:pt x="1" y="41"/>
                </a:cubicBezTo>
                <a:cubicBezTo>
                  <a:pt x="1" y="41"/>
                  <a:pt x="1" y="43"/>
                  <a:pt x="0" y="44"/>
                </a:cubicBezTo>
                <a:cubicBezTo>
                  <a:pt x="0" y="44"/>
                  <a:pt x="0" y="47"/>
                  <a:pt x="0" y="47"/>
                </a:cubicBezTo>
                <a:cubicBezTo>
                  <a:pt x="0" y="47"/>
                  <a:pt x="1" y="49"/>
                  <a:pt x="1" y="49"/>
                </a:cubicBezTo>
                <a:cubicBezTo>
                  <a:pt x="1" y="49"/>
                  <a:pt x="1" y="52"/>
                  <a:pt x="1" y="53"/>
                </a:cubicBezTo>
                <a:cubicBezTo>
                  <a:pt x="1" y="53"/>
                  <a:pt x="1" y="58"/>
                  <a:pt x="1" y="58"/>
                </a:cubicBezTo>
                <a:cubicBezTo>
                  <a:pt x="3" y="61"/>
                  <a:pt x="3" y="61"/>
                  <a:pt x="3" y="61"/>
                </a:cubicBezTo>
                <a:cubicBezTo>
                  <a:pt x="3" y="61"/>
                  <a:pt x="1" y="65"/>
                  <a:pt x="1" y="65"/>
                </a:cubicBezTo>
                <a:cubicBezTo>
                  <a:pt x="1" y="66"/>
                  <a:pt x="0" y="68"/>
                  <a:pt x="0" y="68"/>
                </a:cubicBezTo>
                <a:cubicBezTo>
                  <a:pt x="0" y="68"/>
                  <a:pt x="1" y="69"/>
                  <a:pt x="1" y="70"/>
                </a:cubicBezTo>
                <a:cubicBezTo>
                  <a:pt x="1" y="70"/>
                  <a:pt x="2" y="70"/>
                  <a:pt x="2" y="70"/>
                </a:cubicBezTo>
                <a:cubicBezTo>
                  <a:pt x="2" y="69"/>
                  <a:pt x="2" y="69"/>
                  <a:pt x="2" y="69"/>
                </a:cubicBezTo>
                <a:cubicBezTo>
                  <a:pt x="2" y="69"/>
                  <a:pt x="3" y="68"/>
                  <a:pt x="3" y="68"/>
                </a:cubicBezTo>
                <a:cubicBezTo>
                  <a:pt x="3" y="68"/>
                  <a:pt x="4" y="68"/>
                  <a:pt x="4" y="68"/>
                </a:cubicBezTo>
                <a:cubicBezTo>
                  <a:pt x="5" y="68"/>
                  <a:pt x="5" y="69"/>
                  <a:pt x="5" y="70"/>
                </a:cubicBezTo>
                <a:cubicBezTo>
                  <a:pt x="5" y="70"/>
                  <a:pt x="6" y="71"/>
                  <a:pt x="6" y="71"/>
                </a:cubicBezTo>
                <a:cubicBezTo>
                  <a:pt x="5" y="105"/>
                  <a:pt x="5" y="105"/>
                  <a:pt x="5" y="105"/>
                </a:cubicBezTo>
                <a:cubicBezTo>
                  <a:pt x="6" y="109"/>
                  <a:pt x="6" y="109"/>
                  <a:pt x="6" y="109"/>
                </a:cubicBezTo>
                <a:cubicBezTo>
                  <a:pt x="33" y="110"/>
                  <a:pt x="33" y="110"/>
                  <a:pt x="33" y="110"/>
                </a:cubicBezTo>
                <a:cubicBezTo>
                  <a:pt x="31" y="107"/>
                  <a:pt x="31" y="107"/>
                  <a:pt x="31" y="107"/>
                </a:cubicBezTo>
                <a:cubicBezTo>
                  <a:pt x="31" y="107"/>
                  <a:pt x="31" y="106"/>
                  <a:pt x="31" y="106"/>
                </a:cubicBezTo>
                <a:cubicBezTo>
                  <a:pt x="31" y="106"/>
                  <a:pt x="30" y="104"/>
                  <a:pt x="30" y="103"/>
                </a:cubicBezTo>
                <a:cubicBezTo>
                  <a:pt x="30" y="103"/>
                  <a:pt x="31" y="101"/>
                  <a:pt x="31" y="101"/>
                </a:cubicBezTo>
                <a:cubicBezTo>
                  <a:pt x="31" y="101"/>
                  <a:pt x="31" y="99"/>
                  <a:pt x="31" y="99"/>
                </a:cubicBezTo>
                <a:cubicBezTo>
                  <a:pt x="31" y="99"/>
                  <a:pt x="33" y="97"/>
                  <a:pt x="33" y="97"/>
                </a:cubicBezTo>
                <a:cubicBezTo>
                  <a:pt x="33" y="96"/>
                  <a:pt x="34" y="92"/>
                  <a:pt x="34" y="92"/>
                </a:cubicBezTo>
                <a:cubicBezTo>
                  <a:pt x="34" y="91"/>
                  <a:pt x="33" y="90"/>
                  <a:pt x="33" y="90"/>
                </a:cubicBezTo>
                <a:cubicBezTo>
                  <a:pt x="33" y="89"/>
                  <a:pt x="34" y="89"/>
                  <a:pt x="34" y="88"/>
                </a:cubicBezTo>
                <a:cubicBezTo>
                  <a:pt x="34" y="88"/>
                  <a:pt x="36" y="83"/>
                  <a:pt x="36" y="83"/>
                </a:cubicBezTo>
                <a:cubicBezTo>
                  <a:pt x="36" y="83"/>
                  <a:pt x="35" y="82"/>
                  <a:pt x="35" y="81"/>
                </a:cubicBezTo>
                <a:cubicBezTo>
                  <a:pt x="35" y="80"/>
                  <a:pt x="36" y="78"/>
                  <a:pt x="36" y="77"/>
                </a:cubicBezTo>
                <a:cubicBezTo>
                  <a:pt x="36" y="77"/>
                  <a:pt x="35" y="73"/>
                  <a:pt x="35" y="73"/>
                </a:cubicBezTo>
                <a:cubicBezTo>
                  <a:pt x="35" y="72"/>
                  <a:pt x="37" y="68"/>
                  <a:pt x="37" y="68"/>
                </a:cubicBezTo>
                <a:cubicBezTo>
                  <a:pt x="38" y="67"/>
                  <a:pt x="39" y="65"/>
                  <a:pt x="39" y="64"/>
                </a:cubicBezTo>
                <a:cubicBezTo>
                  <a:pt x="39" y="64"/>
                  <a:pt x="39" y="63"/>
                  <a:pt x="39" y="63"/>
                </a:cubicBezTo>
                <a:cubicBezTo>
                  <a:pt x="39" y="63"/>
                  <a:pt x="41" y="61"/>
                  <a:pt x="42" y="60"/>
                </a:cubicBezTo>
                <a:cubicBezTo>
                  <a:pt x="42" y="60"/>
                  <a:pt x="42" y="58"/>
                  <a:pt x="42" y="57"/>
                </a:cubicBezTo>
                <a:cubicBezTo>
                  <a:pt x="43" y="57"/>
                  <a:pt x="44" y="54"/>
                  <a:pt x="45" y="54"/>
                </a:cubicBezTo>
                <a:cubicBezTo>
                  <a:pt x="45" y="53"/>
                  <a:pt x="46" y="52"/>
                  <a:pt x="46" y="52"/>
                </a:cubicBezTo>
                <a:cubicBezTo>
                  <a:pt x="46" y="52"/>
                  <a:pt x="46" y="49"/>
                  <a:pt x="46" y="49"/>
                </a:cubicBezTo>
                <a:cubicBezTo>
                  <a:pt x="46" y="49"/>
                  <a:pt x="48" y="46"/>
                  <a:pt x="48" y="46"/>
                </a:cubicBezTo>
                <a:cubicBezTo>
                  <a:pt x="48" y="45"/>
                  <a:pt x="48" y="40"/>
                  <a:pt x="48" y="40"/>
                </a:cubicBezTo>
                <a:cubicBezTo>
                  <a:pt x="48" y="40"/>
                  <a:pt x="48" y="37"/>
                  <a:pt x="48" y="36"/>
                </a:cubicBezTo>
                <a:cubicBezTo>
                  <a:pt x="48" y="36"/>
                  <a:pt x="48" y="34"/>
                  <a:pt x="48" y="34"/>
                </a:cubicBezTo>
                <a:cubicBezTo>
                  <a:pt x="49" y="34"/>
                  <a:pt x="51" y="33"/>
                  <a:pt x="51" y="33"/>
                </a:cubicBezTo>
                <a:cubicBezTo>
                  <a:pt x="51" y="33"/>
                  <a:pt x="53" y="33"/>
                  <a:pt x="53" y="33"/>
                </a:cubicBezTo>
                <a:cubicBezTo>
                  <a:pt x="54" y="33"/>
                  <a:pt x="56" y="32"/>
                  <a:pt x="56" y="32"/>
                </a:cubicBezTo>
                <a:cubicBezTo>
                  <a:pt x="57" y="30"/>
                  <a:pt x="57" y="30"/>
                  <a:pt x="57" y="30"/>
                </a:cubicBezTo>
                <a:cubicBezTo>
                  <a:pt x="57" y="30"/>
                  <a:pt x="60" y="29"/>
                  <a:pt x="60" y="29"/>
                </a:cubicBezTo>
                <a:cubicBezTo>
                  <a:pt x="61" y="29"/>
                  <a:pt x="61" y="28"/>
                  <a:pt x="62" y="27"/>
                </a:cubicBezTo>
                <a:cubicBezTo>
                  <a:pt x="62" y="27"/>
                  <a:pt x="63" y="26"/>
                  <a:pt x="63" y="26"/>
                </a:cubicBezTo>
                <a:cubicBezTo>
                  <a:pt x="64" y="26"/>
                  <a:pt x="64" y="25"/>
                  <a:pt x="64" y="25"/>
                </a:cubicBezTo>
                <a:cubicBezTo>
                  <a:pt x="64" y="25"/>
                  <a:pt x="64" y="24"/>
                  <a:pt x="64" y="23"/>
                </a:cubicBezTo>
                <a:cubicBezTo>
                  <a:pt x="64" y="23"/>
                  <a:pt x="64" y="22"/>
                  <a:pt x="64" y="22"/>
                </a:cubicBezTo>
                <a:cubicBezTo>
                  <a:pt x="64" y="22"/>
                  <a:pt x="66" y="21"/>
                  <a:pt x="66" y="21"/>
                </a:cubicBezTo>
                <a:cubicBezTo>
                  <a:pt x="66" y="21"/>
                  <a:pt x="64" y="17"/>
                  <a:pt x="64" y="16"/>
                </a:cubicBezTo>
                <a:cubicBezTo>
                  <a:pt x="63" y="16"/>
                  <a:pt x="62" y="14"/>
                  <a:pt x="62" y="14"/>
                </a:cubicBezTo>
                <a:cubicBezTo>
                  <a:pt x="62" y="13"/>
                  <a:pt x="63" y="12"/>
                  <a:pt x="63" y="12"/>
                </a:cubicBezTo>
                <a:cubicBezTo>
                  <a:pt x="64" y="12"/>
                  <a:pt x="64" y="11"/>
                  <a:pt x="64" y="10"/>
                </a:cubicBezTo>
                <a:cubicBezTo>
                  <a:pt x="65" y="10"/>
                  <a:pt x="65" y="7"/>
                  <a:pt x="66" y="7"/>
                </a:cubicBezTo>
                <a:cubicBezTo>
                  <a:pt x="66" y="7"/>
                  <a:pt x="67" y="6"/>
                  <a:pt x="67" y="6"/>
                </a:cubicBezTo>
                <a:cubicBezTo>
                  <a:pt x="67" y="6"/>
                  <a:pt x="67" y="5"/>
                  <a:pt x="67" y="5"/>
                </a:cubicBezTo>
                <a:cubicBezTo>
                  <a:pt x="67" y="4"/>
                  <a:pt x="66" y="3"/>
                  <a:pt x="66" y="3"/>
                </a:cubicBezTo>
                <a:cubicBezTo>
                  <a:pt x="66" y="3"/>
                  <a:pt x="67" y="0"/>
                  <a:pt x="67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0"/>
                  <a:pt x="3" y="4"/>
                  <a:pt x="3" y="5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Freeform 14">
            <a:extLst>
              <a:ext uri="{FF2B5EF4-FFF2-40B4-BE49-F238E27FC236}">
                <a16:creationId xmlns:a16="http://schemas.microsoft.com/office/drawing/2014/main" id="{B02A40E2-1179-4B15-A893-9F45B44F13A7}"/>
              </a:ext>
            </a:extLst>
          </p:cNvPr>
          <p:cNvSpPr>
            <a:spLocks/>
          </p:cNvSpPr>
          <p:nvPr/>
        </p:nvSpPr>
        <p:spPr bwMode="auto">
          <a:xfrm>
            <a:off x="5459076" y="2630985"/>
            <a:ext cx="684012" cy="887234"/>
          </a:xfrm>
          <a:custGeom>
            <a:avLst/>
            <a:gdLst>
              <a:gd name="T0" fmla="*/ 414 w 414"/>
              <a:gd name="T1" fmla="*/ 537 h 537"/>
              <a:gd name="T2" fmla="*/ 0 w 414"/>
              <a:gd name="T3" fmla="*/ 537 h 537"/>
              <a:gd name="T4" fmla="*/ 0 w 414"/>
              <a:gd name="T5" fmla="*/ 0 h 537"/>
              <a:gd name="T6" fmla="*/ 247 w 414"/>
              <a:gd name="T7" fmla="*/ 0 h 537"/>
              <a:gd name="T8" fmla="*/ 247 w 414"/>
              <a:gd name="T9" fmla="*/ 110 h 537"/>
              <a:gd name="T10" fmla="*/ 412 w 414"/>
              <a:gd name="T11" fmla="*/ 110 h 537"/>
              <a:gd name="T12" fmla="*/ 414 w 414"/>
              <a:gd name="T13" fmla="*/ 537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4" h="537">
                <a:moveTo>
                  <a:pt x="414" y="537"/>
                </a:moveTo>
                <a:lnTo>
                  <a:pt x="0" y="537"/>
                </a:lnTo>
                <a:lnTo>
                  <a:pt x="0" y="0"/>
                </a:lnTo>
                <a:lnTo>
                  <a:pt x="247" y="0"/>
                </a:lnTo>
                <a:lnTo>
                  <a:pt x="247" y="110"/>
                </a:lnTo>
                <a:lnTo>
                  <a:pt x="412" y="110"/>
                </a:lnTo>
                <a:lnTo>
                  <a:pt x="414" y="537"/>
                </a:lnTo>
                <a:close/>
              </a:path>
            </a:pathLst>
          </a:custGeom>
          <a:solidFill>
            <a:srgbClr val="002060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Freeform 15">
            <a:extLst>
              <a:ext uri="{FF2B5EF4-FFF2-40B4-BE49-F238E27FC236}">
                <a16:creationId xmlns:a16="http://schemas.microsoft.com/office/drawing/2014/main" id="{6A1A14D2-ED1D-45BF-8118-2BA275D2089E}"/>
              </a:ext>
            </a:extLst>
          </p:cNvPr>
          <p:cNvSpPr>
            <a:spLocks noEditPoints="1"/>
          </p:cNvSpPr>
          <p:nvPr/>
        </p:nvSpPr>
        <p:spPr bwMode="auto">
          <a:xfrm>
            <a:off x="6471876" y="3602482"/>
            <a:ext cx="1790989" cy="1711685"/>
          </a:xfrm>
          <a:custGeom>
            <a:avLst/>
            <a:gdLst>
              <a:gd name="T0" fmla="*/ 345 w 452"/>
              <a:gd name="T1" fmla="*/ 339 h 432"/>
              <a:gd name="T2" fmla="*/ 348 w 452"/>
              <a:gd name="T3" fmla="*/ 339 h 432"/>
              <a:gd name="T4" fmla="*/ 335 w 452"/>
              <a:gd name="T5" fmla="*/ 350 h 432"/>
              <a:gd name="T6" fmla="*/ 324 w 452"/>
              <a:gd name="T7" fmla="*/ 369 h 432"/>
              <a:gd name="T8" fmla="*/ 323 w 452"/>
              <a:gd name="T9" fmla="*/ 367 h 432"/>
              <a:gd name="T10" fmla="*/ 321 w 452"/>
              <a:gd name="T11" fmla="*/ 379 h 432"/>
              <a:gd name="T12" fmla="*/ 320 w 452"/>
              <a:gd name="T13" fmla="*/ 397 h 432"/>
              <a:gd name="T14" fmla="*/ 321 w 452"/>
              <a:gd name="T15" fmla="*/ 397 h 432"/>
              <a:gd name="T16" fmla="*/ 447 w 452"/>
              <a:gd name="T17" fmla="*/ 217 h 432"/>
              <a:gd name="T18" fmla="*/ 435 w 452"/>
              <a:gd name="T19" fmla="*/ 189 h 432"/>
              <a:gd name="T20" fmla="*/ 426 w 452"/>
              <a:gd name="T21" fmla="*/ 124 h 432"/>
              <a:gd name="T22" fmla="*/ 417 w 452"/>
              <a:gd name="T23" fmla="*/ 121 h 432"/>
              <a:gd name="T24" fmla="*/ 410 w 452"/>
              <a:gd name="T25" fmla="*/ 117 h 432"/>
              <a:gd name="T26" fmla="*/ 398 w 452"/>
              <a:gd name="T27" fmla="*/ 110 h 432"/>
              <a:gd name="T28" fmla="*/ 382 w 452"/>
              <a:gd name="T29" fmla="*/ 111 h 432"/>
              <a:gd name="T30" fmla="*/ 370 w 452"/>
              <a:gd name="T31" fmla="*/ 112 h 432"/>
              <a:gd name="T32" fmla="*/ 356 w 452"/>
              <a:gd name="T33" fmla="*/ 118 h 432"/>
              <a:gd name="T34" fmla="*/ 340 w 452"/>
              <a:gd name="T35" fmla="*/ 113 h 432"/>
              <a:gd name="T36" fmla="*/ 331 w 452"/>
              <a:gd name="T37" fmla="*/ 113 h 432"/>
              <a:gd name="T38" fmla="*/ 324 w 452"/>
              <a:gd name="T39" fmla="*/ 112 h 432"/>
              <a:gd name="T40" fmla="*/ 309 w 452"/>
              <a:gd name="T41" fmla="*/ 107 h 432"/>
              <a:gd name="T42" fmla="*/ 295 w 452"/>
              <a:gd name="T43" fmla="*/ 105 h 432"/>
              <a:gd name="T44" fmla="*/ 269 w 452"/>
              <a:gd name="T45" fmla="*/ 100 h 432"/>
              <a:gd name="T46" fmla="*/ 254 w 452"/>
              <a:gd name="T47" fmla="*/ 90 h 432"/>
              <a:gd name="T48" fmla="*/ 238 w 452"/>
              <a:gd name="T49" fmla="*/ 90 h 432"/>
              <a:gd name="T50" fmla="*/ 0 w 452"/>
              <a:gd name="T51" fmla="*/ 190 h 432"/>
              <a:gd name="T52" fmla="*/ 19 w 452"/>
              <a:gd name="T53" fmla="*/ 212 h 432"/>
              <a:gd name="T54" fmla="*/ 52 w 452"/>
              <a:gd name="T55" fmla="*/ 239 h 432"/>
              <a:gd name="T56" fmla="*/ 80 w 452"/>
              <a:gd name="T57" fmla="*/ 288 h 432"/>
              <a:gd name="T58" fmla="*/ 112 w 452"/>
              <a:gd name="T59" fmla="*/ 309 h 432"/>
              <a:gd name="T60" fmla="*/ 129 w 452"/>
              <a:gd name="T61" fmla="*/ 297 h 432"/>
              <a:gd name="T62" fmla="*/ 147 w 452"/>
              <a:gd name="T63" fmla="*/ 276 h 432"/>
              <a:gd name="T64" fmla="*/ 175 w 452"/>
              <a:gd name="T65" fmla="*/ 278 h 432"/>
              <a:gd name="T66" fmla="*/ 186 w 452"/>
              <a:gd name="T67" fmla="*/ 288 h 432"/>
              <a:gd name="T68" fmla="*/ 216 w 452"/>
              <a:gd name="T69" fmla="*/ 330 h 432"/>
              <a:gd name="T70" fmla="*/ 244 w 452"/>
              <a:gd name="T71" fmla="*/ 363 h 432"/>
              <a:gd name="T72" fmla="*/ 254 w 452"/>
              <a:gd name="T73" fmla="*/ 393 h 432"/>
              <a:gd name="T74" fmla="*/ 270 w 452"/>
              <a:gd name="T75" fmla="*/ 411 h 432"/>
              <a:gd name="T76" fmla="*/ 295 w 452"/>
              <a:gd name="T77" fmla="*/ 423 h 432"/>
              <a:gd name="T78" fmla="*/ 327 w 452"/>
              <a:gd name="T79" fmla="*/ 428 h 432"/>
              <a:gd name="T80" fmla="*/ 321 w 452"/>
              <a:gd name="T81" fmla="*/ 415 h 432"/>
              <a:gd name="T82" fmla="*/ 314 w 452"/>
              <a:gd name="T83" fmla="*/ 394 h 432"/>
              <a:gd name="T84" fmla="*/ 317 w 452"/>
              <a:gd name="T85" fmla="*/ 380 h 432"/>
              <a:gd name="T86" fmla="*/ 311 w 452"/>
              <a:gd name="T87" fmla="*/ 376 h 432"/>
              <a:gd name="T88" fmla="*/ 321 w 452"/>
              <a:gd name="T89" fmla="*/ 369 h 432"/>
              <a:gd name="T90" fmla="*/ 319 w 452"/>
              <a:gd name="T91" fmla="*/ 356 h 432"/>
              <a:gd name="T92" fmla="*/ 327 w 452"/>
              <a:gd name="T93" fmla="*/ 354 h 432"/>
              <a:gd name="T94" fmla="*/ 329 w 452"/>
              <a:gd name="T95" fmla="*/ 343 h 432"/>
              <a:gd name="T96" fmla="*/ 340 w 452"/>
              <a:gd name="T97" fmla="*/ 336 h 432"/>
              <a:gd name="T98" fmla="*/ 352 w 452"/>
              <a:gd name="T99" fmla="*/ 329 h 432"/>
              <a:gd name="T100" fmla="*/ 351 w 452"/>
              <a:gd name="T101" fmla="*/ 324 h 432"/>
              <a:gd name="T102" fmla="*/ 360 w 452"/>
              <a:gd name="T103" fmla="*/ 323 h 432"/>
              <a:gd name="T104" fmla="*/ 368 w 452"/>
              <a:gd name="T105" fmla="*/ 325 h 432"/>
              <a:gd name="T106" fmla="*/ 370 w 452"/>
              <a:gd name="T107" fmla="*/ 323 h 432"/>
              <a:gd name="T108" fmla="*/ 397 w 452"/>
              <a:gd name="T109" fmla="*/ 307 h 432"/>
              <a:gd name="T110" fmla="*/ 406 w 452"/>
              <a:gd name="T111" fmla="*/ 297 h 432"/>
              <a:gd name="T112" fmla="*/ 401 w 452"/>
              <a:gd name="T113" fmla="*/ 285 h 432"/>
              <a:gd name="T114" fmla="*/ 407 w 452"/>
              <a:gd name="T115" fmla="*/ 281 h 432"/>
              <a:gd name="T116" fmla="*/ 419 w 452"/>
              <a:gd name="T117" fmla="*/ 288 h 432"/>
              <a:gd name="T118" fmla="*/ 435 w 452"/>
              <a:gd name="T119" fmla="*/ 283 h 432"/>
              <a:gd name="T120" fmla="*/ 446 w 452"/>
              <a:gd name="T121" fmla="*/ 258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52" h="432">
                <a:moveTo>
                  <a:pt x="331" y="354"/>
                </a:moveTo>
                <a:cubicBezTo>
                  <a:pt x="331" y="353"/>
                  <a:pt x="331" y="352"/>
                  <a:pt x="332" y="352"/>
                </a:cubicBezTo>
                <a:cubicBezTo>
                  <a:pt x="332" y="351"/>
                  <a:pt x="333" y="349"/>
                  <a:pt x="334" y="349"/>
                </a:cubicBezTo>
                <a:cubicBezTo>
                  <a:pt x="334" y="348"/>
                  <a:pt x="334" y="347"/>
                  <a:pt x="335" y="347"/>
                </a:cubicBezTo>
                <a:cubicBezTo>
                  <a:pt x="335" y="347"/>
                  <a:pt x="335" y="346"/>
                  <a:pt x="336" y="346"/>
                </a:cubicBezTo>
                <a:cubicBezTo>
                  <a:pt x="336" y="346"/>
                  <a:pt x="336" y="346"/>
                  <a:pt x="336" y="345"/>
                </a:cubicBezTo>
                <a:cubicBezTo>
                  <a:pt x="336" y="345"/>
                  <a:pt x="337" y="345"/>
                  <a:pt x="338" y="344"/>
                </a:cubicBezTo>
                <a:cubicBezTo>
                  <a:pt x="339" y="344"/>
                  <a:pt x="339" y="343"/>
                  <a:pt x="340" y="342"/>
                </a:cubicBezTo>
                <a:cubicBezTo>
                  <a:pt x="340" y="342"/>
                  <a:pt x="340" y="341"/>
                  <a:pt x="341" y="341"/>
                </a:cubicBezTo>
                <a:cubicBezTo>
                  <a:pt x="341" y="341"/>
                  <a:pt x="342" y="341"/>
                  <a:pt x="342" y="340"/>
                </a:cubicBezTo>
                <a:cubicBezTo>
                  <a:pt x="343" y="340"/>
                  <a:pt x="343" y="340"/>
                  <a:pt x="344" y="339"/>
                </a:cubicBezTo>
                <a:cubicBezTo>
                  <a:pt x="344" y="339"/>
                  <a:pt x="344" y="339"/>
                  <a:pt x="345" y="339"/>
                </a:cubicBezTo>
                <a:cubicBezTo>
                  <a:pt x="346" y="338"/>
                  <a:pt x="346" y="338"/>
                  <a:pt x="347" y="338"/>
                </a:cubicBezTo>
                <a:cubicBezTo>
                  <a:pt x="347" y="338"/>
                  <a:pt x="348" y="337"/>
                  <a:pt x="348" y="337"/>
                </a:cubicBezTo>
                <a:cubicBezTo>
                  <a:pt x="349" y="336"/>
                  <a:pt x="350" y="336"/>
                  <a:pt x="350" y="336"/>
                </a:cubicBezTo>
                <a:cubicBezTo>
                  <a:pt x="351" y="335"/>
                  <a:pt x="351" y="335"/>
                  <a:pt x="351" y="335"/>
                </a:cubicBezTo>
                <a:cubicBezTo>
                  <a:pt x="352" y="335"/>
                  <a:pt x="352" y="334"/>
                  <a:pt x="352" y="334"/>
                </a:cubicBezTo>
                <a:cubicBezTo>
                  <a:pt x="352" y="334"/>
                  <a:pt x="353" y="333"/>
                  <a:pt x="353" y="334"/>
                </a:cubicBezTo>
                <a:cubicBezTo>
                  <a:pt x="353" y="334"/>
                  <a:pt x="353" y="335"/>
                  <a:pt x="353" y="335"/>
                </a:cubicBezTo>
                <a:cubicBezTo>
                  <a:pt x="353" y="336"/>
                  <a:pt x="353" y="336"/>
                  <a:pt x="352" y="337"/>
                </a:cubicBezTo>
                <a:cubicBezTo>
                  <a:pt x="352" y="337"/>
                  <a:pt x="352" y="337"/>
                  <a:pt x="351" y="337"/>
                </a:cubicBezTo>
                <a:cubicBezTo>
                  <a:pt x="351" y="337"/>
                  <a:pt x="351" y="337"/>
                  <a:pt x="350" y="337"/>
                </a:cubicBezTo>
                <a:cubicBezTo>
                  <a:pt x="350" y="338"/>
                  <a:pt x="349" y="338"/>
                  <a:pt x="348" y="338"/>
                </a:cubicBezTo>
                <a:cubicBezTo>
                  <a:pt x="348" y="338"/>
                  <a:pt x="348" y="339"/>
                  <a:pt x="348" y="339"/>
                </a:cubicBezTo>
                <a:cubicBezTo>
                  <a:pt x="348" y="339"/>
                  <a:pt x="347" y="339"/>
                  <a:pt x="347" y="339"/>
                </a:cubicBezTo>
                <a:cubicBezTo>
                  <a:pt x="346" y="340"/>
                  <a:pt x="346" y="340"/>
                  <a:pt x="345" y="341"/>
                </a:cubicBezTo>
                <a:cubicBezTo>
                  <a:pt x="345" y="341"/>
                  <a:pt x="344" y="341"/>
                  <a:pt x="344" y="342"/>
                </a:cubicBezTo>
                <a:cubicBezTo>
                  <a:pt x="344" y="342"/>
                  <a:pt x="343" y="342"/>
                  <a:pt x="343" y="342"/>
                </a:cubicBezTo>
                <a:cubicBezTo>
                  <a:pt x="343" y="342"/>
                  <a:pt x="343" y="342"/>
                  <a:pt x="342" y="343"/>
                </a:cubicBezTo>
                <a:cubicBezTo>
                  <a:pt x="342" y="343"/>
                  <a:pt x="342" y="343"/>
                  <a:pt x="341" y="343"/>
                </a:cubicBezTo>
                <a:cubicBezTo>
                  <a:pt x="341" y="344"/>
                  <a:pt x="341" y="344"/>
                  <a:pt x="341" y="344"/>
                </a:cubicBezTo>
                <a:cubicBezTo>
                  <a:pt x="340" y="344"/>
                  <a:pt x="340" y="344"/>
                  <a:pt x="340" y="345"/>
                </a:cubicBezTo>
                <a:cubicBezTo>
                  <a:pt x="339" y="345"/>
                  <a:pt x="338" y="346"/>
                  <a:pt x="337" y="346"/>
                </a:cubicBezTo>
                <a:cubicBezTo>
                  <a:pt x="337" y="347"/>
                  <a:pt x="336" y="348"/>
                  <a:pt x="336" y="348"/>
                </a:cubicBezTo>
                <a:cubicBezTo>
                  <a:pt x="336" y="348"/>
                  <a:pt x="336" y="348"/>
                  <a:pt x="336" y="349"/>
                </a:cubicBezTo>
                <a:cubicBezTo>
                  <a:pt x="336" y="349"/>
                  <a:pt x="336" y="349"/>
                  <a:pt x="335" y="350"/>
                </a:cubicBezTo>
                <a:cubicBezTo>
                  <a:pt x="334" y="351"/>
                  <a:pt x="332" y="352"/>
                  <a:pt x="331" y="354"/>
                </a:cubicBezTo>
                <a:cubicBezTo>
                  <a:pt x="331" y="354"/>
                  <a:pt x="331" y="355"/>
                  <a:pt x="331" y="354"/>
                </a:cubicBezTo>
                <a:close/>
                <a:moveTo>
                  <a:pt x="330" y="356"/>
                </a:moveTo>
                <a:cubicBezTo>
                  <a:pt x="330" y="356"/>
                  <a:pt x="330" y="356"/>
                  <a:pt x="330" y="356"/>
                </a:cubicBezTo>
                <a:cubicBezTo>
                  <a:pt x="330" y="356"/>
                  <a:pt x="330" y="356"/>
                  <a:pt x="330" y="356"/>
                </a:cubicBezTo>
                <a:cubicBezTo>
                  <a:pt x="331" y="356"/>
                  <a:pt x="331" y="355"/>
                  <a:pt x="330" y="355"/>
                </a:cubicBezTo>
                <a:cubicBezTo>
                  <a:pt x="330" y="355"/>
                  <a:pt x="330" y="356"/>
                  <a:pt x="330" y="356"/>
                </a:cubicBezTo>
                <a:close/>
                <a:moveTo>
                  <a:pt x="321" y="375"/>
                </a:moveTo>
                <a:cubicBezTo>
                  <a:pt x="322" y="374"/>
                  <a:pt x="322" y="374"/>
                  <a:pt x="322" y="374"/>
                </a:cubicBezTo>
                <a:cubicBezTo>
                  <a:pt x="322" y="373"/>
                  <a:pt x="322" y="373"/>
                  <a:pt x="322" y="372"/>
                </a:cubicBezTo>
                <a:cubicBezTo>
                  <a:pt x="323" y="372"/>
                  <a:pt x="323" y="371"/>
                  <a:pt x="323" y="370"/>
                </a:cubicBezTo>
                <a:cubicBezTo>
                  <a:pt x="323" y="370"/>
                  <a:pt x="323" y="369"/>
                  <a:pt x="324" y="369"/>
                </a:cubicBezTo>
                <a:cubicBezTo>
                  <a:pt x="324" y="368"/>
                  <a:pt x="325" y="367"/>
                  <a:pt x="325" y="366"/>
                </a:cubicBezTo>
                <a:cubicBezTo>
                  <a:pt x="325" y="365"/>
                  <a:pt x="326" y="365"/>
                  <a:pt x="326" y="364"/>
                </a:cubicBezTo>
                <a:cubicBezTo>
                  <a:pt x="326" y="364"/>
                  <a:pt x="326" y="363"/>
                  <a:pt x="327" y="363"/>
                </a:cubicBezTo>
                <a:cubicBezTo>
                  <a:pt x="327" y="362"/>
                  <a:pt x="327" y="361"/>
                  <a:pt x="328" y="360"/>
                </a:cubicBezTo>
                <a:cubicBezTo>
                  <a:pt x="328" y="360"/>
                  <a:pt x="329" y="359"/>
                  <a:pt x="329" y="359"/>
                </a:cubicBezTo>
                <a:cubicBezTo>
                  <a:pt x="329" y="358"/>
                  <a:pt x="330" y="357"/>
                  <a:pt x="329" y="357"/>
                </a:cubicBezTo>
                <a:cubicBezTo>
                  <a:pt x="329" y="357"/>
                  <a:pt x="329" y="357"/>
                  <a:pt x="329" y="358"/>
                </a:cubicBezTo>
                <a:cubicBezTo>
                  <a:pt x="328" y="358"/>
                  <a:pt x="328" y="358"/>
                  <a:pt x="328" y="358"/>
                </a:cubicBezTo>
                <a:cubicBezTo>
                  <a:pt x="327" y="359"/>
                  <a:pt x="327" y="360"/>
                  <a:pt x="327" y="360"/>
                </a:cubicBezTo>
                <a:cubicBezTo>
                  <a:pt x="326" y="361"/>
                  <a:pt x="326" y="361"/>
                  <a:pt x="325" y="362"/>
                </a:cubicBezTo>
                <a:cubicBezTo>
                  <a:pt x="325" y="363"/>
                  <a:pt x="324" y="364"/>
                  <a:pt x="324" y="365"/>
                </a:cubicBezTo>
                <a:cubicBezTo>
                  <a:pt x="324" y="366"/>
                  <a:pt x="324" y="366"/>
                  <a:pt x="323" y="367"/>
                </a:cubicBezTo>
                <a:cubicBezTo>
                  <a:pt x="323" y="367"/>
                  <a:pt x="323" y="367"/>
                  <a:pt x="323" y="368"/>
                </a:cubicBezTo>
                <a:cubicBezTo>
                  <a:pt x="322" y="369"/>
                  <a:pt x="322" y="370"/>
                  <a:pt x="322" y="371"/>
                </a:cubicBezTo>
                <a:cubicBezTo>
                  <a:pt x="321" y="371"/>
                  <a:pt x="321" y="371"/>
                  <a:pt x="321" y="372"/>
                </a:cubicBezTo>
                <a:cubicBezTo>
                  <a:pt x="321" y="372"/>
                  <a:pt x="321" y="372"/>
                  <a:pt x="321" y="373"/>
                </a:cubicBezTo>
                <a:cubicBezTo>
                  <a:pt x="321" y="374"/>
                  <a:pt x="321" y="375"/>
                  <a:pt x="321" y="375"/>
                </a:cubicBezTo>
                <a:cubicBezTo>
                  <a:pt x="321" y="375"/>
                  <a:pt x="321" y="375"/>
                  <a:pt x="321" y="375"/>
                </a:cubicBezTo>
                <a:close/>
                <a:moveTo>
                  <a:pt x="321" y="379"/>
                </a:moveTo>
                <a:cubicBezTo>
                  <a:pt x="321" y="379"/>
                  <a:pt x="321" y="378"/>
                  <a:pt x="321" y="378"/>
                </a:cubicBezTo>
                <a:cubicBezTo>
                  <a:pt x="321" y="377"/>
                  <a:pt x="321" y="377"/>
                  <a:pt x="321" y="377"/>
                </a:cubicBezTo>
                <a:cubicBezTo>
                  <a:pt x="321" y="377"/>
                  <a:pt x="321" y="377"/>
                  <a:pt x="321" y="376"/>
                </a:cubicBezTo>
                <a:cubicBezTo>
                  <a:pt x="320" y="377"/>
                  <a:pt x="320" y="377"/>
                  <a:pt x="320" y="378"/>
                </a:cubicBezTo>
                <a:cubicBezTo>
                  <a:pt x="320" y="378"/>
                  <a:pt x="320" y="379"/>
                  <a:pt x="321" y="379"/>
                </a:cubicBezTo>
                <a:close/>
                <a:moveTo>
                  <a:pt x="320" y="387"/>
                </a:moveTo>
                <a:cubicBezTo>
                  <a:pt x="320" y="386"/>
                  <a:pt x="320" y="386"/>
                  <a:pt x="320" y="386"/>
                </a:cubicBezTo>
                <a:cubicBezTo>
                  <a:pt x="320" y="385"/>
                  <a:pt x="320" y="384"/>
                  <a:pt x="320" y="384"/>
                </a:cubicBezTo>
                <a:cubicBezTo>
                  <a:pt x="320" y="383"/>
                  <a:pt x="320" y="382"/>
                  <a:pt x="320" y="382"/>
                </a:cubicBezTo>
                <a:cubicBezTo>
                  <a:pt x="320" y="381"/>
                  <a:pt x="320" y="381"/>
                  <a:pt x="320" y="381"/>
                </a:cubicBezTo>
                <a:cubicBezTo>
                  <a:pt x="320" y="380"/>
                  <a:pt x="319" y="380"/>
                  <a:pt x="319" y="381"/>
                </a:cubicBezTo>
                <a:cubicBezTo>
                  <a:pt x="319" y="381"/>
                  <a:pt x="319" y="381"/>
                  <a:pt x="319" y="382"/>
                </a:cubicBezTo>
                <a:cubicBezTo>
                  <a:pt x="319" y="382"/>
                  <a:pt x="319" y="383"/>
                  <a:pt x="319" y="384"/>
                </a:cubicBezTo>
                <a:cubicBezTo>
                  <a:pt x="319" y="385"/>
                  <a:pt x="319" y="385"/>
                  <a:pt x="319" y="386"/>
                </a:cubicBezTo>
                <a:cubicBezTo>
                  <a:pt x="319" y="386"/>
                  <a:pt x="319" y="386"/>
                  <a:pt x="319" y="386"/>
                </a:cubicBezTo>
                <a:cubicBezTo>
                  <a:pt x="320" y="387"/>
                  <a:pt x="320" y="387"/>
                  <a:pt x="320" y="387"/>
                </a:cubicBezTo>
                <a:close/>
                <a:moveTo>
                  <a:pt x="320" y="397"/>
                </a:moveTo>
                <a:cubicBezTo>
                  <a:pt x="320" y="397"/>
                  <a:pt x="320" y="398"/>
                  <a:pt x="320" y="398"/>
                </a:cubicBezTo>
                <a:cubicBezTo>
                  <a:pt x="320" y="399"/>
                  <a:pt x="320" y="399"/>
                  <a:pt x="321" y="399"/>
                </a:cubicBezTo>
                <a:cubicBezTo>
                  <a:pt x="321" y="399"/>
                  <a:pt x="321" y="399"/>
                  <a:pt x="321" y="400"/>
                </a:cubicBezTo>
                <a:cubicBezTo>
                  <a:pt x="321" y="400"/>
                  <a:pt x="321" y="400"/>
                  <a:pt x="321" y="400"/>
                </a:cubicBezTo>
                <a:cubicBezTo>
                  <a:pt x="321" y="400"/>
                  <a:pt x="321" y="401"/>
                  <a:pt x="322" y="401"/>
                </a:cubicBezTo>
                <a:cubicBezTo>
                  <a:pt x="322" y="402"/>
                  <a:pt x="322" y="402"/>
                  <a:pt x="322" y="403"/>
                </a:cubicBezTo>
                <a:cubicBezTo>
                  <a:pt x="322" y="403"/>
                  <a:pt x="322" y="404"/>
                  <a:pt x="323" y="404"/>
                </a:cubicBezTo>
                <a:cubicBezTo>
                  <a:pt x="323" y="404"/>
                  <a:pt x="322" y="402"/>
                  <a:pt x="322" y="402"/>
                </a:cubicBezTo>
                <a:cubicBezTo>
                  <a:pt x="322" y="402"/>
                  <a:pt x="322" y="401"/>
                  <a:pt x="322" y="400"/>
                </a:cubicBezTo>
                <a:cubicBezTo>
                  <a:pt x="322" y="400"/>
                  <a:pt x="322" y="400"/>
                  <a:pt x="322" y="400"/>
                </a:cubicBezTo>
                <a:cubicBezTo>
                  <a:pt x="321" y="399"/>
                  <a:pt x="321" y="399"/>
                  <a:pt x="321" y="399"/>
                </a:cubicBezTo>
                <a:cubicBezTo>
                  <a:pt x="321" y="398"/>
                  <a:pt x="321" y="398"/>
                  <a:pt x="321" y="397"/>
                </a:cubicBezTo>
                <a:cubicBezTo>
                  <a:pt x="320" y="397"/>
                  <a:pt x="321" y="397"/>
                  <a:pt x="320" y="396"/>
                </a:cubicBezTo>
                <a:cubicBezTo>
                  <a:pt x="320" y="396"/>
                  <a:pt x="320" y="397"/>
                  <a:pt x="320" y="397"/>
                </a:cubicBezTo>
                <a:close/>
                <a:moveTo>
                  <a:pt x="451" y="229"/>
                </a:moveTo>
                <a:cubicBezTo>
                  <a:pt x="451" y="229"/>
                  <a:pt x="451" y="229"/>
                  <a:pt x="451" y="228"/>
                </a:cubicBezTo>
                <a:cubicBezTo>
                  <a:pt x="452" y="228"/>
                  <a:pt x="452" y="227"/>
                  <a:pt x="452" y="227"/>
                </a:cubicBezTo>
                <a:cubicBezTo>
                  <a:pt x="452" y="226"/>
                  <a:pt x="452" y="225"/>
                  <a:pt x="451" y="225"/>
                </a:cubicBezTo>
                <a:cubicBezTo>
                  <a:pt x="451" y="225"/>
                  <a:pt x="452" y="224"/>
                  <a:pt x="452" y="223"/>
                </a:cubicBezTo>
                <a:cubicBezTo>
                  <a:pt x="452" y="223"/>
                  <a:pt x="452" y="222"/>
                  <a:pt x="452" y="222"/>
                </a:cubicBezTo>
                <a:cubicBezTo>
                  <a:pt x="452" y="222"/>
                  <a:pt x="451" y="223"/>
                  <a:pt x="451" y="223"/>
                </a:cubicBezTo>
                <a:cubicBezTo>
                  <a:pt x="451" y="223"/>
                  <a:pt x="450" y="222"/>
                  <a:pt x="450" y="222"/>
                </a:cubicBezTo>
                <a:cubicBezTo>
                  <a:pt x="450" y="221"/>
                  <a:pt x="450" y="221"/>
                  <a:pt x="450" y="220"/>
                </a:cubicBezTo>
                <a:cubicBezTo>
                  <a:pt x="450" y="220"/>
                  <a:pt x="448" y="218"/>
                  <a:pt x="447" y="217"/>
                </a:cubicBezTo>
                <a:cubicBezTo>
                  <a:pt x="447" y="217"/>
                  <a:pt x="447" y="216"/>
                  <a:pt x="447" y="216"/>
                </a:cubicBezTo>
                <a:cubicBezTo>
                  <a:pt x="447" y="216"/>
                  <a:pt x="448" y="215"/>
                  <a:pt x="448" y="214"/>
                </a:cubicBezTo>
                <a:cubicBezTo>
                  <a:pt x="448" y="214"/>
                  <a:pt x="447" y="214"/>
                  <a:pt x="447" y="213"/>
                </a:cubicBezTo>
                <a:cubicBezTo>
                  <a:pt x="447" y="213"/>
                  <a:pt x="447" y="212"/>
                  <a:pt x="447" y="211"/>
                </a:cubicBezTo>
                <a:cubicBezTo>
                  <a:pt x="446" y="211"/>
                  <a:pt x="445" y="210"/>
                  <a:pt x="445" y="210"/>
                </a:cubicBezTo>
                <a:cubicBezTo>
                  <a:pt x="445" y="210"/>
                  <a:pt x="445" y="209"/>
                  <a:pt x="446" y="209"/>
                </a:cubicBezTo>
                <a:cubicBezTo>
                  <a:pt x="446" y="209"/>
                  <a:pt x="446" y="209"/>
                  <a:pt x="446" y="209"/>
                </a:cubicBezTo>
                <a:cubicBezTo>
                  <a:pt x="446" y="208"/>
                  <a:pt x="443" y="207"/>
                  <a:pt x="443" y="206"/>
                </a:cubicBezTo>
                <a:cubicBezTo>
                  <a:pt x="442" y="206"/>
                  <a:pt x="443" y="204"/>
                  <a:pt x="443" y="204"/>
                </a:cubicBezTo>
                <a:cubicBezTo>
                  <a:pt x="443" y="204"/>
                  <a:pt x="443" y="202"/>
                  <a:pt x="443" y="201"/>
                </a:cubicBezTo>
                <a:cubicBezTo>
                  <a:pt x="443" y="200"/>
                  <a:pt x="441" y="196"/>
                  <a:pt x="441" y="196"/>
                </a:cubicBezTo>
                <a:cubicBezTo>
                  <a:pt x="441" y="195"/>
                  <a:pt x="435" y="189"/>
                  <a:pt x="435" y="189"/>
                </a:cubicBezTo>
                <a:cubicBezTo>
                  <a:pt x="435" y="127"/>
                  <a:pt x="435" y="127"/>
                  <a:pt x="435" y="127"/>
                </a:cubicBezTo>
                <a:cubicBezTo>
                  <a:pt x="435" y="126"/>
                  <a:pt x="434" y="126"/>
                  <a:pt x="434" y="125"/>
                </a:cubicBezTo>
                <a:cubicBezTo>
                  <a:pt x="434" y="125"/>
                  <a:pt x="434" y="124"/>
                  <a:pt x="434" y="124"/>
                </a:cubicBezTo>
                <a:cubicBezTo>
                  <a:pt x="434" y="123"/>
                  <a:pt x="433" y="124"/>
                  <a:pt x="433" y="124"/>
                </a:cubicBezTo>
                <a:cubicBezTo>
                  <a:pt x="432" y="125"/>
                  <a:pt x="432" y="125"/>
                  <a:pt x="431" y="125"/>
                </a:cubicBezTo>
                <a:cubicBezTo>
                  <a:pt x="431" y="124"/>
                  <a:pt x="431" y="124"/>
                  <a:pt x="431" y="124"/>
                </a:cubicBezTo>
                <a:cubicBezTo>
                  <a:pt x="431" y="124"/>
                  <a:pt x="431" y="124"/>
                  <a:pt x="430" y="124"/>
                </a:cubicBezTo>
                <a:cubicBezTo>
                  <a:pt x="429" y="123"/>
                  <a:pt x="429" y="124"/>
                  <a:pt x="429" y="125"/>
                </a:cubicBezTo>
                <a:cubicBezTo>
                  <a:pt x="429" y="125"/>
                  <a:pt x="428" y="125"/>
                  <a:pt x="428" y="125"/>
                </a:cubicBezTo>
                <a:cubicBezTo>
                  <a:pt x="428" y="124"/>
                  <a:pt x="428" y="124"/>
                  <a:pt x="427" y="124"/>
                </a:cubicBezTo>
                <a:cubicBezTo>
                  <a:pt x="427" y="124"/>
                  <a:pt x="427" y="125"/>
                  <a:pt x="427" y="125"/>
                </a:cubicBezTo>
                <a:cubicBezTo>
                  <a:pt x="427" y="125"/>
                  <a:pt x="426" y="125"/>
                  <a:pt x="426" y="124"/>
                </a:cubicBezTo>
                <a:cubicBezTo>
                  <a:pt x="426" y="124"/>
                  <a:pt x="426" y="124"/>
                  <a:pt x="425" y="125"/>
                </a:cubicBezTo>
                <a:cubicBezTo>
                  <a:pt x="425" y="124"/>
                  <a:pt x="425" y="125"/>
                  <a:pt x="424" y="125"/>
                </a:cubicBezTo>
                <a:cubicBezTo>
                  <a:pt x="424" y="125"/>
                  <a:pt x="424" y="125"/>
                  <a:pt x="424" y="125"/>
                </a:cubicBezTo>
                <a:cubicBezTo>
                  <a:pt x="424" y="125"/>
                  <a:pt x="424" y="125"/>
                  <a:pt x="424" y="125"/>
                </a:cubicBezTo>
                <a:cubicBezTo>
                  <a:pt x="423" y="126"/>
                  <a:pt x="423" y="125"/>
                  <a:pt x="423" y="125"/>
                </a:cubicBezTo>
                <a:cubicBezTo>
                  <a:pt x="422" y="125"/>
                  <a:pt x="423" y="125"/>
                  <a:pt x="423" y="124"/>
                </a:cubicBezTo>
                <a:cubicBezTo>
                  <a:pt x="423" y="123"/>
                  <a:pt x="422" y="124"/>
                  <a:pt x="421" y="124"/>
                </a:cubicBezTo>
                <a:cubicBezTo>
                  <a:pt x="421" y="124"/>
                  <a:pt x="420" y="123"/>
                  <a:pt x="420" y="123"/>
                </a:cubicBezTo>
                <a:cubicBezTo>
                  <a:pt x="420" y="123"/>
                  <a:pt x="420" y="123"/>
                  <a:pt x="421" y="122"/>
                </a:cubicBezTo>
                <a:cubicBezTo>
                  <a:pt x="421" y="122"/>
                  <a:pt x="420" y="121"/>
                  <a:pt x="420" y="121"/>
                </a:cubicBezTo>
                <a:cubicBezTo>
                  <a:pt x="418" y="123"/>
                  <a:pt x="418" y="123"/>
                  <a:pt x="418" y="123"/>
                </a:cubicBezTo>
                <a:cubicBezTo>
                  <a:pt x="418" y="122"/>
                  <a:pt x="418" y="122"/>
                  <a:pt x="417" y="121"/>
                </a:cubicBezTo>
                <a:cubicBezTo>
                  <a:pt x="417" y="121"/>
                  <a:pt x="417" y="121"/>
                  <a:pt x="416" y="121"/>
                </a:cubicBezTo>
                <a:cubicBezTo>
                  <a:pt x="416" y="120"/>
                  <a:pt x="416" y="120"/>
                  <a:pt x="416" y="120"/>
                </a:cubicBezTo>
                <a:cubicBezTo>
                  <a:pt x="416" y="120"/>
                  <a:pt x="415" y="120"/>
                  <a:pt x="415" y="120"/>
                </a:cubicBezTo>
                <a:cubicBezTo>
                  <a:pt x="415" y="120"/>
                  <a:pt x="415" y="120"/>
                  <a:pt x="414" y="120"/>
                </a:cubicBezTo>
                <a:cubicBezTo>
                  <a:pt x="414" y="119"/>
                  <a:pt x="414" y="119"/>
                  <a:pt x="414" y="119"/>
                </a:cubicBezTo>
                <a:cubicBezTo>
                  <a:pt x="413" y="119"/>
                  <a:pt x="413" y="120"/>
                  <a:pt x="413" y="120"/>
                </a:cubicBezTo>
                <a:cubicBezTo>
                  <a:pt x="413" y="120"/>
                  <a:pt x="412" y="120"/>
                  <a:pt x="411" y="119"/>
                </a:cubicBezTo>
                <a:cubicBezTo>
                  <a:pt x="411" y="119"/>
                  <a:pt x="411" y="119"/>
                  <a:pt x="411" y="119"/>
                </a:cubicBezTo>
                <a:cubicBezTo>
                  <a:pt x="411" y="119"/>
                  <a:pt x="410" y="119"/>
                  <a:pt x="410" y="118"/>
                </a:cubicBezTo>
                <a:cubicBezTo>
                  <a:pt x="410" y="118"/>
                  <a:pt x="410" y="118"/>
                  <a:pt x="410" y="117"/>
                </a:cubicBezTo>
                <a:cubicBezTo>
                  <a:pt x="410" y="117"/>
                  <a:pt x="409" y="117"/>
                  <a:pt x="409" y="117"/>
                </a:cubicBezTo>
                <a:cubicBezTo>
                  <a:pt x="409" y="117"/>
                  <a:pt x="410" y="117"/>
                  <a:pt x="410" y="117"/>
                </a:cubicBezTo>
                <a:cubicBezTo>
                  <a:pt x="409" y="116"/>
                  <a:pt x="408" y="117"/>
                  <a:pt x="408" y="117"/>
                </a:cubicBezTo>
                <a:cubicBezTo>
                  <a:pt x="408" y="117"/>
                  <a:pt x="408" y="118"/>
                  <a:pt x="407" y="118"/>
                </a:cubicBezTo>
                <a:cubicBezTo>
                  <a:pt x="407" y="118"/>
                  <a:pt x="407" y="117"/>
                  <a:pt x="407" y="117"/>
                </a:cubicBezTo>
                <a:cubicBezTo>
                  <a:pt x="406" y="117"/>
                  <a:pt x="406" y="116"/>
                  <a:pt x="406" y="116"/>
                </a:cubicBezTo>
                <a:cubicBezTo>
                  <a:pt x="406" y="116"/>
                  <a:pt x="405" y="116"/>
                  <a:pt x="405" y="116"/>
                </a:cubicBezTo>
                <a:cubicBezTo>
                  <a:pt x="405" y="116"/>
                  <a:pt x="405" y="116"/>
                  <a:pt x="404" y="115"/>
                </a:cubicBezTo>
                <a:cubicBezTo>
                  <a:pt x="404" y="115"/>
                  <a:pt x="404" y="115"/>
                  <a:pt x="404" y="115"/>
                </a:cubicBezTo>
                <a:cubicBezTo>
                  <a:pt x="404" y="114"/>
                  <a:pt x="404" y="114"/>
                  <a:pt x="403" y="114"/>
                </a:cubicBezTo>
                <a:cubicBezTo>
                  <a:pt x="403" y="114"/>
                  <a:pt x="403" y="113"/>
                  <a:pt x="403" y="113"/>
                </a:cubicBezTo>
                <a:cubicBezTo>
                  <a:pt x="403" y="112"/>
                  <a:pt x="402" y="112"/>
                  <a:pt x="401" y="112"/>
                </a:cubicBezTo>
                <a:cubicBezTo>
                  <a:pt x="400" y="112"/>
                  <a:pt x="399" y="112"/>
                  <a:pt x="399" y="111"/>
                </a:cubicBezTo>
                <a:cubicBezTo>
                  <a:pt x="399" y="110"/>
                  <a:pt x="399" y="110"/>
                  <a:pt x="398" y="110"/>
                </a:cubicBezTo>
                <a:cubicBezTo>
                  <a:pt x="398" y="110"/>
                  <a:pt x="398" y="111"/>
                  <a:pt x="398" y="111"/>
                </a:cubicBezTo>
                <a:cubicBezTo>
                  <a:pt x="397" y="111"/>
                  <a:pt x="397" y="109"/>
                  <a:pt x="397" y="109"/>
                </a:cubicBezTo>
                <a:cubicBezTo>
                  <a:pt x="396" y="108"/>
                  <a:pt x="395" y="108"/>
                  <a:pt x="394" y="108"/>
                </a:cubicBezTo>
                <a:cubicBezTo>
                  <a:pt x="393" y="108"/>
                  <a:pt x="393" y="109"/>
                  <a:pt x="393" y="110"/>
                </a:cubicBezTo>
                <a:cubicBezTo>
                  <a:pt x="393" y="110"/>
                  <a:pt x="393" y="110"/>
                  <a:pt x="393" y="110"/>
                </a:cubicBezTo>
                <a:cubicBezTo>
                  <a:pt x="392" y="110"/>
                  <a:pt x="392" y="111"/>
                  <a:pt x="392" y="111"/>
                </a:cubicBezTo>
                <a:cubicBezTo>
                  <a:pt x="391" y="112"/>
                  <a:pt x="390" y="112"/>
                  <a:pt x="389" y="112"/>
                </a:cubicBezTo>
                <a:cubicBezTo>
                  <a:pt x="388" y="112"/>
                  <a:pt x="387" y="112"/>
                  <a:pt x="386" y="112"/>
                </a:cubicBezTo>
                <a:cubicBezTo>
                  <a:pt x="385" y="112"/>
                  <a:pt x="385" y="112"/>
                  <a:pt x="385" y="111"/>
                </a:cubicBezTo>
                <a:cubicBezTo>
                  <a:pt x="385" y="111"/>
                  <a:pt x="384" y="111"/>
                  <a:pt x="384" y="111"/>
                </a:cubicBezTo>
                <a:cubicBezTo>
                  <a:pt x="384" y="111"/>
                  <a:pt x="384" y="111"/>
                  <a:pt x="383" y="111"/>
                </a:cubicBezTo>
                <a:cubicBezTo>
                  <a:pt x="383" y="111"/>
                  <a:pt x="383" y="111"/>
                  <a:pt x="382" y="111"/>
                </a:cubicBezTo>
                <a:cubicBezTo>
                  <a:pt x="382" y="110"/>
                  <a:pt x="382" y="110"/>
                  <a:pt x="382" y="110"/>
                </a:cubicBezTo>
                <a:cubicBezTo>
                  <a:pt x="381" y="109"/>
                  <a:pt x="381" y="109"/>
                  <a:pt x="381" y="109"/>
                </a:cubicBezTo>
                <a:cubicBezTo>
                  <a:pt x="380" y="109"/>
                  <a:pt x="380" y="110"/>
                  <a:pt x="379" y="110"/>
                </a:cubicBezTo>
                <a:cubicBezTo>
                  <a:pt x="379" y="110"/>
                  <a:pt x="379" y="110"/>
                  <a:pt x="379" y="110"/>
                </a:cubicBezTo>
                <a:cubicBezTo>
                  <a:pt x="378" y="111"/>
                  <a:pt x="377" y="110"/>
                  <a:pt x="376" y="111"/>
                </a:cubicBezTo>
                <a:cubicBezTo>
                  <a:pt x="376" y="111"/>
                  <a:pt x="376" y="111"/>
                  <a:pt x="376" y="112"/>
                </a:cubicBezTo>
                <a:cubicBezTo>
                  <a:pt x="376" y="112"/>
                  <a:pt x="376" y="112"/>
                  <a:pt x="375" y="112"/>
                </a:cubicBezTo>
                <a:cubicBezTo>
                  <a:pt x="375" y="112"/>
                  <a:pt x="374" y="112"/>
                  <a:pt x="374" y="112"/>
                </a:cubicBezTo>
                <a:cubicBezTo>
                  <a:pt x="373" y="113"/>
                  <a:pt x="373" y="113"/>
                  <a:pt x="373" y="113"/>
                </a:cubicBezTo>
                <a:cubicBezTo>
                  <a:pt x="373" y="113"/>
                  <a:pt x="372" y="113"/>
                  <a:pt x="372" y="113"/>
                </a:cubicBezTo>
                <a:cubicBezTo>
                  <a:pt x="372" y="113"/>
                  <a:pt x="372" y="113"/>
                  <a:pt x="371" y="112"/>
                </a:cubicBezTo>
                <a:cubicBezTo>
                  <a:pt x="371" y="112"/>
                  <a:pt x="370" y="112"/>
                  <a:pt x="370" y="112"/>
                </a:cubicBezTo>
                <a:cubicBezTo>
                  <a:pt x="370" y="112"/>
                  <a:pt x="370" y="111"/>
                  <a:pt x="370" y="111"/>
                </a:cubicBezTo>
                <a:cubicBezTo>
                  <a:pt x="369" y="111"/>
                  <a:pt x="369" y="112"/>
                  <a:pt x="368" y="112"/>
                </a:cubicBezTo>
                <a:cubicBezTo>
                  <a:pt x="368" y="112"/>
                  <a:pt x="368" y="111"/>
                  <a:pt x="367" y="111"/>
                </a:cubicBezTo>
                <a:cubicBezTo>
                  <a:pt x="367" y="112"/>
                  <a:pt x="367" y="112"/>
                  <a:pt x="367" y="112"/>
                </a:cubicBezTo>
                <a:cubicBezTo>
                  <a:pt x="366" y="113"/>
                  <a:pt x="366" y="113"/>
                  <a:pt x="365" y="113"/>
                </a:cubicBezTo>
                <a:cubicBezTo>
                  <a:pt x="365" y="113"/>
                  <a:pt x="364" y="113"/>
                  <a:pt x="363" y="113"/>
                </a:cubicBezTo>
                <a:cubicBezTo>
                  <a:pt x="363" y="113"/>
                  <a:pt x="362" y="113"/>
                  <a:pt x="362" y="114"/>
                </a:cubicBezTo>
                <a:cubicBezTo>
                  <a:pt x="361" y="114"/>
                  <a:pt x="361" y="114"/>
                  <a:pt x="361" y="115"/>
                </a:cubicBezTo>
                <a:cubicBezTo>
                  <a:pt x="361" y="115"/>
                  <a:pt x="361" y="116"/>
                  <a:pt x="361" y="116"/>
                </a:cubicBezTo>
                <a:cubicBezTo>
                  <a:pt x="360" y="117"/>
                  <a:pt x="359" y="116"/>
                  <a:pt x="359" y="116"/>
                </a:cubicBezTo>
                <a:cubicBezTo>
                  <a:pt x="358" y="116"/>
                  <a:pt x="357" y="116"/>
                  <a:pt x="357" y="116"/>
                </a:cubicBezTo>
                <a:cubicBezTo>
                  <a:pt x="356" y="116"/>
                  <a:pt x="356" y="117"/>
                  <a:pt x="356" y="118"/>
                </a:cubicBezTo>
                <a:cubicBezTo>
                  <a:pt x="356" y="118"/>
                  <a:pt x="356" y="119"/>
                  <a:pt x="355" y="120"/>
                </a:cubicBezTo>
                <a:cubicBezTo>
                  <a:pt x="355" y="120"/>
                  <a:pt x="354" y="118"/>
                  <a:pt x="354" y="118"/>
                </a:cubicBezTo>
                <a:cubicBezTo>
                  <a:pt x="353" y="117"/>
                  <a:pt x="353" y="116"/>
                  <a:pt x="352" y="116"/>
                </a:cubicBezTo>
                <a:cubicBezTo>
                  <a:pt x="351" y="116"/>
                  <a:pt x="350" y="116"/>
                  <a:pt x="350" y="116"/>
                </a:cubicBezTo>
                <a:cubicBezTo>
                  <a:pt x="349" y="116"/>
                  <a:pt x="349" y="115"/>
                  <a:pt x="349" y="115"/>
                </a:cubicBezTo>
                <a:cubicBezTo>
                  <a:pt x="349" y="115"/>
                  <a:pt x="349" y="114"/>
                  <a:pt x="348" y="114"/>
                </a:cubicBezTo>
                <a:cubicBezTo>
                  <a:pt x="348" y="114"/>
                  <a:pt x="344" y="113"/>
                  <a:pt x="345" y="112"/>
                </a:cubicBezTo>
                <a:cubicBezTo>
                  <a:pt x="346" y="112"/>
                  <a:pt x="346" y="112"/>
                  <a:pt x="346" y="111"/>
                </a:cubicBezTo>
                <a:cubicBezTo>
                  <a:pt x="346" y="110"/>
                  <a:pt x="345" y="109"/>
                  <a:pt x="344" y="110"/>
                </a:cubicBezTo>
                <a:cubicBezTo>
                  <a:pt x="344" y="111"/>
                  <a:pt x="344" y="111"/>
                  <a:pt x="344" y="111"/>
                </a:cubicBezTo>
                <a:cubicBezTo>
                  <a:pt x="343" y="112"/>
                  <a:pt x="343" y="112"/>
                  <a:pt x="343" y="113"/>
                </a:cubicBezTo>
                <a:cubicBezTo>
                  <a:pt x="342" y="113"/>
                  <a:pt x="341" y="114"/>
                  <a:pt x="340" y="113"/>
                </a:cubicBezTo>
                <a:cubicBezTo>
                  <a:pt x="340" y="113"/>
                  <a:pt x="340" y="112"/>
                  <a:pt x="339" y="112"/>
                </a:cubicBezTo>
                <a:cubicBezTo>
                  <a:pt x="339" y="112"/>
                  <a:pt x="339" y="112"/>
                  <a:pt x="338" y="112"/>
                </a:cubicBezTo>
                <a:cubicBezTo>
                  <a:pt x="338" y="112"/>
                  <a:pt x="338" y="112"/>
                  <a:pt x="337" y="112"/>
                </a:cubicBezTo>
                <a:cubicBezTo>
                  <a:pt x="337" y="113"/>
                  <a:pt x="337" y="112"/>
                  <a:pt x="337" y="112"/>
                </a:cubicBezTo>
                <a:cubicBezTo>
                  <a:pt x="337" y="112"/>
                  <a:pt x="337" y="112"/>
                  <a:pt x="337" y="111"/>
                </a:cubicBezTo>
                <a:cubicBezTo>
                  <a:pt x="337" y="111"/>
                  <a:pt x="336" y="110"/>
                  <a:pt x="336" y="109"/>
                </a:cubicBezTo>
                <a:cubicBezTo>
                  <a:pt x="335" y="109"/>
                  <a:pt x="335" y="109"/>
                  <a:pt x="335" y="109"/>
                </a:cubicBezTo>
                <a:cubicBezTo>
                  <a:pt x="335" y="109"/>
                  <a:pt x="334" y="109"/>
                  <a:pt x="333" y="109"/>
                </a:cubicBezTo>
                <a:cubicBezTo>
                  <a:pt x="333" y="109"/>
                  <a:pt x="333" y="110"/>
                  <a:pt x="333" y="110"/>
                </a:cubicBezTo>
                <a:cubicBezTo>
                  <a:pt x="333" y="111"/>
                  <a:pt x="333" y="111"/>
                  <a:pt x="333" y="112"/>
                </a:cubicBezTo>
                <a:cubicBezTo>
                  <a:pt x="332" y="112"/>
                  <a:pt x="331" y="112"/>
                  <a:pt x="331" y="113"/>
                </a:cubicBezTo>
                <a:cubicBezTo>
                  <a:pt x="331" y="113"/>
                  <a:pt x="331" y="113"/>
                  <a:pt x="331" y="113"/>
                </a:cubicBezTo>
                <a:cubicBezTo>
                  <a:pt x="331" y="113"/>
                  <a:pt x="330" y="113"/>
                  <a:pt x="330" y="113"/>
                </a:cubicBezTo>
                <a:cubicBezTo>
                  <a:pt x="330" y="113"/>
                  <a:pt x="329" y="114"/>
                  <a:pt x="329" y="114"/>
                </a:cubicBezTo>
                <a:cubicBezTo>
                  <a:pt x="329" y="115"/>
                  <a:pt x="329" y="115"/>
                  <a:pt x="329" y="116"/>
                </a:cubicBezTo>
                <a:cubicBezTo>
                  <a:pt x="330" y="116"/>
                  <a:pt x="329" y="116"/>
                  <a:pt x="329" y="117"/>
                </a:cubicBezTo>
                <a:cubicBezTo>
                  <a:pt x="329" y="117"/>
                  <a:pt x="329" y="118"/>
                  <a:pt x="329" y="118"/>
                </a:cubicBezTo>
                <a:cubicBezTo>
                  <a:pt x="327" y="118"/>
                  <a:pt x="326" y="117"/>
                  <a:pt x="326" y="116"/>
                </a:cubicBezTo>
                <a:cubicBezTo>
                  <a:pt x="326" y="115"/>
                  <a:pt x="326" y="115"/>
                  <a:pt x="326" y="114"/>
                </a:cubicBezTo>
                <a:cubicBezTo>
                  <a:pt x="326" y="114"/>
                  <a:pt x="326" y="113"/>
                  <a:pt x="326" y="113"/>
                </a:cubicBezTo>
                <a:cubicBezTo>
                  <a:pt x="326" y="112"/>
                  <a:pt x="326" y="112"/>
                  <a:pt x="326" y="111"/>
                </a:cubicBezTo>
                <a:cubicBezTo>
                  <a:pt x="326" y="111"/>
                  <a:pt x="326" y="110"/>
                  <a:pt x="325" y="110"/>
                </a:cubicBezTo>
                <a:cubicBezTo>
                  <a:pt x="325" y="110"/>
                  <a:pt x="325" y="111"/>
                  <a:pt x="324" y="111"/>
                </a:cubicBezTo>
                <a:cubicBezTo>
                  <a:pt x="324" y="112"/>
                  <a:pt x="324" y="112"/>
                  <a:pt x="324" y="112"/>
                </a:cubicBezTo>
                <a:cubicBezTo>
                  <a:pt x="323" y="112"/>
                  <a:pt x="323" y="112"/>
                  <a:pt x="323" y="112"/>
                </a:cubicBezTo>
                <a:cubicBezTo>
                  <a:pt x="322" y="111"/>
                  <a:pt x="322" y="111"/>
                  <a:pt x="321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20" y="113"/>
                  <a:pt x="320" y="113"/>
                  <a:pt x="320" y="113"/>
                </a:cubicBezTo>
                <a:cubicBezTo>
                  <a:pt x="320" y="114"/>
                  <a:pt x="319" y="114"/>
                  <a:pt x="318" y="114"/>
                </a:cubicBezTo>
                <a:cubicBezTo>
                  <a:pt x="317" y="114"/>
                  <a:pt x="317" y="113"/>
                  <a:pt x="316" y="113"/>
                </a:cubicBezTo>
                <a:cubicBezTo>
                  <a:pt x="316" y="112"/>
                  <a:pt x="317" y="112"/>
                  <a:pt x="317" y="111"/>
                </a:cubicBezTo>
                <a:cubicBezTo>
                  <a:pt x="316" y="110"/>
                  <a:pt x="314" y="111"/>
                  <a:pt x="313" y="111"/>
                </a:cubicBezTo>
                <a:cubicBezTo>
                  <a:pt x="313" y="111"/>
                  <a:pt x="313" y="111"/>
                  <a:pt x="312" y="110"/>
                </a:cubicBezTo>
                <a:cubicBezTo>
                  <a:pt x="312" y="110"/>
                  <a:pt x="312" y="109"/>
                  <a:pt x="312" y="109"/>
                </a:cubicBezTo>
                <a:cubicBezTo>
                  <a:pt x="312" y="108"/>
                  <a:pt x="311" y="108"/>
                  <a:pt x="310" y="108"/>
                </a:cubicBezTo>
                <a:cubicBezTo>
                  <a:pt x="310" y="107"/>
                  <a:pt x="310" y="107"/>
                  <a:pt x="309" y="107"/>
                </a:cubicBezTo>
                <a:cubicBezTo>
                  <a:pt x="309" y="107"/>
                  <a:pt x="308" y="107"/>
                  <a:pt x="308" y="108"/>
                </a:cubicBezTo>
                <a:cubicBezTo>
                  <a:pt x="308" y="108"/>
                  <a:pt x="307" y="108"/>
                  <a:pt x="307" y="109"/>
                </a:cubicBezTo>
                <a:cubicBezTo>
                  <a:pt x="306" y="109"/>
                  <a:pt x="306" y="109"/>
                  <a:pt x="306" y="110"/>
                </a:cubicBezTo>
                <a:cubicBezTo>
                  <a:pt x="305" y="110"/>
                  <a:pt x="304" y="111"/>
                  <a:pt x="303" y="111"/>
                </a:cubicBezTo>
                <a:cubicBezTo>
                  <a:pt x="303" y="112"/>
                  <a:pt x="303" y="112"/>
                  <a:pt x="302" y="112"/>
                </a:cubicBezTo>
                <a:cubicBezTo>
                  <a:pt x="301" y="112"/>
                  <a:pt x="301" y="112"/>
                  <a:pt x="300" y="111"/>
                </a:cubicBezTo>
                <a:cubicBezTo>
                  <a:pt x="300" y="111"/>
                  <a:pt x="299" y="111"/>
                  <a:pt x="299" y="110"/>
                </a:cubicBezTo>
                <a:cubicBezTo>
                  <a:pt x="298" y="110"/>
                  <a:pt x="299" y="108"/>
                  <a:pt x="299" y="108"/>
                </a:cubicBezTo>
                <a:cubicBezTo>
                  <a:pt x="299" y="108"/>
                  <a:pt x="299" y="107"/>
                  <a:pt x="299" y="107"/>
                </a:cubicBezTo>
                <a:cubicBezTo>
                  <a:pt x="299" y="107"/>
                  <a:pt x="299" y="107"/>
                  <a:pt x="298" y="107"/>
                </a:cubicBezTo>
                <a:cubicBezTo>
                  <a:pt x="297" y="107"/>
                  <a:pt x="296" y="106"/>
                  <a:pt x="296" y="106"/>
                </a:cubicBezTo>
                <a:cubicBezTo>
                  <a:pt x="295" y="106"/>
                  <a:pt x="295" y="106"/>
                  <a:pt x="295" y="105"/>
                </a:cubicBezTo>
                <a:cubicBezTo>
                  <a:pt x="295" y="104"/>
                  <a:pt x="294" y="103"/>
                  <a:pt x="294" y="102"/>
                </a:cubicBezTo>
                <a:cubicBezTo>
                  <a:pt x="294" y="102"/>
                  <a:pt x="294" y="101"/>
                  <a:pt x="294" y="100"/>
                </a:cubicBezTo>
                <a:cubicBezTo>
                  <a:pt x="293" y="100"/>
                  <a:pt x="293" y="101"/>
                  <a:pt x="292" y="102"/>
                </a:cubicBezTo>
                <a:cubicBezTo>
                  <a:pt x="291" y="102"/>
                  <a:pt x="290" y="101"/>
                  <a:pt x="289" y="101"/>
                </a:cubicBezTo>
                <a:cubicBezTo>
                  <a:pt x="288" y="100"/>
                  <a:pt x="287" y="100"/>
                  <a:pt x="286" y="100"/>
                </a:cubicBezTo>
                <a:cubicBezTo>
                  <a:pt x="285" y="100"/>
                  <a:pt x="285" y="101"/>
                  <a:pt x="285" y="101"/>
                </a:cubicBezTo>
                <a:cubicBezTo>
                  <a:pt x="284" y="102"/>
                  <a:pt x="284" y="102"/>
                  <a:pt x="284" y="102"/>
                </a:cubicBezTo>
                <a:cubicBezTo>
                  <a:pt x="283" y="103"/>
                  <a:pt x="282" y="103"/>
                  <a:pt x="281" y="103"/>
                </a:cubicBezTo>
                <a:cubicBezTo>
                  <a:pt x="280" y="102"/>
                  <a:pt x="279" y="101"/>
                  <a:pt x="278" y="100"/>
                </a:cubicBezTo>
                <a:cubicBezTo>
                  <a:pt x="277" y="99"/>
                  <a:pt x="275" y="100"/>
                  <a:pt x="273" y="100"/>
                </a:cubicBezTo>
                <a:cubicBezTo>
                  <a:pt x="273" y="101"/>
                  <a:pt x="272" y="101"/>
                  <a:pt x="271" y="101"/>
                </a:cubicBezTo>
                <a:cubicBezTo>
                  <a:pt x="271" y="101"/>
                  <a:pt x="270" y="99"/>
                  <a:pt x="269" y="100"/>
                </a:cubicBezTo>
                <a:cubicBezTo>
                  <a:pt x="269" y="100"/>
                  <a:pt x="268" y="100"/>
                  <a:pt x="268" y="100"/>
                </a:cubicBezTo>
                <a:cubicBezTo>
                  <a:pt x="267" y="100"/>
                  <a:pt x="267" y="99"/>
                  <a:pt x="266" y="99"/>
                </a:cubicBezTo>
                <a:cubicBezTo>
                  <a:pt x="266" y="99"/>
                  <a:pt x="265" y="98"/>
                  <a:pt x="265" y="98"/>
                </a:cubicBezTo>
                <a:cubicBezTo>
                  <a:pt x="265" y="98"/>
                  <a:pt x="264" y="97"/>
                  <a:pt x="264" y="97"/>
                </a:cubicBezTo>
                <a:cubicBezTo>
                  <a:pt x="263" y="97"/>
                  <a:pt x="263" y="97"/>
                  <a:pt x="263" y="98"/>
                </a:cubicBezTo>
                <a:cubicBezTo>
                  <a:pt x="262" y="98"/>
                  <a:pt x="262" y="98"/>
                  <a:pt x="261" y="98"/>
                </a:cubicBezTo>
                <a:cubicBezTo>
                  <a:pt x="260" y="98"/>
                  <a:pt x="259" y="97"/>
                  <a:pt x="258" y="97"/>
                </a:cubicBezTo>
                <a:cubicBezTo>
                  <a:pt x="258" y="97"/>
                  <a:pt x="257" y="97"/>
                  <a:pt x="257" y="97"/>
                </a:cubicBezTo>
                <a:cubicBezTo>
                  <a:pt x="256" y="96"/>
                  <a:pt x="256" y="94"/>
                  <a:pt x="256" y="93"/>
                </a:cubicBezTo>
                <a:cubicBezTo>
                  <a:pt x="256" y="93"/>
                  <a:pt x="256" y="92"/>
                  <a:pt x="255" y="92"/>
                </a:cubicBezTo>
                <a:cubicBezTo>
                  <a:pt x="255" y="92"/>
                  <a:pt x="255" y="91"/>
                  <a:pt x="254" y="91"/>
                </a:cubicBezTo>
                <a:cubicBezTo>
                  <a:pt x="254" y="90"/>
                  <a:pt x="254" y="90"/>
                  <a:pt x="254" y="90"/>
                </a:cubicBezTo>
                <a:cubicBezTo>
                  <a:pt x="254" y="89"/>
                  <a:pt x="253" y="90"/>
                  <a:pt x="253" y="89"/>
                </a:cubicBezTo>
                <a:cubicBezTo>
                  <a:pt x="253" y="89"/>
                  <a:pt x="252" y="89"/>
                  <a:pt x="252" y="88"/>
                </a:cubicBezTo>
                <a:cubicBezTo>
                  <a:pt x="252" y="88"/>
                  <a:pt x="252" y="88"/>
                  <a:pt x="251" y="88"/>
                </a:cubicBezTo>
                <a:cubicBezTo>
                  <a:pt x="251" y="87"/>
                  <a:pt x="251" y="87"/>
                  <a:pt x="251" y="87"/>
                </a:cubicBezTo>
                <a:cubicBezTo>
                  <a:pt x="250" y="88"/>
                  <a:pt x="250" y="88"/>
                  <a:pt x="250" y="89"/>
                </a:cubicBezTo>
                <a:cubicBezTo>
                  <a:pt x="250" y="89"/>
                  <a:pt x="250" y="90"/>
                  <a:pt x="249" y="91"/>
                </a:cubicBezTo>
                <a:cubicBezTo>
                  <a:pt x="249" y="91"/>
                  <a:pt x="248" y="90"/>
                  <a:pt x="248" y="90"/>
                </a:cubicBezTo>
                <a:cubicBezTo>
                  <a:pt x="247" y="90"/>
                  <a:pt x="246" y="89"/>
                  <a:pt x="246" y="89"/>
                </a:cubicBezTo>
                <a:cubicBezTo>
                  <a:pt x="245" y="89"/>
                  <a:pt x="245" y="89"/>
                  <a:pt x="244" y="89"/>
                </a:cubicBezTo>
                <a:cubicBezTo>
                  <a:pt x="244" y="89"/>
                  <a:pt x="243" y="90"/>
                  <a:pt x="243" y="90"/>
                </a:cubicBezTo>
                <a:cubicBezTo>
                  <a:pt x="242" y="90"/>
                  <a:pt x="241" y="90"/>
                  <a:pt x="240" y="90"/>
                </a:cubicBezTo>
                <a:cubicBezTo>
                  <a:pt x="240" y="90"/>
                  <a:pt x="239" y="90"/>
                  <a:pt x="238" y="90"/>
                </a:cubicBezTo>
                <a:cubicBezTo>
                  <a:pt x="238" y="90"/>
                  <a:pt x="238" y="89"/>
                  <a:pt x="238" y="89"/>
                </a:cubicBezTo>
                <a:cubicBezTo>
                  <a:pt x="237" y="88"/>
                  <a:pt x="236" y="87"/>
                  <a:pt x="236" y="87"/>
                </a:cubicBezTo>
                <a:cubicBezTo>
                  <a:pt x="235" y="86"/>
                  <a:pt x="234" y="85"/>
                  <a:pt x="233" y="84"/>
                </a:cubicBezTo>
                <a:cubicBezTo>
                  <a:pt x="233" y="83"/>
                  <a:pt x="232" y="83"/>
                  <a:pt x="231" y="82"/>
                </a:cubicBezTo>
                <a:cubicBezTo>
                  <a:pt x="231" y="82"/>
                  <a:pt x="231" y="82"/>
                  <a:pt x="230" y="82"/>
                </a:cubicBezTo>
                <a:cubicBezTo>
                  <a:pt x="230" y="83"/>
                  <a:pt x="229" y="83"/>
                  <a:pt x="229" y="82"/>
                </a:cubicBezTo>
                <a:cubicBezTo>
                  <a:pt x="229" y="0"/>
                  <a:pt x="229" y="0"/>
                  <a:pt x="229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3" y="189"/>
                  <a:pt x="123" y="189"/>
                  <a:pt x="123" y="189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88"/>
                  <a:pt x="0" y="190"/>
                  <a:pt x="0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1" y="191"/>
                  <a:pt x="1" y="191"/>
                  <a:pt x="1" y="191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192"/>
                  <a:pt x="0" y="193"/>
                  <a:pt x="0" y="193"/>
                </a:cubicBezTo>
                <a:cubicBezTo>
                  <a:pt x="0" y="193"/>
                  <a:pt x="0" y="194"/>
                  <a:pt x="0" y="195"/>
                </a:cubicBezTo>
                <a:cubicBezTo>
                  <a:pt x="1" y="195"/>
                  <a:pt x="2" y="196"/>
                  <a:pt x="2" y="196"/>
                </a:cubicBezTo>
                <a:cubicBezTo>
                  <a:pt x="3" y="196"/>
                  <a:pt x="4" y="197"/>
                  <a:pt x="4" y="197"/>
                </a:cubicBezTo>
                <a:cubicBezTo>
                  <a:pt x="5" y="199"/>
                  <a:pt x="5" y="199"/>
                  <a:pt x="5" y="199"/>
                </a:cubicBezTo>
                <a:cubicBezTo>
                  <a:pt x="6" y="198"/>
                  <a:pt x="6" y="198"/>
                  <a:pt x="6" y="198"/>
                </a:cubicBezTo>
                <a:cubicBezTo>
                  <a:pt x="9" y="201"/>
                  <a:pt x="9" y="201"/>
                  <a:pt x="9" y="201"/>
                </a:cubicBezTo>
                <a:cubicBezTo>
                  <a:pt x="12" y="206"/>
                  <a:pt x="12" y="206"/>
                  <a:pt x="12" y="206"/>
                </a:cubicBezTo>
                <a:cubicBezTo>
                  <a:pt x="15" y="210"/>
                  <a:pt x="15" y="210"/>
                  <a:pt x="15" y="210"/>
                </a:cubicBezTo>
                <a:cubicBezTo>
                  <a:pt x="15" y="210"/>
                  <a:pt x="19" y="212"/>
                  <a:pt x="19" y="212"/>
                </a:cubicBezTo>
                <a:cubicBezTo>
                  <a:pt x="19" y="212"/>
                  <a:pt x="22" y="214"/>
                  <a:pt x="22" y="214"/>
                </a:cubicBezTo>
                <a:cubicBezTo>
                  <a:pt x="24" y="215"/>
                  <a:pt x="24" y="215"/>
                  <a:pt x="24" y="215"/>
                </a:cubicBezTo>
                <a:cubicBezTo>
                  <a:pt x="28" y="220"/>
                  <a:pt x="28" y="220"/>
                  <a:pt x="28" y="220"/>
                </a:cubicBezTo>
                <a:cubicBezTo>
                  <a:pt x="30" y="223"/>
                  <a:pt x="30" y="223"/>
                  <a:pt x="30" y="223"/>
                </a:cubicBezTo>
                <a:cubicBezTo>
                  <a:pt x="36" y="226"/>
                  <a:pt x="36" y="226"/>
                  <a:pt x="36" y="226"/>
                </a:cubicBezTo>
                <a:cubicBezTo>
                  <a:pt x="37" y="230"/>
                  <a:pt x="37" y="230"/>
                  <a:pt x="37" y="230"/>
                </a:cubicBezTo>
                <a:cubicBezTo>
                  <a:pt x="42" y="233"/>
                  <a:pt x="42" y="233"/>
                  <a:pt x="42" y="233"/>
                </a:cubicBezTo>
                <a:cubicBezTo>
                  <a:pt x="42" y="235"/>
                  <a:pt x="42" y="235"/>
                  <a:pt x="42" y="235"/>
                </a:cubicBezTo>
                <a:cubicBezTo>
                  <a:pt x="47" y="237"/>
                  <a:pt x="47" y="237"/>
                  <a:pt x="47" y="237"/>
                </a:cubicBezTo>
                <a:cubicBezTo>
                  <a:pt x="49" y="237"/>
                  <a:pt x="49" y="237"/>
                  <a:pt x="49" y="237"/>
                </a:cubicBezTo>
                <a:cubicBezTo>
                  <a:pt x="49" y="237"/>
                  <a:pt x="49" y="238"/>
                  <a:pt x="49" y="238"/>
                </a:cubicBezTo>
                <a:cubicBezTo>
                  <a:pt x="49" y="238"/>
                  <a:pt x="52" y="239"/>
                  <a:pt x="52" y="239"/>
                </a:cubicBezTo>
                <a:cubicBezTo>
                  <a:pt x="52" y="239"/>
                  <a:pt x="54" y="242"/>
                  <a:pt x="54" y="242"/>
                </a:cubicBezTo>
                <a:cubicBezTo>
                  <a:pt x="56" y="242"/>
                  <a:pt x="56" y="242"/>
                  <a:pt x="56" y="242"/>
                </a:cubicBezTo>
                <a:cubicBezTo>
                  <a:pt x="57" y="245"/>
                  <a:pt x="57" y="245"/>
                  <a:pt x="57" y="245"/>
                </a:cubicBezTo>
                <a:cubicBezTo>
                  <a:pt x="59" y="245"/>
                  <a:pt x="59" y="245"/>
                  <a:pt x="59" y="245"/>
                </a:cubicBezTo>
                <a:cubicBezTo>
                  <a:pt x="61" y="249"/>
                  <a:pt x="61" y="249"/>
                  <a:pt x="61" y="249"/>
                </a:cubicBezTo>
                <a:cubicBezTo>
                  <a:pt x="61" y="254"/>
                  <a:pt x="61" y="254"/>
                  <a:pt x="61" y="254"/>
                </a:cubicBezTo>
                <a:cubicBezTo>
                  <a:pt x="67" y="260"/>
                  <a:pt x="67" y="260"/>
                  <a:pt x="67" y="260"/>
                </a:cubicBezTo>
                <a:cubicBezTo>
                  <a:pt x="67" y="272"/>
                  <a:pt x="67" y="272"/>
                  <a:pt x="67" y="272"/>
                </a:cubicBezTo>
                <a:cubicBezTo>
                  <a:pt x="67" y="272"/>
                  <a:pt x="71" y="277"/>
                  <a:pt x="71" y="277"/>
                </a:cubicBezTo>
                <a:cubicBezTo>
                  <a:pt x="71" y="277"/>
                  <a:pt x="72" y="283"/>
                  <a:pt x="72" y="283"/>
                </a:cubicBezTo>
                <a:cubicBezTo>
                  <a:pt x="75" y="286"/>
                  <a:pt x="75" y="286"/>
                  <a:pt x="75" y="286"/>
                </a:cubicBezTo>
                <a:cubicBezTo>
                  <a:pt x="75" y="286"/>
                  <a:pt x="80" y="288"/>
                  <a:pt x="80" y="288"/>
                </a:cubicBezTo>
                <a:cubicBezTo>
                  <a:pt x="80" y="288"/>
                  <a:pt x="83" y="289"/>
                  <a:pt x="83" y="289"/>
                </a:cubicBezTo>
                <a:cubicBezTo>
                  <a:pt x="83" y="289"/>
                  <a:pt x="85" y="293"/>
                  <a:pt x="85" y="293"/>
                </a:cubicBezTo>
                <a:cubicBezTo>
                  <a:pt x="85" y="293"/>
                  <a:pt x="89" y="296"/>
                  <a:pt x="89" y="296"/>
                </a:cubicBezTo>
                <a:cubicBezTo>
                  <a:pt x="91" y="297"/>
                  <a:pt x="91" y="297"/>
                  <a:pt x="91" y="297"/>
                </a:cubicBezTo>
                <a:cubicBezTo>
                  <a:pt x="98" y="298"/>
                  <a:pt x="98" y="298"/>
                  <a:pt x="98" y="298"/>
                </a:cubicBezTo>
                <a:cubicBezTo>
                  <a:pt x="98" y="300"/>
                  <a:pt x="98" y="300"/>
                  <a:pt x="98" y="300"/>
                </a:cubicBezTo>
                <a:cubicBezTo>
                  <a:pt x="98" y="300"/>
                  <a:pt x="100" y="300"/>
                  <a:pt x="100" y="300"/>
                </a:cubicBezTo>
                <a:cubicBezTo>
                  <a:pt x="100" y="300"/>
                  <a:pt x="100" y="302"/>
                  <a:pt x="100" y="302"/>
                </a:cubicBezTo>
                <a:cubicBezTo>
                  <a:pt x="100" y="302"/>
                  <a:pt x="103" y="302"/>
                  <a:pt x="103" y="302"/>
                </a:cubicBezTo>
                <a:cubicBezTo>
                  <a:pt x="103" y="302"/>
                  <a:pt x="106" y="302"/>
                  <a:pt x="106" y="302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12" y="309"/>
                  <a:pt x="112" y="309"/>
                  <a:pt x="112" y="309"/>
                </a:cubicBezTo>
                <a:cubicBezTo>
                  <a:pt x="114" y="307"/>
                  <a:pt x="114" y="307"/>
                  <a:pt x="114" y="307"/>
                </a:cubicBezTo>
                <a:cubicBezTo>
                  <a:pt x="115" y="310"/>
                  <a:pt x="115" y="310"/>
                  <a:pt x="115" y="310"/>
                </a:cubicBezTo>
                <a:cubicBezTo>
                  <a:pt x="121" y="310"/>
                  <a:pt x="121" y="310"/>
                  <a:pt x="121" y="310"/>
                </a:cubicBezTo>
                <a:cubicBezTo>
                  <a:pt x="122" y="307"/>
                  <a:pt x="122" y="307"/>
                  <a:pt x="122" y="307"/>
                </a:cubicBezTo>
                <a:cubicBezTo>
                  <a:pt x="122" y="307"/>
                  <a:pt x="125" y="304"/>
                  <a:pt x="125" y="304"/>
                </a:cubicBezTo>
                <a:cubicBezTo>
                  <a:pt x="125" y="304"/>
                  <a:pt x="125" y="303"/>
                  <a:pt x="125" y="303"/>
                </a:cubicBezTo>
                <a:cubicBezTo>
                  <a:pt x="125" y="303"/>
                  <a:pt x="126" y="301"/>
                  <a:pt x="126" y="301"/>
                </a:cubicBezTo>
                <a:cubicBezTo>
                  <a:pt x="126" y="301"/>
                  <a:pt x="127" y="302"/>
                  <a:pt x="127" y="302"/>
                </a:cubicBezTo>
                <a:cubicBezTo>
                  <a:pt x="130" y="300"/>
                  <a:pt x="130" y="300"/>
                  <a:pt x="130" y="300"/>
                </a:cubicBezTo>
                <a:cubicBezTo>
                  <a:pt x="130" y="300"/>
                  <a:pt x="129" y="299"/>
                  <a:pt x="129" y="299"/>
                </a:cubicBezTo>
                <a:cubicBezTo>
                  <a:pt x="128" y="298"/>
                  <a:pt x="128" y="298"/>
                  <a:pt x="129" y="298"/>
                </a:cubicBezTo>
                <a:cubicBezTo>
                  <a:pt x="129" y="298"/>
                  <a:pt x="129" y="297"/>
                  <a:pt x="129" y="297"/>
                </a:cubicBezTo>
                <a:cubicBezTo>
                  <a:pt x="129" y="297"/>
                  <a:pt x="129" y="296"/>
                  <a:pt x="129" y="296"/>
                </a:cubicBezTo>
                <a:cubicBezTo>
                  <a:pt x="129" y="295"/>
                  <a:pt x="130" y="294"/>
                  <a:pt x="130" y="294"/>
                </a:cubicBezTo>
                <a:cubicBezTo>
                  <a:pt x="130" y="294"/>
                  <a:pt x="132" y="293"/>
                  <a:pt x="132" y="293"/>
                </a:cubicBezTo>
                <a:cubicBezTo>
                  <a:pt x="132" y="288"/>
                  <a:pt x="132" y="288"/>
                  <a:pt x="132" y="288"/>
                </a:cubicBezTo>
                <a:cubicBezTo>
                  <a:pt x="137" y="279"/>
                  <a:pt x="137" y="279"/>
                  <a:pt x="137" y="279"/>
                </a:cubicBezTo>
                <a:cubicBezTo>
                  <a:pt x="138" y="280"/>
                  <a:pt x="138" y="280"/>
                  <a:pt x="138" y="280"/>
                </a:cubicBezTo>
                <a:cubicBezTo>
                  <a:pt x="140" y="278"/>
                  <a:pt x="140" y="278"/>
                  <a:pt x="140" y="278"/>
                </a:cubicBezTo>
                <a:cubicBezTo>
                  <a:pt x="141" y="279"/>
                  <a:pt x="141" y="279"/>
                  <a:pt x="141" y="279"/>
                </a:cubicBezTo>
                <a:cubicBezTo>
                  <a:pt x="143" y="277"/>
                  <a:pt x="143" y="277"/>
                  <a:pt x="143" y="277"/>
                </a:cubicBezTo>
                <a:cubicBezTo>
                  <a:pt x="143" y="277"/>
                  <a:pt x="145" y="278"/>
                  <a:pt x="145" y="278"/>
                </a:cubicBezTo>
                <a:cubicBezTo>
                  <a:pt x="145" y="278"/>
                  <a:pt x="146" y="279"/>
                  <a:pt x="146" y="279"/>
                </a:cubicBezTo>
                <a:cubicBezTo>
                  <a:pt x="147" y="276"/>
                  <a:pt x="147" y="276"/>
                  <a:pt x="147" y="276"/>
                </a:cubicBezTo>
                <a:cubicBezTo>
                  <a:pt x="149" y="274"/>
                  <a:pt x="149" y="274"/>
                  <a:pt x="149" y="274"/>
                </a:cubicBezTo>
                <a:cubicBezTo>
                  <a:pt x="158" y="278"/>
                  <a:pt x="158" y="278"/>
                  <a:pt x="158" y="278"/>
                </a:cubicBezTo>
                <a:cubicBezTo>
                  <a:pt x="160" y="276"/>
                  <a:pt x="160" y="276"/>
                  <a:pt x="160" y="276"/>
                </a:cubicBezTo>
                <a:cubicBezTo>
                  <a:pt x="162" y="278"/>
                  <a:pt x="162" y="278"/>
                  <a:pt x="162" y="278"/>
                </a:cubicBezTo>
                <a:cubicBezTo>
                  <a:pt x="164" y="277"/>
                  <a:pt x="164" y="277"/>
                  <a:pt x="164" y="277"/>
                </a:cubicBezTo>
                <a:cubicBezTo>
                  <a:pt x="166" y="277"/>
                  <a:pt x="166" y="277"/>
                  <a:pt x="166" y="277"/>
                </a:cubicBezTo>
                <a:cubicBezTo>
                  <a:pt x="167" y="277"/>
                  <a:pt x="167" y="277"/>
                  <a:pt x="167" y="277"/>
                </a:cubicBezTo>
                <a:cubicBezTo>
                  <a:pt x="167" y="278"/>
                  <a:pt x="167" y="278"/>
                  <a:pt x="167" y="278"/>
                </a:cubicBezTo>
                <a:cubicBezTo>
                  <a:pt x="167" y="278"/>
                  <a:pt x="169" y="278"/>
                  <a:pt x="169" y="278"/>
                </a:cubicBezTo>
                <a:cubicBezTo>
                  <a:pt x="170" y="278"/>
                  <a:pt x="171" y="279"/>
                  <a:pt x="171" y="279"/>
                </a:cubicBezTo>
                <a:cubicBezTo>
                  <a:pt x="171" y="279"/>
                  <a:pt x="173" y="279"/>
                  <a:pt x="173" y="279"/>
                </a:cubicBezTo>
                <a:cubicBezTo>
                  <a:pt x="173" y="279"/>
                  <a:pt x="175" y="278"/>
                  <a:pt x="175" y="278"/>
                </a:cubicBezTo>
                <a:cubicBezTo>
                  <a:pt x="176" y="277"/>
                  <a:pt x="176" y="277"/>
                  <a:pt x="176" y="277"/>
                </a:cubicBezTo>
                <a:cubicBezTo>
                  <a:pt x="176" y="279"/>
                  <a:pt x="176" y="279"/>
                  <a:pt x="176" y="279"/>
                </a:cubicBezTo>
                <a:cubicBezTo>
                  <a:pt x="176" y="279"/>
                  <a:pt x="178" y="278"/>
                  <a:pt x="178" y="278"/>
                </a:cubicBezTo>
                <a:cubicBezTo>
                  <a:pt x="178" y="278"/>
                  <a:pt x="178" y="278"/>
                  <a:pt x="178" y="278"/>
                </a:cubicBezTo>
                <a:cubicBezTo>
                  <a:pt x="179" y="279"/>
                  <a:pt x="179" y="279"/>
                  <a:pt x="179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0" y="280"/>
                  <a:pt x="180" y="280"/>
                  <a:pt x="180" y="280"/>
                </a:cubicBezTo>
                <a:cubicBezTo>
                  <a:pt x="182" y="283"/>
                  <a:pt x="182" y="283"/>
                  <a:pt x="182" y="283"/>
                </a:cubicBezTo>
                <a:cubicBezTo>
                  <a:pt x="184" y="283"/>
                  <a:pt x="184" y="283"/>
                  <a:pt x="184" y="283"/>
                </a:cubicBezTo>
                <a:cubicBezTo>
                  <a:pt x="184" y="286"/>
                  <a:pt x="184" y="286"/>
                  <a:pt x="184" y="286"/>
                </a:cubicBezTo>
                <a:cubicBezTo>
                  <a:pt x="186" y="284"/>
                  <a:pt x="186" y="284"/>
                  <a:pt x="186" y="284"/>
                </a:cubicBezTo>
                <a:cubicBezTo>
                  <a:pt x="186" y="288"/>
                  <a:pt x="186" y="288"/>
                  <a:pt x="186" y="288"/>
                </a:cubicBezTo>
                <a:cubicBezTo>
                  <a:pt x="192" y="290"/>
                  <a:pt x="192" y="290"/>
                  <a:pt x="192" y="290"/>
                </a:cubicBezTo>
                <a:cubicBezTo>
                  <a:pt x="194" y="294"/>
                  <a:pt x="194" y="294"/>
                  <a:pt x="194" y="294"/>
                </a:cubicBezTo>
                <a:cubicBezTo>
                  <a:pt x="201" y="298"/>
                  <a:pt x="201" y="298"/>
                  <a:pt x="201" y="298"/>
                </a:cubicBezTo>
                <a:cubicBezTo>
                  <a:pt x="202" y="302"/>
                  <a:pt x="202" y="302"/>
                  <a:pt x="202" y="302"/>
                </a:cubicBezTo>
                <a:cubicBezTo>
                  <a:pt x="206" y="305"/>
                  <a:pt x="206" y="305"/>
                  <a:pt x="206" y="305"/>
                </a:cubicBezTo>
                <a:cubicBezTo>
                  <a:pt x="206" y="311"/>
                  <a:pt x="206" y="311"/>
                  <a:pt x="206" y="311"/>
                </a:cubicBezTo>
                <a:cubicBezTo>
                  <a:pt x="210" y="316"/>
                  <a:pt x="210" y="316"/>
                  <a:pt x="210" y="316"/>
                </a:cubicBezTo>
                <a:cubicBezTo>
                  <a:pt x="211" y="321"/>
                  <a:pt x="211" y="321"/>
                  <a:pt x="211" y="321"/>
                </a:cubicBezTo>
                <a:cubicBezTo>
                  <a:pt x="215" y="325"/>
                  <a:pt x="215" y="325"/>
                  <a:pt x="215" y="325"/>
                </a:cubicBezTo>
                <a:cubicBezTo>
                  <a:pt x="215" y="328"/>
                  <a:pt x="215" y="328"/>
                  <a:pt x="215" y="328"/>
                </a:cubicBezTo>
                <a:cubicBezTo>
                  <a:pt x="218" y="328"/>
                  <a:pt x="218" y="328"/>
                  <a:pt x="218" y="328"/>
                </a:cubicBezTo>
                <a:cubicBezTo>
                  <a:pt x="216" y="330"/>
                  <a:pt x="216" y="330"/>
                  <a:pt x="216" y="330"/>
                </a:cubicBezTo>
                <a:cubicBezTo>
                  <a:pt x="217" y="332"/>
                  <a:pt x="217" y="332"/>
                  <a:pt x="217" y="332"/>
                </a:cubicBezTo>
                <a:cubicBezTo>
                  <a:pt x="218" y="335"/>
                  <a:pt x="218" y="335"/>
                  <a:pt x="218" y="335"/>
                </a:cubicBezTo>
                <a:cubicBezTo>
                  <a:pt x="219" y="337"/>
                  <a:pt x="219" y="337"/>
                  <a:pt x="219" y="337"/>
                </a:cubicBezTo>
                <a:cubicBezTo>
                  <a:pt x="221" y="339"/>
                  <a:pt x="221" y="339"/>
                  <a:pt x="221" y="339"/>
                </a:cubicBezTo>
                <a:cubicBezTo>
                  <a:pt x="221" y="340"/>
                  <a:pt x="221" y="340"/>
                  <a:pt x="221" y="340"/>
                </a:cubicBezTo>
                <a:cubicBezTo>
                  <a:pt x="226" y="342"/>
                  <a:pt x="226" y="342"/>
                  <a:pt x="226" y="342"/>
                </a:cubicBezTo>
                <a:cubicBezTo>
                  <a:pt x="229" y="348"/>
                  <a:pt x="229" y="348"/>
                  <a:pt x="229" y="348"/>
                </a:cubicBezTo>
                <a:cubicBezTo>
                  <a:pt x="231" y="349"/>
                  <a:pt x="231" y="349"/>
                  <a:pt x="231" y="349"/>
                </a:cubicBezTo>
                <a:cubicBezTo>
                  <a:pt x="234" y="357"/>
                  <a:pt x="234" y="357"/>
                  <a:pt x="234" y="357"/>
                </a:cubicBezTo>
                <a:cubicBezTo>
                  <a:pt x="236" y="357"/>
                  <a:pt x="236" y="357"/>
                  <a:pt x="236" y="357"/>
                </a:cubicBezTo>
                <a:cubicBezTo>
                  <a:pt x="239" y="361"/>
                  <a:pt x="239" y="361"/>
                  <a:pt x="239" y="361"/>
                </a:cubicBezTo>
                <a:cubicBezTo>
                  <a:pt x="244" y="363"/>
                  <a:pt x="244" y="363"/>
                  <a:pt x="244" y="363"/>
                </a:cubicBezTo>
                <a:cubicBezTo>
                  <a:pt x="245" y="365"/>
                  <a:pt x="245" y="365"/>
                  <a:pt x="245" y="365"/>
                </a:cubicBezTo>
                <a:cubicBezTo>
                  <a:pt x="247" y="370"/>
                  <a:pt x="247" y="370"/>
                  <a:pt x="247" y="370"/>
                </a:cubicBezTo>
                <a:cubicBezTo>
                  <a:pt x="247" y="370"/>
                  <a:pt x="246" y="372"/>
                  <a:pt x="246" y="372"/>
                </a:cubicBezTo>
                <a:cubicBezTo>
                  <a:pt x="246" y="372"/>
                  <a:pt x="245" y="375"/>
                  <a:pt x="245" y="375"/>
                </a:cubicBezTo>
                <a:cubicBezTo>
                  <a:pt x="248" y="377"/>
                  <a:pt x="248" y="377"/>
                  <a:pt x="248" y="377"/>
                </a:cubicBezTo>
                <a:cubicBezTo>
                  <a:pt x="249" y="383"/>
                  <a:pt x="249" y="383"/>
                  <a:pt x="249" y="383"/>
                </a:cubicBezTo>
                <a:cubicBezTo>
                  <a:pt x="248" y="385"/>
                  <a:pt x="248" y="385"/>
                  <a:pt x="248" y="385"/>
                </a:cubicBezTo>
                <a:cubicBezTo>
                  <a:pt x="250" y="388"/>
                  <a:pt x="250" y="388"/>
                  <a:pt x="250" y="388"/>
                </a:cubicBezTo>
                <a:cubicBezTo>
                  <a:pt x="250" y="389"/>
                  <a:pt x="250" y="389"/>
                  <a:pt x="250" y="389"/>
                </a:cubicBezTo>
                <a:cubicBezTo>
                  <a:pt x="252" y="390"/>
                  <a:pt x="252" y="390"/>
                  <a:pt x="252" y="390"/>
                </a:cubicBezTo>
                <a:cubicBezTo>
                  <a:pt x="252" y="392"/>
                  <a:pt x="252" y="392"/>
                  <a:pt x="252" y="392"/>
                </a:cubicBezTo>
                <a:cubicBezTo>
                  <a:pt x="254" y="393"/>
                  <a:pt x="254" y="393"/>
                  <a:pt x="254" y="393"/>
                </a:cubicBezTo>
                <a:cubicBezTo>
                  <a:pt x="256" y="397"/>
                  <a:pt x="256" y="397"/>
                  <a:pt x="256" y="397"/>
                </a:cubicBezTo>
                <a:cubicBezTo>
                  <a:pt x="256" y="397"/>
                  <a:pt x="257" y="399"/>
                  <a:pt x="257" y="400"/>
                </a:cubicBezTo>
                <a:cubicBezTo>
                  <a:pt x="257" y="400"/>
                  <a:pt x="257" y="405"/>
                  <a:pt x="257" y="405"/>
                </a:cubicBezTo>
                <a:cubicBezTo>
                  <a:pt x="260" y="407"/>
                  <a:pt x="260" y="407"/>
                  <a:pt x="260" y="407"/>
                </a:cubicBezTo>
                <a:cubicBezTo>
                  <a:pt x="260" y="407"/>
                  <a:pt x="259" y="409"/>
                  <a:pt x="259" y="409"/>
                </a:cubicBezTo>
                <a:cubicBezTo>
                  <a:pt x="259" y="409"/>
                  <a:pt x="260" y="410"/>
                  <a:pt x="260" y="410"/>
                </a:cubicBezTo>
                <a:cubicBezTo>
                  <a:pt x="264" y="410"/>
                  <a:pt x="264" y="410"/>
                  <a:pt x="264" y="410"/>
                </a:cubicBezTo>
                <a:cubicBezTo>
                  <a:pt x="265" y="411"/>
                  <a:pt x="265" y="411"/>
                  <a:pt x="265" y="411"/>
                </a:cubicBezTo>
                <a:cubicBezTo>
                  <a:pt x="266" y="410"/>
                  <a:pt x="266" y="410"/>
                  <a:pt x="266" y="410"/>
                </a:cubicBezTo>
                <a:cubicBezTo>
                  <a:pt x="267" y="412"/>
                  <a:pt x="267" y="412"/>
                  <a:pt x="267" y="412"/>
                </a:cubicBezTo>
                <a:cubicBezTo>
                  <a:pt x="268" y="412"/>
                  <a:pt x="268" y="412"/>
                  <a:pt x="268" y="412"/>
                </a:cubicBezTo>
                <a:cubicBezTo>
                  <a:pt x="270" y="411"/>
                  <a:pt x="270" y="411"/>
                  <a:pt x="270" y="411"/>
                </a:cubicBezTo>
                <a:cubicBezTo>
                  <a:pt x="275" y="417"/>
                  <a:pt x="275" y="417"/>
                  <a:pt x="275" y="417"/>
                </a:cubicBezTo>
                <a:cubicBezTo>
                  <a:pt x="278" y="416"/>
                  <a:pt x="278" y="416"/>
                  <a:pt x="278" y="416"/>
                </a:cubicBezTo>
                <a:cubicBezTo>
                  <a:pt x="281" y="418"/>
                  <a:pt x="281" y="418"/>
                  <a:pt x="281" y="418"/>
                </a:cubicBezTo>
                <a:cubicBezTo>
                  <a:pt x="283" y="417"/>
                  <a:pt x="283" y="417"/>
                  <a:pt x="283" y="417"/>
                </a:cubicBezTo>
                <a:cubicBezTo>
                  <a:pt x="284" y="419"/>
                  <a:pt x="284" y="419"/>
                  <a:pt x="284" y="419"/>
                </a:cubicBezTo>
                <a:cubicBezTo>
                  <a:pt x="286" y="419"/>
                  <a:pt x="286" y="419"/>
                  <a:pt x="286" y="419"/>
                </a:cubicBezTo>
                <a:cubicBezTo>
                  <a:pt x="287" y="422"/>
                  <a:pt x="287" y="422"/>
                  <a:pt x="287" y="422"/>
                </a:cubicBezTo>
                <a:cubicBezTo>
                  <a:pt x="288" y="421"/>
                  <a:pt x="288" y="421"/>
                  <a:pt x="288" y="421"/>
                </a:cubicBezTo>
                <a:cubicBezTo>
                  <a:pt x="288" y="422"/>
                  <a:pt x="288" y="422"/>
                  <a:pt x="288" y="422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93" y="423"/>
                  <a:pt x="293" y="423"/>
                  <a:pt x="293" y="423"/>
                </a:cubicBezTo>
                <a:cubicBezTo>
                  <a:pt x="295" y="423"/>
                  <a:pt x="295" y="423"/>
                  <a:pt x="295" y="423"/>
                </a:cubicBezTo>
                <a:cubicBezTo>
                  <a:pt x="295" y="424"/>
                  <a:pt x="295" y="424"/>
                  <a:pt x="295" y="424"/>
                </a:cubicBezTo>
                <a:cubicBezTo>
                  <a:pt x="297" y="423"/>
                  <a:pt x="297" y="423"/>
                  <a:pt x="297" y="423"/>
                </a:cubicBezTo>
                <a:cubicBezTo>
                  <a:pt x="303" y="423"/>
                  <a:pt x="303" y="423"/>
                  <a:pt x="303" y="423"/>
                </a:cubicBezTo>
                <a:cubicBezTo>
                  <a:pt x="306" y="424"/>
                  <a:pt x="306" y="424"/>
                  <a:pt x="306" y="424"/>
                </a:cubicBezTo>
                <a:cubicBezTo>
                  <a:pt x="310" y="425"/>
                  <a:pt x="310" y="425"/>
                  <a:pt x="310" y="425"/>
                </a:cubicBezTo>
                <a:cubicBezTo>
                  <a:pt x="310" y="425"/>
                  <a:pt x="318" y="432"/>
                  <a:pt x="318" y="432"/>
                </a:cubicBezTo>
                <a:cubicBezTo>
                  <a:pt x="318" y="432"/>
                  <a:pt x="318" y="431"/>
                  <a:pt x="318" y="431"/>
                </a:cubicBezTo>
                <a:cubicBezTo>
                  <a:pt x="318" y="430"/>
                  <a:pt x="319" y="432"/>
                  <a:pt x="319" y="432"/>
                </a:cubicBezTo>
                <a:cubicBezTo>
                  <a:pt x="319" y="432"/>
                  <a:pt x="320" y="431"/>
                  <a:pt x="320" y="430"/>
                </a:cubicBezTo>
                <a:cubicBezTo>
                  <a:pt x="320" y="430"/>
                  <a:pt x="320" y="428"/>
                  <a:pt x="320" y="428"/>
                </a:cubicBezTo>
                <a:cubicBezTo>
                  <a:pt x="320" y="428"/>
                  <a:pt x="324" y="428"/>
                  <a:pt x="324" y="428"/>
                </a:cubicBezTo>
                <a:cubicBezTo>
                  <a:pt x="325" y="428"/>
                  <a:pt x="327" y="428"/>
                  <a:pt x="327" y="428"/>
                </a:cubicBezTo>
                <a:cubicBezTo>
                  <a:pt x="327" y="428"/>
                  <a:pt x="327" y="427"/>
                  <a:pt x="327" y="426"/>
                </a:cubicBezTo>
                <a:cubicBezTo>
                  <a:pt x="328" y="426"/>
                  <a:pt x="327" y="426"/>
                  <a:pt x="327" y="426"/>
                </a:cubicBezTo>
                <a:cubicBezTo>
                  <a:pt x="327" y="426"/>
                  <a:pt x="326" y="427"/>
                  <a:pt x="326" y="427"/>
                </a:cubicBezTo>
                <a:cubicBezTo>
                  <a:pt x="326" y="427"/>
                  <a:pt x="325" y="427"/>
                  <a:pt x="325" y="426"/>
                </a:cubicBezTo>
                <a:cubicBezTo>
                  <a:pt x="325" y="426"/>
                  <a:pt x="326" y="426"/>
                  <a:pt x="326" y="425"/>
                </a:cubicBezTo>
                <a:cubicBezTo>
                  <a:pt x="326" y="425"/>
                  <a:pt x="326" y="424"/>
                  <a:pt x="326" y="424"/>
                </a:cubicBezTo>
                <a:cubicBezTo>
                  <a:pt x="326" y="423"/>
                  <a:pt x="326" y="423"/>
                  <a:pt x="325" y="423"/>
                </a:cubicBezTo>
                <a:cubicBezTo>
                  <a:pt x="324" y="423"/>
                  <a:pt x="324" y="423"/>
                  <a:pt x="323" y="422"/>
                </a:cubicBezTo>
                <a:cubicBezTo>
                  <a:pt x="323" y="421"/>
                  <a:pt x="322" y="421"/>
                  <a:pt x="322" y="420"/>
                </a:cubicBezTo>
                <a:cubicBezTo>
                  <a:pt x="322" y="420"/>
                  <a:pt x="322" y="419"/>
                  <a:pt x="322" y="418"/>
                </a:cubicBezTo>
                <a:cubicBezTo>
                  <a:pt x="321" y="418"/>
                  <a:pt x="322" y="417"/>
                  <a:pt x="322" y="416"/>
                </a:cubicBezTo>
                <a:cubicBezTo>
                  <a:pt x="321" y="415"/>
                  <a:pt x="321" y="415"/>
                  <a:pt x="321" y="415"/>
                </a:cubicBezTo>
                <a:cubicBezTo>
                  <a:pt x="321" y="415"/>
                  <a:pt x="321" y="414"/>
                  <a:pt x="321" y="413"/>
                </a:cubicBezTo>
                <a:cubicBezTo>
                  <a:pt x="321" y="413"/>
                  <a:pt x="320" y="412"/>
                  <a:pt x="320" y="411"/>
                </a:cubicBezTo>
                <a:cubicBezTo>
                  <a:pt x="319" y="410"/>
                  <a:pt x="318" y="409"/>
                  <a:pt x="318" y="409"/>
                </a:cubicBezTo>
                <a:cubicBezTo>
                  <a:pt x="318" y="409"/>
                  <a:pt x="318" y="407"/>
                  <a:pt x="318" y="407"/>
                </a:cubicBezTo>
                <a:cubicBezTo>
                  <a:pt x="318" y="407"/>
                  <a:pt x="318" y="407"/>
                  <a:pt x="318" y="406"/>
                </a:cubicBezTo>
                <a:cubicBezTo>
                  <a:pt x="319" y="406"/>
                  <a:pt x="318" y="405"/>
                  <a:pt x="318" y="404"/>
                </a:cubicBezTo>
                <a:cubicBezTo>
                  <a:pt x="318" y="404"/>
                  <a:pt x="318" y="404"/>
                  <a:pt x="318" y="403"/>
                </a:cubicBezTo>
                <a:cubicBezTo>
                  <a:pt x="317" y="403"/>
                  <a:pt x="318" y="402"/>
                  <a:pt x="318" y="402"/>
                </a:cubicBezTo>
                <a:cubicBezTo>
                  <a:pt x="318" y="402"/>
                  <a:pt x="318" y="401"/>
                  <a:pt x="317" y="401"/>
                </a:cubicBezTo>
                <a:cubicBezTo>
                  <a:pt x="317" y="400"/>
                  <a:pt x="317" y="400"/>
                  <a:pt x="317" y="399"/>
                </a:cubicBezTo>
                <a:cubicBezTo>
                  <a:pt x="317" y="399"/>
                  <a:pt x="317" y="397"/>
                  <a:pt x="316" y="397"/>
                </a:cubicBezTo>
                <a:cubicBezTo>
                  <a:pt x="316" y="396"/>
                  <a:pt x="314" y="395"/>
                  <a:pt x="314" y="394"/>
                </a:cubicBezTo>
                <a:cubicBezTo>
                  <a:pt x="313" y="393"/>
                  <a:pt x="313" y="393"/>
                  <a:pt x="313" y="393"/>
                </a:cubicBezTo>
                <a:cubicBezTo>
                  <a:pt x="313" y="392"/>
                  <a:pt x="314" y="393"/>
                  <a:pt x="314" y="392"/>
                </a:cubicBezTo>
                <a:cubicBezTo>
                  <a:pt x="314" y="392"/>
                  <a:pt x="314" y="392"/>
                  <a:pt x="314" y="392"/>
                </a:cubicBezTo>
                <a:cubicBezTo>
                  <a:pt x="314" y="391"/>
                  <a:pt x="314" y="389"/>
                  <a:pt x="314" y="389"/>
                </a:cubicBezTo>
                <a:cubicBezTo>
                  <a:pt x="314" y="389"/>
                  <a:pt x="314" y="388"/>
                  <a:pt x="314" y="388"/>
                </a:cubicBezTo>
                <a:cubicBezTo>
                  <a:pt x="315" y="387"/>
                  <a:pt x="317" y="388"/>
                  <a:pt x="317" y="388"/>
                </a:cubicBezTo>
                <a:cubicBezTo>
                  <a:pt x="317" y="388"/>
                  <a:pt x="317" y="387"/>
                  <a:pt x="317" y="387"/>
                </a:cubicBezTo>
                <a:cubicBezTo>
                  <a:pt x="317" y="387"/>
                  <a:pt x="317" y="386"/>
                  <a:pt x="317" y="386"/>
                </a:cubicBezTo>
                <a:cubicBezTo>
                  <a:pt x="317" y="386"/>
                  <a:pt x="316" y="385"/>
                  <a:pt x="316" y="385"/>
                </a:cubicBezTo>
                <a:cubicBezTo>
                  <a:pt x="316" y="385"/>
                  <a:pt x="317" y="384"/>
                  <a:pt x="317" y="384"/>
                </a:cubicBezTo>
                <a:cubicBezTo>
                  <a:pt x="317" y="384"/>
                  <a:pt x="317" y="383"/>
                  <a:pt x="317" y="381"/>
                </a:cubicBezTo>
                <a:cubicBezTo>
                  <a:pt x="317" y="381"/>
                  <a:pt x="317" y="381"/>
                  <a:pt x="317" y="380"/>
                </a:cubicBezTo>
                <a:cubicBezTo>
                  <a:pt x="317" y="380"/>
                  <a:pt x="317" y="380"/>
                  <a:pt x="317" y="380"/>
                </a:cubicBezTo>
                <a:cubicBezTo>
                  <a:pt x="317" y="379"/>
                  <a:pt x="318" y="379"/>
                  <a:pt x="318" y="379"/>
                </a:cubicBezTo>
                <a:cubicBezTo>
                  <a:pt x="318" y="378"/>
                  <a:pt x="316" y="378"/>
                  <a:pt x="316" y="378"/>
                </a:cubicBezTo>
                <a:cubicBezTo>
                  <a:pt x="315" y="378"/>
                  <a:pt x="315" y="379"/>
                  <a:pt x="315" y="379"/>
                </a:cubicBezTo>
                <a:cubicBezTo>
                  <a:pt x="315" y="379"/>
                  <a:pt x="314" y="378"/>
                  <a:pt x="314" y="378"/>
                </a:cubicBezTo>
                <a:cubicBezTo>
                  <a:pt x="313" y="378"/>
                  <a:pt x="312" y="378"/>
                  <a:pt x="311" y="378"/>
                </a:cubicBezTo>
                <a:cubicBezTo>
                  <a:pt x="311" y="378"/>
                  <a:pt x="310" y="378"/>
                  <a:pt x="309" y="378"/>
                </a:cubicBezTo>
                <a:cubicBezTo>
                  <a:pt x="309" y="377"/>
                  <a:pt x="309" y="377"/>
                  <a:pt x="309" y="377"/>
                </a:cubicBezTo>
                <a:cubicBezTo>
                  <a:pt x="309" y="377"/>
                  <a:pt x="309" y="377"/>
                  <a:pt x="309" y="377"/>
                </a:cubicBezTo>
                <a:cubicBezTo>
                  <a:pt x="308" y="377"/>
                  <a:pt x="308" y="377"/>
                  <a:pt x="309" y="377"/>
                </a:cubicBezTo>
                <a:cubicBezTo>
                  <a:pt x="309" y="376"/>
                  <a:pt x="310" y="377"/>
                  <a:pt x="310" y="376"/>
                </a:cubicBezTo>
                <a:cubicBezTo>
                  <a:pt x="310" y="376"/>
                  <a:pt x="311" y="376"/>
                  <a:pt x="311" y="376"/>
                </a:cubicBezTo>
                <a:cubicBezTo>
                  <a:pt x="312" y="376"/>
                  <a:pt x="312" y="376"/>
                  <a:pt x="313" y="375"/>
                </a:cubicBezTo>
                <a:cubicBezTo>
                  <a:pt x="313" y="375"/>
                  <a:pt x="314" y="374"/>
                  <a:pt x="315" y="375"/>
                </a:cubicBezTo>
                <a:cubicBezTo>
                  <a:pt x="315" y="375"/>
                  <a:pt x="314" y="376"/>
                  <a:pt x="314" y="376"/>
                </a:cubicBezTo>
                <a:cubicBezTo>
                  <a:pt x="314" y="376"/>
                  <a:pt x="315" y="377"/>
                  <a:pt x="315" y="377"/>
                </a:cubicBezTo>
                <a:cubicBezTo>
                  <a:pt x="315" y="376"/>
                  <a:pt x="315" y="376"/>
                  <a:pt x="316" y="376"/>
                </a:cubicBezTo>
                <a:cubicBezTo>
                  <a:pt x="316" y="376"/>
                  <a:pt x="317" y="376"/>
                  <a:pt x="317" y="376"/>
                </a:cubicBezTo>
                <a:cubicBezTo>
                  <a:pt x="318" y="376"/>
                  <a:pt x="318" y="375"/>
                  <a:pt x="318" y="375"/>
                </a:cubicBezTo>
                <a:cubicBezTo>
                  <a:pt x="319" y="375"/>
                  <a:pt x="319" y="375"/>
                  <a:pt x="319" y="375"/>
                </a:cubicBezTo>
                <a:cubicBezTo>
                  <a:pt x="319" y="374"/>
                  <a:pt x="319" y="374"/>
                  <a:pt x="319" y="374"/>
                </a:cubicBezTo>
                <a:cubicBezTo>
                  <a:pt x="319" y="373"/>
                  <a:pt x="319" y="373"/>
                  <a:pt x="320" y="372"/>
                </a:cubicBezTo>
                <a:cubicBezTo>
                  <a:pt x="320" y="372"/>
                  <a:pt x="320" y="372"/>
                  <a:pt x="320" y="371"/>
                </a:cubicBezTo>
                <a:cubicBezTo>
                  <a:pt x="320" y="371"/>
                  <a:pt x="320" y="370"/>
                  <a:pt x="321" y="369"/>
                </a:cubicBezTo>
                <a:cubicBezTo>
                  <a:pt x="321" y="369"/>
                  <a:pt x="320" y="368"/>
                  <a:pt x="321" y="367"/>
                </a:cubicBezTo>
                <a:cubicBezTo>
                  <a:pt x="321" y="367"/>
                  <a:pt x="321" y="366"/>
                  <a:pt x="322" y="366"/>
                </a:cubicBezTo>
                <a:cubicBezTo>
                  <a:pt x="322" y="365"/>
                  <a:pt x="322" y="365"/>
                  <a:pt x="322" y="365"/>
                </a:cubicBezTo>
                <a:cubicBezTo>
                  <a:pt x="323" y="364"/>
                  <a:pt x="323" y="364"/>
                  <a:pt x="323" y="363"/>
                </a:cubicBezTo>
                <a:cubicBezTo>
                  <a:pt x="323" y="363"/>
                  <a:pt x="323" y="362"/>
                  <a:pt x="324" y="362"/>
                </a:cubicBezTo>
                <a:cubicBezTo>
                  <a:pt x="324" y="362"/>
                  <a:pt x="324" y="361"/>
                  <a:pt x="324" y="361"/>
                </a:cubicBezTo>
                <a:cubicBezTo>
                  <a:pt x="324" y="361"/>
                  <a:pt x="323" y="360"/>
                  <a:pt x="323" y="360"/>
                </a:cubicBezTo>
                <a:cubicBezTo>
                  <a:pt x="323" y="360"/>
                  <a:pt x="322" y="360"/>
                  <a:pt x="321" y="360"/>
                </a:cubicBezTo>
                <a:cubicBezTo>
                  <a:pt x="321" y="359"/>
                  <a:pt x="320" y="359"/>
                  <a:pt x="320" y="358"/>
                </a:cubicBezTo>
                <a:cubicBezTo>
                  <a:pt x="320" y="358"/>
                  <a:pt x="320" y="358"/>
                  <a:pt x="320" y="358"/>
                </a:cubicBezTo>
                <a:cubicBezTo>
                  <a:pt x="320" y="357"/>
                  <a:pt x="319" y="357"/>
                  <a:pt x="319" y="357"/>
                </a:cubicBezTo>
                <a:cubicBezTo>
                  <a:pt x="319" y="357"/>
                  <a:pt x="319" y="356"/>
                  <a:pt x="319" y="356"/>
                </a:cubicBezTo>
                <a:cubicBezTo>
                  <a:pt x="319" y="356"/>
                  <a:pt x="319" y="356"/>
                  <a:pt x="319" y="355"/>
                </a:cubicBezTo>
                <a:cubicBezTo>
                  <a:pt x="319" y="355"/>
                  <a:pt x="318" y="355"/>
                  <a:pt x="318" y="354"/>
                </a:cubicBezTo>
                <a:cubicBezTo>
                  <a:pt x="318" y="354"/>
                  <a:pt x="318" y="354"/>
                  <a:pt x="319" y="354"/>
                </a:cubicBezTo>
                <a:cubicBezTo>
                  <a:pt x="319" y="354"/>
                  <a:pt x="320" y="354"/>
                  <a:pt x="321" y="354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21" y="353"/>
                  <a:pt x="322" y="353"/>
                  <a:pt x="322" y="353"/>
                </a:cubicBezTo>
                <a:cubicBezTo>
                  <a:pt x="323" y="353"/>
                  <a:pt x="323" y="353"/>
                  <a:pt x="324" y="353"/>
                </a:cubicBezTo>
                <a:cubicBezTo>
                  <a:pt x="324" y="354"/>
                  <a:pt x="324" y="354"/>
                  <a:pt x="325" y="354"/>
                </a:cubicBezTo>
                <a:cubicBezTo>
                  <a:pt x="325" y="355"/>
                  <a:pt x="325" y="355"/>
                  <a:pt x="326" y="355"/>
                </a:cubicBezTo>
                <a:cubicBezTo>
                  <a:pt x="326" y="355"/>
                  <a:pt x="327" y="355"/>
                  <a:pt x="327" y="355"/>
                </a:cubicBezTo>
                <a:cubicBezTo>
                  <a:pt x="327" y="355"/>
                  <a:pt x="327" y="355"/>
                  <a:pt x="327" y="355"/>
                </a:cubicBezTo>
                <a:cubicBezTo>
                  <a:pt x="327" y="354"/>
                  <a:pt x="327" y="354"/>
                  <a:pt x="327" y="354"/>
                </a:cubicBezTo>
                <a:cubicBezTo>
                  <a:pt x="328" y="353"/>
                  <a:pt x="329" y="352"/>
                  <a:pt x="329" y="351"/>
                </a:cubicBezTo>
                <a:cubicBezTo>
                  <a:pt x="330" y="350"/>
                  <a:pt x="330" y="349"/>
                  <a:pt x="331" y="348"/>
                </a:cubicBezTo>
                <a:cubicBezTo>
                  <a:pt x="331" y="347"/>
                  <a:pt x="331" y="346"/>
                  <a:pt x="331" y="346"/>
                </a:cubicBezTo>
                <a:cubicBezTo>
                  <a:pt x="331" y="346"/>
                  <a:pt x="331" y="346"/>
                  <a:pt x="330" y="346"/>
                </a:cubicBezTo>
                <a:cubicBezTo>
                  <a:pt x="330" y="346"/>
                  <a:pt x="330" y="346"/>
                  <a:pt x="329" y="346"/>
                </a:cubicBezTo>
                <a:cubicBezTo>
                  <a:pt x="329" y="346"/>
                  <a:pt x="329" y="347"/>
                  <a:pt x="329" y="347"/>
                </a:cubicBezTo>
                <a:cubicBezTo>
                  <a:pt x="328" y="347"/>
                  <a:pt x="328" y="347"/>
                  <a:pt x="327" y="347"/>
                </a:cubicBezTo>
                <a:cubicBezTo>
                  <a:pt x="326" y="346"/>
                  <a:pt x="326" y="346"/>
                  <a:pt x="326" y="345"/>
                </a:cubicBezTo>
                <a:cubicBezTo>
                  <a:pt x="325" y="345"/>
                  <a:pt x="326" y="345"/>
                  <a:pt x="326" y="345"/>
                </a:cubicBezTo>
                <a:cubicBezTo>
                  <a:pt x="327" y="345"/>
                  <a:pt x="327" y="344"/>
                  <a:pt x="328" y="344"/>
                </a:cubicBezTo>
                <a:cubicBezTo>
                  <a:pt x="328" y="344"/>
                  <a:pt x="328" y="343"/>
                  <a:pt x="329" y="343"/>
                </a:cubicBezTo>
                <a:cubicBezTo>
                  <a:pt x="329" y="343"/>
                  <a:pt x="329" y="343"/>
                  <a:pt x="329" y="343"/>
                </a:cubicBezTo>
                <a:cubicBezTo>
                  <a:pt x="330" y="343"/>
                  <a:pt x="330" y="343"/>
                  <a:pt x="330" y="342"/>
                </a:cubicBezTo>
                <a:cubicBezTo>
                  <a:pt x="330" y="342"/>
                  <a:pt x="331" y="342"/>
                  <a:pt x="331" y="342"/>
                </a:cubicBezTo>
                <a:cubicBezTo>
                  <a:pt x="331" y="342"/>
                  <a:pt x="331" y="341"/>
                  <a:pt x="332" y="341"/>
                </a:cubicBezTo>
                <a:cubicBezTo>
                  <a:pt x="332" y="341"/>
                  <a:pt x="333" y="341"/>
                  <a:pt x="333" y="341"/>
                </a:cubicBezTo>
                <a:cubicBezTo>
                  <a:pt x="333" y="342"/>
                  <a:pt x="333" y="342"/>
                  <a:pt x="333" y="343"/>
                </a:cubicBezTo>
                <a:cubicBezTo>
                  <a:pt x="333" y="343"/>
                  <a:pt x="333" y="343"/>
                  <a:pt x="334" y="343"/>
                </a:cubicBezTo>
                <a:cubicBezTo>
                  <a:pt x="334" y="343"/>
                  <a:pt x="335" y="343"/>
                  <a:pt x="336" y="343"/>
                </a:cubicBezTo>
                <a:cubicBezTo>
                  <a:pt x="336" y="343"/>
                  <a:pt x="337" y="342"/>
                  <a:pt x="338" y="342"/>
                </a:cubicBezTo>
                <a:cubicBezTo>
                  <a:pt x="338" y="341"/>
                  <a:pt x="339" y="340"/>
                  <a:pt x="340" y="340"/>
                </a:cubicBezTo>
                <a:cubicBezTo>
                  <a:pt x="340" y="339"/>
                  <a:pt x="340" y="339"/>
                  <a:pt x="340" y="338"/>
                </a:cubicBezTo>
                <a:cubicBezTo>
                  <a:pt x="340" y="338"/>
                  <a:pt x="340" y="338"/>
                  <a:pt x="340" y="337"/>
                </a:cubicBezTo>
                <a:cubicBezTo>
                  <a:pt x="340" y="337"/>
                  <a:pt x="340" y="337"/>
                  <a:pt x="340" y="336"/>
                </a:cubicBezTo>
                <a:cubicBezTo>
                  <a:pt x="340" y="336"/>
                  <a:pt x="340" y="336"/>
                  <a:pt x="340" y="336"/>
                </a:cubicBezTo>
                <a:cubicBezTo>
                  <a:pt x="339" y="336"/>
                  <a:pt x="340" y="335"/>
                  <a:pt x="340" y="335"/>
                </a:cubicBezTo>
                <a:cubicBezTo>
                  <a:pt x="340" y="334"/>
                  <a:pt x="339" y="334"/>
                  <a:pt x="339" y="333"/>
                </a:cubicBezTo>
                <a:cubicBezTo>
                  <a:pt x="338" y="333"/>
                  <a:pt x="338" y="333"/>
                  <a:pt x="339" y="332"/>
                </a:cubicBezTo>
                <a:cubicBezTo>
                  <a:pt x="340" y="332"/>
                  <a:pt x="342" y="332"/>
                  <a:pt x="343" y="333"/>
                </a:cubicBezTo>
                <a:cubicBezTo>
                  <a:pt x="343" y="333"/>
                  <a:pt x="343" y="334"/>
                  <a:pt x="343" y="335"/>
                </a:cubicBezTo>
                <a:cubicBezTo>
                  <a:pt x="343" y="336"/>
                  <a:pt x="343" y="335"/>
                  <a:pt x="344" y="335"/>
                </a:cubicBezTo>
                <a:cubicBezTo>
                  <a:pt x="345" y="335"/>
                  <a:pt x="345" y="336"/>
                  <a:pt x="346" y="335"/>
                </a:cubicBezTo>
                <a:cubicBezTo>
                  <a:pt x="347" y="335"/>
                  <a:pt x="348" y="334"/>
                  <a:pt x="348" y="334"/>
                </a:cubicBezTo>
                <a:cubicBezTo>
                  <a:pt x="349" y="333"/>
                  <a:pt x="350" y="333"/>
                  <a:pt x="351" y="332"/>
                </a:cubicBezTo>
                <a:cubicBezTo>
                  <a:pt x="352" y="332"/>
                  <a:pt x="353" y="332"/>
                  <a:pt x="353" y="331"/>
                </a:cubicBezTo>
                <a:cubicBezTo>
                  <a:pt x="353" y="330"/>
                  <a:pt x="352" y="330"/>
                  <a:pt x="352" y="329"/>
                </a:cubicBezTo>
                <a:cubicBezTo>
                  <a:pt x="352" y="329"/>
                  <a:pt x="352" y="329"/>
                  <a:pt x="351" y="328"/>
                </a:cubicBezTo>
                <a:cubicBezTo>
                  <a:pt x="351" y="328"/>
                  <a:pt x="350" y="327"/>
                  <a:pt x="349" y="327"/>
                </a:cubicBezTo>
                <a:cubicBezTo>
                  <a:pt x="349" y="326"/>
                  <a:pt x="348" y="326"/>
                  <a:pt x="347" y="326"/>
                </a:cubicBezTo>
                <a:cubicBezTo>
                  <a:pt x="347" y="326"/>
                  <a:pt x="347" y="326"/>
                  <a:pt x="347" y="325"/>
                </a:cubicBezTo>
                <a:cubicBezTo>
                  <a:pt x="346" y="325"/>
                  <a:pt x="346" y="325"/>
                  <a:pt x="346" y="325"/>
                </a:cubicBezTo>
                <a:cubicBezTo>
                  <a:pt x="346" y="325"/>
                  <a:pt x="346" y="324"/>
                  <a:pt x="346" y="324"/>
                </a:cubicBezTo>
                <a:cubicBezTo>
                  <a:pt x="346" y="323"/>
                  <a:pt x="346" y="322"/>
                  <a:pt x="346" y="322"/>
                </a:cubicBezTo>
                <a:cubicBezTo>
                  <a:pt x="346" y="322"/>
                  <a:pt x="346" y="321"/>
                  <a:pt x="347" y="321"/>
                </a:cubicBezTo>
                <a:cubicBezTo>
                  <a:pt x="347" y="321"/>
                  <a:pt x="347" y="320"/>
                  <a:pt x="347" y="321"/>
                </a:cubicBezTo>
                <a:cubicBezTo>
                  <a:pt x="348" y="321"/>
                  <a:pt x="347" y="322"/>
                  <a:pt x="348" y="323"/>
                </a:cubicBezTo>
                <a:cubicBezTo>
                  <a:pt x="348" y="323"/>
                  <a:pt x="349" y="323"/>
                  <a:pt x="349" y="323"/>
                </a:cubicBezTo>
                <a:cubicBezTo>
                  <a:pt x="350" y="323"/>
                  <a:pt x="351" y="323"/>
                  <a:pt x="351" y="324"/>
                </a:cubicBezTo>
                <a:cubicBezTo>
                  <a:pt x="352" y="324"/>
                  <a:pt x="351" y="324"/>
                  <a:pt x="352" y="324"/>
                </a:cubicBezTo>
                <a:cubicBezTo>
                  <a:pt x="352" y="324"/>
                  <a:pt x="353" y="324"/>
                  <a:pt x="353" y="324"/>
                </a:cubicBezTo>
                <a:cubicBezTo>
                  <a:pt x="354" y="324"/>
                  <a:pt x="353" y="323"/>
                  <a:pt x="353" y="322"/>
                </a:cubicBezTo>
                <a:cubicBezTo>
                  <a:pt x="353" y="322"/>
                  <a:pt x="354" y="321"/>
                  <a:pt x="354" y="321"/>
                </a:cubicBezTo>
                <a:cubicBezTo>
                  <a:pt x="354" y="321"/>
                  <a:pt x="355" y="322"/>
                  <a:pt x="355" y="322"/>
                </a:cubicBezTo>
                <a:cubicBezTo>
                  <a:pt x="355" y="323"/>
                  <a:pt x="355" y="323"/>
                  <a:pt x="355" y="323"/>
                </a:cubicBezTo>
                <a:cubicBezTo>
                  <a:pt x="356" y="323"/>
                  <a:pt x="356" y="323"/>
                  <a:pt x="356" y="323"/>
                </a:cubicBezTo>
                <a:cubicBezTo>
                  <a:pt x="357" y="323"/>
                  <a:pt x="357" y="322"/>
                  <a:pt x="357" y="322"/>
                </a:cubicBezTo>
                <a:cubicBezTo>
                  <a:pt x="358" y="322"/>
                  <a:pt x="358" y="321"/>
                  <a:pt x="359" y="321"/>
                </a:cubicBezTo>
                <a:cubicBezTo>
                  <a:pt x="359" y="321"/>
                  <a:pt x="360" y="320"/>
                  <a:pt x="360" y="321"/>
                </a:cubicBezTo>
                <a:cubicBezTo>
                  <a:pt x="360" y="321"/>
                  <a:pt x="360" y="321"/>
                  <a:pt x="360" y="322"/>
                </a:cubicBezTo>
                <a:cubicBezTo>
                  <a:pt x="360" y="322"/>
                  <a:pt x="360" y="323"/>
                  <a:pt x="360" y="323"/>
                </a:cubicBezTo>
                <a:cubicBezTo>
                  <a:pt x="360" y="324"/>
                  <a:pt x="360" y="324"/>
                  <a:pt x="360" y="324"/>
                </a:cubicBezTo>
                <a:cubicBezTo>
                  <a:pt x="360" y="325"/>
                  <a:pt x="360" y="325"/>
                  <a:pt x="360" y="325"/>
                </a:cubicBezTo>
                <a:cubicBezTo>
                  <a:pt x="360" y="326"/>
                  <a:pt x="360" y="325"/>
                  <a:pt x="361" y="325"/>
                </a:cubicBezTo>
                <a:cubicBezTo>
                  <a:pt x="361" y="325"/>
                  <a:pt x="361" y="325"/>
                  <a:pt x="362" y="325"/>
                </a:cubicBezTo>
                <a:cubicBezTo>
                  <a:pt x="362" y="325"/>
                  <a:pt x="363" y="325"/>
                  <a:pt x="363" y="325"/>
                </a:cubicBezTo>
                <a:cubicBezTo>
                  <a:pt x="363" y="325"/>
                  <a:pt x="363" y="324"/>
                  <a:pt x="364" y="324"/>
                </a:cubicBezTo>
                <a:cubicBezTo>
                  <a:pt x="364" y="324"/>
                  <a:pt x="365" y="324"/>
                  <a:pt x="365" y="324"/>
                </a:cubicBezTo>
                <a:cubicBezTo>
                  <a:pt x="366" y="324"/>
                  <a:pt x="366" y="324"/>
                  <a:pt x="366" y="324"/>
                </a:cubicBezTo>
                <a:cubicBezTo>
                  <a:pt x="366" y="323"/>
                  <a:pt x="367" y="323"/>
                  <a:pt x="367" y="323"/>
                </a:cubicBezTo>
                <a:cubicBezTo>
                  <a:pt x="367" y="323"/>
                  <a:pt x="367" y="323"/>
                  <a:pt x="367" y="323"/>
                </a:cubicBezTo>
                <a:cubicBezTo>
                  <a:pt x="368" y="323"/>
                  <a:pt x="368" y="323"/>
                  <a:pt x="368" y="323"/>
                </a:cubicBezTo>
                <a:cubicBezTo>
                  <a:pt x="368" y="324"/>
                  <a:pt x="368" y="324"/>
                  <a:pt x="368" y="325"/>
                </a:cubicBezTo>
                <a:cubicBezTo>
                  <a:pt x="367" y="325"/>
                  <a:pt x="367" y="325"/>
                  <a:pt x="366" y="326"/>
                </a:cubicBezTo>
                <a:cubicBezTo>
                  <a:pt x="365" y="326"/>
                  <a:pt x="365" y="326"/>
                  <a:pt x="364" y="327"/>
                </a:cubicBezTo>
                <a:cubicBezTo>
                  <a:pt x="362" y="327"/>
                  <a:pt x="361" y="328"/>
                  <a:pt x="359" y="329"/>
                </a:cubicBezTo>
                <a:cubicBezTo>
                  <a:pt x="359" y="329"/>
                  <a:pt x="358" y="330"/>
                  <a:pt x="357" y="330"/>
                </a:cubicBezTo>
                <a:cubicBezTo>
                  <a:pt x="357" y="330"/>
                  <a:pt x="356" y="331"/>
                  <a:pt x="357" y="331"/>
                </a:cubicBezTo>
                <a:cubicBezTo>
                  <a:pt x="357" y="332"/>
                  <a:pt x="357" y="331"/>
                  <a:pt x="357" y="331"/>
                </a:cubicBezTo>
                <a:cubicBezTo>
                  <a:pt x="358" y="331"/>
                  <a:pt x="359" y="330"/>
                  <a:pt x="359" y="330"/>
                </a:cubicBezTo>
                <a:cubicBezTo>
                  <a:pt x="360" y="330"/>
                  <a:pt x="361" y="329"/>
                  <a:pt x="362" y="328"/>
                </a:cubicBezTo>
                <a:cubicBezTo>
                  <a:pt x="363" y="328"/>
                  <a:pt x="364" y="327"/>
                  <a:pt x="365" y="327"/>
                </a:cubicBezTo>
                <a:cubicBezTo>
                  <a:pt x="366" y="326"/>
                  <a:pt x="367" y="326"/>
                  <a:pt x="368" y="326"/>
                </a:cubicBezTo>
                <a:cubicBezTo>
                  <a:pt x="369" y="325"/>
                  <a:pt x="369" y="325"/>
                  <a:pt x="370" y="324"/>
                </a:cubicBezTo>
                <a:cubicBezTo>
                  <a:pt x="370" y="324"/>
                  <a:pt x="370" y="324"/>
                  <a:pt x="370" y="323"/>
                </a:cubicBezTo>
                <a:cubicBezTo>
                  <a:pt x="370" y="323"/>
                  <a:pt x="370" y="323"/>
                  <a:pt x="370" y="323"/>
                </a:cubicBezTo>
                <a:cubicBezTo>
                  <a:pt x="370" y="321"/>
                  <a:pt x="372" y="320"/>
                  <a:pt x="374" y="320"/>
                </a:cubicBezTo>
                <a:cubicBezTo>
                  <a:pt x="375" y="319"/>
                  <a:pt x="375" y="319"/>
                  <a:pt x="376" y="319"/>
                </a:cubicBezTo>
                <a:cubicBezTo>
                  <a:pt x="377" y="319"/>
                  <a:pt x="378" y="319"/>
                  <a:pt x="379" y="319"/>
                </a:cubicBezTo>
                <a:cubicBezTo>
                  <a:pt x="380" y="318"/>
                  <a:pt x="381" y="318"/>
                  <a:pt x="381" y="318"/>
                </a:cubicBezTo>
                <a:cubicBezTo>
                  <a:pt x="382" y="317"/>
                  <a:pt x="383" y="317"/>
                  <a:pt x="383" y="316"/>
                </a:cubicBezTo>
                <a:cubicBezTo>
                  <a:pt x="384" y="316"/>
                  <a:pt x="385" y="315"/>
                  <a:pt x="386" y="315"/>
                </a:cubicBezTo>
                <a:cubicBezTo>
                  <a:pt x="388" y="314"/>
                  <a:pt x="389" y="314"/>
                  <a:pt x="389" y="314"/>
                </a:cubicBezTo>
                <a:cubicBezTo>
                  <a:pt x="391" y="313"/>
                  <a:pt x="392" y="312"/>
                  <a:pt x="393" y="311"/>
                </a:cubicBezTo>
                <a:cubicBezTo>
                  <a:pt x="393" y="310"/>
                  <a:pt x="393" y="310"/>
                  <a:pt x="394" y="310"/>
                </a:cubicBezTo>
                <a:cubicBezTo>
                  <a:pt x="394" y="309"/>
                  <a:pt x="395" y="309"/>
                  <a:pt x="395" y="309"/>
                </a:cubicBezTo>
                <a:cubicBezTo>
                  <a:pt x="396" y="309"/>
                  <a:pt x="397" y="308"/>
                  <a:pt x="397" y="307"/>
                </a:cubicBezTo>
                <a:cubicBezTo>
                  <a:pt x="397" y="307"/>
                  <a:pt x="397" y="306"/>
                  <a:pt x="397" y="306"/>
                </a:cubicBezTo>
                <a:cubicBezTo>
                  <a:pt x="397" y="306"/>
                  <a:pt x="397" y="306"/>
                  <a:pt x="396" y="306"/>
                </a:cubicBezTo>
                <a:cubicBezTo>
                  <a:pt x="396" y="306"/>
                  <a:pt x="396" y="306"/>
                  <a:pt x="396" y="305"/>
                </a:cubicBezTo>
                <a:cubicBezTo>
                  <a:pt x="396" y="305"/>
                  <a:pt x="395" y="305"/>
                  <a:pt x="395" y="305"/>
                </a:cubicBezTo>
                <a:cubicBezTo>
                  <a:pt x="395" y="305"/>
                  <a:pt x="396" y="304"/>
                  <a:pt x="396" y="304"/>
                </a:cubicBezTo>
                <a:cubicBezTo>
                  <a:pt x="396" y="304"/>
                  <a:pt x="396" y="303"/>
                  <a:pt x="396" y="303"/>
                </a:cubicBezTo>
                <a:cubicBezTo>
                  <a:pt x="397" y="303"/>
                  <a:pt x="397" y="303"/>
                  <a:pt x="398" y="302"/>
                </a:cubicBezTo>
                <a:cubicBezTo>
                  <a:pt x="399" y="302"/>
                  <a:pt x="400" y="302"/>
                  <a:pt x="400" y="301"/>
                </a:cubicBezTo>
                <a:cubicBezTo>
                  <a:pt x="401" y="300"/>
                  <a:pt x="402" y="300"/>
                  <a:pt x="402" y="299"/>
                </a:cubicBezTo>
                <a:cubicBezTo>
                  <a:pt x="403" y="299"/>
                  <a:pt x="403" y="299"/>
                  <a:pt x="403" y="299"/>
                </a:cubicBezTo>
                <a:cubicBezTo>
                  <a:pt x="403" y="298"/>
                  <a:pt x="404" y="298"/>
                  <a:pt x="404" y="298"/>
                </a:cubicBezTo>
                <a:cubicBezTo>
                  <a:pt x="404" y="298"/>
                  <a:pt x="405" y="298"/>
                  <a:pt x="406" y="297"/>
                </a:cubicBezTo>
                <a:cubicBezTo>
                  <a:pt x="406" y="297"/>
                  <a:pt x="406" y="296"/>
                  <a:pt x="406" y="296"/>
                </a:cubicBezTo>
                <a:cubicBezTo>
                  <a:pt x="406" y="295"/>
                  <a:pt x="406" y="295"/>
                  <a:pt x="406" y="294"/>
                </a:cubicBezTo>
                <a:cubicBezTo>
                  <a:pt x="406" y="293"/>
                  <a:pt x="406" y="293"/>
                  <a:pt x="405" y="292"/>
                </a:cubicBezTo>
                <a:cubicBezTo>
                  <a:pt x="405" y="292"/>
                  <a:pt x="405" y="292"/>
                  <a:pt x="405" y="292"/>
                </a:cubicBezTo>
                <a:cubicBezTo>
                  <a:pt x="405" y="292"/>
                  <a:pt x="404" y="292"/>
                  <a:pt x="404" y="291"/>
                </a:cubicBezTo>
                <a:cubicBezTo>
                  <a:pt x="403" y="291"/>
                  <a:pt x="404" y="291"/>
                  <a:pt x="404" y="290"/>
                </a:cubicBezTo>
                <a:cubicBezTo>
                  <a:pt x="404" y="290"/>
                  <a:pt x="405" y="290"/>
                  <a:pt x="404" y="289"/>
                </a:cubicBezTo>
                <a:cubicBezTo>
                  <a:pt x="404" y="289"/>
                  <a:pt x="403" y="289"/>
                  <a:pt x="403" y="289"/>
                </a:cubicBezTo>
                <a:cubicBezTo>
                  <a:pt x="403" y="289"/>
                  <a:pt x="403" y="289"/>
                  <a:pt x="402" y="289"/>
                </a:cubicBezTo>
                <a:cubicBezTo>
                  <a:pt x="402" y="288"/>
                  <a:pt x="402" y="288"/>
                  <a:pt x="401" y="287"/>
                </a:cubicBezTo>
                <a:cubicBezTo>
                  <a:pt x="402" y="287"/>
                  <a:pt x="402" y="287"/>
                  <a:pt x="402" y="286"/>
                </a:cubicBezTo>
                <a:cubicBezTo>
                  <a:pt x="402" y="286"/>
                  <a:pt x="402" y="285"/>
                  <a:pt x="401" y="285"/>
                </a:cubicBezTo>
                <a:cubicBezTo>
                  <a:pt x="402" y="285"/>
                  <a:pt x="402" y="285"/>
                  <a:pt x="402" y="284"/>
                </a:cubicBezTo>
                <a:cubicBezTo>
                  <a:pt x="402" y="284"/>
                  <a:pt x="402" y="283"/>
                  <a:pt x="402" y="283"/>
                </a:cubicBezTo>
                <a:cubicBezTo>
                  <a:pt x="402" y="281"/>
                  <a:pt x="401" y="281"/>
                  <a:pt x="400" y="281"/>
                </a:cubicBezTo>
                <a:cubicBezTo>
                  <a:pt x="400" y="281"/>
                  <a:pt x="399" y="280"/>
                  <a:pt x="399" y="280"/>
                </a:cubicBezTo>
                <a:cubicBezTo>
                  <a:pt x="399" y="279"/>
                  <a:pt x="399" y="279"/>
                  <a:pt x="399" y="279"/>
                </a:cubicBezTo>
                <a:cubicBezTo>
                  <a:pt x="399" y="278"/>
                  <a:pt x="399" y="277"/>
                  <a:pt x="399" y="277"/>
                </a:cubicBezTo>
                <a:cubicBezTo>
                  <a:pt x="400" y="276"/>
                  <a:pt x="400" y="277"/>
                  <a:pt x="400" y="278"/>
                </a:cubicBezTo>
                <a:cubicBezTo>
                  <a:pt x="401" y="278"/>
                  <a:pt x="401" y="279"/>
                  <a:pt x="401" y="279"/>
                </a:cubicBezTo>
                <a:cubicBezTo>
                  <a:pt x="401" y="280"/>
                  <a:pt x="402" y="280"/>
                  <a:pt x="402" y="280"/>
                </a:cubicBezTo>
                <a:cubicBezTo>
                  <a:pt x="403" y="281"/>
                  <a:pt x="404" y="282"/>
                  <a:pt x="404" y="282"/>
                </a:cubicBezTo>
                <a:cubicBezTo>
                  <a:pt x="405" y="283"/>
                  <a:pt x="406" y="283"/>
                  <a:pt x="407" y="282"/>
                </a:cubicBezTo>
                <a:cubicBezTo>
                  <a:pt x="407" y="282"/>
                  <a:pt x="407" y="281"/>
                  <a:pt x="407" y="281"/>
                </a:cubicBezTo>
                <a:cubicBezTo>
                  <a:pt x="408" y="280"/>
                  <a:pt x="408" y="279"/>
                  <a:pt x="409" y="279"/>
                </a:cubicBezTo>
                <a:cubicBezTo>
                  <a:pt x="410" y="279"/>
                  <a:pt x="411" y="279"/>
                  <a:pt x="412" y="279"/>
                </a:cubicBezTo>
                <a:cubicBezTo>
                  <a:pt x="412" y="279"/>
                  <a:pt x="412" y="279"/>
                  <a:pt x="412" y="280"/>
                </a:cubicBezTo>
                <a:cubicBezTo>
                  <a:pt x="413" y="280"/>
                  <a:pt x="412" y="281"/>
                  <a:pt x="412" y="281"/>
                </a:cubicBezTo>
                <a:cubicBezTo>
                  <a:pt x="412" y="282"/>
                  <a:pt x="412" y="282"/>
                  <a:pt x="412" y="283"/>
                </a:cubicBezTo>
                <a:cubicBezTo>
                  <a:pt x="412" y="283"/>
                  <a:pt x="412" y="284"/>
                  <a:pt x="412" y="285"/>
                </a:cubicBezTo>
                <a:cubicBezTo>
                  <a:pt x="412" y="285"/>
                  <a:pt x="411" y="286"/>
                  <a:pt x="411" y="286"/>
                </a:cubicBezTo>
                <a:cubicBezTo>
                  <a:pt x="411" y="287"/>
                  <a:pt x="411" y="287"/>
                  <a:pt x="411" y="288"/>
                </a:cubicBezTo>
                <a:cubicBezTo>
                  <a:pt x="411" y="289"/>
                  <a:pt x="412" y="288"/>
                  <a:pt x="412" y="288"/>
                </a:cubicBezTo>
                <a:cubicBezTo>
                  <a:pt x="413" y="288"/>
                  <a:pt x="414" y="288"/>
                  <a:pt x="415" y="287"/>
                </a:cubicBezTo>
                <a:cubicBezTo>
                  <a:pt x="416" y="287"/>
                  <a:pt x="417" y="287"/>
                  <a:pt x="417" y="287"/>
                </a:cubicBezTo>
                <a:cubicBezTo>
                  <a:pt x="418" y="287"/>
                  <a:pt x="419" y="287"/>
                  <a:pt x="419" y="288"/>
                </a:cubicBezTo>
                <a:cubicBezTo>
                  <a:pt x="419" y="288"/>
                  <a:pt x="418" y="288"/>
                  <a:pt x="418" y="289"/>
                </a:cubicBezTo>
                <a:cubicBezTo>
                  <a:pt x="417" y="289"/>
                  <a:pt x="416" y="290"/>
                  <a:pt x="416" y="290"/>
                </a:cubicBezTo>
                <a:cubicBezTo>
                  <a:pt x="415" y="291"/>
                  <a:pt x="413" y="291"/>
                  <a:pt x="412" y="291"/>
                </a:cubicBezTo>
                <a:cubicBezTo>
                  <a:pt x="412" y="292"/>
                  <a:pt x="411" y="293"/>
                  <a:pt x="411" y="293"/>
                </a:cubicBezTo>
                <a:cubicBezTo>
                  <a:pt x="410" y="293"/>
                  <a:pt x="410" y="294"/>
                  <a:pt x="410" y="294"/>
                </a:cubicBezTo>
                <a:cubicBezTo>
                  <a:pt x="410" y="294"/>
                  <a:pt x="411" y="293"/>
                  <a:pt x="412" y="293"/>
                </a:cubicBezTo>
                <a:cubicBezTo>
                  <a:pt x="413" y="293"/>
                  <a:pt x="414" y="292"/>
                  <a:pt x="415" y="291"/>
                </a:cubicBezTo>
                <a:cubicBezTo>
                  <a:pt x="417" y="290"/>
                  <a:pt x="419" y="289"/>
                  <a:pt x="421" y="289"/>
                </a:cubicBezTo>
                <a:cubicBezTo>
                  <a:pt x="423" y="288"/>
                  <a:pt x="425" y="287"/>
                  <a:pt x="427" y="286"/>
                </a:cubicBezTo>
                <a:cubicBezTo>
                  <a:pt x="428" y="286"/>
                  <a:pt x="429" y="285"/>
                  <a:pt x="431" y="284"/>
                </a:cubicBezTo>
                <a:cubicBezTo>
                  <a:pt x="432" y="284"/>
                  <a:pt x="433" y="284"/>
                  <a:pt x="434" y="283"/>
                </a:cubicBezTo>
                <a:cubicBezTo>
                  <a:pt x="434" y="283"/>
                  <a:pt x="435" y="283"/>
                  <a:pt x="435" y="283"/>
                </a:cubicBezTo>
                <a:cubicBezTo>
                  <a:pt x="436" y="282"/>
                  <a:pt x="438" y="282"/>
                  <a:pt x="439" y="282"/>
                </a:cubicBezTo>
                <a:cubicBezTo>
                  <a:pt x="440" y="283"/>
                  <a:pt x="441" y="283"/>
                  <a:pt x="441" y="282"/>
                </a:cubicBezTo>
                <a:cubicBezTo>
                  <a:pt x="442" y="281"/>
                  <a:pt x="441" y="281"/>
                  <a:pt x="441" y="280"/>
                </a:cubicBezTo>
                <a:cubicBezTo>
                  <a:pt x="440" y="280"/>
                  <a:pt x="439" y="279"/>
                  <a:pt x="439" y="279"/>
                </a:cubicBezTo>
                <a:cubicBezTo>
                  <a:pt x="439" y="278"/>
                  <a:pt x="439" y="277"/>
                  <a:pt x="439" y="277"/>
                </a:cubicBezTo>
                <a:cubicBezTo>
                  <a:pt x="439" y="276"/>
                  <a:pt x="439" y="276"/>
                  <a:pt x="440" y="275"/>
                </a:cubicBezTo>
                <a:cubicBezTo>
                  <a:pt x="440" y="274"/>
                  <a:pt x="440" y="274"/>
                  <a:pt x="441" y="273"/>
                </a:cubicBezTo>
                <a:cubicBezTo>
                  <a:pt x="441" y="272"/>
                  <a:pt x="440" y="272"/>
                  <a:pt x="441" y="271"/>
                </a:cubicBezTo>
                <a:cubicBezTo>
                  <a:pt x="441" y="270"/>
                  <a:pt x="443" y="270"/>
                  <a:pt x="443" y="271"/>
                </a:cubicBezTo>
                <a:cubicBezTo>
                  <a:pt x="444" y="269"/>
                  <a:pt x="446" y="267"/>
                  <a:pt x="446" y="267"/>
                </a:cubicBezTo>
                <a:cubicBezTo>
                  <a:pt x="446" y="266"/>
                  <a:pt x="446" y="262"/>
                  <a:pt x="446" y="262"/>
                </a:cubicBezTo>
                <a:cubicBezTo>
                  <a:pt x="446" y="261"/>
                  <a:pt x="446" y="259"/>
                  <a:pt x="446" y="258"/>
                </a:cubicBezTo>
                <a:cubicBezTo>
                  <a:pt x="446" y="258"/>
                  <a:pt x="445" y="257"/>
                  <a:pt x="444" y="256"/>
                </a:cubicBezTo>
                <a:cubicBezTo>
                  <a:pt x="444" y="255"/>
                  <a:pt x="445" y="255"/>
                  <a:pt x="445" y="254"/>
                </a:cubicBezTo>
                <a:cubicBezTo>
                  <a:pt x="445" y="254"/>
                  <a:pt x="446" y="253"/>
                  <a:pt x="446" y="252"/>
                </a:cubicBezTo>
                <a:cubicBezTo>
                  <a:pt x="446" y="252"/>
                  <a:pt x="446" y="249"/>
                  <a:pt x="446" y="249"/>
                </a:cubicBezTo>
                <a:cubicBezTo>
                  <a:pt x="446" y="248"/>
                  <a:pt x="445" y="247"/>
                  <a:pt x="445" y="247"/>
                </a:cubicBezTo>
                <a:cubicBezTo>
                  <a:pt x="445" y="246"/>
                  <a:pt x="447" y="246"/>
                  <a:pt x="447" y="245"/>
                </a:cubicBezTo>
                <a:cubicBezTo>
                  <a:pt x="448" y="245"/>
                  <a:pt x="449" y="242"/>
                  <a:pt x="450" y="241"/>
                </a:cubicBezTo>
                <a:cubicBezTo>
                  <a:pt x="450" y="240"/>
                  <a:pt x="451" y="237"/>
                  <a:pt x="451" y="237"/>
                </a:cubicBezTo>
                <a:cubicBezTo>
                  <a:pt x="451" y="236"/>
                  <a:pt x="452" y="234"/>
                  <a:pt x="452" y="234"/>
                </a:cubicBezTo>
                <a:cubicBezTo>
                  <a:pt x="452" y="233"/>
                  <a:pt x="452" y="232"/>
                  <a:pt x="452" y="232"/>
                </a:cubicBezTo>
                <a:cubicBezTo>
                  <a:pt x="452" y="231"/>
                  <a:pt x="451" y="230"/>
                  <a:pt x="451" y="229"/>
                </a:cubicBez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8" name="Freeform 16">
            <a:extLst>
              <a:ext uri="{FF2B5EF4-FFF2-40B4-BE49-F238E27FC236}">
                <a16:creationId xmlns:a16="http://schemas.microsoft.com/office/drawing/2014/main" id="{4D9A052D-2182-4373-B50B-4E5598E58FE5}"/>
              </a:ext>
            </a:extLst>
          </p:cNvPr>
          <p:cNvSpPr>
            <a:spLocks/>
          </p:cNvSpPr>
          <p:nvPr/>
        </p:nvSpPr>
        <p:spPr bwMode="auto">
          <a:xfrm>
            <a:off x="8707308" y="3574395"/>
            <a:ext cx="1179673" cy="284179"/>
          </a:xfrm>
          <a:custGeom>
            <a:avLst/>
            <a:gdLst>
              <a:gd name="T0" fmla="*/ 211 w 298"/>
              <a:gd name="T1" fmla="*/ 62 h 72"/>
              <a:gd name="T2" fmla="*/ 216 w 298"/>
              <a:gd name="T3" fmla="*/ 58 h 72"/>
              <a:gd name="T4" fmla="*/ 217 w 298"/>
              <a:gd name="T5" fmla="*/ 54 h 72"/>
              <a:gd name="T6" fmla="*/ 226 w 298"/>
              <a:gd name="T7" fmla="*/ 48 h 72"/>
              <a:gd name="T8" fmla="*/ 240 w 298"/>
              <a:gd name="T9" fmla="*/ 44 h 72"/>
              <a:gd name="T10" fmla="*/ 243 w 298"/>
              <a:gd name="T11" fmla="*/ 41 h 72"/>
              <a:gd name="T12" fmla="*/ 248 w 298"/>
              <a:gd name="T13" fmla="*/ 38 h 72"/>
              <a:gd name="T14" fmla="*/ 254 w 298"/>
              <a:gd name="T15" fmla="*/ 37 h 72"/>
              <a:gd name="T16" fmla="*/ 257 w 298"/>
              <a:gd name="T17" fmla="*/ 31 h 72"/>
              <a:gd name="T18" fmla="*/ 263 w 298"/>
              <a:gd name="T19" fmla="*/ 27 h 72"/>
              <a:gd name="T20" fmla="*/ 265 w 298"/>
              <a:gd name="T21" fmla="*/ 30 h 72"/>
              <a:gd name="T22" fmla="*/ 272 w 298"/>
              <a:gd name="T23" fmla="*/ 26 h 72"/>
              <a:gd name="T24" fmla="*/ 279 w 298"/>
              <a:gd name="T25" fmla="*/ 22 h 72"/>
              <a:gd name="T26" fmla="*/ 286 w 298"/>
              <a:gd name="T27" fmla="*/ 23 h 72"/>
              <a:gd name="T28" fmla="*/ 293 w 298"/>
              <a:gd name="T29" fmla="*/ 14 h 72"/>
              <a:gd name="T30" fmla="*/ 296 w 298"/>
              <a:gd name="T31" fmla="*/ 11 h 72"/>
              <a:gd name="T32" fmla="*/ 298 w 298"/>
              <a:gd name="T33" fmla="*/ 4 h 72"/>
              <a:gd name="T34" fmla="*/ 214 w 298"/>
              <a:gd name="T35" fmla="*/ 3 h 72"/>
              <a:gd name="T36" fmla="*/ 104 w 298"/>
              <a:gd name="T37" fmla="*/ 2 h 72"/>
              <a:gd name="T38" fmla="*/ 77 w 298"/>
              <a:gd name="T39" fmla="*/ 0 h 72"/>
              <a:gd name="T40" fmla="*/ 30 w 298"/>
              <a:gd name="T41" fmla="*/ 8 h 72"/>
              <a:gd name="T42" fmla="*/ 28 w 298"/>
              <a:gd name="T43" fmla="*/ 8 h 72"/>
              <a:gd name="T44" fmla="*/ 28 w 298"/>
              <a:gd name="T45" fmla="*/ 5 h 72"/>
              <a:gd name="T46" fmla="*/ 26 w 298"/>
              <a:gd name="T47" fmla="*/ 6 h 72"/>
              <a:gd name="T48" fmla="*/ 25 w 298"/>
              <a:gd name="T49" fmla="*/ 14 h 72"/>
              <a:gd name="T50" fmla="*/ 25 w 298"/>
              <a:gd name="T51" fmla="*/ 17 h 72"/>
              <a:gd name="T52" fmla="*/ 22 w 298"/>
              <a:gd name="T53" fmla="*/ 18 h 72"/>
              <a:gd name="T54" fmla="*/ 23 w 298"/>
              <a:gd name="T55" fmla="*/ 20 h 72"/>
              <a:gd name="T56" fmla="*/ 22 w 298"/>
              <a:gd name="T57" fmla="*/ 25 h 72"/>
              <a:gd name="T58" fmla="*/ 21 w 298"/>
              <a:gd name="T59" fmla="*/ 27 h 72"/>
              <a:gd name="T60" fmla="*/ 20 w 298"/>
              <a:gd name="T61" fmla="*/ 29 h 72"/>
              <a:gd name="T62" fmla="*/ 21 w 298"/>
              <a:gd name="T63" fmla="*/ 34 h 72"/>
              <a:gd name="T64" fmla="*/ 19 w 298"/>
              <a:gd name="T65" fmla="*/ 36 h 72"/>
              <a:gd name="T66" fmla="*/ 17 w 298"/>
              <a:gd name="T67" fmla="*/ 38 h 72"/>
              <a:gd name="T68" fmla="*/ 14 w 298"/>
              <a:gd name="T69" fmla="*/ 40 h 72"/>
              <a:gd name="T70" fmla="*/ 13 w 298"/>
              <a:gd name="T71" fmla="*/ 43 h 72"/>
              <a:gd name="T72" fmla="*/ 14 w 298"/>
              <a:gd name="T73" fmla="*/ 46 h 72"/>
              <a:gd name="T74" fmla="*/ 13 w 298"/>
              <a:gd name="T75" fmla="*/ 49 h 72"/>
              <a:gd name="T76" fmla="*/ 9 w 298"/>
              <a:gd name="T77" fmla="*/ 49 h 72"/>
              <a:gd name="T78" fmla="*/ 8 w 298"/>
              <a:gd name="T79" fmla="*/ 54 h 72"/>
              <a:gd name="T80" fmla="*/ 8 w 298"/>
              <a:gd name="T81" fmla="*/ 51 h 72"/>
              <a:gd name="T82" fmla="*/ 6 w 298"/>
              <a:gd name="T83" fmla="*/ 55 h 72"/>
              <a:gd name="T84" fmla="*/ 8 w 298"/>
              <a:gd name="T85" fmla="*/ 56 h 72"/>
              <a:gd name="T86" fmla="*/ 6 w 298"/>
              <a:gd name="T87" fmla="*/ 59 h 72"/>
              <a:gd name="T88" fmla="*/ 6 w 298"/>
              <a:gd name="T89" fmla="*/ 62 h 72"/>
              <a:gd name="T90" fmla="*/ 7 w 298"/>
              <a:gd name="T91" fmla="*/ 64 h 72"/>
              <a:gd name="T92" fmla="*/ 5 w 298"/>
              <a:gd name="T93" fmla="*/ 66 h 72"/>
              <a:gd name="T94" fmla="*/ 0 w 298"/>
              <a:gd name="T95" fmla="*/ 72 h 72"/>
              <a:gd name="T96" fmla="*/ 207 w 298"/>
              <a:gd name="T97" fmla="*/ 6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98" h="72">
                <a:moveTo>
                  <a:pt x="207" y="62"/>
                </a:moveTo>
                <a:cubicBezTo>
                  <a:pt x="208" y="61"/>
                  <a:pt x="209" y="60"/>
                  <a:pt x="210" y="60"/>
                </a:cubicBezTo>
                <a:cubicBezTo>
                  <a:pt x="210" y="60"/>
                  <a:pt x="211" y="62"/>
                  <a:pt x="211" y="62"/>
                </a:cubicBezTo>
                <a:cubicBezTo>
                  <a:pt x="211" y="62"/>
                  <a:pt x="213" y="61"/>
                  <a:pt x="213" y="61"/>
                </a:cubicBezTo>
                <a:cubicBezTo>
                  <a:pt x="214" y="61"/>
                  <a:pt x="215" y="60"/>
                  <a:pt x="216" y="60"/>
                </a:cubicBezTo>
                <a:cubicBezTo>
                  <a:pt x="216" y="60"/>
                  <a:pt x="217" y="59"/>
                  <a:pt x="216" y="58"/>
                </a:cubicBezTo>
                <a:cubicBezTo>
                  <a:pt x="216" y="58"/>
                  <a:pt x="216" y="57"/>
                  <a:pt x="216" y="57"/>
                </a:cubicBezTo>
                <a:cubicBezTo>
                  <a:pt x="216" y="57"/>
                  <a:pt x="217" y="56"/>
                  <a:pt x="217" y="56"/>
                </a:cubicBezTo>
                <a:cubicBezTo>
                  <a:pt x="217" y="55"/>
                  <a:pt x="217" y="54"/>
                  <a:pt x="217" y="54"/>
                </a:cubicBezTo>
                <a:cubicBezTo>
                  <a:pt x="217" y="54"/>
                  <a:pt x="220" y="51"/>
                  <a:pt x="220" y="51"/>
                </a:cubicBezTo>
                <a:cubicBezTo>
                  <a:pt x="220" y="51"/>
                  <a:pt x="224" y="48"/>
                  <a:pt x="224" y="48"/>
                </a:cubicBezTo>
                <a:cubicBezTo>
                  <a:pt x="224" y="48"/>
                  <a:pt x="226" y="48"/>
                  <a:pt x="226" y="48"/>
                </a:cubicBezTo>
                <a:cubicBezTo>
                  <a:pt x="235" y="48"/>
                  <a:pt x="235" y="48"/>
                  <a:pt x="235" y="48"/>
                </a:cubicBezTo>
                <a:cubicBezTo>
                  <a:pt x="235" y="48"/>
                  <a:pt x="238" y="45"/>
                  <a:pt x="238" y="45"/>
                </a:cubicBezTo>
                <a:cubicBezTo>
                  <a:pt x="239" y="44"/>
                  <a:pt x="240" y="44"/>
                  <a:pt x="240" y="44"/>
                </a:cubicBezTo>
                <a:cubicBezTo>
                  <a:pt x="240" y="43"/>
                  <a:pt x="242" y="43"/>
                  <a:pt x="242" y="43"/>
                </a:cubicBezTo>
                <a:cubicBezTo>
                  <a:pt x="242" y="43"/>
                  <a:pt x="243" y="43"/>
                  <a:pt x="243" y="42"/>
                </a:cubicBezTo>
                <a:cubicBezTo>
                  <a:pt x="243" y="42"/>
                  <a:pt x="243" y="41"/>
                  <a:pt x="243" y="41"/>
                </a:cubicBezTo>
                <a:cubicBezTo>
                  <a:pt x="244" y="41"/>
                  <a:pt x="245" y="41"/>
                  <a:pt x="245" y="41"/>
                </a:cubicBezTo>
                <a:cubicBezTo>
                  <a:pt x="245" y="40"/>
                  <a:pt x="246" y="40"/>
                  <a:pt x="247" y="39"/>
                </a:cubicBezTo>
                <a:cubicBezTo>
                  <a:pt x="247" y="39"/>
                  <a:pt x="247" y="39"/>
                  <a:pt x="248" y="38"/>
                </a:cubicBezTo>
                <a:cubicBezTo>
                  <a:pt x="248" y="38"/>
                  <a:pt x="250" y="38"/>
                  <a:pt x="250" y="38"/>
                </a:cubicBezTo>
                <a:cubicBezTo>
                  <a:pt x="251" y="38"/>
                  <a:pt x="252" y="38"/>
                  <a:pt x="252" y="38"/>
                </a:cubicBezTo>
                <a:cubicBezTo>
                  <a:pt x="253" y="38"/>
                  <a:pt x="253" y="37"/>
                  <a:pt x="254" y="37"/>
                </a:cubicBezTo>
                <a:cubicBezTo>
                  <a:pt x="254" y="36"/>
                  <a:pt x="255" y="35"/>
                  <a:pt x="255" y="34"/>
                </a:cubicBezTo>
                <a:cubicBezTo>
                  <a:pt x="255" y="34"/>
                  <a:pt x="255" y="33"/>
                  <a:pt x="255" y="32"/>
                </a:cubicBezTo>
                <a:cubicBezTo>
                  <a:pt x="256" y="32"/>
                  <a:pt x="257" y="31"/>
                  <a:pt x="257" y="31"/>
                </a:cubicBezTo>
                <a:cubicBezTo>
                  <a:pt x="258" y="32"/>
                  <a:pt x="259" y="32"/>
                  <a:pt x="259" y="32"/>
                </a:cubicBezTo>
                <a:cubicBezTo>
                  <a:pt x="260" y="29"/>
                  <a:pt x="260" y="29"/>
                  <a:pt x="260" y="29"/>
                </a:cubicBezTo>
                <a:cubicBezTo>
                  <a:pt x="260" y="29"/>
                  <a:pt x="262" y="27"/>
                  <a:pt x="263" y="27"/>
                </a:cubicBezTo>
                <a:cubicBezTo>
                  <a:pt x="263" y="27"/>
                  <a:pt x="264" y="26"/>
                  <a:pt x="265" y="26"/>
                </a:cubicBezTo>
                <a:cubicBezTo>
                  <a:pt x="265" y="26"/>
                  <a:pt x="266" y="28"/>
                  <a:pt x="266" y="28"/>
                </a:cubicBezTo>
                <a:cubicBezTo>
                  <a:pt x="266" y="28"/>
                  <a:pt x="265" y="29"/>
                  <a:pt x="265" y="30"/>
                </a:cubicBezTo>
                <a:cubicBezTo>
                  <a:pt x="265" y="30"/>
                  <a:pt x="267" y="31"/>
                  <a:pt x="268" y="31"/>
                </a:cubicBezTo>
                <a:cubicBezTo>
                  <a:pt x="269" y="30"/>
                  <a:pt x="270" y="30"/>
                  <a:pt x="271" y="29"/>
                </a:cubicBezTo>
                <a:cubicBezTo>
                  <a:pt x="271" y="28"/>
                  <a:pt x="271" y="27"/>
                  <a:pt x="272" y="26"/>
                </a:cubicBezTo>
                <a:cubicBezTo>
                  <a:pt x="273" y="25"/>
                  <a:pt x="273" y="24"/>
                  <a:pt x="274" y="24"/>
                </a:cubicBezTo>
                <a:cubicBezTo>
                  <a:pt x="276" y="23"/>
                  <a:pt x="277" y="24"/>
                  <a:pt x="278" y="23"/>
                </a:cubicBezTo>
                <a:cubicBezTo>
                  <a:pt x="278" y="23"/>
                  <a:pt x="279" y="23"/>
                  <a:pt x="279" y="22"/>
                </a:cubicBezTo>
                <a:cubicBezTo>
                  <a:pt x="280" y="22"/>
                  <a:pt x="280" y="23"/>
                  <a:pt x="281" y="23"/>
                </a:cubicBezTo>
                <a:cubicBezTo>
                  <a:pt x="282" y="24"/>
                  <a:pt x="283" y="25"/>
                  <a:pt x="284" y="25"/>
                </a:cubicBezTo>
                <a:cubicBezTo>
                  <a:pt x="284" y="24"/>
                  <a:pt x="285" y="24"/>
                  <a:pt x="286" y="23"/>
                </a:cubicBezTo>
                <a:cubicBezTo>
                  <a:pt x="286" y="23"/>
                  <a:pt x="288" y="18"/>
                  <a:pt x="289" y="17"/>
                </a:cubicBezTo>
                <a:cubicBezTo>
                  <a:pt x="290" y="16"/>
                  <a:pt x="291" y="15"/>
                  <a:pt x="292" y="15"/>
                </a:cubicBezTo>
                <a:cubicBezTo>
                  <a:pt x="292" y="14"/>
                  <a:pt x="293" y="13"/>
                  <a:pt x="293" y="14"/>
                </a:cubicBezTo>
                <a:cubicBezTo>
                  <a:pt x="294" y="14"/>
                  <a:pt x="296" y="14"/>
                  <a:pt x="296" y="15"/>
                </a:cubicBezTo>
                <a:cubicBezTo>
                  <a:pt x="297" y="15"/>
                  <a:pt x="296" y="13"/>
                  <a:pt x="296" y="13"/>
                </a:cubicBezTo>
                <a:cubicBezTo>
                  <a:pt x="296" y="12"/>
                  <a:pt x="295" y="12"/>
                  <a:pt x="296" y="11"/>
                </a:cubicBezTo>
                <a:cubicBezTo>
                  <a:pt x="296" y="10"/>
                  <a:pt x="297" y="10"/>
                  <a:pt x="297" y="9"/>
                </a:cubicBezTo>
                <a:cubicBezTo>
                  <a:pt x="297" y="9"/>
                  <a:pt x="296" y="7"/>
                  <a:pt x="296" y="7"/>
                </a:cubicBezTo>
                <a:cubicBezTo>
                  <a:pt x="296" y="6"/>
                  <a:pt x="298" y="4"/>
                  <a:pt x="298" y="4"/>
                </a:cubicBezTo>
                <a:cubicBezTo>
                  <a:pt x="298" y="3"/>
                  <a:pt x="298" y="3"/>
                  <a:pt x="298" y="3"/>
                </a:cubicBezTo>
                <a:cubicBezTo>
                  <a:pt x="260" y="3"/>
                  <a:pt x="260" y="3"/>
                  <a:pt x="260" y="3"/>
                </a:cubicBezTo>
                <a:cubicBezTo>
                  <a:pt x="214" y="3"/>
                  <a:pt x="214" y="3"/>
                  <a:pt x="214" y="3"/>
                </a:cubicBezTo>
                <a:cubicBezTo>
                  <a:pt x="172" y="3"/>
                  <a:pt x="172" y="3"/>
                  <a:pt x="172" y="3"/>
                </a:cubicBezTo>
                <a:cubicBezTo>
                  <a:pt x="127" y="1"/>
                  <a:pt x="127" y="1"/>
                  <a:pt x="127" y="1"/>
                </a:cubicBezTo>
                <a:cubicBezTo>
                  <a:pt x="104" y="2"/>
                  <a:pt x="104" y="2"/>
                  <a:pt x="104" y="2"/>
                </a:cubicBezTo>
                <a:cubicBezTo>
                  <a:pt x="85" y="2"/>
                  <a:pt x="85" y="2"/>
                  <a:pt x="85" y="2"/>
                </a:cubicBezTo>
                <a:cubicBezTo>
                  <a:pt x="84" y="0"/>
                  <a:pt x="84" y="0"/>
                  <a:pt x="84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8" y="3"/>
                  <a:pt x="78" y="3"/>
                  <a:pt x="78" y="3"/>
                </a:cubicBezTo>
                <a:cubicBezTo>
                  <a:pt x="77" y="8"/>
                  <a:pt x="77" y="8"/>
                  <a:pt x="77" y="8"/>
                </a:cubicBezTo>
                <a:cubicBezTo>
                  <a:pt x="30" y="8"/>
                  <a:pt x="30" y="8"/>
                  <a:pt x="30" y="8"/>
                </a:cubicBezTo>
                <a:cubicBezTo>
                  <a:pt x="30" y="8"/>
                  <a:pt x="30" y="9"/>
                  <a:pt x="29" y="9"/>
                </a:cubicBezTo>
                <a:cubicBezTo>
                  <a:pt x="29" y="9"/>
                  <a:pt x="29" y="10"/>
                  <a:pt x="28" y="9"/>
                </a:cubicBezTo>
                <a:cubicBezTo>
                  <a:pt x="28" y="9"/>
                  <a:pt x="28" y="9"/>
                  <a:pt x="28" y="8"/>
                </a:cubicBezTo>
                <a:cubicBezTo>
                  <a:pt x="28" y="8"/>
                  <a:pt x="27" y="8"/>
                  <a:pt x="27" y="8"/>
                </a:cubicBezTo>
                <a:cubicBezTo>
                  <a:pt x="27" y="8"/>
                  <a:pt x="28" y="7"/>
                  <a:pt x="28" y="7"/>
                </a:cubicBezTo>
                <a:cubicBezTo>
                  <a:pt x="28" y="6"/>
                  <a:pt x="28" y="5"/>
                  <a:pt x="28" y="5"/>
                </a:cubicBezTo>
                <a:cubicBezTo>
                  <a:pt x="28" y="4"/>
                  <a:pt x="27" y="4"/>
                  <a:pt x="26" y="4"/>
                </a:cubicBezTo>
                <a:cubicBezTo>
                  <a:pt x="26" y="5"/>
                  <a:pt x="26" y="5"/>
                  <a:pt x="26" y="5"/>
                </a:cubicBezTo>
                <a:cubicBezTo>
                  <a:pt x="26" y="6"/>
                  <a:pt x="26" y="6"/>
                  <a:pt x="26" y="6"/>
                </a:cubicBezTo>
                <a:cubicBezTo>
                  <a:pt x="25" y="7"/>
                  <a:pt x="26" y="8"/>
                  <a:pt x="26" y="8"/>
                </a:cubicBezTo>
                <a:cubicBezTo>
                  <a:pt x="27" y="10"/>
                  <a:pt x="27" y="12"/>
                  <a:pt x="27" y="14"/>
                </a:cubicBezTo>
                <a:cubicBezTo>
                  <a:pt x="26" y="14"/>
                  <a:pt x="26" y="14"/>
                  <a:pt x="25" y="14"/>
                </a:cubicBezTo>
                <a:cubicBezTo>
                  <a:pt x="24" y="14"/>
                  <a:pt x="24" y="14"/>
                  <a:pt x="24" y="14"/>
                </a:cubicBezTo>
                <a:cubicBezTo>
                  <a:pt x="24" y="14"/>
                  <a:pt x="24" y="14"/>
                  <a:pt x="24" y="15"/>
                </a:cubicBezTo>
                <a:cubicBezTo>
                  <a:pt x="24" y="16"/>
                  <a:pt x="24" y="16"/>
                  <a:pt x="25" y="17"/>
                </a:cubicBezTo>
                <a:cubicBezTo>
                  <a:pt x="25" y="17"/>
                  <a:pt x="26" y="18"/>
                  <a:pt x="26" y="18"/>
                </a:cubicBezTo>
                <a:cubicBezTo>
                  <a:pt x="26" y="18"/>
                  <a:pt x="25" y="18"/>
                  <a:pt x="25" y="18"/>
                </a:cubicBezTo>
                <a:cubicBezTo>
                  <a:pt x="24" y="18"/>
                  <a:pt x="23" y="18"/>
                  <a:pt x="22" y="18"/>
                </a:cubicBezTo>
                <a:cubicBezTo>
                  <a:pt x="22" y="18"/>
                  <a:pt x="21" y="18"/>
                  <a:pt x="21" y="18"/>
                </a:cubicBezTo>
                <a:cubicBezTo>
                  <a:pt x="21" y="18"/>
                  <a:pt x="21" y="19"/>
                  <a:pt x="22" y="19"/>
                </a:cubicBezTo>
                <a:cubicBezTo>
                  <a:pt x="22" y="20"/>
                  <a:pt x="23" y="20"/>
                  <a:pt x="23" y="20"/>
                </a:cubicBezTo>
                <a:cubicBezTo>
                  <a:pt x="23" y="21"/>
                  <a:pt x="24" y="21"/>
                  <a:pt x="24" y="22"/>
                </a:cubicBezTo>
                <a:cubicBezTo>
                  <a:pt x="24" y="22"/>
                  <a:pt x="24" y="23"/>
                  <a:pt x="24" y="24"/>
                </a:cubicBezTo>
                <a:cubicBezTo>
                  <a:pt x="23" y="24"/>
                  <a:pt x="23" y="24"/>
                  <a:pt x="22" y="25"/>
                </a:cubicBezTo>
                <a:cubicBezTo>
                  <a:pt x="22" y="25"/>
                  <a:pt x="22" y="26"/>
                  <a:pt x="22" y="26"/>
                </a:cubicBezTo>
                <a:cubicBezTo>
                  <a:pt x="22" y="26"/>
                  <a:pt x="21" y="26"/>
                  <a:pt x="21" y="26"/>
                </a:cubicBezTo>
                <a:cubicBezTo>
                  <a:pt x="21" y="26"/>
                  <a:pt x="21" y="26"/>
                  <a:pt x="21" y="27"/>
                </a:cubicBezTo>
                <a:cubicBezTo>
                  <a:pt x="21" y="27"/>
                  <a:pt x="21" y="28"/>
                  <a:pt x="20" y="28"/>
                </a:cubicBezTo>
                <a:cubicBezTo>
                  <a:pt x="20" y="28"/>
                  <a:pt x="20" y="28"/>
                  <a:pt x="20" y="28"/>
                </a:cubicBezTo>
                <a:cubicBezTo>
                  <a:pt x="20" y="28"/>
                  <a:pt x="20" y="29"/>
                  <a:pt x="20" y="29"/>
                </a:cubicBezTo>
                <a:cubicBezTo>
                  <a:pt x="20" y="29"/>
                  <a:pt x="22" y="32"/>
                  <a:pt x="22" y="33"/>
                </a:cubicBezTo>
                <a:cubicBezTo>
                  <a:pt x="22" y="33"/>
                  <a:pt x="23" y="33"/>
                  <a:pt x="22" y="34"/>
                </a:cubicBezTo>
                <a:cubicBezTo>
                  <a:pt x="22" y="34"/>
                  <a:pt x="22" y="34"/>
                  <a:pt x="21" y="34"/>
                </a:cubicBezTo>
                <a:cubicBezTo>
                  <a:pt x="21" y="33"/>
                  <a:pt x="21" y="33"/>
                  <a:pt x="20" y="33"/>
                </a:cubicBezTo>
                <a:cubicBezTo>
                  <a:pt x="20" y="33"/>
                  <a:pt x="19" y="33"/>
                  <a:pt x="18" y="34"/>
                </a:cubicBezTo>
                <a:cubicBezTo>
                  <a:pt x="18" y="34"/>
                  <a:pt x="18" y="35"/>
                  <a:pt x="19" y="36"/>
                </a:cubicBezTo>
                <a:cubicBezTo>
                  <a:pt x="19" y="36"/>
                  <a:pt x="20" y="36"/>
                  <a:pt x="20" y="36"/>
                </a:cubicBezTo>
                <a:cubicBezTo>
                  <a:pt x="20" y="37"/>
                  <a:pt x="19" y="37"/>
                  <a:pt x="19" y="37"/>
                </a:cubicBezTo>
                <a:cubicBezTo>
                  <a:pt x="18" y="37"/>
                  <a:pt x="18" y="37"/>
                  <a:pt x="17" y="38"/>
                </a:cubicBezTo>
                <a:cubicBezTo>
                  <a:pt x="17" y="38"/>
                  <a:pt x="17" y="38"/>
                  <a:pt x="16" y="39"/>
                </a:cubicBezTo>
                <a:cubicBezTo>
                  <a:pt x="16" y="39"/>
                  <a:pt x="16" y="40"/>
                  <a:pt x="15" y="40"/>
                </a:cubicBezTo>
                <a:cubicBezTo>
                  <a:pt x="15" y="40"/>
                  <a:pt x="14" y="40"/>
                  <a:pt x="14" y="40"/>
                </a:cubicBezTo>
                <a:cubicBezTo>
                  <a:pt x="13" y="40"/>
                  <a:pt x="13" y="39"/>
                  <a:pt x="12" y="40"/>
                </a:cubicBezTo>
                <a:cubicBezTo>
                  <a:pt x="12" y="41"/>
                  <a:pt x="12" y="42"/>
                  <a:pt x="12" y="42"/>
                </a:cubicBezTo>
                <a:cubicBezTo>
                  <a:pt x="13" y="43"/>
                  <a:pt x="13" y="43"/>
                  <a:pt x="13" y="43"/>
                </a:cubicBezTo>
                <a:cubicBezTo>
                  <a:pt x="14" y="43"/>
                  <a:pt x="14" y="43"/>
                  <a:pt x="15" y="43"/>
                </a:cubicBezTo>
                <a:cubicBezTo>
                  <a:pt x="15" y="44"/>
                  <a:pt x="15" y="44"/>
                  <a:pt x="15" y="45"/>
                </a:cubicBezTo>
                <a:cubicBezTo>
                  <a:pt x="15" y="45"/>
                  <a:pt x="14" y="45"/>
                  <a:pt x="14" y="46"/>
                </a:cubicBezTo>
                <a:cubicBezTo>
                  <a:pt x="13" y="46"/>
                  <a:pt x="12" y="46"/>
                  <a:pt x="12" y="47"/>
                </a:cubicBezTo>
                <a:cubicBezTo>
                  <a:pt x="12" y="48"/>
                  <a:pt x="13" y="48"/>
                  <a:pt x="13" y="48"/>
                </a:cubicBezTo>
                <a:cubicBezTo>
                  <a:pt x="13" y="48"/>
                  <a:pt x="13" y="49"/>
                  <a:pt x="13" y="49"/>
                </a:cubicBezTo>
                <a:cubicBezTo>
                  <a:pt x="13" y="49"/>
                  <a:pt x="12" y="49"/>
                  <a:pt x="12" y="49"/>
                </a:cubicBezTo>
                <a:cubicBezTo>
                  <a:pt x="12" y="49"/>
                  <a:pt x="11" y="48"/>
                  <a:pt x="11" y="48"/>
                </a:cubicBezTo>
                <a:cubicBezTo>
                  <a:pt x="10" y="48"/>
                  <a:pt x="10" y="48"/>
                  <a:pt x="9" y="49"/>
                </a:cubicBezTo>
                <a:cubicBezTo>
                  <a:pt x="9" y="49"/>
                  <a:pt x="9" y="50"/>
                  <a:pt x="9" y="51"/>
                </a:cubicBezTo>
                <a:cubicBezTo>
                  <a:pt x="10" y="52"/>
                  <a:pt x="10" y="52"/>
                  <a:pt x="9" y="53"/>
                </a:cubicBezTo>
                <a:cubicBezTo>
                  <a:pt x="9" y="53"/>
                  <a:pt x="8" y="54"/>
                  <a:pt x="8" y="54"/>
                </a:cubicBezTo>
                <a:cubicBezTo>
                  <a:pt x="8" y="54"/>
                  <a:pt x="8" y="54"/>
                  <a:pt x="8" y="53"/>
                </a:cubicBezTo>
                <a:cubicBezTo>
                  <a:pt x="8" y="53"/>
                  <a:pt x="8" y="53"/>
                  <a:pt x="8" y="52"/>
                </a:cubicBezTo>
                <a:cubicBezTo>
                  <a:pt x="8" y="52"/>
                  <a:pt x="8" y="52"/>
                  <a:pt x="8" y="51"/>
                </a:cubicBezTo>
                <a:cubicBezTo>
                  <a:pt x="6" y="51"/>
                  <a:pt x="6" y="52"/>
                  <a:pt x="6" y="53"/>
                </a:cubicBezTo>
                <a:cubicBezTo>
                  <a:pt x="5" y="54"/>
                  <a:pt x="4" y="54"/>
                  <a:pt x="4" y="55"/>
                </a:cubicBezTo>
                <a:cubicBezTo>
                  <a:pt x="5" y="55"/>
                  <a:pt x="5" y="55"/>
                  <a:pt x="6" y="55"/>
                </a:cubicBezTo>
                <a:cubicBezTo>
                  <a:pt x="6" y="55"/>
                  <a:pt x="6" y="54"/>
                  <a:pt x="7" y="54"/>
                </a:cubicBezTo>
                <a:cubicBezTo>
                  <a:pt x="7" y="55"/>
                  <a:pt x="7" y="55"/>
                  <a:pt x="7" y="55"/>
                </a:cubicBezTo>
                <a:cubicBezTo>
                  <a:pt x="7" y="55"/>
                  <a:pt x="7" y="55"/>
                  <a:pt x="8" y="56"/>
                </a:cubicBezTo>
                <a:cubicBezTo>
                  <a:pt x="8" y="56"/>
                  <a:pt x="7" y="57"/>
                  <a:pt x="7" y="57"/>
                </a:cubicBezTo>
                <a:cubicBezTo>
                  <a:pt x="7" y="57"/>
                  <a:pt x="7" y="58"/>
                  <a:pt x="7" y="58"/>
                </a:cubicBezTo>
                <a:cubicBezTo>
                  <a:pt x="7" y="58"/>
                  <a:pt x="6" y="59"/>
                  <a:pt x="6" y="59"/>
                </a:cubicBezTo>
                <a:cubicBezTo>
                  <a:pt x="6" y="59"/>
                  <a:pt x="5" y="59"/>
                  <a:pt x="5" y="59"/>
                </a:cubicBezTo>
                <a:cubicBezTo>
                  <a:pt x="5" y="60"/>
                  <a:pt x="5" y="60"/>
                  <a:pt x="5" y="60"/>
                </a:cubicBezTo>
                <a:cubicBezTo>
                  <a:pt x="5" y="61"/>
                  <a:pt x="6" y="61"/>
                  <a:pt x="6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7" y="63"/>
                  <a:pt x="7" y="63"/>
                  <a:pt x="7" y="63"/>
                </a:cubicBezTo>
                <a:cubicBezTo>
                  <a:pt x="7" y="64"/>
                  <a:pt x="7" y="64"/>
                  <a:pt x="7" y="64"/>
                </a:cubicBezTo>
                <a:cubicBezTo>
                  <a:pt x="7" y="64"/>
                  <a:pt x="7" y="65"/>
                  <a:pt x="7" y="65"/>
                </a:cubicBezTo>
                <a:cubicBezTo>
                  <a:pt x="7" y="65"/>
                  <a:pt x="7" y="66"/>
                  <a:pt x="7" y="66"/>
                </a:cubicBezTo>
                <a:cubicBezTo>
                  <a:pt x="6" y="66"/>
                  <a:pt x="5" y="66"/>
                  <a:pt x="5" y="66"/>
                </a:cubicBezTo>
                <a:cubicBezTo>
                  <a:pt x="4" y="67"/>
                  <a:pt x="4" y="69"/>
                  <a:pt x="4" y="69"/>
                </a:cubicBezTo>
                <a:cubicBezTo>
                  <a:pt x="3" y="70"/>
                  <a:pt x="1" y="69"/>
                  <a:pt x="0" y="70"/>
                </a:cubicBezTo>
                <a:cubicBezTo>
                  <a:pt x="0" y="71"/>
                  <a:pt x="0" y="71"/>
                  <a:pt x="0" y="72"/>
                </a:cubicBezTo>
                <a:cubicBezTo>
                  <a:pt x="206" y="72"/>
                  <a:pt x="206" y="72"/>
                  <a:pt x="206" y="72"/>
                </a:cubicBezTo>
                <a:cubicBezTo>
                  <a:pt x="206" y="72"/>
                  <a:pt x="207" y="65"/>
                  <a:pt x="207" y="65"/>
                </a:cubicBezTo>
                <a:cubicBezTo>
                  <a:pt x="207" y="64"/>
                  <a:pt x="207" y="62"/>
                  <a:pt x="207" y="62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9" name="Freeform 17">
            <a:extLst>
              <a:ext uri="{FF2B5EF4-FFF2-40B4-BE49-F238E27FC236}">
                <a16:creationId xmlns:a16="http://schemas.microsoft.com/office/drawing/2014/main" id="{4AA02263-3B88-46FB-9833-E18BD29FD786}"/>
              </a:ext>
            </a:extLst>
          </p:cNvPr>
          <p:cNvSpPr>
            <a:spLocks/>
          </p:cNvSpPr>
          <p:nvPr/>
        </p:nvSpPr>
        <p:spPr bwMode="auto">
          <a:xfrm>
            <a:off x="6825448" y="1877579"/>
            <a:ext cx="1040888" cy="660882"/>
          </a:xfrm>
          <a:custGeom>
            <a:avLst/>
            <a:gdLst>
              <a:gd name="T0" fmla="*/ 193 w 263"/>
              <a:gd name="T1" fmla="*/ 147 h 167"/>
              <a:gd name="T2" fmla="*/ 203 w 263"/>
              <a:gd name="T3" fmla="*/ 150 h 167"/>
              <a:gd name="T4" fmla="*/ 207 w 263"/>
              <a:gd name="T5" fmla="*/ 154 h 167"/>
              <a:gd name="T6" fmla="*/ 212 w 263"/>
              <a:gd name="T7" fmla="*/ 153 h 167"/>
              <a:gd name="T8" fmla="*/ 214 w 263"/>
              <a:gd name="T9" fmla="*/ 149 h 167"/>
              <a:gd name="T10" fmla="*/ 219 w 263"/>
              <a:gd name="T11" fmla="*/ 151 h 167"/>
              <a:gd name="T12" fmla="*/ 222 w 263"/>
              <a:gd name="T13" fmla="*/ 151 h 167"/>
              <a:gd name="T14" fmla="*/ 227 w 263"/>
              <a:gd name="T15" fmla="*/ 150 h 167"/>
              <a:gd name="T16" fmla="*/ 229 w 263"/>
              <a:gd name="T17" fmla="*/ 149 h 167"/>
              <a:gd name="T18" fmla="*/ 232 w 263"/>
              <a:gd name="T19" fmla="*/ 150 h 167"/>
              <a:gd name="T20" fmla="*/ 235 w 263"/>
              <a:gd name="T21" fmla="*/ 150 h 167"/>
              <a:gd name="T22" fmla="*/ 236 w 263"/>
              <a:gd name="T23" fmla="*/ 152 h 167"/>
              <a:gd name="T24" fmla="*/ 239 w 263"/>
              <a:gd name="T25" fmla="*/ 154 h 167"/>
              <a:gd name="T26" fmla="*/ 244 w 263"/>
              <a:gd name="T27" fmla="*/ 155 h 167"/>
              <a:gd name="T28" fmla="*/ 244 w 263"/>
              <a:gd name="T29" fmla="*/ 156 h 167"/>
              <a:gd name="T30" fmla="*/ 249 w 263"/>
              <a:gd name="T31" fmla="*/ 156 h 167"/>
              <a:gd name="T32" fmla="*/ 251 w 263"/>
              <a:gd name="T33" fmla="*/ 159 h 167"/>
              <a:gd name="T34" fmla="*/ 254 w 263"/>
              <a:gd name="T35" fmla="*/ 159 h 167"/>
              <a:gd name="T36" fmla="*/ 253 w 263"/>
              <a:gd name="T37" fmla="*/ 162 h 167"/>
              <a:gd name="T38" fmla="*/ 257 w 263"/>
              <a:gd name="T39" fmla="*/ 166 h 167"/>
              <a:gd name="T40" fmla="*/ 258 w 263"/>
              <a:gd name="T41" fmla="*/ 166 h 167"/>
              <a:gd name="T42" fmla="*/ 261 w 263"/>
              <a:gd name="T43" fmla="*/ 167 h 167"/>
              <a:gd name="T44" fmla="*/ 262 w 263"/>
              <a:gd name="T45" fmla="*/ 165 h 167"/>
              <a:gd name="T46" fmla="*/ 260 w 263"/>
              <a:gd name="T47" fmla="*/ 162 h 167"/>
              <a:gd name="T48" fmla="*/ 260 w 263"/>
              <a:gd name="T49" fmla="*/ 160 h 167"/>
              <a:gd name="T50" fmla="*/ 256 w 263"/>
              <a:gd name="T51" fmla="*/ 156 h 167"/>
              <a:gd name="T52" fmla="*/ 256 w 263"/>
              <a:gd name="T53" fmla="*/ 154 h 167"/>
              <a:gd name="T54" fmla="*/ 259 w 263"/>
              <a:gd name="T55" fmla="*/ 151 h 167"/>
              <a:gd name="T56" fmla="*/ 259 w 263"/>
              <a:gd name="T57" fmla="*/ 147 h 167"/>
              <a:gd name="T58" fmla="*/ 261 w 263"/>
              <a:gd name="T59" fmla="*/ 146 h 167"/>
              <a:gd name="T60" fmla="*/ 260 w 263"/>
              <a:gd name="T61" fmla="*/ 142 h 167"/>
              <a:gd name="T62" fmla="*/ 261 w 263"/>
              <a:gd name="T63" fmla="*/ 141 h 167"/>
              <a:gd name="T64" fmla="*/ 263 w 263"/>
              <a:gd name="T65" fmla="*/ 140 h 167"/>
              <a:gd name="T66" fmla="*/ 263 w 263"/>
              <a:gd name="T67" fmla="*/ 138 h 167"/>
              <a:gd name="T68" fmla="*/ 262 w 263"/>
              <a:gd name="T69" fmla="*/ 133 h 167"/>
              <a:gd name="T70" fmla="*/ 258 w 263"/>
              <a:gd name="T71" fmla="*/ 132 h 167"/>
              <a:gd name="T72" fmla="*/ 258 w 263"/>
              <a:gd name="T73" fmla="*/ 130 h 167"/>
              <a:gd name="T74" fmla="*/ 258 w 263"/>
              <a:gd name="T75" fmla="*/ 129 h 167"/>
              <a:gd name="T76" fmla="*/ 260 w 263"/>
              <a:gd name="T77" fmla="*/ 128 h 167"/>
              <a:gd name="T78" fmla="*/ 260 w 263"/>
              <a:gd name="T79" fmla="*/ 124 h 167"/>
              <a:gd name="T80" fmla="*/ 257 w 263"/>
              <a:gd name="T81" fmla="*/ 122 h 167"/>
              <a:gd name="T82" fmla="*/ 257 w 263"/>
              <a:gd name="T83" fmla="*/ 120 h 167"/>
              <a:gd name="T84" fmla="*/ 262 w 263"/>
              <a:gd name="T85" fmla="*/ 120 h 167"/>
              <a:gd name="T86" fmla="*/ 262 w 263"/>
              <a:gd name="T87" fmla="*/ 32 h 167"/>
              <a:gd name="T88" fmla="*/ 261 w 263"/>
              <a:gd name="T89" fmla="*/ 30 h 167"/>
              <a:gd name="T90" fmla="*/ 258 w 263"/>
              <a:gd name="T91" fmla="*/ 28 h 167"/>
              <a:gd name="T92" fmla="*/ 254 w 263"/>
              <a:gd name="T93" fmla="*/ 27 h 167"/>
              <a:gd name="T94" fmla="*/ 251 w 263"/>
              <a:gd name="T95" fmla="*/ 21 h 167"/>
              <a:gd name="T96" fmla="*/ 249 w 263"/>
              <a:gd name="T97" fmla="*/ 17 h 167"/>
              <a:gd name="T98" fmla="*/ 249 w 263"/>
              <a:gd name="T99" fmla="*/ 15 h 167"/>
              <a:gd name="T100" fmla="*/ 251 w 263"/>
              <a:gd name="T101" fmla="*/ 14 h 167"/>
              <a:gd name="T102" fmla="*/ 255 w 263"/>
              <a:gd name="T103" fmla="*/ 11 h 167"/>
              <a:gd name="T104" fmla="*/ 258 w 263"/>
              <a:gd name="T105" fmla="*/ 6 h 167"/>
              <a:gd name="T106" fmla="*/ 258 w 263"/>
              <a:gd name="T107" fmla="*/ 0 h 167"/>
              <a:gd name="T108" fmla="*/ 0 w 263"/>
              <a:gd name="T109" fmla="*/ 0 h 167"/>
              <a:gd name="T110" fmla="*/ 0 w 263"/>
              <a:gd name="T111" fmla="*/ 47 h 167"/>
              <a:gd name="T112" fmla="*/ 0 w 263"/>
              <a:gd name="T113" fmla="*/ 143 h 167"/>
              <a:gd name="T114" fmla="*/ 192 w 263"/>
              <a:gd name="T115" fmla="*/ 143 h 167"/>
              <a:gd name="T116" fmla="*/ 193 w 263"/>
              <a:gd name="T117" fmla="*/ 14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3" h="167">
                <a:moveTo>
                  <a:pt x="193" y="147"/>
                </a:moveTo>
                <a:cubicBezTo>
                  <a:pt x="193" y="147"/>
                  <a:pt x="203" y="150"/>
                  <a:pt x="203" y="150"/>
                </a:cubicBezTo>
                <a:cubicBezTo>
                  <a:pt x="203" y="150"/>
                  <a:pt x="207" y="154"/>
                  <a:pt x="207" y="154"/>
                </a:cubicBezTo>
                <a:cubicBezTo>
                  <a:pt x="207" y="155"/>
                  <a:pt x="212" y="153"/>
                  <a:pt x="212" y="153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14" y="149"/>
                  <a:pt x="219" y="151"/>
                  <a:pt x="219" y="151"/>
                </a:cubicBezTo>
                <a:cubicBezTo>
                  <a:pt x="220" y="151"/>
                  <a:pt x="221" y="151"/>
                  <a:pt x="222" y="151"/>
                </a:cubicBezTo>
                <a:cubicBezTo>
                  <a:pt x="222" y="151"/>
                  <a:pt x="227" y="150"/>
                  <a:pt x="227" y="150"/>
                </a:cubicBezTo>
                <a:cubicBezTo>
                  <a:pt x="228" y="150"/>
                  <a:pt x="229" y="149"/>
                  <a:pt x="229" y="149"/>
                </a:cubicBezTo>
                <a:cubicBezTo>
                  <a:pt x="232" y="150"/>
                  <a:pt x="232" y="150"/>
                  <a:pt x="232" y="150"/>
                </a:cubicBezTo>
                <a:cubicBezTo>
                  <a:pt x="235" y="150"/>
                  <a:pt x="235" y="150"/>
                  <a:pt x="235" y="150"/>
                </a:cubicBezTo>
                <a:cubicBezTo>
                  <a:pt x="235" y="150"/>
                  <a:pt x="236" y="152"/>
                  <a:pt x="236" y="152"/>
                </a:cubicBezTo>
                <a:cubicBezTo>
                  <a:pt x="236" y="153"/>
                  <a:pt x="239" y="154"/>
                  <a:pt x="239" y="154"/>
                </a:cubicBezTo>
                <a:cubicBezTo>
                  <a:pt x="244" y="155"/>
                  <a:pt x="244" y="155"/>
                  <a:pt x="244" y="155"/>
                </a:cubicBezTo>
                <a:cubicBezTo>
                  <a:pt x="244" y="156"/>
                  <a:pt x="244" y="156"/>
                  <a:pt x="244" y="156"/>
                </a:cubicBezTo>
                <a:cubicBezTo>
                  <a:pt x="249" y="156"/>
                  <a:pt x="249" y="156"/>
                  <a:pt x="249" y="156"/>
                </a:cubicBezTo>
                <a:cubicBezTo>
                  <a:pt x="249" y="156"/>
                  <a:pt x="251" y="159"/>
                  <a:pt x="251" y="159"/>
                </a:cubicBezTo>
                <a:cubicBezTo>
                  <a:pt x="251" y="159"/>
                  <a:pt x="254" y="159"/>
                  <a:pt x="254" y="159"/>
                </a:cubicBezTo>
                <a:cubicBezTo>
                  <a:pt x="254" y="159"/>
                  <a:pt x="253" y="162"/>
                  <a:pt x="253" y="162"/>
                </a:cubicBezTo>
                <a:cubicBezTo>
                  <a:pt x="253" y="162"/>
                  <a:pt x="257" y="166"/>
                  <a:pt x="257" y="166"/>
                </a:cubicBezTo>
                <a:cubicBezTo>
                  <a:pt x="258" y="166"/>
                  <a:pt x="258" y="166"/>
                  <a:pt x="258" y="166"/>
                </a:cubicBezTo>
                <a:cubicBezTo>
                  <a:pt x="261" y="167"/>
                  <a:pt x="261" y="167"/>
                  <a:pt x="261" y="167"/>
                </a:cubicBezTo>
                <a:cubicBezTo>
                  <a:pt x="261" y="167"/>
                  <a:pt x="262" y="165"/>
                  <a:pt x="262" y="165"/>
                </a:cubicBezTo>
                <a:cubicBezTo>
                  <a:pt x="262" y="165"/>
                  <a:pt x="260" y="162"/>
                  <a:pt x="260" y="162"/>
                </a:cubicBezTo>
                <a:cubicBezTo>
                  <a:pt x="260" y="161"/>
                  <a:pt x="260" y="161"/>
                  <a:pt x="260" y="160"/>
                </a:cubicBezTo>
                <a:cubicBezTo>
                  <a:pt x="260" y="160"/>
                  <a:pt x="256" y="157"/>
                  <a:pt x="256" y="156"/>
                </a:cubicBezTo>
                <a:cubicBezTo>
                  <a:pt x="256" y="156"/>
                  <a:pt x="256" y="154"/>
                  <a:pt x="256" y="154"/>
                </a:cubicBezTo>
                <a:cubicBezTo>
                  <a:pt x="256" y="154"/>
                  <a:pt x="259" y="151"/>
                  <a:pt x="259" y="151"/>
                </a:cubicBezTo>
                <a:cubicBezTo>
                  <a:pt x="259" y="151"/>
                  <a:pt x="259" y="148"/>
                  <a:pt x="259" y="147"/>
                </a:cubicBezTo>
                <a:cubicBezTo>
                  <a:pt x="259" y="147"/>
                  <a:pt x="261" y="146"/>
                  <a:pt x="261" y="146"/>
                </a:cubicBezTo>
                <a:cubicBezTo>
                  <a:pt x="261" y="145"/>
                  <a:pt x="260" y="142"/>
                  <a:pt x="260" y="142"/>
                </a:cubicBezTo>
                <a:cubicBezTo>
                  <a:pt x="260" y="141"/>
                  <a:pt x="261" y="141"/>
                  <a:pt x="261" y="141"/>
                </a:cubicBezTo>
                <a:cubicBezTo>
                  <a:pt x="262" y="140"/>
                  <a:pt x="263" y="140"/>
                  <a:pt x="263" y="140"/>
                </a:cubicBezTo>
                <a:cubicBezTo>
                  <a:pt x="263" y="139"/>
                  <a:pt x="263" y="138"/>
                  <a:pt x="263" y="138"/>
                </a:cubicBezTo>
                <a:cubicBezTo>
                  <a:pt x="263" y="137"/>
                  <a:pt x="262" y="133"/>
                  <a:pt x="262" y="133"/>
                </a:cubicBezTo>
                <a:cubicBezTo>
                  <a:pt x="262" y="133"/>
                  <a:pt x="258" y="132"/>
                  <a:pt x="258" y="132"/>
                </a:cubicBezTo>
                <a:cubicBezTo>
                  <a:pt x="258" y="130"/>
                  <a:pt x="258" y="130"/>
                  <a:pt x="258" y="130"/>
                </a:cubicBezTo>
                <a:cubicBezTo>
                  <a:pt x="258" y="129"/>
                  <a:pt x="258" y="129"/>
                  <a:pt x="258" y="129"/>
                </a:cubicBezTo>
                <a:cubicBezTo>
                  <a:pt x="260" y="128"/>
                  <a:pt x="260" y="128"/>
                  <a:pt x="260" y="128"/>
                </a:cubicBezTo>
                <a:cubicBezTo>
                  <a:pt x="260" y="128"/>
                  <a:pt x="260" y="125"/>
                  <a:pt x="260" y="124"/>
                </a:cubicBezTo>
                <a:cubicBezTo>
                  <a:pt x="260" y="124"/>
                  <a:pt x="258" y="122"/>
                  <a:pt x="257" y="122"/>
                </a:cubicBezTo>
                <a:cubicBezTo>
                  <a:pt x="257" y="121"/>
                  <a:pt x="257" y="120"/>
                  <a:pt x="257" y="120"/>
                </a:cubicBezTo>
                <a:cubicBezTo>
                  <a:pt x="262" y="120"/>
                  <a:pt x="262" y="120"/>
                  <a:pt x="262" y="120"/>
                </a:cubicBezTo>
                <a:cubicBezTo>
                  <a:pt x="262" y="32"/>
                  <a:pt x="262" y="32"/>
                  <a:pt x="262" y="32"/>
                </a:cubicBezTo>
                <a:cubicBezTo>
                  <a:pt x="262" y="32"/>
                  <a:pt x="262" y="30"/>
                  <a:pt x="261" y="30"/>
                </a:cubicBezTo>
                <a:cubicBezTo>
                  <a:pt x="261" y="29"/>
                  <a:pt x="258" y="28"/>
                  <a:pt x="258" y="28"/>
                </a:cubicBezTo>
                <a:cubicBezTo>
                  <a:pt x="258" y="28"/>
                  <a:pt x="254" y="27"/>
                  <a:pt x="254" y="27"/>
                </a:cubicBezTo>
                <a:cubicBezTo>
                  <a:pt x="254" y="27"/>
                  <a:pt x="251" y="22"/>
                  <a:pt x="251" y="21"/>
                </a:cubicBezTo>
                <a:cubicBezTo>
                  <a:pt x="250" y="21"/>
                  <a:pt x="249" y="17"/>
                  <a:pt x="249" y="17"/>
                </a:cubicBezTo>
                <a:cubicBezTo>
                  <a:pt x="249" y="17"/>
                  <a:pt x="249" y="15"/>
                  <a:pt x="249" y="15"/>
                </a:cubicBezTo>
                <a:cubicBezTo>
                  <a:pt x="249" y="15"/>
                  <a:pt x="250" y="15"/>
                  <a:pt x="251" y="14"/>
                </a:cubicBezTo>
                <a:cubicBezTo>
                  <a:pt x="251" y="14"/>
                  <a:pt x="255" y="11"/>
                  <a:pt x="255" y="11"/>
                </a:cubicBezTo>
                <a:cubicBezTo>
                  <a:pt x="255" y="11"/>
                  <a:pt x="258" y="6"/>
                  <a:pt x="258" y="6"/>
                </a:cubicBezTo>
                <a:cubicBezTo>
                  <a:pt x="259" y="6"/>
                  <a:pt x="258" y="0"/>
                  <a:pt x="25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143"/>
                  <a:pt x="0" y="143"/>
                  <a:pt x="0" y="143"/>
                </a:cubicBezTo>
                <a:cubicBezTo>
                  <a:pt x="192" y="143"/>
                  <a:pt x="192" y="143"/>
                  <a:pt x="192" y="143"/>
                </a:cubicBezTo>
                <a:lnTo>
                  <a:pt x="193" y="147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" name="Freeform 18">
            <a:extLst>
              <a:ext uri="{FF2B5EF4-FFF2-40B4-BE49-F238E27FC236}">
                <a16:creationId xmlns:a16="http://schemas.microsoft.com/office/drawing/2014/main" id="{7A590DE0-712E-46D3-91C9-59AE3DC0C3DC}"/>
              </a:ext>
            </a:extLst>
          </p:cNvPr>
          <p:cNvSpPr>
            <a:spLocks/>
          </p:cNvSpPr>
          <p:nvPr/>
        </p:nvSpPr>
        <p:spPr bwMode="auto">
          <a:xfrm>
            <a:off x="9652369" y="3823877"/>
            <a:ext cx="662534" cy="515488"/>
          </a:xfrm>
          <a:custGeom>
            <a:avLst/>
            <a:gdLst>
              <a:gd name="T0" fmla="*/ 84 w 167"/>
              <a:gd name="T1" fmla="*/ 5 h 130"/>
              <a:gd name="T2" fmla="*/ 81 w 167"/>
              <a:gd name="T3" fmla="*/ 2 h 130"/>
              <a:gd name="T4" fmla="*/ 37 w 167"/>
              <a:gd name="T5" fmla="*/ 0 h 130"/>
              <a:gd name="T6" fmla="*/ 25 w 167"/>
              <a:gd name="T7" fmla="*/ 3 h 130"/>
              <a:gd name="T8" fmla="*/ 9 w 167"/>
              <a:gd name="T9" fmla="*/ 9 h 130"/>
              <a:gd name="T10" fmla="*/ 2 w 167"/>
              <a:gd name="T11" fmla="*/ 22 h 130"/>
              <a:gd name="T12" fmla="*/ 16 w 167"/>
              <a:gd name="T13" fmla="*/ 30 h 130"/>
              <a:gd name="T14" fmla="*/ 24 w 167"/>
              <a:gd name="T15" fmla="*/ 45 h 130"/>
              <a:gd name="T16" fmla="*/ 41 w 167"/>
              <a:gd name="T17" fmla="*/ 66 h 130"/>
              <a:gd name="T18" fmla="*/ 50 w 167"/>
              <a:gd name="T19" fmla="*/ 78 h 130"/>
              <a:gd name="T20" fmla="*/ 55 w 167"/>
              <a:gd name="T21" fmla="*/ 83 h 130"/>
              <a:gd name="T22" fmla="*/ 65 w 167"/>
              <a:gd name="T23" fmla="*/ 97 h 130"/>
              <a:gd name="T24" fmla="*/ 75 w 167"/>
              <a:gd name="T25" fmla="*/ 114 h 130"/>
              <a:gd name="T26" fmla="*/ 78 w 167"/>
              <a:gd name="T27" fmla="*/ 124 h 130"/>
              <a:gd name="T28" fmla="*/ 84 w 167"/>
              <a:gd name="T29" fmla="*/ 129 h 130"/>
              <a:gd name="T30" fmla="*/ 88 w 167"/>
              <a:gd name="T31" fmla="*/ 124 h 130"/>
              <a:gd name="T32" fmla="*/ 93 w 167"/>
              <a:gd name="T33" fmla="*/ 125 h 130"/>
              <a:gd name="T34" fmla="*/ 91 w 167"/>
              <a:gd name="T35" fmla="*/ 123 h 130"/>
              <a:gd name="T36" fmla="*/ 88 w 167"/>
              <a:gd name="T37" fmla="*/ 121 h 130"/>
              <a:gd name="T38" fmla="*/ 87 w 167"/>
              <a:gd name="T39" fmla="*/ 116 h 130"/>
              <a:gd name="T40" fmla="*/ 87 w 167"/>
              <a:gd name="T41" fmla="*/ 112 h 130"/>
              <a:gd name="T42" fmla="*/ 88 w 167"/>
              <a:gd name="T43" fmla="*/ 111 h 130"/>
              <a:gd name="T44" fmla="*/ 90 w 167"/>
              <a:gd name="T45" fmla="*/ 117 h 130"/>
              <a:gd name="T46" fmla="*/ 94 w 167"/>
              <a:gd name="T47" fmla="*/ 115 h 130"/>
              <a:gd name="T48" fmla="*/ 94 w 167"/>
              <a:gd name="T49" fmla="*/ 120 h 130"/>
              <a:gd name="T50" fmla="*/ 100 w 167"/>
              <a:gd name="T51" fmla="*/ 118 h 130"/>
              <a:gd name="T52" fmla="*/ 98 w 167"/>
              <a:gd name="T53" fmla="*/ 115 h 130"/>
              <a:gd name="T54" fmla="*/ 92 w 167"/>
              <a:gd name="T55" fmla="*/ 112 h 130"/>
              <a:gd name="T56" fmla="*/ 93 w 167"/>
              <a:gd name="T57" fmla="*/ 110 h 130"/>
              <a:gd name="T58" fmla="*/ 97 w 167"/>
              <a:gd name="T59" fmla="*/ 109 h 130"/>
              <a:gd name="T60" fmla="*/ 99 w 167"/>
              <a:gd name="T61" fmla="*/ 108 h 130"/>
              <a:gd name="T62" fmla="*/ 104 w 167"/>
              <a:gd name="T63" fmla="*/ 112 h 130"/>
              <a:gd name="T64" fmla="*/ 109 w 167"/>
              <a:gd name="T65" fmla="*/ 110 h 130"/>
              <a:gd name="T66" fmla="*/ 105 w 167"/>
              <a:gd name="T67" fmla="*/ 107 h 130"/>
              <a:gd name="T68" fmla="*/ 108 w 167"/>
              <a:gd name="T69" fmla="*/ 105 h 130"/>
              <a:gd name="T70" fmla="*/ 110 w 167"/>
              <a:gd name="T71" fmla="*/ 110 h 130"/>
              <a:gd name="T72" fmla="*/ 116 w 167"/>
              <a:gd name="T73" fmla="*/ 108 h 130"/>
              <a:gd name="T74" fmla="*/ 120 w 167"/>
              <a:gd name="T75" fmla="*/ 106 h 130"/>
              <a:gd name="T76" fmla="*/ 120 w 167"/>
              <a:gd name="T77" fmla="*/ 103 h 130"/>
              <a:gd name="T78" fmla="*/ 118 w 167"/>
              <a:gd name="T79" fmla="*/ 101 h 130"/>
              <a:gd name="T80" fmla="*/ 125 w 167"/>
              <a:gd name="T81" fmla="*/ 101 h 130"/>
              <a:gd name="T82" fmla="*/ 128 w 167"/>
              <a:gd name="T83" fmla="*/ 98 h 130"/>
              <a:gd name="T84" fmla="*/ 131 w 167"/>
              <a:gd name="T85" fmla="*/ 92 h 130"/>
              <a:gd name="T86" fmla="*/ 137 w 167"/>
              <a:gd name="T87" fmla="*/ 92 h 130"/>
              <a:gd name="T88" fmla="*/ 141 w 167"/>
              <a:gd name="T89" fmla="*/ 87 h 130"/>
              <a:gd name="T90" fmla="*/ 144 w 167"/>
              <a:gd name="T91" fmla="*/ 85 h 130"/>
              <a:gd name="T92" fmla="*/ 142 w 167"/>
              <a:gd name="T93" fmla="*/ 80 h 130"/>
              <a:gd name="T94" fmla="*/ 147 w 167"/>
              <a:gd name="T95" fmla="*/ 74 h 130"/>
              <a:gd name="T96" fmla="*/ 154 w 167"/>
              <a:gd name="T97" fmla="*/ 66 h 130"/>
              <a:gd name="T98" fmla="*/ 159 w 167"/>
              <a:gd name="T99" fmla="*/ 60 h 130"/>
              <a:gd name="T100" fmla="*/ 164 w 167"/>
              <a:gd name="T101" fmla="*/ 58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130">
                <a:moveTo>
                  <a:pt x="128" y="17"/>
                </a:moveTo>
                <a:cubicBezTo>
                  <a:pt x="89" y="16"/>
                  <a:pt x="89" y="16"/>
                  <a:pt x="89" y="16"/>
                </a:cubicBezTo>
                <a:cubicBezTo>
                  <a:pt x="89" y="16"/>
                  <a:pt x="89" y="11"/>
                  <a:pt x="89" y="11"/>
                </a:cubicBezTo>
                <a:cubicBezTo>
                  <a:pt x="89" y="11"/>
                  <a:pt x="85" y="5"/>
                  <a:pt x="85" y="5"/>
                </a:cubicBezTo>
                <a:cubicBezTo>
                  <a:pt x="85" y="5"/>
                  <a:pt x="84" y="5"/>
                  <a:pt x="84" y="5"/>
                </a:cubicBezTo>
                <a:cubicBezTo>
                  <a:pt x="84" y="5"/>
                  <a:pt x="83" y="5"/>
                  <a:pt x="82" y="5"/>
                </a:cubicBezTo>
                <a:cubicBezTo>
                  <a:pt x="82" y="5"/>
                  <a:pt x="81" y="6"/>
                  <a:pt x="81" y="6"/>
                </a:cubicBezTo>
                <a:cubicBezTo>
                  <a:pt x="81" y="6"/>
                  <a:pt x="80" y="5"/>
                  <a:pt x="80" y="5"/>
                </a:cubicBezTo>
                <a:cubicBezTo>
                  <a:pt x="80" y="5"/>
                  <a:pt x="81" y="4"/>
                  <a:pt x="81" y="4"/>
                </a:cubicBezTo>
                <a:cubicBezTo>
                  <a:pt x="81" y="4"/>
                  <a:pt x="81" y="2"/>
                  <a:pt x="81" y="2"/>
                </a:cubicBezTo>
                <a:cubicBezTo>
                  <a:pt x="81" y="2"/>
                  <a:pt x="75" y="2"/>
                  <a:pt x="75" y="2"/>
                </a:cubicBezTo>
                <a:cubicBezTo>
                  <a:pt x="75" y="2"/>
                  <a:pt x="66" y="1"/>
                  <a:pt x="66" y="1"/>
                </a:cubicBezTo>
                <a:cubicBezTo>
                  <a:pt x="66" y="1"/>
                  <a:pt x="47" y="0"/>
                  <a:pt x="47" y="0"/>
                </a:cubicBezTo>
                <a:cubicBezTo>
                  <a:pt x="47" y="0"/>
                  <a:pt x="42" y="0"/>
                  <a:pt x="42" y="0"/>
                </a:cubicBezTo>
                <a:cubicBezTo>
                  <a:pt x="41" y="0"/>
                  <a:pt x="38" y="0"/>
                  <a:pt x="37" y="0"/>
                </a:cubicBezTo>
                <a:cubicBezTo>
                  <a:pt x="36" y="1"/>
                  <a:pt x="35" y="1"/>
                  <a:pt x="35" y="0"/>
                </a:cubicBezTo>
                <a:cubicBezTo>
                  <a:pt x="35" y="0"/>
                  <a:pt x="34" y="0"/>
                  <a:pt x="33" y="0"/>
                </a:cubicBezTo>
                <a:cubicBezTo>
                  <a:pt x="33" y="0"/>
                  <a:pt x="32" y="1"/>
                  <a:pt x="31" y="2"/>
                </a:cubicBezTo>
                <a:cubicBezTo>
                  <a:pt x="31" y="2"/>
                  <a:pt x="30" y="2"/>
                  <a:pt x="29" y="2"/>
                </a:cubicBezTo>
                <a:cubicBezTo>
                  <a:pt x="29" y="2"/>
                  <a:pt x="26" y="3"/>
                  <a:pt x="25" y="3"/>
                </a:cubicBezTo>
                <a:cubicBezTo>
                  <a:pt x="24" y="3"/>
                  <a:pt x="24" y="4"/>
                  <a:pt x="23" y="4"/>
                </a:cubicBezTo>
                <a:cubicBezTo>
                  <a:pt x="22" y="4"/>
                  <a:pt x="22" y="5"/>
                  <a:pt x="22" y="5"/>
                </a:cubicBezTo>
                <a:cubicBezTo>
                  <a:pt x="22" y="5"/>
                  <a:pt x="20" y="5"/>
                  <a:pt x="19" y="5"/>
                </a:cubicBezTo>
                <a:cubicBezTo>
                  <a:pt x="19" y="5"/>
                  <a:pt x="18" y="6"/>
                  <a:pt x="18" y="6"/>
                </a:cubicBezTo>
                <a:cubicBezTo>
                  <a:pt x="18" y="6"/>
                  <a:pt x="9" y="9"/>
                  <a:pt x="9" y="9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11"/>
                  <a:pt x="5" y="14"/>
                  <a:pt x="4" y="14"/>
                </a:cubicBezTo>
                <a:cubicBezTo>
                  <a:pt x="4" y="15"/>
                  <a:pt x="3" y="16"/>
                  <a:pt x="2" y="17"/>
                </a:cubicBezTo>
                <a:cubicBezTo>
                  <a:pt x="1" y="17"/>
                  <a:pt x="1" y="20"/>
                  <a:pt x="1" y="21"/>
                </a:cubicBezTo>
                <a:cubicBezTo>
                  <a:pt x="0" y="22"/>
                  <a:pt x="1" y="22"/>
                  <a:pt x="2" y="22"/>
                </a:cubicBezTo>
                <a:cubicBezTo>
                  <a:pt x="2" y="23"/>
                  <a:pt x="3" y="23"/>
                  <a:pt x="3" y="24"/>
                </a:cubicBezTo>
                <a:cubicBezTo>
                  <a:pt x="4" y="24"/>
                  <a:pt x="5" y="25"/>
                  <a:pt x="7" y="25"/>
                </a:cubicBezTo>
                <a:cubicBezTo>
                  <a:pt x="9" y="25"/>
                  <a:pt x="8" y="26"/>
                  <a:pt x="8" y="27"/>
                </a:cubicBezTo>
                <a:cubicBezTo>
                  <a:pt x="9" y="27"/>
                  <a:pt x="10" y="28"/>
                  <a:pt x="11" y="29"/>
                </a:cubicBezTo>
                <a:cubicBezTo>
                  <a:pt x="12" y="30"/>
                  <a:pt x="14" y="30"/>
                  <a:pt x="16" y="30"/>
                </a:cubicBezTo>
                <a:cubicBezTo>
                  <a:pt x="18" y="30"/>
                  <a:pt x="18" y="31"/>
                  <a:pt x="18" y="32"/>
                </a:cubicBezTo>
                <a:cubicBezTo>
                  <a:pt x="18" y="33"/>
                  <a:pt x="19" y="35"/>
                  <a:pt x="19" y="36"/>
                </a:cubicBezTo>
                <a:cubicBezTo>
                  <a:pt x="19" y="36"/>
                  <a:pt x="21" y="39"/>
                  <a:pt x="22" y="39"/>
                </a:cubicBezTo>
                <a:cubicBezTo>
                  <a:pt x="22" y="40"/>
                  <a:pt x="22" y="42"/>
                  <a:pt x="22" y="43"/>
                </a:cubicBezTo>
                <a:cubicBezTo>
                  <a:pt x="22" y="45"/>
                  <a:pt x="24" y="45"/>
                  <a:pt x="24" y="45"/>
                </a:cubicBezTo>
                <a:cubicBezTo>
                  <a:pt x="25" y="46"/>
                  <a:pt x="26" y="48"/>
                  <a:pt x="27" y="49"/>
                </a:cubicBezTo>
                <a:cubicBezTo>
                  <a:pt x="27" y="50"/>
                  <a:pt x="28" y="52"/>
                  <a:pt x="28" y="53"/>
                </a:cubicBezTo>
                <a:cubicBezTo>
                  <a:pt x="29" y="53"/>
                  <a:pt x="35" y="57"/>
                  <a:pt x="36" y="57"/>
                </a:cubicBezTo>
                <a:cubicBezTo>
                  <a:pt x="37" y="58"/>
                  <a:pt x="40" y="62"/>
                  <a:pt x="40" y="62"/>
                </a:cubicBezTo>
                <a:cubicBezTo>
                  <a:pt x="40" y="63"/>
                  <a:pt x="40" y="66"/>
                  <a:pt x="41" y="66"/>
                </a:cubicBezTo>
                <a:cubicBezTo>
                  <a:pt x="41" y="67"/>
                  <a:pt x="45" y="69"/>
                  <a:pt x="46" y="69"/>
                </a:cubicBezTo>
                <a:cubicBezTo>
                  <a:pt x="47" y="70"/>
                  <a:pt x="48" y="72"/>
                  <a:pt x="49" y="72"/>
                </a:cubicBezTo>
                <a:cubicBezTo>
                  <a:pt x="50" y="73"/>
                  <a:pt x="50" y="74"/>
                  <a:pt x="50" y="74"/>
                </a:cubicBezTo>
                <a:cubicBezTo>
                  <a:pt x="50" y="74"/>
                  <a:pt x="49" y="75"/>
                  <a:pt x="49" y="76"/>
                </a:cubicBezTo>
                <a:cubicBezTo>
                  <a:pt x="49" y="76"/>
                  <a:pt x="50" y="78"/>
                  <a:pt x="50" y="78"/>
                </a:cubicBezTo>
                <a:cubicBezTo>
                  <a:pt x="50" y="78"/>
                  <a:pt x="51" y="78"/>
                  <a:pt x="52" y="79"/>
                </a:cubicBezTo>
                <a:cubicBezTo>
                  <a:pt x="53" y="79"/>
                  <a:pt x="52" y="79"/>
                  <a:pt x="52" y="80"/>
                </a:cubicBezTo>
                <a:cubicBezTo>
                  <a:pt x="52" y="80"/>
                  <a:pt x="53" y="81"/>
                  <a:pt x="53" y="81"/>
                </a:cubicBezTo>
                <a:cubicBezTo>
                  <a:pt x="53" y="81"/>
                  <a:pt x="53" y="82"/>
                  <a:pt x="53" y="82"/>
                </a:cubicBezTo>
                <a:cubicBezTo>
                  <a:pt x="54" y="82"/>
                  <a:pt x="55" y="83"/>
                  <a:pt x="55" y="83"/>
                </a:cubicBezTo>
                <a:cubicBezTo>
                  <a:pt x="56" y="83"/>
                  <a:pt x="56" y="85"/>
                  <a:pt x="56" y="85"/>
                </a:cubicBezTo>
                <a:cubicBezTo>
                  <a:pt x="56" y="86"/>
                  <a:pt x="56" y="86"/>
                  <a:pt x="57" y="86"/>
                </a:cubicBezTo>
                <a:cubicBezTo>
                  <a:pt x="57" y="86"/>
                  <a:pt x="61" y="88"/>
                  <a:pt x="62" y="88"/>
                </a:cubicBezTo>
                <a:cubicBezTo>
                  <a:pt x="62" y="89"/>
                  <a:pt x="64" y="91"/>
                  <a:pt x="65" y="92"/>
                </a:cubicBezTo>
                <a:cubicBezTo>
                  <a:pt x="65" y="92"/>
                  <a:pt x="65" y="96"/>
                  <a:pt x="65" y="97"/>
                </a:cubicBezTo>
                <a:cubicBezTo>
                  <a:pt x="66" y="97"/>
                  <a:pt x="67" y="99"/>
                  <a:pt x="67" y="99"/>
                </a:cubicBezTo>
                <a:cubicBezTo>
                  <a:pt x="68" y="100"/>
                  <a:pt x="67" y="104"/>
                  <a:pt x="68" y="104"/>
                </a:cubicBezTo>
                <a:cubicBezTo>
                  <a:pt x="68" y="104"/>
                  <a:pt x="68" y="105"/>
                  <a:pt x="68" y="106"/>
                </a:cubicBezTo>
                <a:cubicBezTo>
                  <a:pt x="68" y="106"/>
                  <a:pt x="68" y="107"/>
                  <a:pt x="68" y="108"/>
                </a:cubicBezTo>
                <a:cubicBezTo>
                  <a:pt x="68" y="108"/>
                  <a:pt x="75" y="114"/>
                  <a:pt x="75" y="114"/>
                </a:cubicBezTo>
                <a:cubicBezTo>
                  <a:pt x="75" y="114"/>
                  <a:pt x="75" y="115"/>
                  <a:pt x="75" y="115"/>
                </a:cubicBezTo>
                <a:cubicBezTo>
                  <a:pt x="75" y="116"/>
                  <a:pt x="75" y="117"/>
                  <a:pt x="76" y="117"/>
                </a:cubicBezTo>
                <a:cubicBezTo>
                  <a:pt x="76" y="117"/>
                  <a:pt x="76" y="118"/>
                  <a:pt x="77" y="119"/>
                </a:cubicBezTo>
                <a:cubicBezTo>
                  <a:pt x="78" y="120"/>
                  <a:pt x="78" y="120"/>
                  <a:pt x="78" y="121"/>
                </a:cubicBezTo>
                <a:cubicBezTo>
                  <a:pt x="78" y="122"/>
                  <a:pt x="78" y="124"/>
                  <a:pt x="78" y="124"/>
                </a:cubicBezTo>
                <a:cubicBezTo>
                  <a:pt x="78" y="125"/>
                  <a:pt x="78" y="128"/>
                  <a:pt x="78" y="128"/>
                </a:cubicBezTo>
                <a:cubicBezTo>
                  <a:pt x="78" y="129"/>
                  <a:pt x="79" y="129"/>
                  <a:pt x="80" y="129"/>
                </a:cubicBezTo>
                <a:cubicBezTo>
                  <a:pt x="80" y="129"/>
                  <a:pt x="82" y="129"/>
                  <a:pt x="82" y="129"/>
                </a:cubicBezTo>
                <a:cubicBezTo>
                  <a:pt x="83" y="129"/>
                  <a:pt x="83" y="130"/>
                  <a:pt x="83" y="130"/>
                </a:cubicBezTo>
                <a:cubicBezTo>
                  <a:pt x="84" y="130"/>
                  <a:pt x="84" y="130"/>
                  <a:pt x="84" y="129"/>
                </a:cubicBezTo>
                <a:cubicBezTo>
                  <a:pt x="84" y="129"/>
                  <a:pt x="84" y="129"/>
                  <a:pt x="85" y="128"/>
                </a:cubicBezTo>
                <a:cubicBezTo>
                  <a:pt x="85" y="128"/>
                  <a:pt x="85" y="127"/>
                  <a:pt x="86" y="127"/>
                </a:cubicBezTo>
                <a:cubicBezTo>
                  <a:pt x="86" y="126"/>
                  <a:pt x="87" y="126"/>
                  <a:pt x="87" y="125"/>
                </a:cubicBezTo>
                <a:cubicBezTo>
                  <a:pt x="87" y="125"/>
                  <a:pt x="87" y="124"/>
                  <a:pt x="87" y="124"/>
                </a:cubicBezTo>
                <a:cubicBezTo>
                  <a:pt x="87" y="124"/>
                  <a:pt x="87" y="124"/>
                  <a:pt x="88" y="124"/>
                </a:cubicBezTo>
                <a:cubicBezTo>
                  <a:pt x="88" y="124"/>
                  <a:pt x="88" y="125"/>
                  <a:pt x="89" y="125"/>
                </a:cubicBezTo>
                <a:cubicBezTo>
                  <a:pt x="89" y="125"/>
                  <a:pt x="90" y="125"/>
                  <a:pt x="90" y="126"/>
                </a:cubicBezTo>
                <a:cubicBezTo>
                  <a:pt x="90" y="126"/>
                  <a:pt x="90" y="127"/>
                  <a:pt x="90" y="127"/>
                </a:cubicBezTo>
                <a:cubicBezTo>
                  <a:pt x="90" y="128"/>
                  <a:pt x="91" y="127"/>
                  <a:pt x="91" y="127"/>
                </a:cubicBezTo>
                <a:cubicBezTo>
                  <a:pt x="92" y="126"/>
                  <a:pt x="92" y="126"/>
                  <a:pt x="93" y="125"/>
                </a:cubicBezTo>
                <a:cubicBezTo>
                  <a:pt x="93" y="125"/>
                  <a:pt x="94" y="125"/>
                  <a:pt x="94" y="124"/>
                </a:cubicBezTo>
                <a:cubicBezTo>
                  <a:pt x="93" y="124"/>
                  <a:pt x="93" y="124"/>
                  <a:pt x="93" y="124"/>
                </a:cubicBezTo>
                <a:cubicBezTo>
                  <a:pt x="92" y="123"/>
                  <a:pt x="92" y="123"/>
                  <a:pt x="92" y="123"/>
                </a:cubicBezTo>
                <a:cubicBezTo>
                  <a:pt x="92" y="123"/>
                  <a:pt x="92" y="123"/>
                  <a:pt x="92" y="123"/>
                </a:cubicBezTo>
                <a:cubicBezTo>
                  <a:pt x="92" y="123"/>
                  <a:pt x="91" y="123"/>
                  <a:pt x="91" y="123"/>
                </a:cubicBezTo>
                <a:cubicBezTo>
                  <a:pt x="91" y="123"/>
                  <a:pt x="90" y="124"/>
                  <a:pt x="90" y="124"/>
                </a:cubicBezTo>
                <a:cubicBezTo>
                  <a:pt x="90" y="124"/>
                  <a:pt x="89" y="124"/>
                  <a:pt x="89" y="123"/>
                </a:cubicBezTo>
                <a:cubicBezTo>
                  <a:pt x="89" y="123"/>
                  <a:pt x="89" y="123"/>
                  <a:pt x="89" y="122"/>
                </a:cubicBezTo>
                <a:cubicBezTo>
                  <a:pt x="89" y="122"/>
                  <a:pt x="89" y="122"/>
                  <a:pt x="89" y="121"/>
                </a:cubicBezTo>
                <a:cubicBezTo>
                  <a:pt x="88" y="121"/>
                  <a:pt x="88" y="121"/>
                  <a:pt x="88" y="121"/>
                </a:cubicBezTo>
                <a:cubicBezTo>
                  <a:pt x="88" y="121"/>
                  <a:pt x="87" y="120"/>
                  <a:pt x="87" y="120"/>
                </a:cubicBezTo>
                <a:cubicBezTo>
                  <a:pt x="87" y="120"/>
                  <a:pt x="87" y="119"/>
                  <a:pt x="87" y="119"/>
                </a:cubicBezTo>
                <a:cubicBezTo>
                  <a:pt x="87" y="119"/>
                  <a:pt x="88" y="118"/>
                  <a:pt x="88" y="118"/>
                </a:cubicBezTo>
                <a:cubicBezTo>
                  <a:pt x="88" y="118"/>
                  <a:pt x="88" y="117"/>
                  <a:pt x="88" y="117"/>
                </a:cubicBezTo>
                <a:cubicBezTo>
                  <a:pt x="87" y="116"/>
                  <a:pt x="87" y="116"/>
                  <a:pt x="87" y="116"/>
                </a:cubicBezTo>
                <a:cubicBezTo>
                  <a:pt x="87" y="116"/>
                  <a:pt x="87" y="116"/>
                  <a:pt x="87" y="116"/>
                </a:cubicBezTo>
                <a:cubicBezTo>
                  <a:pt x="87" y="115"/>
                  <a:pt x="87" y="115"/>
                  <a:pt x="87" y="114"/>
                </a:cubicBezTo>
                <a:cubicBezTo>
                  <a:pt x="87" y="114"/>
                  <a:pt x="87" y="114"/>
                  <a:pt x="87" y="114"/>
                </a:cubicBezTo>
                <a:cubicBezTo>
                  <a:pt x="88" y="114"/>
                  <a:pt x="88" y="113"/>
                  <a:pt x="88" y="113"/>
                </a:cubicBezTo>
                <a:cubicBezTo>
                  <a:pt x="88" y="113"/>
                  <a:pt x="88" y="112"/>
                  <a:pt x="87" y="112"/>
                </a:cubicBezTo>
                <a:cubicBezTo>
                  <a:pt x="87" y="112"/>
                  <a:pt x="87" y="112"/>
                  <a:pt x="87" y="111"/>
                </a:cubicBezTo>
                <a:cubicBezTo>
                  <a:pt x="87" y="111"/>
                  <a:pt x="87" y="111"/>
                  <a:pt x="86" y="111"/>
                </a:cubicBezTo>
                <a:cubicBezTo>
                  <a:pt x="86" y="111"/>
                  <a:pt x="86" y="111"/>
                  <a:pt x="86" y="111"/>
                </a:cubicBezTo>
                <a:cubicBezTo>
                  <a:pt x="86" y="111"/>
                  <a:pt x="86" y="111"/>
                  <a:pt x="87" y="111"/>
                </a:cubicBezTo>
                <a:cubicBezTo>
                  <a:pt x="87" y="111"/>
                  <a:pt x="87" y="111"/>
                  <a:pt x="88" y="111"/>
                </a:cubicBezTo>
                <a:cubicBezTo>
                  <a:pt x="88" y="111"/>
                  <a:pt x="88" y="112"/>
                  <a:pt x="88" y="112"/>
                </a:cubicBezTo>
                <a:cubicBezTo>
                  <a:pt x="89" y="112"/>
                  <a:pt x="89" y="112"/>
                  <a:pt x="89" y="112"/>
                </a:cubicBezTo>
                <a:cubicBezTo>
                  <a:pt x="90" y="112"/>
                  <a:pt x="90" y="113"/>
                  <a:pt x="90" y="113"/>
                </a:cubicBezTo>
                <a:cubicBezTo>
                  <a:pt x="90" y="114"/>
                  <a:pt x="90" y="115"/>
                  <a:pt x="90" y="116"/>
                </a:cubicBezTo>
                <a:cubicBezTo>
                  <a:pt x="90" y="116"/>
                  <a:pt x="90" y="117"/>
                  <a:pt x="90" y="117"/>
                </a:cubicBezTo>
                <a:cubicBezTo>
                  <a:pt x="90" y="117"/>
                  <a:pt x="90" y="117"/>
                  <a:pt x="91" y="117"/>
                </a:cubicBezTo>
                <a:cubicBezTo>
                  <a:pt x="91" y="117"/>
                  <a:pt x="91" y="118"/>
                  <a:pt x="92" y="118"/>
                </a:cubicBezTo>
                <a:cubicBezTo>
                  <a:pt x="92" y="118"/>
                  <a:pt x="93" y="118"/>
                  <a:pt x="93" y="118"/>
                </a:cubicBezTo>
                <a:cubicBezTo>
                  <a:pt x="93" y="117"/>
                  <a:pt x="93" y="117"/>
                  <a:pt x="93" y="117"/>
                </a:cubicBezTo>
                <a:cubicBezTo>
                  <a:pt x="93" y="116"/>
                  <a:pt x="93" y="115"/>
                  <a:pt x="94" y="115"/>
                </a:cubicBezTo>
                <a:cubicBezTo>
                  <a:pt x="95" y="115"/>
                  <a:pt x="94" y="116"/>
                  <a:pt x="94" y="116"/>
                </a:cubicBezTo>
                <a:cubicBezTo>
                  <a:pt x="94" y="117"/>
                  <a:pt x="93" y="117"/>
                  <a:pt x="94" y="118"/>
                </a:cubicBezTo>
                <a:cubicBezTo>
                  <a:pt x="94" y="118"/>
                  <a:pt x="94" y="118"/>
                  <a:pt x="94" y="118"/>
                </a:cubicBezTo>
                <a:cubicBezTo>
                  <a:pt x="94" y="119"/>
                  <a:pt x="94" y="119"/>
                  <a:pt x="94" y="119"/>
                </a:cubicBezTo>
                <a:cubicBezTo>
                  <a:pt x="94" y="119"/>
                  <a:pt x="94" y="120"/>
                  <a:pt x="94" y="120"/>
                </a:cubicBezTo>
                <a:cubicBezTo>
                  <a:pt x="95" y="120"/>
                  <a:pt x="95" y="120"/>
                  <a:pt x="95" y="120"/>
                </a:cubicBezTo>
                <a:cubicBezTo>
                  <a:pt x="95" y="121"/>
                  <a:pt x="95" y="121"/>
                  <a:pt x="96" y="121"/>
                </a:cubicBezTo>
                <a:cubicBezTo>
                  <a:pt x="96" y="121"/>
                  <a:pt x="97" y="120"/>
                  <a:pt x="98" y="120"/>
                </a:cubicBezTo>
                <a:cubicBezTo>
                  <a:pt x="98" y="119"/>
                  <a:pt x="99" y="119"/>
                  <a:pt x="99" y="119"/>
                </a:cubicBezTo>
                <a:cubicBezTo>
                  <a:pt x="99" y="118"/>
                  <a:pt x="99" y="118"/>
                  <a:pt x="100" y="118"/>
                </a:cubicBezTo>
                <a:cubicBezTo>
                  <a:pt x="100" y="118"/>
                  <a:pt x="101" y="117"/>
                  <a:pt x="101" y="117"/>
                </a:cubicBezTo>
                <a:cubicBezTo>
                  <a:pt x="101" y="117"/>
                  <a:pt x="101" y="117"/>
                  <a:pt x="101" y="117"/>
                </a:cubicBezTo>
                <a:cubicBezTo>
                  <a:pt x="100" y="116"/>
                  <a:pt x="100" y="116"/>
                  <a:pt x="100" y="116"/>
                </a:cubicBezTo>
                <a:cubicBezTo>
                  <a:pt x="99" y="116"/>
                  <a:pt x="99" y="116"/>
                  <a:pt x="99" y="115"/>
                </a:cubicBezTo>
                <a:cubicBezTo>
                  <a:pt x="99" y="115"/>
                  <a:pt x="98" y="115"/>
                  <a:pt x="98" y="115"/>
                </a:cubicBezTo>
                <a:cubicBezTo>
                  <a:pt x="98" y="115"/>
                  <a:pt x="97" y="114"/>
                  <a:pt x="97" y="114"/>
                </a:cubicBezTo>
                <a:cubicBezTo>
                  <a:pt x="97" y="114"/>
                  <a:pt x="96" y="114"/>
                  <a:pt x="96" y="114"/>
                </a:cubicBezTo>
                <a:cubicBezTo>
                  <a:pt x="96" y="114"/>
                  <a:pt x="95" y="114"/>
                  <a:pt x="95" y="114"/>
                </a:cubicBezTo>
                <a:cubicBezTo>
                  <a:pt x="95" y="113"/>
                  <a:pt x="94" y="113"/>
                  <a:pt x="94" y="113"/>
                </a:cubicBezTo>
                <a:cubicBezTo>
                  <a:pt x="93" y="113"/>
                  <a:pt x="93" y="113"/>
                  <a:pt x="92" y="112"/>
                </a:cubicBezTo>
                <a:cubicBezTo>
                  <a:pt x="92" y="112"/>
                  <a:pt x="92" y="112"/>
                  <a:pt x="92" y="112"/>
                </a:cubicBezTo>
                <a:cubicBezTo>
                  <a:pt x="92" y="112"/>
                  <a:pt x="91" y="112"/>
                  <a:pt x="91" y="111"/>
                </a:cubicBezTo>
                <a:cubicBezTo>
                  <a:pt x="91" y="111"/>
                  <a:pt x="91" y="111"/>
                  <a:pt x="91" y="110"/>
                </a:cubicBezTo>
                <a:cubicBezTo>
                  <a:pt x="92" y="110"/>
                  <a:pt x="92" y="110"/>
                  <a:pt x="92" y="110"/>
                </a:cubicBezTo>
                <a:cubicBezTo>
                  <a:pt x="93" y="110"/>
                  <a:pt x="93" y="110"/>
                  <a:pt x="93" y="110"/>
                </a:cubicBezTo>
                <a:cubicBezTo>
                  <a:pt x="93" y="110"/>
                  <a:pt x="93" y="109"/>
                  <a:pt x="93" y="109"/>
                </a:cubicBezTo>
                <a:cubicBezTo>
                  <a:pt x="94" y="109"/>
                  <a:pt x="94" y="109"/>
                  <a:pt x="94" y="109"/>
                </a:cubicBezTo>
                <a:cubicBezTo>
                  <a:pt x="94" y="109"/>
                  <a:pt x="95" y="109"/>
                  <a:pt x="96" y="109"/>
                </a:cubicBezTo>
                <a:cubicBezTo>
                  <a:pt x="96" y="109"/>
                  <a:pt x="96" y="110"/>
                  <a:pt x="96" y="110"/>
                </a:cubicBezTo>
                <a:cubicBezTo>
                  <a:pt x="96" y="110"/>
                  <a:pt x="97" y="110"/>
                  <a:pt x="97" y="109"/>
                </a:cubicBezTo>
                <a:cubicBezTo>
                  <a:pt x="97" y="109"/>
                  <a:pt x="97" y="109"/>
                  <a:pt x="98" y="109"/>
                </a:cubicBezTo>
                <a:cubicBezTo>
                  <a:pt x="98" y="109"/>
                  <a:pt x="98" y="109"/>
                  <a:pt x="98" y="108"/>
                </a:cubicBezTo>
                <a:cubicBezTo>
                  <a:pt x="98" y="108"/>
                  <a:pt x="98" y="108"/>
                  <a:pt x="98" y="108"/>
                </a:cubicBezTo>
                <a:cubicBezTo>
                  <a:pt x="98" y="107"/>
                  <a:pt x="99" y="107"/>
                  <a:pt x="99" y="108"/>
                </a:cubicBezTo>
                <a:cubicBezTo>
                  <a:pt x="99" y="108"/>
                  <a:pt x="99" y="108"/>
                  <a:pt x="99" y="108"/>
                </a:cubicBezTo>
                <a:cubicBezTo>
                  <a:pt x="99" y="109"/>
                  <a:pt x="99" y="109"/>
                  <a:pt x="99" y="110"/>
                </a:cubicBezTo>
                <a:cubicBezTo>
                  <a:pt x="100" y="110"/>
                  <a:pt x="100" y="111"/>
                  <a:pt x="101" y="111"/>
                </a:cubicBezTo>
                <a:cubicBezTo>
                  <a:pt x="101" y="111"/>
                  <a:pt x="102" y="112"/>
                  <a:pt x="102" y="112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103" y="112"/>
                  <a:pt x="104" y="112"/>
                  <a:pt x="104" y="112"/>
                </a:cubicBezTo>
                <a:cubicBezTo>
                  <a:pt x="104" y="113"/>
                  <a:pt x="105" y="113"/>
                  <a:pt x="105" y="113"/>
                </a:cubicBezTo>
                <a:cubicBezTo>
                  <a:pt x="106" y="114"/>
                  <a:pt x="106" y="113"/>
                  <a:pt x="107" y="113"/>
                </a:cubicBezTo>
                <a:cubicBezTo>
                  <a:pt x="107" y="112"/>
                  <a:pt x="108" y="112"/>
                  <a:pt x="108" y="112"/>
                </a:cubicBezTo>
                <a:cubicBezTo>
                  <a:pt x="108" y="112"/>
                  <a:pt x="108" y="111"/>
                  <a:pt x="109" y="111"/>
                </a:cubicBezTo>
                <a:cubicBezTo>
                  <a:pt x="109" y="111"/>
                  <a:pt x="109" y="111"/>
                  <a:pt x="109" y="110"/>
                </a:cubicBezTo>
                <a:cubicBezTo>
                  <a:pt x="109" y="110"/>
                  <a:pt x="109" y="109"/>
                  <a:pt x="109" y="109"/>
                </a:cubicBezTo>
                <a:cubicBezTo>
                  <a:pt x="109" y="109"/>
                  <a:pt x="108" y="109"/>
                  <a:pt x="108" y="109"/>
                </a:cubicBezTo>
                <a:cubicBezTo>
                  <a:pt x="108" y="109"/>
                  <a:pt x="108" y="109"/>
                  <a:pt x="107" y="109"/>
                </a:cubicBezTo>
                <a:cubicBezTo>
                  <a:pt x="107" y="108"/>
                  <a:pt x="107" y="108"/>
                  <a:pt x="106" y="108"/>
                </a:cubicBezTo>
                <a:cubicBezTo>
                  <a:pt x="106" y="107"/>
                  <a:pt x="106" y="107"/>
                  <a:pt x="105" y="107"/>
                </a:cubicBezTo>
                <a:cubicBezTo>
                  <a:pt x="105" y="106"/>
                  <a:pt x="105" y="106"/>
                  <a:pt x="104" y="106"/>
                </a:cubicBezTo>
                <a:cubicBezTo>
                  <a:pt x="104" y="106"/>
                  <a:pt x="105" y="106"/>
                  <a:pt x="105" y="105"/>
                </a:cubicBezTo>
                <a:cubicBezTo>
                  <a:pt x="106" y="105"/>
                  <a:pt x="107" y="106"/>
                  <a:pt x="107" y="106"/>
                </a:cubicBezTo>
                <a:cubicBezTo>
                  <a:pt x="108" y="106"/>
                  <a:pt x="108" y="106"/>
                  <a:pt x="108" y="105"/>
                </a:cubicBezTo>
                <a:cubicBezTo>
                  <a:pt x="108" y="105"/>
                  <a:pt x="108" y="105"/>
                  <a:pt x="108" y="105"/>
                </a:cubicBezTo>
                <a:cubicBezTo>
                  <a:pt x="109" y="105"/>
                  <a:pt x="109" y="106"/>
                  <a:pt x="109" y="106"/>
                </a:cubicBezTo>
                <a:cubicBezTo>
                  <a:pt x="109" y="106"/>
                  <a:pt x="109" y="106"/>
                  <a:pt x="108" y="107"/>
                </a:cubicBezTo>
                <a:cubicBezTo>
                  <a:pt x="108" y="107"/>
                  <a:pt x="108" y="107"/>
                  <a:pt x="108" y="107"/>
                </a:cubicBezTo>
                <a:cubicBezTo>
                  <a:pt x="108" y="108"/>
                  <a:pt x="109" y="109"/>
                  <a:pt x="109" y="109"/>
                </a:cubicBezTo>
                <a:cubicBezTo>
                  <a:pt x="109" y="109"/>
                  <a:pt x="110" y="109"/>
                  <a:pt x="110" y="110"/>
                </a:cubicBezTo>
                <a:cubicBezTo>
                  <a:pt x="110" y="110"/>
                  <a:pt x="110" y="110"/>
                  <a:pt x="111" y="110"/>
                </a:cubicBezTo>
                <a:cubicBezTo>
                  <a:pt x="111" y="110"/>
                  <a:pt x="112" y="109"/>
                  <a:pt x="112" y="109"/>
                </a:cubicBezTo>
                <a:cubicBezTo>
                  <a:pt x="112" y="109"/>
                  <a:pt x="113" y="109"/>
                  <a:pt x="114" y="109"/>
                </a:cubicBezTo>
                <a:cubicBezTo>
                  <a:pt x="114" y="109"/>
                  <a:pt x="115" y="109"/>
                  <a:pt x="115" y="109"/>
                </a:cubicBezTo>
                <a:cubicBezTo>
                  <a:pt x="116" y="109"/>
                  <a:pt x="116" y="109"/>
                  <a:pt x="116" y="108"/>
                </a:cubicBezTo>
                <a:cubicBezTo>
                  <a:pt x="116" y="108"/>
                  <a:pt x="116" y="108"/>
                  <a:pt x="116" y="107"/>
                </a:cubicBezTo>
                <a:cubicBezTo>
                  <a:pt x="117" y="107"/>
                  <a:pt x="116" y="107"/>
                  <a:pt x="117" y="107"/>
                </a:cubicBezTo>
                <a:cubicBezTo>
                  <a:pt x="117" y="106"/>
                  <a:pt x="117" y="107"/>
                  <a:pt x="118" y="107"/>
                </a:cubicBezTo>
                <a:cubicBezTo>
                  <a:pt x="118" y="107"/>
                  <a:pt x="119" y="107"/>
                  <a:pt x="119" y="106"/>
                </a:cubicBezTo>
                <a:cubicBezTo>
                  <a:pt x="119" y="106"/>
                  <a:pt x="119" y="106"/>
                  <a:pt x="120" y="106"/>
                </a:cubicBezTo>
                <a:cubicBezTo>
                  <a:pt x="120" y="106"/>
                  <a:pt x="120" y="106"/>
                  <a:pt x="120" y="106"/>
                </a:cubicBezTo>
                <a:cubicBezTo>
                  <a:pt x="120" y="105"/>
                  <a:pt x="120" y="105"/>
                  <a:pt x="120" y="105"/>
                </a:cubicBezTo>
                <a:cubicBezTo>
                  <a:pt x="120" y="104"/>
                  <a:pt x="121" y="104"/>
                  <a:pt x="121" y="104"/>
                </a:cubicBezTo>
                <a:cubicBezTo>
                  <a:pt x="121" y="104"/>
                  <a:pt x="121" y="104"/>
                  <a:pt x="120" y="104"/>
                </a:cubicBezTo>
                <a:cubicBezTo>
                  <a:pt x="120" y="103"/>
                  <a:pt x="120" y="103"/>
                  <a:pt x="120" y="103"/>
                </a:cubicBezTo>
                <a:cubicBezTo>
                  <a:pt x="119" y="102"/>
                  <a:pt x="119" y="102"/>
                  <a:pt x="118" y="102"/>
                </a:cubicBezTo>
                <a:cubicBezTo>
                  <a:pt x="118" y="102"/>
                  <a:pt x="118" y="101"/>
                  <a:pt x="117" y="100"/>
                </a:cubicBezTo>
                <a:cubicBezTo>
                  <a:pt x="117" y="100"/>
                  <a:pt x="117" y="100"/>
                  <a:pt x="117" y="99"/>
                </a:cubicBezTo>
                <a:cubicBezTo>
                  <a:pt x="118" y="99"/>
                  <a:pt x="118" y="100"/>
                  <a:pt x="118" y="100"/>
                </a:cubicBezTo>
                <a:cubicBezTo>
                  <a:pt x="118" y="100"/>
                  <a:pt x="118" y="101"/>
                  <a:pt x="118" y="101"/>
                </a:cubicBezTo>
                <a:cubicBezTo>
                  <a:pt x="119" y="101"/>
                  <a:pt x="119" y="102"/>
                  <a:pt x="119" y="102"/>
                </a:cubicBezTo>
                <a:cubicBezTo>
                  <a:pt x="120" y="102"/>
                  <a:pt x="120" y="102"/>
                  <a:pt x="121" y="102"/>
                </a:cubicBezTo>
                <a:cubicBezTo>
                  <a:pt x="122" y="102"/>
                  <a:pt x="122" y="102"/>
                  <a:pt x="122" y="102"/>
                </a:cubicBezTo>
                <a:cubicBezTo>
                  <a:pt x="123" y="101"/>
                  <a:pt x="124" y="101"/>
                  <a:pt x="124" y="101"/>
                </a:cubicBezTo>
                <a:cubicBezTo>
                  <a:pt x="125" y="101"/>
                  <a:pt x="125" y="101"/>
                  <a:pt x="125" y="101"/>
                </a:cubicBezTo>
                <a:cubicBezTo>
                  <a:pt x="126" y="101"/>
                  <a:pt x="126" y="101"/>
                  <a:pt x="126" y="100"/>
                </a:cubicBezTo>
                <a:cubicBezTo>
                  <a:pt x="126" y="100"/>
                  <a:pt x="126" y="100"/>
                  <a:pt x="126" y="100"/>
                </a:cubicBezTo>
                <a:cubicBezTo>
                  <a:pt x="126" y="99"/>
                  <a:pt x="125" y="99"/>
                  <a:pt x="125" y="99"/>
                </a:cubicBezTo>
                <a:cubicBezTo>
                  <a:pt x="125" y="99"/>
                  <a:pt x="125" y="98"/>
                  <a:pt x="126" y="98"/>
                </a:cubicBezTo>
                <a:cubicBezTo>
                  <a:pt x="126" y="98"/>
                  <a:pt x="127" y="98"/>
                  <a:pt x="128" y="98"/>
                </a:cubicBezTo>
                <a:cubicBezTo>
                  <a:pt x="128" y="97"/>
                  <a:pt x="129" y="97"/>
                  <a:pt x="129" y="96"/>
                </a:cubicBezTo>
                <a:cubicBezTo>
                  <a:pt x="129" y="96"/>
                  <a:pt x="130" y="95"/>
                  <a:pt x="130" y="95"/>
                </a:cubicBezTo>
                <a:cubicBezTo>
                  <a:pt x="130" y="95"/>
                  <a:pt x="130" y="94"/>
                  <a:pt x="130" y="94"/>
                </a:cubicBezTo>
                <a:cubicBezTo>
                  <a:pt x="130" y="94"/>
                  <a:pt x="131" y="94"/>
                  <a:pt x="131" y="93"/>
                </a:cubicBezTo>
                <a:cubicBezTo>
                  <a:pt x="131" y="93"/>
                  <a:pt x="131" y="93"/>
                  <a:pt x="131" y="92"/>
                </a:cubicBezTo>
                <a:cubicBezTo>
                  <a:pt x="131" y="92"/>
                  <a:pt x="132" y="91"/>
                  <a:pt x="132" y="91"/>
                </a:cubicBezTo>
                <a:cubicBezTo>
                  <a:pt x="133" y="91"/>
                  <a:pt x="133" y="91"/>
                  <a:pt x="134" y="91"/>
                </a:cubicBezTo>
                <a:cubicBezTo>
                  <a:pt x="134" y="91"/>
                  <a:pt x="134" y="91"/>
                  <a:pt x="135" y="91"/>
                </a:cubicBezTo>
                <a:cubicBezTo>
                  <a:pt x="135" y="91"/>
                  <a:pt x="135" y="91"/>
                  <a:pt x="135" y="92"/>
                </a:cubicBezTo>
                <a:cubicBezTo>
                  <a:pt x="136" y="92"/>
                  <a:pt x="136" y="92"/>
                  <a:pt x="137" y="92"/>
                </a:cubicBezTo>
                <a:cubicBezTo>
                  <a:pt x="137" y="91"/>
                  <a:pt x="138" y="92"/>
                  <a:pt x="138" y="91"/>
                </a:cubicBezTo>
                <a:cubicBezTo>
                  <a:pt x="138" y="91"/>
                  <a:pt x="138" y="90"/>
                  <a:pt x="138" y="90"/>
                </a:cubicBezTo>
                <a:cubicBezTo>
                  <a:pt x="138" y="89"/>
                  <a:pt x="139" y="89"/>
                  <a:pt x="139" y="89"/>
                </a:cubicBezTo>
                <a:cubicBezTo>
                  <a:pt x="139" y="89"/>
                  <a:pt x="140" y="88"/>
                  <a:pt x="140" y="88"/>
                </a:cubicBezTo>
                <a:cubicBezTo>
                  <a:pt x="140" y="88"/>
                  <a:pt x="141" y="87"/>
                  <a:pt x="141" y="87"/>
                </a:cubicBezTo>
                <a:cubicBezTo>
                  <a:pt x="141" y="87"/>
                  <a:pt x="141" y="86"/>
                  <a:pt x="142" y="86"/>
                </a:cubicBezTo>
                <a:cubicBezTo>
                  <a:pt x="142" y="86"/>
                  <a:pt x="142" y="86"/>
                  <a:pt x="142" y="86"/>
                </a:cubicBezTo>
                <a:cubicBezTo>
                  <a:pt x="143" y="86"/>
                  <a:pt x="143" y="86"/>
                  <a:pt x="143" y="86"/>
                </a:cubicBezTo>
                <a:cubicBezTo>
                  <a:pt x="143" y="86"/>
                  <a:pt x="143" y="86"/>
                  <a:pt x="143" y="86"/>
                </a:cubicBezTo>
                <a:cubicBezTo>
                  <a:pt x="144" y="86"/>
                  <a:pt x="144" y="86"/>
                  <a:pt x="144" y="85"/>
                </a:cubicBezTo>
                <a:cubicBezTo>
                  <a:pt x="144" y="85"/>
                  <a:pt x="144" y="85"/>
                  <a:pt x="144" y="85"/>
                </a:cubicBezTo>
                <a:cubicBezTo>
                  <a:pt x="144" y="84"/>
                  <a:pt x="145" y="83"/>
                  <a:pt x="144" y="82"/>
                </a:cubicBezTo>
                <a:cubicBezTo>
                  <a:pt x="144" y="82"/>
                  <a:pt x="144" y="82"/>
                  <a:pt x="144" y="82"/>
                </a:cubicBezTo>
                <a:cubicBezTo>
                  <a:pt x="144" y="81"/>
                  <a:pt x="143" y="81"/>
                  <a:pt x="143" y="81"/>
                </a:cubicBezTo>
                <a:cubicBezTo>
                  <a:pt x="143" y="80"/>
                  <a:pt x="142" y="80"/>
                  <a:pt x="142" y="80"/>
                </a:cubicBezTo>
                <a:cubicBezTo>
                  <a:pt x="142" y="79"/>
                  <a:pt x="142" y="79"/>
                  <a:pt x="142" y="79"/>
                </a:cubicBezTo>
                <a:cubicBezTo>
                  <a:pt x="142" y="78"/>
                  <a:pt x="144" y="79"/>
                  <a:pt x="144" y="79"/>
                </a:cubicBezTo>
                <a:cubicBezTo>
                  <a:pt x="145" y="78"/>
                  <a:pt x="146" y="78"/>
                  <a:pt x="146" y="77"/>
                </a:cubicBezTo>
                <a:cubicBezTo>
                  <a:pt x="146" y="77"/>
                  <a:pt x="147" y="76"/>
                  <a:pt x="147" y="75"/>
                </a:cubicBezTo>
                <a:cubicBezTo>
                  <a:pt x="147" y="75"/>
                  <a:pt x="147" y="74"/>
                  <a:pt x="147" y="74"/>
                </a:cubicBezTo>
                <a:cubicBezTo>
                  <a:pt x="148" y="73"/>
                  <a:pt x="148" y="72"/>
                  <a:pt x="149" y="72"/>
                </a:cubicBezTo>
                <a:cubicBezTo>
                  <a:pt x="149" y="71"/>
                  <a:pt x="149" y="71"/>
                  <a:pt x="150" y="70"/>
                </a:cubicBezTo>
                <a:cubicBezTo>
                  <a:pt x="151" y="70"/>
                  <a:pt x="151" y="69"/>
                  <a:pt x="151" y="68"/>
                </a:cubicBezTo>
                <a:cubicBezTo>
                  <a:pt x="152" y="68"/>
                  <a:pt x="152" y="67"/>
                  <a:pt x="153" y="67"/>
                </a:cubicBezTo>
                <a:cubicBezTo>
                  <a:pt x="153" y="66"/>
                  <a:pt x="154" y="66"/>
                  <a:pt x="154" y="66"/>
                </a:cubicBezTo>
                <a:cubicBezTo>
                  <a:pt x="154" y="65"/>
                  <a:pt x="154" y="65"/>
                  <a:pt x="155" y="64"/>
                </a:cubicBezTo>
                <a:cubicBezTo>
                  <a:pt x="155" y="64"/>
                  <a:pt x="155" y="64"/>
                  <a:pt x="155" y="63"/>
                </a:cubicBezTo>
                <a:cubicBezTo>
                  <a:pt x="156" y="63"/>
                  <a:pt x="156" y="63"/>
                  <a:pt x="156" y="63"/>
                </a:cubicBezTo>
                <a:cubicBezTo>
                  <a:pt x="157" y="62"/>
                  <a:pt x="157" y="62"/>
                  <a:pt x="158" y="61"/>
                </a:cubicBezTo>
                <a:cubicBezTo>
                  <a:pt x="158" y="61"/>
                  <a:pt x="159" y="61"/>
                  <a:pt x="159" y="60"/>
                </a:cubicBezTo>
                <a:cubicBezTo>
                  <a:pt x="159" y="60"/>
                  <a:pt x="160" y="60"/>
                  <a:pt x="160" y="60"/>
                </a:cubicBezTo>
                <a:cubicBezTo>
                  <a:pt x="160" y="60"/>
                  <a:pt x="160" y="60"/>
                  <a:pt x="161" y="59"/>
                </a:cubicBezTo>
                <a:cubicBezTo>
                  <a:pt x="161" y="59"/>
                  <a:pt x="161" y="59"/>
                  <a:pt x="161" y="59"/>
                </a:cubicBezTo>
                <a:cubicBezTo>
                  <a:pt x="162" y="59"/>
                  <a:pt x="162" y="59"/>
                  <a:pt x="163" y="59"/>
                </a:cubicBezTo>
                <a:cubicBezTo>
                  <a:pt x="163" y="59"/>
                  <a:pt x="164" y="58"/>
                  <a:pt x="164" y="58"/>
                </a:cubicBezTo>
                <a:cubicBezTo>
                  <a:pt x="165" y="58"/>
                  <a:pt x="165" y="58"/>
                  <a:pt x="166" y="57"/>
                </a:cubicBezTo>
                <a:cubicBezTo>
                  <a:pt x="166" y="57"/>
                  <a:pt x="166" y="57"/>
                  <a:pt x="167" y="57"/>
                </a:cubicBezTo>
                <a:cubicBezTo>
                  <a:pt x="167" y="57"/>
                  <a:pt x="167" y="57"/>
                  <a:pt x="167" y="57"/>
                </a:cubicBezTo>
                <a:lnTo>
                  <a:pt x="128" y="17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E4ADE0DB-D19C-47B6-9408-85FDBF55CD59}"/>
              </a:ext>
            </a:extLst>
          </p:cNvPr>
          <p:cNvSpPr>
            <a:spLocks noEditPoints="1"/>
          </p:cNvSpPr>
          <p:nvPr/>
        </p:nvSpPr>
        <p:spPr bwMode="auto">
          <a:xfrm>
            <a:off x="11230223" y="2626029"/>
            <a:ext cx="102437" cy="127219"/>
          </a:xfrm>
          <a:custGeom>
            <a:avLst/>
            <a:gdLst>
              <a:gd name="T0" fmla="*/ 18 w 26"/>
              <a:gd name="T1" fmla="*/ 25 h 32"/>
              <a:gd name="T2" fmla="*/ 18 w 26"/>
              <a:gd name="T3" fmla="*/ 24 h 32"/>
              <a:gd name="T4" fmla="*/ 19 w 26"/>
              <a:gd name="T5" fmla="*/ 23 h 32"/>
              <a:gd name="T6" fmla="*/ 19 w 26"/>
              <a:gd name="T7" fmla="*/ 21 h 32"/>
              <a:gd name="T8" fmla="*/ 20 w 26"/>
              <a:gd name="T9" fmla="*/ 20 h 32"/>
              <a:gd name="T10" fmla="*/ 21 w 26"/>
              <a:gd name="T11" fmla="*/ 22 h 32"/>
              <a:gd name="T12" fmla="*/ 20 w 26"/>
              <a:gd name="T13" fmla="*/ 25 h 32"/>
              <a:gd name="T14" fmla="*/ 19 w 26"/>
              <a:gd name="T15" fmla="*/ 26 h 32"/>
              <a:gd name="T16" fmla="*/ 18 w 26"/>
              <a:gd name="T17" fmla="*/ 26 h 32"/>
              <a:gd name="T18" fmla="*/ 17 w 26"/>
              <a:gd name="T19" fmla="*/ 25 h 32"/>
              <a:gd name="T20" fmla="*/ 17 w 26"/>
              <a:gd name="T21" fmla="*/ 24 h 32"/>
              <a:gd name="T22" fmla="*/ 16 w 26"/>
              <a:gd name="T23" fmla="*/ 23 h 32"/>
              <a:gd name="T24" fmla="*/ 16 w 26"/>
              <a:gd name="T25" fmla="*/ 24 h 32"/>
              <a:gd name="T26" fmla="*/ 17 w 26"/>
              <a:gd name="T27" fmla="*/ 25 h 32"/>
              <a:gd name="T28" fmla="*/ 23 w 26"/>
              <a:gd name="T29" fmla="*/ 16 h 32"/>
              <a:gd name="T30" fmla="*/ 23 w 26"/>
              <a:gd name="T31" fmla="*/ 17 h 32"/>
              <a:gd name="T32" fmla="*/ 22 w 26"/>
              <a:gd name="T33" fmla="*/ 18 h 32"/>
              <a:gd name="T34" fmla="*/ 21 w 26"/>
              <a:gd name="T35" fmla="*/ 20 h 32"/>
              <a:gd name="T36" fmla="*/ 22 w 26"/>
              <a:gd name="T37" fmla="*/ 21 h 32"/>
              <a:gd name="T38" fmla="*/ 23 w 26"/>
              <a:gd name="T39" fmla="*/ 23 h 32"/>
              <a:gd name="T40" fmla="*/ 23 w 26"/>
              <a:gd name="T41" fmla="*/ 26 h 32"/>
              <a:gd name="T42" fmla="*/ 24 w 26"/>
              <a:gd name="T43" fmla="*/ 25 h 32"/>
              <a:gd name="T44" fmla="*/ 26 w 26"/>
              <a:gd name="T45" fmla="*/ 25 h 32"/>
              <a:gd name="T46" fmla="*/ 24 w 26"/>
              <a:gd name="T47" fmla="*/ 17 h 32"/>
              <a:gd name="T48" fmla="*/ 16 w 26"/>
              <a:gd name="T49" fmla="*/ 4 h 32"/>
              <a:gd name="T50" fmla="*/ 1 w 26"/>
              <a:gd name="T51" fmla="*/ 0 h 32"/>
              <a:gd name="T52" fmla="*/ 0 w 26"/>
              <a:gd name="T53" fmla="*/ 30 h 32"/>
              <a:gd name="T54" fmla="*/ 3 w 26"/>
              <a:gd name="T55" fmla="*/ 32 h 32"/>
              <a:gd name="T56" fmla="*/ 4 w 26"/>
              <a:gd name="T57" fmla="*/ 31 h 32"/>
              <a:gd name="T58" fmla="*/ 7 w 26"/>
              <a:gd name="T59" fmla="*/ 31 h 32"/>
              <a:gd name="T60" fmla="*/ 9 w 26"/>
              <a:gd name="T61" fmla="*/ 30 h 32"/>
              <a:gd name="T62" fmla="*/ 12 w 26"/>
              <a:gd name="T63" fmla="*/ 30 h 32"/>
              <a:gd name="T64" fmla="*/ 13 w 26"/>
              <a:gd name="T65" fmla="*/ 29 h 32"/>
              <a:gd name="T66" fmla="*/ 14 w 26"/>
              <a:gd name="T67" fmla="*/ 27 h 32"/>
              <a:gd name="T68" fmla="*/ 14 w 26"/>
              <a:gd name="T69" fmla="*/ 25 h 32"/>
              <a:gd name="T70" fmla="*/ 15 w 26"/>
              <a:gd name="T71" fmla="*/ 23 h 32"/>
              <a:gd name="T72" fmla="*/ 15 w 26"/>
              <a:gd name="T73" fmla="*/ 21 h 32"/>
              <a:gd name="T74" fmla="*/ 15 w 26"/>
              <a:gd name="T75" fmla="*/ 20 h 32"/>
              <a:gd name="T76" fmla="*/ 15 w 26"/>
              <a:gd name="T77" fmla="*/ 19 h 32"/>
              <a:gd name="T78" fmla="*/ 14 w 26"/>
              <a:gd name="T79" fmla="*/ 18 h 32"/>
              <a:gd name="T80" fmla="*/ 15 w 26"/>
              <a:gd name="T81" fmla="*/ 17 h 32"/>
              <a:gd name="T82" fmla="*/ 16 w 26"/>
              <a:gd name="T83" fmla="*/ 17 h 32"/>
              <a:gd name="T84" fmla="*/ 16 w 26"/>
              <a:gd name="T85" fmla="*/ 14 h 32"/>
              <a:gd name="T86" fmla="*/ 16 w 26"/>
              <a:gd name="T87" fmla="*/ 11 h 32"/>
              <a:gd name="T88" fmla="*/ 17 w 26"/>
              <a:gd name="T89" fmla="*/ 11 h 32"/>
              <a:gd name="T90" fmla="*/ 18 w 26"/>
              <a:gd name="T91" fmla="*/ 12 h 32"/>
              <a:gd name="T92" fmla="*/ 19 w 26"/>
              <a:gd name="T93" fmla="*/ 14 h 32"/>
              <a:gd name="T94" fmla="*/ 19 w 26"/>
              <a:gd name="T95" fmla="*/ 15 h 32"/>
              <a:gd name="T96" fmla="*/ 21 w 26"/>
              <a:gd name="T97" fmla="*/ 14 h 32"/>
              <a:gd name="T98" fmla="*/ 17 w 26"/>
              <a:gd name="T99" fmla="*/ 9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6" h="32">
                <a:moveTo>
                  <a:pt x="18" y="25"/>
                </a:move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4"/>
                  <a:pt x="18" y="24"/>
                  <a:pt x="18" y="24"/>
                </a:cubicBezTo>
                <a:cubicBezTo>
                  <a:pt x="19" y="24"/>
                  <a:pt x="19" y="24"/>
                  <a:pt x="19" y="24"/>
                </a:cubicBezTo>
                <a:cubicBezTo>
                  <a:pt x="19" y="23"/>
                  <a:pt x="19" y="23"/>
                  <a:pt x="19" y="23"/>
                </a:cubicBezTo>
                <a:cubicBezTo>
                  <a:pt x="19" y="23"/>
                  <a:pt x="19" y="22"/>
                  <a:pt x="19" y="22"/>
                </a:cubicBezTo>
                <a:cubicBezTo>
                  <a:pt x="19" y="22"/>
                  <a:pt x="19" y="21"/>
                  <a:pt x="19" y="21"/>
                </a:cubicBezTo>
                <a:cubicBezTo>
                  <a:pt x="19" y="21"/>
                  <a:pt x="19" y="21"/>
                  <a:pt x="19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19"/>
                  <a:pt x="21" y="19"/>
                  <a:pt x="21" y="20"/>
                </a:cubicBezTo>
                <a:cubicBezTo>
                  <a:pt x="21" y="21"/>
                  <a:pt x="21" y="21"/>
                  <a:pt x="21" y="22"/>
                </a:cubicBezTo>
                <a:cubicBezTo>
                  <a:pt x="21" y="23"/>
                  <a:pt x="21" y="24"/>
                  <a:pt x="21" y="24"/>
                </a:cubicBezTo>
                <a:cubicBezTo>
                  <a:pt x="21" y="25"/>
                  <a:pt x="21" y="25"/>
                  <a:pt x="20" y="25"/>
                </a:cubicBezTo>
                <a:cubicBezTo>
                  <a:pt x="20" y="25"/>
                  <a:pt x="20" y="25"/>
                  <a:pt x="20" y="25"/>
                </a:cubicBezTo>
                <a:cubicBezTo>
                  <a:pt x="20" y="26"/>
                  <a:pt x="19" y="26"/>
                  <a:pt x="19" y="26"/>
                </a:cubicBezTo>
                <a:cubicBezTo>
                  <a:pt x="19" y="26"/>
                  <a:pt x="19" y="26"/>
                  <a:pt x="19" y="26"/>
                </a:cubicBezTo>
                <a:cubicBezTo>
                  <a:pt x="19" y="26"/>
                  <a:pt x="18" y="26"/>
                  <a:pt x="18" y="26"/>
                </a:cubicBezTo>
                <a:cubicBezTo>
                  <a:pt x="18" y="26"/>
                  <a:pt x="18" y="26"/>
                  <a:pt x="18" y="25"/>
                </a:cubicBezTo>
                <a:close/>
                <a:moveTo>
                  <a:pt x="17" y="25"/>
                </a:moveTo>
                <a:cubicBezTo>
                  <a:pt x="17" y="25"/>
                  <a:pt x="17" y="25"/>
                  <a:pt x="17" y="25"/>
                </a:cubicBezTo>
                <a:cubicBezTo>
                  <a:pt x="17" y="24"/>
                  <a:pt x="17" y="24"/>
                  <a:pt x="17" y="24"/>
                </a:cubicBezTo>
                <a:cubicBezTo>
                  <a:pt x="17" y="23"/>
                  <a:pt x="17" y="23"/>
                  <a:pt x="17" y="22"/>
                </a:cubicBezTo>
                <a:cubicBezTo>
                  <a:pt x="17" y="22"/>
                  <a:pt x="16" y="23"/>
                  <a:pt x="16" y="23"/>
                </a:cubicBezTo>
                <a:cubicBezTo>
                  <a:pt x="16" y="23"/>
                  <a:pt x="16" y="23"/>
                  <a:pt x="16" y="23"/>
                </a:cubicBezTo>
                <a:cubicBezTo>
                  <a:pt x="16" y="23"/>
                  <a:pt x="16" y="24"/>
                  <a:pt x="16" y="24"/>
                </a:cubicBezTo>
                <a:cubicBezTo>
                  <a:pt x="16" y="24"/>
                  <a:pt x="16" y="24"/>
                  <a:pt x="16" y="25"/>
                </a:cubicBezTo>
                <a:cubicBezTo>
                  <a:pt x="16" y="25"/>
                  <a:pt x="16" y="25"/>
                  <a:pt x="17" y="25"/>
                </a:cubicBezTo>
                <a:close/>
                <a:moveTo>
                  <a:pt x="24" y="17"/>
                </a:moveTo>
                <a:cubicBezTo>
                  <a:pt x="23" y="16"/>
                  <a:pt x="23" y="16"/>
                  <a:pt x="23" y="16"/>
                </a:cubicBezTo>
                <a:cubicBezTo>
                  <a:pt x="23" y="16"/>
                  <a:pt x="23" y="16"/>
                  <a:pt x="23" y="17"/>
                </a:cubicBezTo>
                <a:cubicBezTo>
                  <a:pt x="23" y="17"/>
                  <a:pt x="23" y="17"/>
                  <a:pt x="23" y="17"/>
                </a:cubicBezTo>
                <a:cubicBezTo>
                  <a:pt x="22" y="17"/>
                  <a:pt x="22" y="17"/>
                  <a:pt x="22" y="17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8"/>
                  <a:pt x="21" y="18"/>
                  <a:pt x="21" y="19"/>
                </a:cubicBezTo>
                <a:cubicBezTo>
                  <a:pt x="21" y="19"/>
                  <a:pt x="21" y="19"/>
                  <a:pt x="21" y="20"/>
                </a:cubicBezTo>
                <a:cubicBezTo>
                  <a:pt x="22" y="20"/>
                  <a:pt x="22" y="20"/>
                  <a:pt x="22" y="20"/>
                </a:cubicBezTo>
                <a:cubicBezTo>
                  <a:pt x="22" y="20"/>
                  <a:pt x="22" y="20"/>
                  <a:pt x="22" y="21"/>
                </a:cubicBezTo>
                <a:cubicBezTo>
                  <a:pt x="22" y="21"/>
                  <a:pt x="22" y="21"/>
                  <a:pt x="22" y="22"/>
                </a:cubicBezTo>
                <a:cubicBezTo>
                  <a:pt x="23" y="22"/>
                  <a:pt x="23" y="23"/>
                  <a:pt x="23" y="23"/>
                </a:cubicBezTo>
                <a:cubicBezTo>
                  <a:pt x="23" y="24"/>
                  <a:pt x="23" y="24"/>
                  <a:pt x="23" y="25"/>
                </a:cubicBezTo>
                <a:cubicBezTo>
                  <a:pt x="23" y="25"/>
                  <a:pt x="23" y="26"/>
                  <a:pt x="23" y="26"/>
                </a:cubicBezTo>
                <a:cubicBezTo>
                  <a:pt x="23" y="26"/>
                  <a:pt x="24" y="26"/>
                  <a:pt x="24" y="26"/>
                </a:cubicBezTo>
                <a:cubicBezTo>
                  <a:pt x="24" y="26"/>
                  <a:pt x="24" y="25"/>
                  <a:pt x="24" y="25"/>
                </a:cubicBezTo>
                <a:cubicBezTo>
                  <a:pt x="24" y="25"/>
                  <a:pt x="25" y="25"/>
                  <a:pt x="25" y="25"/>
                </a:cubicBezTo>
                <a:cubicBezTo>
                  <a:pt x="25" y="24"/>
                  <a:pt x="26" y="25"/>
                  <a:pt x="26" y="25"/>
                </a:cubicBezTo>
                <a:cubicBezTo>
                  <a:pt x="26" y="23"/>
                  <a:pt x="25" y="19"/>
                  <a:pt x="25" y="19"/>
                </a:cubicBezTo>
                <a:cubicBezTo>
                  <a:pt x="25" y="19"/>
                  <a:pt x="24" y="17"/>
                  <a:pt x="24" y="17"/>
                </a:cubicBezTo>
                <a:close/>
                <a:moveTo>
                  <a:pt x="17" y="6"/>
                </a:moveTo>
                <a:cubicBezTo>
                  <a:pt x="17" y="6"/>
                  <a:pt x="16" y="5"/>
                  <a:pt x="16" y="4"/>
                </a:cubicBezTo>
                <a:cubicBezTo>
                  <a:pt x="16" y="4"/>
                  <a:pt x="16" y="0"/>
                  <a:pt x="16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2"/>
                  <a:pt x="0" y="32"/>
                  <a:pt x="0" y="32"/>
                </a:cubicBezTo>
                <a:cubicBezTo>
                  <a:pt x="1" y="32"/>
                  <a:pt x="2" y="32"/>
                  <a:pt x="3" y="32"/>
                </a:cubicBezTo>
                <a:cubicBezTo>
                  <a:pt x="3" y="32"/>
                  <a:pt x="3" y="32"/>
                  <a:pt x="4" y="32"/>
                </a:cubicBezTo>
                <a:cubicBezTo>
                  <a:pt x="4" y="31"/>
                  <a:pt x="4" y="31"/>
                  <a:pt x="4" y="31"/>
                </a:cubicBezTo>
                <a:cubicBezTo>
                  <a:pt x="5" y="31"/>
                  <a:pt x="6" y="31"/>
                  <a:pt x="6" y="31"/>
                </a:cubicBezTo>
                <a:cubicBezTo>
                  <a:pt x="6" y="31"/>
                  <a:pt x="7" y="31"/>
                  <a:pt x="7" y="31"/>
                </a:cubicBezTo>
                <a:cubicBezTo>
                  <a:pt x="7" y="31"/>
                  <a:pt x="7" y="31"/>
                  <a:pt x="8" y="31"/>
                </a:cubicBezTo>
                <a:cubicBezTo>
                  <a:pt x="8" y="30"/>
                  <a:pt x="8" y="30"/>
                  <a:pt x="9" y="30"/>
                </a:cubicBezTo>
                <a:cubicBezTo>
                  <a:pt x="9" y="31"/>
                  <a:pt x="10" y="31"/>
                  <a:pt x="10" y="31"/>
                </a:cubicBezTo>
                <a:cubicBezTo>
                  <a:pt x="11" y="31"/>
                  <a:pt x="11" y="31"/>
                  <a:pt x="12" y="30"/>
                </a:cubicBezTo>
                <a:cubicBezTo>
                  <a:pt x="12" y="30"/>
                  <a:pt x="12" y="30"/>
                  <a:pt x="12" y="30"/>
                </a:cubicBezTo>
                <a:cubicBezTo>
                  <a:pt x="12" y="30"/>
                  <a:pt x="12" y="29"/>
                  <a:pt x="13" y="29"/>
                </a:cubicBezTo>
                <a:cubicBezTo>
                  <a:pt x="13" y="29"/>
                  <a:pt x="13" y="29"/>
                  <a:pt x="14" y="28"/>
                </a:cubicBezTo>
                <a:cubicBezTo>
                  <a:pt x="14" y="28"/>
                  <a:pt x="14" y="27"/>
                  <a:pt x="14" y="27"/>
                </a:cubicBezTo>
                <a:cubicBezTo>
                  <a:pt x="14" y="27"/>
                  <a:pt x="14" y="26"/>
                  <a:pt x="14" y="25"/>
                </a:cubicBezTo>
                <a:cubicBezTo>
                  <a:pt x="14" y="25"/>
                  <a:pt x="14" y="25"/>
                  <a:pt x="14" y="25"/>
                </a:cubicBezTo>
                <a:cubicBezTo>
                  <a:pt x="14" y="25"/>
                  <a:pt x="14" y="25"/>
                  <a:pt x="15" y="24"/>
                </a:cubicBezTo>
                <a:cubicBezTo>
                  <a:pt x="15" y="24"/>
                  <a:pt x="15" y="24"/>
                  <a:pt x="15" y="23"/>
                </a:cubicBezTo>
                <a:cubicBezTo>
                  <a:pt x="15" y="23"/>
                  <a:pt x="15" y="23"/>
                  <a:pt x="15" y="22"/>
                </a:cubicBezTo>
                <a:cubicBezTo>
                  <a:pt x="15" y="22"/>
                  <a:pt x="15" y="22"/>
                  <a:pt x="15" y="21"/>
                </a:cubicBezTo>
                <a:cubicBezTo>
                  <a:pt x="16" y="21"/>
                  <a:pt x="16" y="21"/>
                  <a:pt x="16" y="21"/>
                </a:cubicBezTo>
                <a:cubicBezTo>
                  <a:pt x="16" y="20"/>
                  <a:pt x="16" y="20"/>
                  <a:pt x="15" y="20"/>
                </a:cubicBezTo>
                <a:cubicBezTo>
                  <a:pt x="15" y="20"/>
                  <a:pt x="15" y="20"/>
                  <a:pt x="15" y="19"/>
                </a:cubicBezTo>
                <a:cubicBezTo>
                  <a:pt x="15" y="19"/>
                  <a:pt x="15" y="19"/>
                  <a:pt x="15" y="19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7"/>
                  <a:pt x="14" y="17"/>
                  <a:pt x="14" y="17"/>
                </a:cubicBezTo>
                <a:cubicBezTo>
                  <a:pt x="14" y="17"/>
                  <a:pt x="15" y="17"/>
                  <a:pt x="15" y="17"/>
                </a:cubicBezTo>
                <a:cubicBezTo>
                  <a:pt x="15" y="17"/>
                  <a:pt x="15" y="17"/>
                  <a:pt x="16" y="17"/>
                </a:cubicBezTo>
                <a:cubicBezTo>
                  <a:pt x="16" y="17"/>
                  <a:pt x="16" y="17"/>
                  <a:pt x="16" y="17"/>
                </a:cubicBezTo>
                <a:cubicBezTo>
                  <a:pt x="16" y="16"/>
                  <a:pt x="16" y="16"/>
                  <a:pt x="16" y="16"/>
                </a:cubicBezTo>
                <a:cubicBezTo>
                  <a:pt x="16" y="15"/>
                  <a:pt x="16" y="15"/>
                  <a:pt x="16" y="14"/>
                </a:cubicBezTo>
                <a:cubicBezTo>
                  <a:pt x="16" y="14"/>
                  <a:pt x="16" y="13"/>
                  <a:pt x="16" y="12"/>
                </a:cubicBezTo>
                <a:cubicBezTo>
                  <a:pt x="16" y="12"/>
                  <a:pt x="16" y="12"/>
                  <a:pt x="16" y="11"/>
                </a:cubicBezTo>
                <a:cubicBezTo>
                  <a:pt x="16" y="11"/>
                  <a:pt x="16" y="11"/>
                  <a:pt x="17" y="11"/>
                </a:cubicBezTo>
                <a:cubicBezTo>
                  <a:pt x="17" y="11"/>
                  <a:pt x="17" y="11"/>
                  <a:pt x="17" y="11"/>
                </a:cubicBezTo>
                <a:cubicBezTo>
                  <a:pt x="17" y="11"/>
                  <a:pt x="17" y="12"/>
                  <a:pt x="17" y="12"/>
                </a:cubicBezTo>
                <a:cubicBezTo>
                  <a:pt x="17" y="12"/>
                  <a:pt x="17" y="12"/>
                  <a:pt x="18" y="12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3"/>
                  <a:pt x="19" y="14"/>
                  <a:pt x="19" y="14"/>
                </a:cubicBezTo>
                <a:cubicBezTo>
                  <a:pt x="19" y="14"/>
                  <a:pt x="19" y="14"/>
                  <a:pt x="19" y="14"/>
                </a:cubicBezTo>
                <a:cubicBezTo>
                  <a:pt x="19" y="14"/>
                  <a:pt x="19" y="14"/>
                  <a:pt x="19" y="15"/>
                </a:cubicBezTo>
                <a:cubicBezTo>
                  <a:pt x="19" y="15"/>
                  <a:pt x="20" y="15"/>
                  <a:pt x="20" y="15"/>
                </a:cubicBezTo>
                <a:cubicBezTo>
                  <a:pt x="20" y="15"/>
                  <a:pt x="21" y="15"/>
                  <a:pt x="21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9"/>
                  <a:pt x="17" y="6"/>
                  <a:pt x="17" y="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2" name="Freeform 20">
            <a:extLst>
              <a:ext uri="{FF2B5EF4-FFF2-40B4-BE49-F238E27FC236}">
                <a16:creationId xmlns:a16="http://schemas.microsoft.com/office/drawing/2014/main" id="{A957E606-E698-4971-8AA0-17134C019E51}"/>
              </a:ext>
            </a:extLst>
          </p:cNvPr>
          <p:cNvSpPr>
            <a:spLocks/>
          </p:cNvSpPr>
          <p:nvPr/>
        </p:nvSpPr>
        <p:spPr bwMode="auto">
          <a:xfrm>
            <a:off x="10045593" y="2583071"/>
            <a:ext cx="796362" cy="459313"/>
          </a:xfrm>
          <a:custGeom>
            <a:avLst/>
            <a:gdLst>
              <a:gd name="T0" fmla="*/ 191 w 201"/>
              <a:gd name="T1" fmla="*/ 85 h 116"/>
              <a:gd name="T2" fmla="*/ 188 w 201"/>
              <a:gd name="T3" fmla="*/ 79 h 116"/>
              <a:gd name="T4" fmla="*/ 183 w 201"/>
              <a:gd name="T5" fmla="*/ 77 h 116"/>
              <a:gd name="T6" fmla="*/ 186 w 201"/>
              <a:gd name="T7" fmla="*/ 67 h 116"/>
              <a:gd name="T8" fmla="*/ 188 w 201"/>
              <a:gd name="T9" fmla="*/ 64 h 116"/>
              <a:gd name="T10" fmla="*/ 186 w 201"/>
              <a:gd name="T11" fmla="*/ 58 h 116"/>
              <a:gd name="T12" fmla="*/ 191 w 201"/>
              <a:gd name="T13" fmla="*/ 52 h 116"/>
              <a:gd name="T14" fmla="*/ 196 w 201"/>
              <a:gd name="T15" fmla="*/ 45 h 116"/>
              <a:gd name="T16" fmla="*/ 201 w 201"/>
              <a:gd name="T17" fmla="*/ 41 h 116"/>
              <a:gd name="T18" fmla="*/ 199 w 201"/>
              <a:gd name="T19" fmla="*/ 39 h 116"/>
              <a:gd name="T20" fmla="*/ 194 w 201"/>
              <a:gd name="T21" fmla="*/ 38 h 116"/>
              <a:gd name="T22" fmla="*/ 193 w 201"/>
              <a:gd name="T23" fmla="*/ 36 h 116"/>
              <a:gd name="T24" fmla="*/ 188 w 201"/>
              <a:gd name="T25" fmla="*/ 30 h 116"/>
              <a:gd name="T26" fmla="*/ 189 w 201"/>
              <a:gd name="T27" fmla="*/ 29 h 116"/>
              <a:gd name="T28" fmla="*/ 188 w 201"/>
              <a:gd name="T29" fmla="*/ 26 h 116"/>
              <a:gd name="T30" fmla="*/ 187 w 201"/>
              <a:gd name="T31" fmla="*/ 23 h 116"/>
              <a:gd name="T32" fmla="*/ 188 w 201"/>
              <a:gd name="T33" fmla="*/ 20 h 116"/>
              <a:gd name="T34" fmla="*/ 182 w 201"/>
              <a:gd name="T35" fmla="*/ 18 h 116"/>
              <a:gd name="T36" fmla="*/ 180 w 201"/>
              <a:gd name="T37" fmla="*/ 14 h 116"/>
              <a:gd name="T38" fmla="*/ 26 w 201"/>
              <a:gd name="T39" fmla="*/ 12 h 116"/>
              <a:gd name="T40" fmla="*/ 24 w 201"/>
              <a:gd name="T41" fmla="*/ 1 h 116"/>
              <a:gd name="T42" fmla="*/ 18 w 201"/>
              <a:gd name="T43" fmla="*/ 4 h 116"/>
              <a:gd name="T44" fmla="*/ 14 w 201"/>
              <a:gd name="T45" fmla="*/ 6 h 116"/>
              <a:gd name="T46" fmla="*/ 12 w 201"/>
              <a:gd name="T47" fmla="*/ 6 h 116"/>
              <a:gd name="T48" fmla="*/ 9 w 201"/>
              <a:gd name="T49" fmla="*/ 9 h 116"/>
              <a:gd name="T50" fmla="*/ 6 w 201"/>
              <a:gd name="T51" fmla="*/ 10 h 116"/>
              <a:gd name="T52" fmla="*/ 1 w 201"/>
              <a:gd name="T53" fmla="*/ 13 h 116"/>
              <a:gd name="T54" fmla="*/ 0 w 201"/>
              <a:gd name="T55" fmla="*/ 116 h 116"/>
              <a:gd name="T56" fmla="*/ 169 w 201"/>
              <a:gd name="T57" fmla="*/ 111 h 116"/>
              <a:gd name="T58" fmla="*/ 179 w 201"/>
              <a:gd name="T59" fmla="*/ 110 h 116"/>
              <a:gd name="T60" fmla="*/ 182 w 201"/>
              <a:gd name="T61" fmla="*/ 109 h 116"/>
              <a:gd name="T62" fmla="*/ 185 w 201"/>
              <a:gd name="T63" fmla="*/ 109 h 116"/>
              <a:gd name="T64" fmla="*/ 195 w 201"/>
              <a:gd name="T65" fmla="*/ 99 h 116"/>
              <a:gd name="T66" fmla="*/ 199 w 201"/>
              <a:gd name="T67" fmla="*/ 95 h 116"/>
              <a:gd name="T68" fmla="*/ 192 w 201"/>
              <a:gd name="T69" fmla="*/ 88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01" h="116">
                <a:moveTo>
                  <a:pt x="192" y="88"/>
                </a:moveTo>
                <a:cubicBezTo>
                  <a:pt x="191" y="85"/>
                  <a:pt x="191" y="85"/>
                  <a:pt x="191" y="85"/>
                </a:cubicBezTo>
                <a:cubicBezTo>
                  <a:pt x="187" y="84"/>
                  <a:pt x="187" y="84"/>
                  <a:pt x="187" y="84"/>
                </a:cubicBezTo>
                <a:cubicBezTo>
                  <a:pt x="188" y="79"/>
                  <a:pt x="188" y="79"/>
                  <a:pt x="188" y="79"/>
                </a:cubicBezTo>
                <a:cubicBezTo>
                  <a:pt x="186" y="77"/>
                  <a:pt x="186" y="77"/>
                  <a:pt x="186" y="77"/>
                </a:cubicBezTo>
                <a:cubicBezTo>
                  <a:pt x="183" y="77"/>
                  <a:pt x="183" y="77"/>
                  <a:pt x="183" y="77"/>
                </a:cubicBezTo>
                <a:cubicBezTo>
                  <a:pt x="183" y="69"/>
                  <a:pt x="183" y="69"/>
                  <a:pt x="183" y="69"/>
                </a:cubicBezTo>
                <a:cubicBezTo>
                  <a:pt x="186" y="67"/>
                  <a:pt x="186" y="67"/>
                  <a:pt x="186" y="67"/>
                </a:cubicBezTo>
                <a:cubicBezTo>
                  <a:pt x="187" y="65"/>
                  <a:pt x="187" y="65"/>
                  <a:pt x="187" y="65"/>
                </a:cubicBezTo>
                <a:cubicBezTo>
                  <a:pt x="188" y="64"/>
                  <a:pt x="188" y="64"/>
                  <a:pt x="188" y="64"/>
                </a:cubicBezTo>
                <a:cubicBezTo>
                  <a:pt x="186" y="61"/>
                  <a:pt x="186" y="61"/>
                  <a:pt x="186" y="61"/>
                </a:cubicBezTo>
                <a:cubicBezTo>
                  <a:pt x="186" y="58"/>
                  <a:pt x="186" y="58"/>
                  <a:pt x="186" y="58"/>
                </a:cubicBezTo>
                <a:cubicBezTo>
                  <a:pt x="191" y="54"/>
                  <a:pt x="191" y="54"/>
                  <a:pt x="191" y="54"/>
                </a:cubicBezTo>
                <a:cubicBezTo>
                  <a:pt x="191" y="52"/>
                  <a:pt x="191" y="52"/>
                  <a:pt x="191" y="52"/>
                </a:cubicBezTo>
                <a:cubicBezTo>
                  <a:pt x="194" y="50"/>
                  <a:pt x="194" y="50"/>
                  <a:pt x="194" y="50"/>
                </a:cubicBezTo>
                <a:cubicBezTo>
                  <a:pt x="196" y="45"/>
                  <a:pt x="196" y="45"/>
                  <a:pt x="196" y="45"/>
                </a:cubicBezTo>
                <a:cubicBezTo>
                  <a:pt x="197" y="43"/>
                  <a:pt x="197" y="43"/>
                  <a:pt x="197" y="43"/>
                </a:cubicBezTo>
                <a:cubicBezTo>
                  <a:pt x="201" y="41"/>
                  <a:pt x="201" y="41"/>
                  <a:pt x="201" y="41"/>
                </a:cubicBezTo>
                <a:cubicBezTo>
                  <a:pt x="200" y="41"/>
                  <a:pt x="200" y="41"/>
                  <a:pt x="200" y="41"/>
                </a:cubicBezTo>
                <a:cubicBezTo>
                  <a:pt x="200" y="41"/>
                  <a:pt x="199" y="39"/>
                  <a:pt x="199" y="39"/>
                </a:cubicBezTo>
                <a:cubicBezTo>
                  <a:pt x="199" y="38"/>
                  <a:pt x="198" y="38"/>
                  <a:pt x="198" y="38"/>
                </a:cubicBezTo>
                <a:cubicBezTo>
                  <a:pt x="197" y="38"/>
                  <a:pt x="195" y="38"/>
                  <a:pt x="194" y="38"/>
                </a:cubicBezTo>
                <a:cubicBezTo>
                  <a:pt x="193" y="38"/>
                  <a:pt x="193" y="37"/>
                  <a:pt x="193" y="37"/>
                </a:cubicBezTo>
                <a:cubicBezTo>
                  <a:pt x="193" y="37"/>
                  <a:pt x="193" y="36"/>
                  <a:pt x="193" y="36"/>
                </a:cubicBezTo>
                <a:cubicBezTo>
                  <a:pt x="192" y="36"/>
                  <a:pt x="191" y="36"/>
                  <a:pt x="190" y="36"/>
                </a:cubicBezTo>
                <a:cubicBezTo>
                  <a:pt x="190" y="36"/>
                  <a:pt x="188" y="30"/>
                  <a:pt x="188" y="30"/>
                </a:cubicBezTo>
                <a:cubicBezTo>
                  <a:pt x="188" y="30"/>
                  <a:pt x="188" y="30"/>
                  <a:pt x="188" y="30"/>
                </a:cubicBezTo>
                <a:cubicBezTo>
                  <a:pt x="189" y="30"/>
                  <a:pt x="189" y="29"/>
                  <a:pt x="189" y="29"/>
                </a:cubicBezTo>
                <a:cubicBezTo>
                  <a:pt x="189" y="29"/>
                  <a:pt x="188" y="28"/>
                  <a:pt x="188" y="27"/>
                </a:cubicBezTo>
                <a:cubicBezTo>
                  <a:pt x="188" y="27"/>
                  <a:pt x="188" y="26"/>
                  <a:pt x="188" y="26"/>
                </a:cubicBezTo>
                <a:cubicBezTo>
                  <a:pt x="188" y="26"/>
                  <a:pt x="188" y="24"/>
                  <a:pt x="188" y="24"/>
                </a:cubicBezTo>
                <a:cubicBezTo>
                  <a:pt x="188" y="23"/>
                  <a:pt x="187" y="23"/>
                  <a:pt x="187" y="23"/>
                </a:cubicBezTo>
                <a:cubicBezTo>
                  <a:pt x="187" y="22"/>
                  <a:pt x="187" y="22"/>
                  <a:pt x="187" y="22"/>
                </a:cubicBezTo>
                <a:cubicBezTo>
                  <a:pt x="187" y="22"/>
                  <a:pt x="188" y="20"/>
                  <a:pt x="188" y="20"/>
                </a:cubicBezTo>
                <a:cubicBezTo>
                  <a:pt x="188" y="20"/>
                  <a:pt x="184" y="18"/>
                  <a:pt x="184" y="18"/>
                </a:cubicBezTo>
                <a:cubicBezTo>
                  <a:pt x="184" y="17"/>
                  <a:pt x="183" y="18"/>
                  <a:pt x="182" y="18"/>
                </a:cubicBezTo>
                <a:cubicBezTo>
                  <a:pt x="182" y="18"/>
                  <a:pt x="181" y="18"/>
                  <a:pt x="181" y="18"/>
                </a:cubicBezTo>
                <a:cubicBezTo>
                  <a:pt x="181" y="18"/>
                  <a:pt x="180" y="15"/>
                  <a:pt x="180" y="14"/>
                </a:cubicBezTo>
                <a:cubicBezTo>
                  <a:pt x="180" y="14"/>
                  <a:pt x="178" y="12"/>
                  <a:pt x="178" y="12"/>
                </a:cubicBezTo>
                <a:cubicBezTo>
                  <a:pt x="26" y="12"/>
                  <a:pt x="26" y="12"/>
                  <a:pt x="26" y="12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1"/>
                  <a:pt x="24" y="1"/>
                </a:cubicBezTo>
                <a:cubicBezTo>
                  <a:pt x="23" y="1"/>
                  <a:pt x="23" y="2"/>
                  <a:pt x="22" y="2"/>
                </a:cubicBezTo>
                <a:cubicBezTo>
                  <a:pt x="20" y="3"/>
                  <a:pt x="19" y="3"/>
                  <a:pt x="18" y="4"/>
                </a:cubicBezTo>
                <a:cubicBezTo>
                  <a:pt x="17" y="5"/>
                  <a:pt x="16" y="5"/>
                  <a:pt x="15" y="6"/>
                </a:cubicBezTo>
                <a:cubicBezTo>
                  <a:pt x="15" y="6"/>
                  <a:pt x="14" y="6"/>
                  <a:pt x="14" y="6"/>
                </a:cubicBezTo>
                <a:cubicBezTo>
                  <a:pt x="13" y="6"/>
                  <a:pt x="14" y="5"/>
                  <a:pt x="14" y="5"/>
                </a:cubicBezTo>
                <a:cubicBezTo>
                  <a:pt x="13" y="5"/>
                  <a:pt x="12" y="6"/>
                  <a:pt x="12" y="6"/>
                </a:cubicBezTo>
                <a:cubicBezTo>
                  <a:pt x="11" y="7"/>
                  <a:pt x="11" y="7"/>
                  <a:pt x="11" y="7"/>
                </a:cubicBezTo>
                <a:cubicBezTo>
                  <a:pt x="10" y="8"/>
                  <a:pt x="10" y="8"/>
                  <a:pt x="9" y="9"/>
                </a:cubicBezTo>
                <a:cubicBezTo>
                  <a:pt x="9" y="9"/>
                  <a:pt x="8" y="9"/>
                  <a:pt x="8" y="10"/>
                </a:cubicBezTo>
                <a:cubicBezTo>
                  <a:pt x="7" y="10"/>
                  <a:pt x="7" y="10"/>
                  <a:pt x="6" y="10"/>
                </a:cubicBezTo>
                <a:cubicBezTo>
                  <a:pt x="5" y="11"/>
                  <a:pt x="5" y="11"/>
                  <a:pt x="4" y="12"/>
                </a:cubicBezTo>
                <a:cubicBezTo>
                  <a:pt x="3" y="12"/>
                  <a:pt x="2" y="13"/>
                  <a:pt x="1" y="13"/>
                </a:cubicBezTo>
                <a:cubicBezTo>
                  <a:pt x="1" y="13"/>
                  <a:pt x="0" y="13"/>
                  <a:pt x="0" y="14"/>
                </a:cubicBezTo>
                <a:cubicBezTo>
                  <a:pt x="0" y="116"/>
                  <a:pt x="0" y="116"/>
                  <a:pt x="0" y="116"/>
                </a:cubicBezTo>
                <a:cubicBezTo>
                  <a:pt x="163" y="116"/>
                  <a:pt x="163" y="116"/>
                  <a:pt x="163" y="116"/>
                </a:cubicBezTo>
                <a:cubicBezTo>
                  <a:pt x="169" y="111"/>
                  <a:pt x="169" y="111"/>
                  <a:pt x="169" y="111"/>
                </a:cubicBezTo>
                <a:cubicBezTo>
                  <a:pt x="176" y="112"/>
                  <a:pt x="176" y="112"/>
                  <a:pt x="176" y="112"/>
                </a:cubicBezTo>
                <a:cubicBezTo>
                  <a:pt x="176" y="111"/>
                  <a:pt x="178" y="110"/>
                  <a:pt x="179" y="110"/>
                </a:cubicBezTo>
                <a:cubicBezTo>
                  <a:pt x="179" y="110"/>
                  <a:pt x="180" y="110"/>
                  <a:pt x="180" y="110"/>
                </a:cubicBezTo>
                <a:cubicBezTo>
                  <a:pt x="181" y="110"/>
                  <a:pt x="182" y="109"/>
                  <a:pt x="182" y="109"/>
                </a:cubicBezTo>
                <a:cubicBezTo>
                  <a:pt x="183" y="109"/>
                  <a:pt x="183" y="109"/>
                  <a:pt x="184" y="108"/>
                </a:cubicBezTo>
                <a:cubicBezTo>
                  <a:pt x="184" y="108"/>
                  <a:pt x="185" y="108"/>
                  <a:pt x="185" y="109"/>
                </a:cubicBezTo>
                <a:cubicBezTo>
                  <a:pt x="185" y="105"/>
                  <a:pt x="185" y="105"/>
                  <a:pt x="185" y="105"/>
                </a:cubicBezTo>
                <a:cubicBezTo>
                  <a:pt x="195" y="99"/>
                  <a:pt x="195" y="99"/>
                  <a:pt x="195" y="99"/>
                </a:cubicBezTo>
                <a:cubicBezTo>
                  <a:pt x="198" y="98"/>
                  <a:pt x="198" y="98"/>
                  <a:pt x="198" y="98"/>
                </a:cubicBezTo>
                <a:cubicBezTo>
                  <a:pt x="199" y="95"/>
                  <a:pt x="199" y="95"/>
                  <a:pt x="199" y="95"/>
                </a:cubicBezTo>
                <a:cubicBezTo>
                  <a:pt x="198" y="94"/>
                  <a:pt x="198" y="94"/>
                  <a:pt x="198" y="94"/>
                </a:cubicBezTo>
                <a:lnTo>
                  <a:pt x="192" y="88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" name="Freeform 21">
            <a:extLst>
              <a:ext uri="{FF2B5EF4-FFF2-40B4-BE49-F238E27FC236}">
                <a16:creationId xmlns:a16="http://schemas.microsoft.com/office/drawing/2014/main" id="{F43CCDD4-8D71-496F-A239-6030AAE1C38A}"/>
              </a:ext>
            </a:extLst>
          </p:cNvPr>
          <p:cNvSpPr>
            <a:spLocks/>
          </p:cNvSpPr>
          <p:nvPr/>
        </p:nvSpPr>
        <p:spPr bwMode="auto">
          <a:xfrm>
            <a:off x="4020006" y="1826361"/>
            <a:ext cx="1105325" cy="804623"/>
          </a:xfrm>
          <a:custGeom>
            <a:avLst/>
            <a:gdLst>
              <a:gd name="T0" fmla="*/ 262 w 279"/>
              <a:gd name="T1" fmla="*/ 99 h 203"/>
              <a:gd name="T2" fmla="*/ 254 w 279"/>
              <a:gd name="T3" fmla="*/ 94 h 203"/>
              <a:gd name="T4" fmla="*/ 253 w 279"/>
              <a:gd name="T5" fmla="*/ 86 h 203"/>
              <a:gd name="T6" fmla="*/ 262 w 279"/>
              <a:gd name="T7" fmla="*/ 72 h 203"/>
              <a:gd name="T8" fmla="*/ 267 w 279"/>
              <a:gd name="T9" fmla="*/ 61 h 203"/>
              <a:gd name="T10" fmla="*/ 277 w 279"/>
              <a:gd name="T11" fmla="*/ 36 h 203"/>
              <a:gd name="T12" fmla="*/ 277 w 279"/>
              <a:gd name="T13" fmla="*/ 23 h 203"/>
              <a:gd name="T14" fmla="*/ 191 w 279"/>
              <a:gd name="T15" fmla="*/ 11 h 203"/>
              <a:gd name="T16" fmla="*/ 181 w 279"/>
              <a:gd name="T17" fmla="*/ 14 h 203"/>
              <a:gd name="T18" fmla="*/ 173 w 279"/>
              <a:gd name="T19" fmla="*/ 15 h 203"/>
              <a:gd name="T20" fmla="*/ 165 w 279"/>
              <a:gd name="T21" fmla="*/ 19 h 203"/>
              <a:gd name="T22" fmla="*/ 151 w 279"/>
              <a:gd name="T23" fmla="*/ 24 h 203"/>
              <a:gd name="T24" fmla="*/ 137 w 279"/>
              <a:gd name="T25" fmla="*/ 24 h 203"/>
              <a:gd name="T26" fmla="*/ 124 w 279"/>
              <a:gd name="T27" fmla="*/ 28 h 203"/>
              <a:gd name="T28" fmla="*/ 115 w 279"/>
              <a:gd name="T29" fmla="*/ 28 h 203"/>
              <a:gd name="T30" fmla="*/ 109 w 279"/>
              <a:gd name="T31" fmla="*/ 26 h 203"/>
              <a:gd name="T32" fmla="*/ 101 w 279"/>
              <a:gd name="T33" fmla="*/ 26 h 203"/>
              <a:gd name="T34" fmla="*/ 84 w 279"/>
              <a:gd name="T35" fmla="*/ 32 h 203"/>
              <a:gd name="T36" fmla="*/ 69 w 279"/>
              <a:gd name="T37" fmla="*/ 32 h 203"/>
              <a:gd name="T38" fmla="*/ 59 w 279"/>
              <a:gd name="T39" fmla="*/ 12 h 203"/>
              <a:gd name="T40" fmla="*/ 49 w 279"/>
              <a:gd name="T41" fmla="*/ 2 h 203"/>
              <a:gd name="T42" fmla="*/ 40 w 279"/>
              <a:gd name="T43" fmla="*/ 3 h 203"/>
              <a:gd name="T44" fmla="*/ 35 w 279"/>
              <a:gd name="T45" fmla="*/ 1 h 203"/>
              <a:gd name="T46" fmla="*/ 29 w 279"/>
              <a:gd name="T47" fmla="*/ 2 h 203"/>
              <a:gd name="T48" fmla="*/ 24 w 279"/>
              <a:gd name="T49" fmla="*/ 2 h 203"/>
              <a:gd name="T50" fmla="*/ 21 w 279"/>
              <a:gd name="T51" fmla="*/ 6 h 203"/>
              <a:gd name="T52" fmla="*/ 21 w 279"/>
              <a:gd name="T53" fmla="*/ 22 h 203"/>
              <a:gd name="T54" fmla="*/ 22 w 279"/>
              <a:gd name="T55" fmla="*/ 32 h 203"/>
              <a:gd name="T56" fmla="*/ 21 w 279"/>
              <a:gd name="T57" fmla="*/ 37 h 203"/>
              <a:gd name="T58" fmla="*/ 20 w 279"/>
              <a:gd name="T59" fmla="*/ 53 h 203"/>
              <a:gd name="T60" fmla="*/ 19 w 279"/>
              <a:gd name="T61" fmla="*/ 62 h 203"/>
              <a:gd name="T62" fmla="*/ 17 w 279"/>
              <a:gd name="T63" fmla="*/ 81 h 203"/>
              <a:gd name="T64" fmla="*/ 17 w 279"/>
              <a:gd name="T65" fmla="*/ 87 h 203"/>
              <a:gd name="T66" fmla="*/ 16 w 279"/>
              <a:gd name="T67" fmla="*/ 101 h 203"/>
              <a:gd name="T68" fmla="*/ 15 w 279"/>
              <a:gd name="T69" fmla="*/ 108 h 203"/>
              <a:gd name="T70" fmla="*/ 14 w 279"/>
              <a:gd name="T71" fmla="*/ 118 h 203"/>
              <a:gd name="T72" fmla="*/ 15 w 279"/>
              <a:gd name="T73" fmla="*/ 122 h 203"/>
              <a:gd name="T74" fmla="*/ 13 w 279"/>
              <a:gd name="T75" fmla="*/ 124 h 203"/>
              <a:gd name="T76" fmla="*/ 11 w 279"/>
              <a:gd name="T77" fmla="*/ 133 h 203"/>
              <a:gd name="T78" fmla="*/ 7 w 279"/>
              <a:gd name="T79" fmla="*/ 141 h 203"/>
              <a:gd name="T80" fmla="*/ 6 w 279"/>
              <a:gd name="T81" fmla="*/ 144 h 203"/>
              <a:gd name="T82" fmla="*/ 5 w 279"/>
              <a:gd name="T83" fmla="*/ 151 h 203"/>
              <a:gd name="T84" fmla="*/ 3 w 279"/>
              <a:gd name="T85" fmla="*/ 156 h 203"/>
              <a:gd name="T86" fmla="*/ 4 w 279"/>
              <a:gd name="T87" fmla="*/ 160 h 203"/>
              <a:gd name="T88" fmla="*/ 6 w 279"/>
              <a:gd name="T89" fmla="*/ 161 h 203"/>
              <a:gd name="T90" fmla="*/ 0 w 279"/>
              <a:gd name="T91" fmla="*/ 164 h 203"/>
              <a:gd name="T92" fmla="*/ 3 w 279"/>
              <a:gd name="T93" fmla="*/ 170 h 203"/>
              <a:gd name="T94" fmla="*/ 6 w 279"/>
              <a:gd name="T95" fmla="*/ 176 h 203"/>
              <a:gd name="T96" fmla="*/ 5 w 279"/>
              <a:gd name="T97" fmla="*/ 180 h 203"/>
              <a:gd name="T98" fmla="*/ 7 w 279"/>
              <a:gd name="T99" fmla="*/ 196 h 203"/>
              <a:gd name="T100" fmla="*/ 9 w 279"/>
              <a:gd name="T101" fmla="*/ 200 h 203"/>
              <a:gd name="T102" fmla="*/ 260 w 279"/>
              <a:gd name="T103" fmla="*/ 203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79" h="203">
                <a:moveTo>
                  <a:pt x="262" y="113"/>
                </a:moveTo>
                <a:cubicBezTo>
                  <a:pt x="262" y="111"/>
                  <a:pt x="263" y="110"/>
                  <a:pt x="263" y="109"/>
                </a:cubicBezTo>
                <a:cubicBezTo>
                  <a:pt x="263" y="107"/>
                  <a:pt x="261" y="106"/>
                  <a:pt x="262" y="104"/>
                </a:cubicBezTo>
                <a:cubicBezTo>
                  <a:pt x="263" y="104"/>
                  <a:pt x="265" y="101"/>
                  <a:pt x="264" y="100"/>
                </a:cubicBezTo>
                <a:cubicBezTo>
                  <a:pt x="263" y="100"/>
                  <a:pt x="262" y="100"/>
                  <a:pt x="262" y="99"/>
                </a:cubicBezTo>
                <a:cubicBezTo>
                  <a:pt x="262" y="99"/>
                  <a:pt x="262" y="97"/>
                  <a:pt x="262" y="97"/>
                </a:cubicBezTo>
                <a:cubicBezTo>
                  <a:pt x="261" y="96"/>
                  <a:pt x="261" y="97"/>
                  <a:pt x="260" y="97"/>
                </a:cubicBezTo>
                <a:cubicBezTo>
                  <a:pt x="260" y="97"/>
                  <a:pt x="260" y="97"/>
                  <a:pt x="259" y="97"/>
                </a:cubicBezTo>
                <a:cubicBezTo>
                  <a:pt x="258" y="96"/>
                  <a:pt x="257" y="95"/>
                  <a:pt x="256" y="95"/>
                </a:cubicBezTo>
                <a:cubicBezTo>
                  <a:pt x="256" y="96"/>
                  <a:pt x="254" y="95"/>
                  <a:pt x="254" y="94"/>
                </a:cubicBezTo>
                <a:cubicBezTo>
                  <a:pt x="254" y="94"/>
                  <a:pt x="254" y="93"/>
                  <a:pt x="254" y="93"/>
                </a:cubicBezTo>
                <a:cubicBezTo>
                  <a:pt x="254" y="92"/>
                  <a:pt x="254" y="91"/>
                  <a:pt x="253" y="91"/>
                </a:cubicBezTo>
                <a:cubicBezTo>
                  <a:pt x="253" y="90"/>
                  <a:pt x="252" y="90"/>
                  <a:pt x="252" y="90"/>
                </a:cubicBezTo>
                <a:cubicBezTo>
                  <a:pt x="252" y="89"/>
                  <a:pt x="253" y="89"/>
                  <a:pt x="253" y="89"/>
                </a:cubicBezTo>
                <a:cubicBezTo>
                  <a:pt x="254" y="88"/>
                  <a:pt x="253" y="87"/>
                  <a:pt x="253" y="86"/>
                </a:cubicBezTo>
                <a:cubicBezTo>
                  <a:pt x="254" y="84"/>
                  <a:pt x="255" y="84"/>
                  <a:pt x="256" y="82"/>
                </a:cubicBezTo>
                <a:cubicBezTo>
                  <a:pt x="257" y="81"/>
                  <a:pt x="257" y="79"/>
                  <a:pt x="257" y="78"/>
                </a:cubicBezTo>
                <a:cubicBezTo>
                  <a:pt x="258" y="77"/>
                  <a:pt x="258" y="75"/>
                  <a:pt x="259" y="74"/>
                </a:cubicBezTo>
                <a:cubicBezTo>
                  <a:pt x="259" y="73"/>
                  <a:pt x="259" y="73"/>
                  <a:pt x="260" y="73"/>
                </a:cubicBezTo>
                <a:cubicBezTo>
                  <a:pt x="260" y="72"/>
                  <a:pt x="261" y="72"/>
                  <a:pt x="262" y="72"/>
                </a:cubicBezTo>
                <a:cubicBezTo>
                  <a:pt x="263" y="71"/>
                  <a:pt x="263" y="71"/>
                  <a:pt x="263" y="70"/>
                </a:cubicBezTo>
                <a:cubicBezTo>
                  <a:pt x="264" y="69"/>
                  <a:pt x="264" y="68"/>
                  <a:pt x="265" y="67"/>
                </a:cubicBezTo>
                <a:cubicBezTo>
                  <a:pt x="266" y="66"/>
                  <a:pt x="266" y="65"/>
                  <a:pt x="266" y="64"/>
                </a:cubicBezTo>
                <a:cubicBezTo>
                  <a:pt x="266" y="63"/>
                  <a:pt x="266" y="63"/>
                  <a:pt x="267" y="62"/>
                </a:cubicBezTo>
                <a:cubicBezTo>
                  <a:pt x="267" y="61"/>
                  <a:pt x="267" y="61"/>
                  <a:pt x="267" y="61"/>
                </a:cubicBezTo>
                <a:cubicBezTo>
                  <a:pt x="266" y="60"/>
                  <a:pt x="266" y="60"/>
                  <a:pt x="266" y="60"/>
                </a:cubicBezTo>
                <a:cubicBezTo>
                  <a:pt x="266" y="59"/>
                  <a:pt x="266" y="59"/>
                  <a:pt x="266" y="59"/>
                </a:cubicBezTo>
                <a:cubicBezTo>
                  <a:pt x="270" y="53"/>
                  <a:pt x="270" y="53"/>
                  <a:pt x="270" y="53"/>
                </a:cubicBezTo>
                <a:cubicBezTo>
                  <a:pt x="270" y="53"/>
                  <a:pt x="272" y="46"/>
                  <a:pt x="272" y="46"/>
                </a:cubicBezTo>
                <a:cubicBezTo>
                  <a:pt x="272" y="46"/>
                  <a:pt x="277" y="36"/>
                  <a:pt x="277" y="36"/>
                </a:cubicBezTo>
                <a:cubicBezTo>
                  <a:pt x="277" y="36"/>
                  <a:pt x="277" y="35"/>
                  <a:pt x="277" y="34"/>
                </a:cubicBezTo>
                <a:cubicBezTo>
                  <a:pt x="278" y="34"/>
                  <a:pt x="279" y="31"/>
                  <a:pt x="279" y="31"/>
                </a:cubicBezTo>
                <a:cubicBezTo>
                  <a:pt x="278" y="28"/>
                  <a:pt x="278" y="28"/>
                  <a:pt x="278" y="28"/>
                </a:cubicBezTo>
                <a:cubicBezTo>
                  <a:pt x="278" y="28"/>
                  <a:pt x="277" y="26"/>
                  <a:pt x="277" y="26"/>
                </a:cubicBezTo>
                <a:cubicBezTo>
                  <a:pt x="277" y="25"/>
                  <a:pt x="277" y="23"/>
                  <a:pt x="277" y="23"/>
                </a:cubicBezTo>
                <a:cubicBezTo>
                  <a:pt x="277" y="23"/>
                  <a:pt x="273" y="21"/>
                  <a:pt x="273" y="21"/>
                </a:cubicBezTo>
                <a:cubicBezTo>
                  <a:pt x="272" y="21"/>
                  <a:pt x="269" y="19"/>
                  <a:pt x="269" y="19"/>
                </a:cubicBezTo>
                <a:cubicBezTo>
                  <a:pt x="264" y="11"/>
                  <a:pt x="264" y="11"/>
                  <a:pt x="264" y="11"/>
                </a:cubicBezTo>
                <a:cubicBezTo>
                  <a:pt x="193" y="11"/>
                  <a:pt x="193" y="11"/>
                  <a:pt x="193" y="11"/>
                </a:cubicBezTo>
                <a:cubicBezTo>
                  <a:pt x="192" y="11"/>
                  <a:pt x="192" y="11"/>
                  <a:pt x="191" y="11"/>
                </a:cubicBezTo>
                <a:cubicBezTo>
                  <a:pt x="191" y="12"/>
                  <a:pt x="190" y="12"/>
                  <a:pt x="190" y="12"/>
                </a:cubicBezTo>
                <a:cubicBezTo>
                  <a:pt x="189" y="13"/>
                  <a:pt x="189" y="13"/>
                  <a:pt x="188" y="14"/>
                </a:cubicBezTo>
                <a:cubicBezTo>
                  <a:pt x="187" y="14"/>
                  <a:pt x="187" y="14"/>
                  <a:pt x="186" y="14"/>
                </a:cubicBezTo>
                <a:cubicBezTo>
                  <a:pt x="185" y="14"/>
                  <a:pt x="183" y="14"/>
                  <a:pt x="182" y="14"/>
                </a:cubicBezTo>
                <a:cubicBezTo>
                  <a:pt x="182" y="14"/>
                  <a:pt x="181" y="14"/>
                  <a:pt x="181" y="14"/>
                </a:cubicBezTo>
                <a:cubicBezTo>
                  <a:pt x="181" y="14"/>
                  <a:pt x="180" y="14"/>
                  <a:pt x="180" y="14"/>
                </a:cubicBezTo>
                <a:cubicBezTo>
                  <a:pt x="179" y="15"/>
                  <a:pt x="179" y="15"/>
                  <a:pt x="179" y="15"/>
                </a:cubicBezTo>
                <a:cubicBezTo>
                  <a:pt x="178" y="15"/>
                  <a:pt x="177" y="15"/>
                  <a:pt x="177" y="15"/>
                </a:cubicBezTo>
                <a:cubicBezTo>
                  <a:pt x="176" y="15"/>
                  <a:pt x="176" y="16"/>
                  <a:pt x="175" y="15"/>
                </a:cubicBezTo>
                <a:cubicBezTo>
                  <a:pt x="175" y="15"/>
                  <a:pt x="174" y="15"/>
                  <a:pt x="173" y="15"/>
                </a:cubicBezTo>
                <a:cubicBezTo>
                  <a:pt x="172" y="15"/>
                  <a:pt x="171" y="15"/>
                  <a:pt x="171" y="15"/>
                </a:cubicBezTo>
                <a:cubicBezTo>
                  <a:pt x="170" y="16"/>
                  <a:pt x="170" y="16"/>
                  <a:pt x="170" y="16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168" y="18"/>
                  <a:pt x="167" y="18"/>
                  <a:pt x="166" y="19"/>
                </a:cubicBezTo>
                <a:cubicBezTo>
                  <a:pt x="166" y="19"/>
                  <a:pt x="165" y="19"/>
                  <a:pt x="165" y="19"/>
                </a:cubicBezTo>
                <a:cubicBezTo>
                  <a:pt x="164" y="19"/>
                  <a:pt x="163" y="19"/>
                  <a:pt x="163" y="19"/>
                </a:cubicBezTo>
                <a:cubicBezTo>
                  <a:pt x="162" y="19"/>
                  <a:pt x="162" y="19"/>
                  <a:pt x="162" y="19"/>
                </a:cubicBezTo>
                <a:cubicBezTo>
                  <a:pt x="161" y="20"/>
                  <a:pt x="161" y="20"/>
                  <a:pt x="160" y="20"/>
                </a:cubicBezTo>
                <a:cubicBezTo>
                  <a:pt x="159" y="20"/>
                  <a:pt x="158" y="20"/>
                  <a:pt x="157" y="21"/>
                </a:cubicBezTo>
                <a:cubicBezTo>
                  <a:pt x="155" y="21"/>
                  <a:pt x="153" y="23"/>
                  <a:pt x="151" y="24"/>
                </a:cubicBezTo>
                <a:cubicBezTo>
                  <a:pt x="150" y="25"/>
                  <a:pt x="149" y="25"/>
                  <a:pt x="148" y="25"/>
                </a:cubicBezTo>
                <a:cubicBezTo>
                  <a:pt x="147" y="26"/>
                  <a:pt x="145" y="26"/>
                  <a:pt x="144" y="26"/>
                </a:cubicBezTo>
                <a:cubicBezTo>
                  <a:pt x="143" y="26"/>
                  <a:pt x="141" y="26"/>
                  <a:pt x="140" y="26"/>
                </a:cubicBezTo>
                <a:cubicBezTo>
                  <a:pt x="139" y="25"/>
                  <a:pt x="139" y="25"/>
                  <a:pt x="138" y="25"/>
                </a:cubicBezTo>
                <a:cubicBezTo>
                  <a:pt x="138" y="24"/>
                  <a:pt x="137" y="24"/>
                  <a:pt x="137" y="24"/>
                </a:cubicBezTo>
                <a:cubicBezTo>
                  <a:pt x="136" y="24"/>
                  <a:pt x="135" y="24"/>
                  <a:pt x="135" y="24"/>
                </a:cubicBezTo>
                <a:cubicBezTo>
                  <a:pt x="134" y="25"/>
                  <a:pt x="133" y="25"/>
                  <a:pt x="133" y="25"/>
                </a:cubicBezTo>
                <a:cubicBezTo>
                  <a:pt x="132" y="26"/>
                  <a:pt x="131" y="26"/>
                  <a:pt x="130" y="27"/>
                </a:cubicBezTo>
                <a:cubicBezTo>
                  <a:pt x="129" y="28"/>
                  <a:pt x="128" y="28"/>
                  <a:pt x="127" y="29"/>
                </a:cubicBezTo>
                <a:cubicBezTo>
                  <a:pt x="126" y="29"/>
                  <a:pt x="125" y="28"/>
                  <a:pt x="124" y="28"/>
                </a:cubicBezTo>
                <a:cubicBezTo>
                  <a:pt x="123" y="28"/>
                  <a:pt x="122" y="28"/>
                  <a:pt x="122" y="28"/>
                </a:cubicBezTo>
                <a:cubicBezTo>
                  <a:pt x="121" y="28"/>
                  <a:pt x="120" y="28"/>
                  <a:pt x="120" y="29"/>
                </a:cubicBezTo>
                <a:cubicBezTo>
                  <a:pt x="119" y="29"/>
                  <a:pt x="119" y="30"/>
                  <a:pt x="118" y="30"/>
                </a:cubicBezTo>
                <a:cubicBezTo>
                  <a:pt x="118" y="31"/>
                  <a:pt x="117" y="31"/>
                  <a:pt x="116" y="30"/>
                </a:cubicBezTo>
                <a:cubicBezTo>
                  <a:pt x="115" y="30"/>
                  <a:pt x="116" y="29"/>
                  <a:pt x="115" y="28"/>
                </a:cubicBezTo>
                <a:cubicBezTo>
                  <a:pt x="115" y="28"/>
                  <a:pt x="115" y="28"/>
                  <a:pt x="115" y="27"/>
                </a:cubicBezTo>
                <a:cubicBezTo>
                  <a:pt x="114" y="27"/>
                  <a:pt x="114" y="27"/>
                  <a:pt x="113" y="27"/>
                </a:cubicBezTo>
                <a:cubicBezTo>
                  <a:pt x="112" y="26"/>
                  <a:pt x="112" y="26"/>
                  <a:pt x="111" y="26"/>
                </a:cubicBezTo>
                <a:cubicBezTo>
                  <a:pt x="111" y="26"/>
                  <a:pt x="110" y="26"/>
                  <a:pt x="110" y="26"/>
                </a:cubicBezTo>
                <a:cubicBezTo>
                  <a:pt x="110" y="26"/>
                  <a:pt x="109" y="26"/>
                  <a:pt x="109" y="26"/>
                </a:cubicBezTo>
                <a:cubicBezTo>
                  <a:pt x="108" y="26"/>
                  <a:pt x="108" y="26"/>
                  <a:pt x="107" y="26"/>
                </a:cubicBezTo>
                <a:cubicBezTo>
                  <a:pt x="107" y="26"/>
                  <a:pt x="107" y="26"/>
                  <a:pt x="106" y="25"/>
                </a:cubicBezTo>
                <a:cubicBezTo>
                  <a:pt x="105" y="25"/>
                  <a:pt x="104" y="25"/>
                  <a:pt x="103" y="25"/>
                </a:cubicBezTo>
                <a:cubicBezTo>
                  <a:pt x="103" y="25"/>
                  <a:pt x="102" y="25"/>
                  <a:pt x="102" y="25"/>
                </a:cubicBezTo>
                <a:cubicBezTo>
                  <a:pt x="102" y="26"/>
                  <a:pt x="101" y="26"/>
                  <a:pt x="101" y="26"/>
                </a:cubicBezTo>
                <a:cubicBezTo>
                  <a:pt x="100" y="27"/>
                  <a:pt x="98" y="26"/>
                  <a:pt x="96" y="26"/>
                </a:cubicBezTo>
                <a:cubicBezTo>
                  <a:pt x="96" y="26"/>
                  <a:pt x="95" y="26"/>
                  <a:pt x="95" y="26"/>
                </a:cubicBezTo>
                <a:cubicBezTo>
                  <a:pt x="94" y="26"/>
                  <a:pt x="93" y="27"/>
                  <a:pt x="92" y="27"/>
                </a:cubicBezTo>
                <a:cubicBezTo>
                  <a:pt x="91" y="28"/>
                  <a:pt x="90" y="28"/>
                  <a:pt x="89" y="29"/>
                </a:cubicBezTo>
                <a:cubicBezTo>
                  <a:pt x="88" y="30"/>
                  <a:pt x="86" y="31"/>
                  <a:pt x="84" y="32"/>
                </a:cubicBezTo>
                <a:cubicBezTo>
                  <a:pt x="83" y="32"/>
                  <a:pt x="82" y="33"/>
                  <a:pt x="81" y="33"/>
                </a:cubicBezTo>
                <a:cubicBezTo>
                  <a:pt x="78" y="33"/>
                  <a:pt x="78" y="33"/>
                  <a:pt x="78" y="33"/>
                </a:cubicBezTo>
                <a:cubicBezTo>
                  <a:pt x="77" y="33"/>
                  <a:pt x="76" y="33"/>
                  <a:pt x="75" y="33"/>
                </a:cubicBezTo>
                <a:cubicBezTo>
                  <a:pt x="74" y="33"/>
                  <a:pt x="73" y="33"/>
                  <a:pt x="72" y="33"/>
                </a:cubicBezTo>
                <a:cubicBezTo>
                  <a:pt x="71" y="33"/>
                  <a:pt x="70" y="32"/>
                  <a:pt x="69" y="32"/>
                </a:cubicBezTo>
                <a:cubicBezTo>
                  <a:pt x="68" y="32"/>
                  <a:pt x="66" y="31"/>
                  <a:pt x="64" y="30"/>
                </a:cubicBezTo>
                <a:cubicBezTo>
                  <a:pt x="62" y="29"/>
                  <a:pt x="62" y="26"/>
                  <a:pt x="62" y="24"/>
                </a:cubicBezTo>
                <a:cubicBezTo>
                  <a:pt x="61" y="22"/>
                  <a:pt x="61" y="20"/>
                  <a:pt x="61" y="18"/>
                </a:cubicBezTo>
                <a:cubicBezTo>
                  <a:pt x="61" y="17"/>
                  <a:pt x="60" y="16"/>
                  <a:pt x="60" y="15"/>
                </a:cubicBezTo>
                <a:cubicBezTo>
                  <a:pt x="60" y="14"/>
                  <a:pt x="59" y="13"/>
                  <a:pt x="59" y="12"/>
                </a:cubicBezTo>
                <a:cubicBezTo>
                  <a:pt x="59" y="11"/>
                  <a:pt x="58" y="11"/>
                  <a:pt x="58" y="10"/>
                </a:cubicBezTo>
                <a:cubicBezTo>
                  <a:pt x="58" y="9"/>
                  <a:pt x="58" y="8"/>
                  <a:pt x="57" y="8"/>
                </a:cubicBezTo>
                <a:cubicBezTo>
                  <a:pt x="57" y="7"/>
                  <a:pt x="55" y="6"/>
                  <a:pt x="54" y="6"/>
                </a:cubicBezTo>
                <a:cubicBezTo>
                  <a:pt x="53" y="5"/>
                  <a:pt x="53" y="4"/>
                  <a:pt x="52" y="4"/>
                </a:cubicBezTo>
                <a:cubicBezTo>
                  <a:pt x="51" y="3"/>
                  <a:pt x="50" y="2"/>
                  <a:pt x="49" y="2"/>
                </a:cubicBezTo>
                <a:cubicBezTo>
                  <a:pt x="48" y="2"/>
                  <a:pt x="47" y="3"/>
                  <a:pt x="47" y="3"/>
                </a:cubicBezTo>
                <a:cubicBezTo>
                  <a:pt x="46" y="4"/>
                  <a:pt x="45" y="4"/>
                  <a:pt x="43" y="4"/>
                </a:cubicBezTo>
                <a:cubicBezTo>
                  <a:pt x="43" y="4"/>
                  <a:pt x="42" y="4"/>
                  <a:pt x="42" y="4"/>
                </a:cubicBezTo>
                <a:cubicBezTo>
                  <a:pt x="41" y="4"/>
                  <a:pt x="40" y="4"/>
                  <a:pt x="40" y="4"/>
                </a:cubicBezTo>
                <a:cubicBezTo>
                  <a:pt x="40" y="3"/>
                  <a:pt x="40" y="3"/>
                  <a:pt x="40" y="3"/>
                </a:cubicBezTo>
                <a:cubicBezTo>
                  <a:pt x="40" y="2"/>
                  <a:pt x="39" y="2"/>
                  <a:pt x="39" y="2"/>
                </a:cubicBezTo>
                <a:cubicBezTo>
                  <a:pt x="39" y="2"/>
                  <a:pt x="38" y="1"/>
                  <a:pt x="38" y="1"/>
                </a:cubicBezTo>
                <a:cubicBezTo>
                  <a:pt x="38" y="0"/>
                  <a:pt x="37" y="0"/>
                  <a:pt x="37" y="0"/>
                </a:cubicBezTo>
                <a:cubicBezTo>
                  <a:pt x="37" y="0"/>
                  <a:pt x="36" y="0"/>
                  <a:pt x="36" y="0"/>
                </a:cubicBezTo>
                <a:cubicBezTo>
                  <a:pt x="36" y="0"/>
                  <a:pt x="35" y="1"/>
                  <a:pt x="35" y="1"/>
                </a:cubicBezTo>
                <a:cubicBezTo>
                  <a:pt x="35" y="1"/>
                  <a:pt x="34" y="1"/>
                  <a:pt x="34" y="2"/>
                </a:cubicBezTo>
                <a:cubicBezTo>
                  <a:pt x="34" y="2"/>
                  <a:pt x="33" y="2"/>
                  <a:pt x="33" y="2"/>
                </a:cubicBezTo>
                <a:cubicBezTo>
                  <a:pt x="33" y="2"/>
                  <a:pt x="32" y="2"/>
                  <a:pt x="32" y="3"/>
                </a:cubicBezTo>
                <a:cubicBezTo>
                  <a:pt x="32" y="3"/>
                  <a:pt x="32" y="3"/>
                  <a:pt x="31" y="3"/>
                </a:cubicBezTo>
                <a:cubicBezTo>
                  <a:pt x="31" y="3"/>
                  <a:pt x="30" y="3"/>
                  <a:pt x="29" y="2"/>
                </a:cubicBezTo>
                <a:cubicBezTo>
                  <a:pt x="29" y="2"/>
                  <a:pt x="28" y="2"/>
                  <a:pt x="28" y="2"/>
                </a:cubicBezTo>
                <a:cubicBezTo>
                  <a:pt x="28" y="2"/>
                  <a:pt x="28" y="1"/>
                  <a:pt x="28" y="1"/>
                </a:cubicBezTo>
                <a:cubicBezTo>
                  <a:pt x="27" y="1"/>
                  <a:pt x="27" y="2"/>
                  <a:pt x="27" y="2"/>
                </a:cubicBezTo>
                <a:cubicBezTo>
                  <a:pt x="26" y="3"/>
                  <a:pt x="26" y="3"/>
                  <a:pt x="25" y="2"/>
                </a:cubicBezTo>
                <a:cubicBezTo>
                  <a:pt x="25" y="2"/>
                  <a:pt x="25" y="2"/>
                  <a:pt x="24" y="2"/>
                </a:cubicBezTo>
                <a:cubicBezTo>
                  <a:pt x="24" y="2"/>
                  <a:pt x="23" y="2"/>
                  <a:pt x="22" y="1"/>
                </a:cubicBezTo>
                <a:cubicBezTo>
                  <a:pt x="22" y="1"/>
                  <a:pt x="22" y="1"/>
                  <a:pt x="21" y="1"/>
                </a:cubicBezTo>
                <a:cubicBezTo>
                  <a:pt x="21" y="1"/>
                  <a:pt x="21" y="2"/>
                  <a:pt x="21" y="3"/>
                </a:cubicBezTo>
                <a:cubicBezTo>
                  <a:pt x="21" y="3"/>
                  <a:pt x="21" y="4"/>
                  <a:pt x="21" y="4"/>
                </a:cubicBezTo>
                <a:cubicBezTo>
                  <a:pt x="21" y="5"/>
                  <a:pt x="21" y="6"/>
                  <a:pt x="21" y="6"/>
                </a:cubicBezTo>
                <a:cubicBezTo>
                  <a:pt x="21" y="7"/>
                  <a:pt x="21" y="7"/>
                  <a:pt x="22" y="8"/>
                </a:cubicBezTo>
                <a:cubicBezTo>
                  <a:pt x="22" y="9"/>
                  <a:pt x="22" y="10"/>
                  <a:pt x="22" y="10"/>
                </a:cubicBezTo>
                <a:cubicBezTo>
                  <a:pt x="22" y="11"/>
                  <a:pt x="22" y="12"/>
                  <a:pt x="21" y="13"/>
                </a:cubicBezTo>
                <a:cubicBezTo>
                  <a:pt x="21" y="14"/>
                  <a:pt x="21" y="15"/>
                  <a:pt x="21" y="16"/>
                </a:cubicBezTo>
                <a:cubicBezTo>
                  <a:pt x="21" y="18"/>
                  <a:pt x="21" y="20"/>
                  <a:pt x="21" y="22"/>
                </a:cubicBezTo>
                <a:cubicBezTo>
                  <a:pt x="21" y="22"/>
                  <a:pt x="21" y="23"/>
                  <a:pt x="21" y="24"/>
                </a:cubicBezTo>
                <a:cubicBezTo>
                  <a:pt x="21" y="25"/>
                  <a:pt x="21" y="26"/>
                  <a:pt x="21" y="27"/>
                </a:cubicBezTo>
                <a:cubicBezTo>
                  <a:pt x="21" y="27"/>
                  <a:pt x="22" y="28"/>
                  <a:pt x="22" y="28"/>
                </a:cubicBezTo>
                <a:cubicBezTo>
                  <a:pt x="22" y="29"/>
                  <a:pt x="22" y="29"/>
                  <a:pt x="22" y="30"/>
                </a:cubicBezTo>
                <a:cubicBezTo>
                  <a:pt x="22" y="31"/>
                  <a:pt x="22" y="31"/>
                  <a:pt x="22" y="32"/>
                </a:cubicBezTo>
                <a:cubicBezTo>
                  <a:pt x="23" y="32"/>
                  <a:pt x="22" y="33"/>
                  <a:pt x="23" y="33"/>
                </a:cubicBezTo>
                <a:cubicBezTo>
                  <a:pt x="22" y="33"/>
                  <a:pt x="23" y="34"/>
                  <a:pt x="23" y="34"/>
                </a:cubicBezTo>
                <a:cubicBezTo>
                  <a:pt x="23" y="34"/>
                  <a:pt x="23" y="34"/>
                  <a:pt x="23" y="34"/>
                </a:cubicBezTo>
                <a:cubicBezTo>
                  <a:pt x="23" y="35"/>
                  <a:pt x="23" y="35"/>
                  <a:pt x="23" y="35"/>
                </a:cubicBezTo>
                <a:cubicBezTo>
                  <a:pt x="23" y="36"/>
                  <a:pt x="21" y="36"/>
                  <a:pt x="21" y="37"/>
                </a:cubicBezTo>
                <a:cubicBezTo>
                  <a:pt x="21" y="37"/>
                  <a:pt x="21" y="38"/>
                  <a:pt x="21" y="38"/>
                </a:cubicBezTo>
                <a:cubicBezTo>
                  <a:pt x="21" y="39"/>
                  <a:pt x="22" y="39"/>
                  <a:pt x="22" y="40"/>
                </a:cubicBezTo>
                <a:cubicBezTo>
                  <a:pt x="22" y="41"/>
                  <a:pt x="21" y="42"/>
                  <a:pt x="21" y="43"/>
                </a:cubicBezTo>
                <a:cubicBezTo>
                  <a:pt x="20" y="44"/>
                  <a:pt x="20" y="45"/>
                  <a:pt x="20" y="46"/>
                </a:cubicBezTo>
                <a:cubicBezTo>
                  <a:pt x="20" y="48"/>
                  <a:pt x="20" y="51"/>
                  <a:pt x="20" y="53"/>
                </a:cubicBezTo>
                <a:cubicBezTo>
                  <a:pt x="20" y="54"/>
                  <a:pt x="21" y="55"/>
                  <a:pt x="20" y="56"/>
                </a:cubicBezTo>
                <a:cubicBezTo>
                  <a:pt x="20" y="56"/>
                  <a:pt x="20" y="57"/>
                  <a:pt x="20" y="57"/>
                </a:cubicBezTo>
                <a:cubicBezTo>
                  <a:pt x="19" y="57"/>
                  <a:pt x="20" y="58"/>
                  <a:pt x="20" y="58"/>
                </a:cubicBezTo>
                <a:cubicBezTo>
                  <a:pt x="20" y="59"/>
                  <a:pt x="20" y="60"/>
                  <a:pt x="19" y="61"/>
                </a:cubicBezTo>
                <a:cubicBezTo>
                  <a:pt x="19" y="61"/>
                  <a:pt x="19" y="62"/>
                  <a:pt x="19" y="62"/>
                </a:cubicBezTo>
                <a:cubicBezTo>
                  <a:pt x="19" y="63"/>
                  <a:pt x="19" y="64"/>
                  <a:pt x="19" y="64"/>
                </a:cubicBezTo>
                <a:cubicBezTo>
                  <a:pt x="19" y="65"/>
                  <a:pt x="18" y="66"/>
                  <a:pt x="18" y="67"/>
                </a:cubicBezTo>
                <a:cubicBezTo>
                  <a:pt x="18" y="67"/>
                  <a:pt x="17" y="68"/>
                  <a:pt x="17" y="69"/>
                </a:cubicBezTo>
                <a:cubicBezTo>
                  <a:pt x="17" y="79"/>
                  <a:pt x="17" y="79"/>
                  <a:pt x="17" y="79"/>
                </a:cubicBezTo>
                <a:cubicBezTo>
                  <a:pt x="17" y="79"/>
                  <a:pt x="17" y="80"/>
                  <a:pt x="17" y="81"/>
                </a:cubicBezTo>
                <a:cubicBezTo>
                  <a:pt x="17" y="81"/>
                  <a:pt x="17" y="81"/>
                  <a:pt x="17" y="82"/>
                </a:cubicBezTo>
                <a:cubicBezTo>
                  <a:pt x="17" y="82"/>
                  <a:pt x="17" y="82"/>
                  <a:pt x="18" y="82"/>
                </a:cubicBezTo>
                <a:cubicBezTo>
                  <a:pt x="17" y="83"/>
                  <a:pt x="17" y="83"/>
                  <a:pt x="17" y="82"/>
                </a:cubicBezTo>
                <a:cubicBezTo>
                  <a:pt x="17" y="85"/>
                  <a:pt x="17" y="85"/>
                  <a:pt x="17" y="85"/>
                </a:cubicBezTo>
                <a:cubicBezTo>
                  <a:pt x="17" y="86"/>
                  <a:pt x="16" y="86"/>
                  <a:pt x="17" y="87"/>
                </a:cubicBezTo>
                <a:cubicBezTo>
                  <a:pt x="17" y="88"/>
                  <a:pt x="17" y="89"/>
                  <a:pt x="17" y="90"/>
                </a:cubicBezTo>
                <a:cubicBezTo>
                  <a:pt x="17" y="91"/>
                  <a:pt x="16" y="92"/>
                  <a:pt x="16" y="92"/>
                </a:cubicBezTo>
                <a:cubicBezTo>
                  <a:pt x="16" y="93"/>
                  <a:pt x="16" y="93"/>
                  <a:pt x="16" y="94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101"/>
                  <a:pt x="16" y="101"/>
                  <a:pt x="16" y="101"/>
                </a:cubicBezTo>
                <a:cubicBezTo>
                  <a:pt x="16" y="101"/>
                  <a:pt x="16" y="101"/>
                  <a:pt x="16" y="102"/>
                </a:cubicBezTo>
                <a:cubicBezTo>
                  <a:pt x="16" y="102"/>
                  <a:pt x="16" y="102"/>
                  <a:pt x="15" y="103"/>
                </a:cubicBezTo>
                <a:cubicBezTo>
                  <a:pt x="15" y="103"/>
                  <a:pt x="15" y="104"/>
                  <a:pt x="15" y="104"/>
                </a:cubicBezTo>
                <a:cubicBezTo>
                  <a:pt x="15" y="105"/>
                  <a:pt x="15" y="105"/>
                  <a:pt x="15" y="106"/>
                </a:cubicBezTo>
                <a:cubicBezTo>
                  <a:pt x="15" y="106"/>
                  <a:pt x="15" y="107"/>
                  <a:pt x="15" y="108"/>
                </a:cubicBezTo>
                <a:cubicBezTo>
                  <a:pt x="15" y="109"/>
                  <a:pt x="15" y="110"/>
                  <a:pt x="15" y="111"/>
                </a:cubicBezTo>
                <a:cubicBezTo>
                  <a:pt x="15" y="111"/>
                  <a:pt x="14" y="112"/>
                  <a:pt x="14" y="113"/>
                </a:cubicBezTo>
                <a:cubicBezTo>
                  <a:pt x="14" y="113"/>
                  <a:pt x="14" y="114"/>
                  <a:pt x="14" y="115"/>
                </a:cubicBezTo>
                <a:cubicBezTo>
                  <a:pt x="14" y="116"/>
                  <a:pt x="14" y="117"/>
                  <a:pt x="14" y="117"/>
                </a:cubicBezTo>
                <a:cubicBezTo>
                  <a:pt x="14" y="117"/>
                  <a:pt x="14" y="117"/>
                  <a:pt x="14" y="118"/>
                </a:cubicBezTo>
                <a:cubicBezTo>
                  <a:pt x="13" y="118"/>
                  <a:pt x="13" y="118"/>
                  <a:pt x="13" y="118"/>
                </a:cubicBezTo>
                <a:cubicBezTo>
                  <a:pt x="13" y="119"/>
                  <a:pt x="13" y="119"/>
                  <a:pt x="13" y="120"/>
                </a:cubicBezTo>
                <a:cubicBezTo>
                  <a:pt x="13" y="121"/>
                  <a:pt x="13" y="122"/>
                  <a:pt x="14" y="122"/>
                </a:cubicBezTo>
                <a:cubicBezTo>
                  <a:pt x="14" y="122"/>
                  <a:pt x="14" y="121"/>
                  <a:pt x="15" y="121"/>
                </a:cubicBezTo>
                <a:cubicBezTo>
                  <a:pt x="15" y="121"/>
                  <a:pt x="15" y="122"/>
                  <a:pt x="15" y="122"/>
                </a:cubicBezTo>
                <a:cubicBezTo>
                  <a:pt x="16" y="123"/>
                  <a:pt x="15" y="123"/>
                  <a:pt x="14" y="124"/>
                </a:cubicBezTo>
                <a:cubicBezTo>
                  <a:pt x="14" y="124"/>
                  <a:pt x="14" y="124"/>
                  <a:pt x="14" y="124"/>
                </a:cubicBezTo>
                <a:cubicBezTo>
                  <a:pt x="13" y="124"/>
                  <a:pt x="13" y="123"/>
                  <a:pt x="13" y="123"/>
                </a:cubicBezTo>
                <a:cubicBezTo>
                  <a:pt x="13" y="123"/>
                  <a:pt x="13" y="123"/>
                  <a:pt x="13" y="123"/>
                </a:cubicBezTo>
                <a:cubicBezTo>
                  <a:pt x="13" y="123"/>
                  <a:pt x="13" y="123"/>
                  <a:pt x="13" y="124"/>
                </a:cubicBezTo>
                <a:cubicBezTo>
                  <a:pt x="12" y="124"/>
                  <a:pt x="13" y="125"/>
                  <a:pt x="13" y="126"/>
                </a:cubicBezTo>
                <a:cubicBezTo>
                  <a:pt x="13" y="126"/>
                  <a:pt x="13" y="126"/>
                  <a:pt x="12" y="126"/>
                </a:cubicBezTo>
                <a:cubicBezTo>
                  <a:pt x="12" y="127"/>
                  <a:pt x="12" y="128"/>
                  <a:pt x="12" y="129"/>
                </a:cubicBezTo>
                <a:cubicBezTo>
                  <a:pt x="12" y="130"/>
                  <a:pt x="12" y="130"/>
                  <a:pt x="11" y="131"/>
                </a:cubicBezTo>
                <a:cubicBezTo>
                  <a:pt x="11" y="132"/>
                  <a:pt x="11" y="132"/>
                  <a:pt x="11" y="133"/>
                </a:cubicBezTo>
                <a:cubicBezTo>
                  <a:pt x="11" y="133"/>
                  <a:pt x="10" y="134"/>
                  <a:pt x="10" y="134"/>
                </a:cubicBezTo>
                <a:cubicBezTo>
                  <a:pt x="10" y="136"/>
                  <a:pt x="10" y="137"/>
                  <a:pt x="10" y="138"/>
                </a:cubicBezTo>
                <a:cubicBezTo>
                  <a:pt x="9" y="138"/>
                  <a:pt x="9" y="139"/>
                  <a:pt x="9" y="139"/>
                </a:cubicBezTo>
                <a:cubicBezTo>
                  <a:pt x="9" y="140"/>
                  <a:pt x="8" y="141"/>
                  <a:pt x="8" y="141"/>
                </a:cubicBezTo>
                <a:cubicBezTo>
                  <a:pt x="8" y="141"/>
                  <a:pt x="7" y="141"/>
                  <a:pt x="7" y="141"/>
                </a:cubicBezTo>
                <a:cubicBezTo>
                  <a:pt x="7" y="141"/>
                  <a:pt x="6" y="141"/>
                  <a:pt x="6" y="142"/>
                </a:cubicBezTo>
                <a:cubicBezTo>
                  <a:pt x="6" y="142"/>
                  <a:pt x="6" y="142"/>
                  <a:pt x="6" y="142"/>
                </a:cubicBezTo>
                <a:cubicBezTo>
                  <a:pt x="6" y="142"/>
                  <a:pt x="6" y="143"/>
                  <a:pt x="6" y="143"/>
                </a:cubicBezTo>
                <a:cubicBezTo>
                  <a:pt x="6" y="143"/>
                  <a:pt x="6" y="144"/>
                  <a:pt x="6" y="144"/>
                </a:cubicBezTo>
                <a:cubicBezTo>
                  <a:pt x="6" y="144"/>
                  <a:pt x="6" y="144"/>
                  <a:pt x="6" y="144"/>
                </a:cubicBezTo>
                <a:cubicBezTo>
                  <a:pt x="6" y="145"/>
                  <a:pt x="6" y="145"/>
                  <a:pt x="6" y="145"/>
                </a:cubicBezTo>
                <a:cubicBezTo>
                  <a:pt x="6" y="145"/>
                  <a:pt x="6" y="145"/>
                  <a:pt x="6" y="145"/>
                </a:cubicBezTo>
                <a:cubicBezTo>
                  <a:pt x="6" y="146"/>
                  <a:pt x="6" y="147"/>
                  <a:pt x="6" y="147"/>
                </a:cubicBezTo>
                <a:cubicBezTo>
                  <a:pt x="6" y="148"/>
                  <a:pt x="5" y="148"/>
                  <a:pt x="5" y="149"/>
                </a:cubicBezTo>
                <a:cubicBezTo>
                  <a:pt x="5" y="150"/>
                  <a:pt x="5" y="150"/>
                  <a:pt x="5" y="151"/>
                </a:cubicBezTo>
                <a:cubicBezTo>
                  <a:pt x="5" y="151"/>
                  <a:pt x="5" y="151"/>
                  <a:pt x="5" y="151"/>
                </a:cubicBezTo>
                <a:cubicBezTo>
                  <a:pt x="4" y="152"/>
                  <a:pt x="4" y="153"/>
                  <a:pt x="4" y="153"/>
                </a:cubicBezTo>
                <a:cubicBezTo>
                  <a:pt x="4" y="153"/>
                  <a:pt x="4" y="154"/>
                  <a:pt x="4" y="154"/>
                </a:cubicBezTo>
                <a:cubicBezTo>
                  <a:pt x="4" y="155"/>
                  <a:pt x="4" y="155"/>
                  <a:pt x="4" y="155"/>
                </a:cubicBezTo>
                <a:cubicBezTo>
                  <a:pt x="3" y="155"/>
                  <a:pt x="3" y="156"/>
                  <a:pt x="3" y="156"/>
                </a:cubicBezTo>
                <a:cubicBezTo>
                  <a:pt x="3" y="157"/>
                  <a:pt x="3" y="157"/>
                  <a:pt x="3" y="157"/>
                </a:cubicBezTo>
                <a:cubicBezTo>
                  <a:pt x="3" y="158"/>
                  <a:pt x="3" y="158"/>
                  <a:pt x="3" y="159"/>
                </a:cubicBezTo>
                <a:cubicBezTo>
                  <a:pt x="3" y="159"/>
                  <a:pt x="3" y="159"/>
                  <a:pt x="3" y="160"/>
                </a:cubicBezTo>
                <a:cubicBezTo>
                  <a:pt x="3" y="160"/>
                  <a:pt x="3" y="160"/>
                  <a:pt x="3" y="160"/>
                </a:cubicBezTo>
                <a:cubicBezTo>
                  <a:pt x="4" y="160"/>
                  <a:pt x="4" y="160"/>
                  <a:pt x="4" y="160"/>
                </a:cubicBezTo>
                <a:cubicBezTo>
                  <a:pt x="4" y="161"/>
                  <a:pt x="5" y="161"/>
                  <a:pt x="5" y="161"/>
                </a:cubicBezTo>
                <a:cubicBezTo>
                  <a:pt x="5" y="161"/>
                  <a:pt x="6" y="161"/>
                  <a:pt x="6" y="161"/>
                </a:cubicBezTo>
                <a:cubicBezTo>
                  <a:pt x="6" y="161"/>
                  <a:pt x="7" y="160"/>
                  <a:pt x="7" y="160"/>
                </a:cubicBezTo>
                <a:cubicBezTo>
                  <a:pt x="7" y="161"/>
                  <a:pt x="7" y="161"/>
                  <a:pt x="7" y="161"/>
                </a:cubicBezTo>
                <a:cubicBezTo>
                  <a:pt x="7" y="161"/>
                  <a:pt x="6" y="161"/>
                  <a:pt x="6" y="161"/>
                </a:cubicBezTo>
                <a:cubicBezTo>
                  <a:pt x="5" y="161"/>
                  <a:pt x="4" y="161"/>
                  <a:pt x="3" y="161"/>
                </a:cubicBezTo>
                <a:cubicBezTo>
                  <a:pt x="3" y="161"/>
                  <a:pt x="2" y="161"/>
                  <a:pt x="2" y="162"/>
                </a:cubicBezTo>
                <a:cubicBezTo>
                  <a:pt x="2" y="162"/>
                  <a:pt x="2" y="162"/>
                  <a:pt x="1" y="162"/>
                </a:cubicBezTo>
                <a:cubicBezTo>
                  <a:pt x="1" y="163"/>
                  <a:pt x="1" y="163"/>
                  <a:pt x="1" y="163"/>
                </a:cubicBezTo>
                <a:cubicBezTo>
                  <a:pt x="1" y="164"/>
                  <a:pt x="1" y="163"/>
                  <a:pt x="0" y="164"/>
                </a:cubicBezTo>
                <a:cubicBezTo>
                  <a:pt x="0" y="165"/>
                  <a:pt x="0" y="165"/>
                  <a:pt x="1" y="166"/>
                </a:cubicBezTo>
                <a:cubicBezTo>
                  <a:pt x="1" y="166"/>
                  <a:pt x="1" y="166"/>
                  <a:pt x="1" y="166"/>
                </a:cubicBezTo>
                <a:cubicBezTo>
                  <a:pt x="1" y="167"/>
                  <a:pt x="1" y="167"/>
                  <a:pt x="1" y="167"/>
                </a:cubicBezTo>
                <a:cubicBezTo>
                  <a:pt x="1" y="168"/>
                  <a:pt x="2" y="168"/>
                  <a:pt x="2" y="168"/>
                </a:cubicBezTo>
                <a:cubicBezTo>
                  <a:pt x="2" y="169"/>
                  <a:pt x="3" y="169"/>
                  <a:pt x="3" y="170"/>
                </a:cubicBezTo>
                <a:cubicBezTo>
                  <a:pt x="3" y="170"/>
                  <a:pt x="3" y="170"/>
                  <a:pt x="4" y="171"/>
                </a:cubicBezTo>
                <a:cubicBezTo>
                  <a:pt x="4" y="171"/>
                  <a:pt x="4" y="171"/>
                  <a:pt x="5" y="172"/>
                </a:cubicBezTo>
                <a:cubicBezTo>
                  <a:pt x="5" y="172"/>
                  <a:pt x="5" y="172"/>
                  <a:pt x="5" y="173"/>
                </a:cubicBezTo>
                <a:cubicBezTo>
                  <a:pt x="6" y="173"/>
                  <a:pt x="6" y="174"/>
                  <a:pt x="6" y="175"/>
                </a:cubicBezTo>
                <a:cubicBezTo>
                  <a:pt x="6" y="176"/>
                  <a:pt x="6" y="176"/>
                  <a:pt x="6" y="176"/>
                </a:cubicBezTo>
                <a:cubicBezTo>
                  <a:pt x="6" y="177"/>
                  <a:pt x="6" y="177"/>
                  <a:pt x="6" y="178"/>
                </a:cubicBezTo>
                <a:cubicBezTo>
                  <a:pt x="6" y="178"/>
                  <a:pt x="6" y="178"/>
                  <a:pt x="6" y="178"/>
                </a:cubicBezTo>
                <a:cubicBezTo>
                  <a:pt x="6" y="179"/>
                  <a:pt x="6" y="179"/>
                  <a:pt x="6" y="179"/>
                </a:cubicBezTo>
                <a:cubicBezTo>
                  <a:pt x="6" y="179"/>
                  <a:pt x="6" y="180"/>
                  <a:pt x="5" y="180"/>
                </a:cubicBezTo>
                <a:cubicBezTo>
                  <a:pt x="5" y="180"/>
                  <a:pt x="5" y="180"/>
                  <a:pt x="5" y="180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1"/>
                  <a:pt x="5" y="192"/>
                  <a:pt x="5" y="192"/>
                </a:cubicBezTo>
                <a:cubicBezTo>
                  <a:pt x="6" y="192"/>
                  <a:pt x="6" y="193"/>
                  <a:pt x="6" y="193"/>
                </a:cubicBezTo>
                <a:cubicBezTo>
                  <a:pt x="6" y="194"/>
                  <a:pt x="6" y="194"/>
                  <a:pt x="6" y="194"/>
                </a:cubicBezTo>
                <a:cubicBezTo>
                  <a:pt x="6" y="195"/>
                  <a:pt x="6" y="195"/>
                  <a:pt x="7" y="196"/>
                </a:cubicBezTo>
                <a:cubicBezTo>
                  <a:pt x="7" y="196"/>
                  <a:pt x="7" y="196"/>
                  <a:pt x="7" y="196"/>
                </a:cubicBezTo>
                <a:cubicBezTo>
                  <a:pt x="7" y="197"/>
                  <a:pt x="7" y="197"/>
                  <a:pt x="7" y="197"/>
                </a:cubicBezTo>
                <a:cubicBezTo>
                  <a:pt x="7" y="198"/>
                  <a:pt x="8" y="198"/>
                  <a:pt x="8" y="198"/>
                </a:cubicBezTo>
                <a:cubicBezTo>
                  <a:pt x="8" y="198"/>
                  <a:pt x="8" y="199"/>
                  <a:pt x="8" y="199"/>
                </a:cubicBezTo>
                <a:cubicBezTo>
                  <a:pt x="8" y="199"/>
                  <a:pt x="8" y="199"/>
                  <a:pt x="9" y="200"/>
                </a:cubicBezTo>
                <a:cubicBezTo>
                  <a:pt x="9" y="200"/>
                  <a:pt x="9" y="200"/>
                  <a:pt x="10" y="201"/>
                </a:cubicBezTo>
                <a:cubicBezTo>
                  <a:pt x="10" y="201"/>
                  <a:pt x="11" y="201"/>
                  <a:pt x="11" y="202"/>
                </a:cubicBezTo>
                <a:cubicBezTo>
                  <a:pt x="11" y="202"/>
                  <a:pt x="12" y="203"/>
                  <a:pt x="12" y="203"/>
                </a:cubicBezTo>
                <a:cubicBezTo>
                  <a:pt x="157" y="203"/>
                  <a:pt x="157" y="203"/>
                  <a:pt x="157" y="203"/>
                </a:cubicBezTo>
                <a:cubicBezTo>
                  <a:pt x="260" y="203"/>
                  <a:pt x="260" y="203"/>
                  <a:pt x="260" y="203"/>
                </a:cubicBezTo>
                <a:cubicBezTo>
                  <a:pt x="260" y="116"/>
                  <a:pt x="260" y="116"/>
                  <a:pt x="260" y="116"/>
                </a:cubicBezTo>
                <a:cubicBezTo>
                  <a:pt x="261" y="116"/>
                  <a:pt x="261" y="114"/>
                  <a:pt x="262" y="113"/>
                </a:cubicBezTo>
                <a:close/>
              </a:path>
            </a:pathLst>
          </a:custGeom>
          <a:solidFill>
            <a:srgbClr val="FF6600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4" name="Freeform 22">
            <a:extLst>
              <a:ext uri="{FF2B5EF4-FFF2-40B4-BE49-F238E27FC236}">
                <a16:creationId xmlns:a16="http://schemas.microsoft.com/office/drawing/2014/main" id="{FF689A18-D51A-4A12-A407-63E07BA87F4A}"/>
              </a:ext>
            </a:extLst>
          </p:cNvPr>
          <p:cNvSpPr>
            <a:spLocks/>
          </p:cNvSpPr>
          <p:nvPr/>
        </p:nvSpPr>
        <p:spPr bwMode="auto">
          <a:xfrm>
            <a:off x="6967537" y="3518220"/>
            <a:ext cx="1173065" cy="571663"/>
          </a:xfrm>
          <a:custGeom>
            <a:avLst/>
            <a:gdLst>
              <a:gd name="T0" fmla="*/ 0 w 296"/>
              <a:gd name="T1" fmla="*/ 0 h 144"/>
              <a:gd name="T2" fmla="*/ 104 w 296"/>
              <a:gd name="T3" fmla="*/ 103 h 144"/>
              <a:gd name="T4" fmla="*/ 108 w 296"/>
              <a:gd name="T5" fmla="*/ 105 h 144"/>
              <a:gd name="T6" fmla="*/ 113 w 296"/>
              <a:gd name="T7" fmla="*/ 111 h 144"/>
              <a:gd name="T8" fmla="*/ 119 w 296"/>
              <a:gd name="T9" fmla="*/ 110 h 144"/>
              <a:gd name="T10" fmla="*/ 124 w 296"/>
              <a:gd name="T11" fmla="*/ 112 h 144"/>
              <a:gd name="T12" fmla="*/ 126 w 296"/>
              <a:gd name="T13" fmla="*/ 109 h 144"/>
              <a:gd name="T14" fmla="*/ 129 w 296"/>
              <a:gd name="T15" fmla="*/ 111 h 144"/>
              <a:gd name="T16" fmla="*/ 131 w 296"/>
              <a:gd name="T17" fmla="*/ 114 h 144"/>
              <a:gd name="T18" fmla="*/ 136 w 296"/>
              <a:gd name="T19" fmla="*/ 119 h 144"/>
              <a:gd name="T20" fmla="*/ 140 w 296"/>
              <a:gd name="T21" fmla="*/ 119 h 144"/>
              <a:gd name="T22" fmla="*/ 144 w 296"/>
              <a:gd name="T23" fmla="*/ 121 h 144"/>
              <a:gd name="T24" fmla="*/ 153 w 296"/>
              <a:gd name="T25" fmla="*/ 121 h 144"/>
              <a:gd name="T26" fmla="*/ 160 w 296"/>
              <a:gd name="T27" fmla="*/ 122 h 144"/>
              <a:gd name="T28" fmla="*/ 167 w 296"/>
              <a:gd name="T29" fmla="*/ 123 h 144"/>
              <a:gd name="T30" fmla="*/ 170 w 296"/>
              <a:gd name="T31" fmla="*/ 126 h 144"/>
              <a:gd name="T32" fmla="*/ 174 w 296"/>
              <a:gd name="T33" fmla="*/ 128 h 144"/>
              <a:gd name="T34" fmla="*/ 175 w 296"/>
              <a:gd name="T35" fmla="*/ 132 h 144"/>
              <a:gd name="T36" fmla="*/ 181 w 296"/>
              <a:gd name="T37" fmla="*/ 131 h 144"/>
              <a:gd name="T38" fmla="*/ 184 w 296"/>
              <a:gd name="T39" fmla="*/ 128 h 144"/>
              <a:gd name="T40" fmla="*/ 187 w 296"/>
              <a:gd name="T41" fmla="*/ 131 h 144"/>
              <a:gd name="T42" fmla="*/ 191 w 296"/>
              <a:gd name="T43" fmla="*/ 134 h 144"/>
              <a:gd name="T44" fmla="*/ 196 w 296"/>
              <a:gd name="T45" fmla="*/ 133 h 144"/>
              <a:gd name="T46" fmla="*/ 199 w 296"/>
              <a:gd name="T47" fmla="*/ 133 h 144"/>
              <a:gd name="T48" fmla="*/ 201 w 296"/>
              <a:gd name="T49" fmla="*/ 132 h 144"/>
              <a:gd name="T50" fmla="*/ 201 w 296"/>
              <a:gd name="T51" fmla="*/ 137 h 144"/>
              <a:gd name="T52" fmla="*/ 204 w 296"/>
              <a:gd name="T53" fmla="*/ 137 h 144"/>
              <a:gd name="T54" fmla="*/ 206 w 296"/>
              <a:gd name="T55" fmla="*/ 134 h 144"/>
              <a:gd name="T56" fmla="*/ 208 w 296"/>
              <a:gd name="T57" fmla="*/ 131 h 144"/>
              <a:gd name="T58" fmla="*/ 211 w 296"/>
              <a:gd name="T59" fmla="*/ 130 h 144"/>
              <a:gd name="T60" fmla="*/ 212 w 296"/>
              <a:gd name="T61" fmla="*/ 133 h 144"/>
              <a:gd name="T62" fmla="*/ 215 w 296"/>
              <a:gd name="T63" fmla="*/ 134 h 144"/>
              <a:gd name="T64" fmla="*/ 219 w 296"/>
              <a:gd name="T65" fmla="*/ 131 h 144"/>
              <a:gd name="T66" fmla="*/ 223 w 296"/>
              <a:gd name="T67" fmla="*/ 135 h 144"/>
              <a:gd name="T68" fmla="*/ 227 w 296"/>
              <a:gd name="T69" fmla="*/ 137 h 144"/>
              <a:gd name="T70" fmla="*/ 231 w 296"/>
              <a:gd name="T71" fmla="*/ 139 h 144"/>
              <a:gd name="T72" fmla="*/ 236 w 296"/>
              <a:gd name="T73" fmla="*/ 137 h 144"/>
              <a:gd name="T74" fmla="*/ 238 w 296"/>
              <a:gd name="T75" fmla="*/ 134 h 144"/>
              <a:gd name="T76" fmla="*/ 242 w 296"/>
              <a:gd name="T77" fmla="*/ 132 h 144"/>
              <a:gd name="T78" fmla="*/ 245 w 296"/>
              <a:gd name="T79" fmla="*/ 133 h 144"/>
              <a:gd name="T80" fmla="*/ 248 w 296"/>
              <a:gd name="T81" fmla="*/ 134 h 144"/>
              <a:gd name="T82" fmla="*/ 251 w 296"/>
              <a:gd name="T83" fmla="*/ 133 h 144"/>
              <a:gd name="T84" fmla="*/ 254 w 296"/>
              <a:gd name="T85" fmla="*/ 131 h 144"/>
              <a:gd name="T86" fmla="*/ 257 w 296"/>
              <a:gd name="T87" fmla="*/ 132 h 144"/>
              <a:gd name="T88" fmla="*/ 260 w 296"/>
              <a:gd name="T89" fmla="*/ 132 h 144"/>
              <a:gd name="T90" fmla="*/ 267 w 296"/>
              <a:gd name="T91" fmla="*/ 132 h 144"/>
              <a:gd name="T92" fmla="*/ 269 w 296"/>
              <a:gd name="T93" fmla="*/ 129 h 144"/>
              <a:gd name="T94" fmla="*/ 273 w 296"/>
              <a:gd name="T95" fmla="*/ 131 h 144"/>
              <a:gd name="T96" fmla="*/ 278 w 296"/>
              <a:gd name="T97" fmla="*/ 134 h 144"/>
              <a:gd name="T98" fmla="*/ 279 w 296"/>
              <a:gd name="T99" fmla="*/ 136 h 144"/>
              <a:gd name="T100" fmla="*/ 282 w 296"/>
              <a:gd name="T101" fmla="*/ 138 h 144"/>
              <a:gd name="T102" fmla="*/ 285 w 296"/>
              <a:gd name="T103" fmla="*/ 138 h 144"/>
              <a:gd name="T104" fmla="*/ 285 w 296"/>
              <a:gd name="T105" fmla="*/ 139 h 144"/>
              <a:gd name="T106" fmla="*/ 288 w 296"/>
              <a:gd name="T107" fmla="*/ 141 h 144"/>
              <a:gd name="T108" fmla="*/ 290 w 296"/>
              <a:gd name="T109" fmla="*/ 141 h 144"/>
              <a:gd name="T110" fmla="*/ 292 w 296"/>
              <a:gd name="T111" fmla="*/ 142 h 144"/>
              <a:gd name="T112" fmla="*/ 296 w 296"/>
              <a:gd name="T113" fmla="*/ 72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6" h="144">
                <a:moveTo>
                  <a:pt x="290" y="22"/>
                </a:moveTo>
                <a:cubicBezTo>
                  <a:pt x="290" y="0"/>
                  <a:pt x="290" y="0"/>
                  <a:pt x="29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1"/>
                  <a:pt x="0" y="21"/>
                  <a:pt x="0" y="21"/>
                </a:cubicBezTo>
                <a:cubicBezTo>
                  <a:pt x="104" y="21"/>
                  <a:pt x="104" y="21"/>
                  <a:pt x="104" y="21"/>
                </a:cubicBezTo>
                <a:cubicBezTo>
                  <a:pt x="104" y="103"/>
                  <a:pt x="104" y="103"/>
                  <a:pt x="104" y="103"/>
                </a:cubicBezTo>
                <a:cubicBezTo>
                  <a:pt x="104" y="104"/>
                  <a:pt x="105" y="104"/>
                  <a:pt x="105" y="103"/>
                </a:cubicBezTo>
                <a:cubicBezTo>
                  <a:pt x="106" y="103"/>
                  <a:pt x="106" y="103"/>
                  <a:pt x="106" y="103"/>
                </a:cubicBezTo>
                <a:cubicBezTo>
                  <a:pt x="107" y="104"/>
                  <a:pt x="108" y="104"/>
                  <a:pt x="108" y="105"/>
                </a:cubicBezTo>
                <a:cubicBezTo>
                  <a:pt x="109" y="106"/>
                  <a:pt x="110" y="107"/>
                  <a:pt x="111" y="108"/>
                </a:cubicBezTo>
                <a:cubicBezTo>
                  <a:pt x="111" y="108"/>
                  <a:pt x="112" y="109"/>
                  <a:pt x="113" y="110"/>
                </a:cubicBezTo>
                <a:cubicBezTo>
                  <a:pt x="113" y="110"/>
                  <a:pt x="113" y="111"/>
                  <a:pt x="113" y="111"/>
                </a:cubicBezTo>
                <a:cubicBezTo>
                  <a:pt x="114" y="111"/>
                  <a:pt x="115" y="111"/>
                  <a:pt x="115" y="111"/>
                </a:cubicBezTo>
                <a:cubicBezTo>
                  <a:pt x="116" y="111"/>
                  <a:pt x="117" y="111"/>
                  <a:pt x="118" y="111"/>
                </a:cubicBezTo>
                <a:cubicBezTo>
                  <a:pt x="118" y="111"/>
                  <a:pt x="119" y="110"/>
                  <a:pt x="119" y="110"/>
                </a:cubicBezTo>
                <a:cubicBezTo>
                  <a:pt x="120" y="110"/>
                  <a:pt x="120" y="110"/>
                  <a:pt x="121" y="110"/>
                </a:cubicBezTo>
                <a:cubicBezTo>
                  <a:pt x="121" y="110"/>
                  <a:pt x="122" y="111"/>
                  <a:pt x="123" y="111"/>
                </a:cubicBezTo>
                <a:cubicBezTo>
                  <a:pt x="123" y="111"/>
                  <a:pt x="124" y="112"/>
                  <a:pt x="124" y="112"/>
                </a:cubicBezTo>
                <a:cubicBezTo>
                  <a:pt x="125" y="111"/>
                  <a:pt x="125" y="110"/>
                  <a:pt x="125" y="110"/>
                </a:cubicBezTo>
                <a:cubicBezTo>
                  <a:pt x="125" y="109"/>
                  <a:pt x="125" y="109"/>
                  <a:pt x="126" y="108"/>
                </a:cubicBezTo>
                <a:cubicBezTo>
                  <a:pt x="126" y="108"/>
                  <a:pt x="126" y="108"/>
                  <a:pt x="126" y="109"/>
                </a:cubicBezTo>
                <a:cubicBezTo>
                  <a:pt x="127" y="109"/>
                  <a:pt x="127" y="109"/>
                  <a:pt x="127" y="109"/>
                </a:cubicBezTo>
                <a:cubicBezTo>
                  <a:pt x="127" y="110"/>
                  <a:pt x="128" y="110"/>
                  <a:pt x="128" y="110"/>
                </a:cubicBezTo>
                <a:cubicBezTo>
                  <a:pt x="128" y="111"/>
                  <a:pt x="129" y="110"/>
                  <a:pt x="129" y="111"/>
                </a:cubicBezTo>
                <a:cubicBezTo>
                  <a:pt x="129" y="111"/>
                  <a:pt x="129" y="111"/>
                  <a:pt x="129" y="112"/>
                </a:cubicBezTo>
                <a:cubicBezTo>
                  <a:pt x="130" y="112"/>
                  <a:pt x="130" y="113"/>
                  <a:pt x="130" y="113"/>
                </a:cubicBezTo>
                <a:cubicBezTo>
                  <a:pt x="131" y="113"/>
                  <a:pt x="131" y="114"/>
                  <a:pt x="131" y="114"/>
                </a:cubicBezTo>
                <a:cubicBezTo>
                  <a:pt x="131" y="115"/>
                  <a:pt x="131" y="117"/>
                  <a:pt x="132" y="118"/>
                </a:cubicBezTo>
                <a:cubicBezTo>
                  <a:pt x="132" y="118"/>
                  <a:pt x="133" y="118"/>
                  <a:pt x="133" y="118"/>
                </a:cubicBezTo>
                <a:cubicBezTo>
                  <a:pt x="134" y="118"/>
                  <a:pt x="135" y="119"/>
                  <a:pt x="136" y="119"/>
                </a:cubicBezTo>
                <a:cubicBezTo>
                  <a:pt x="137" y="119"/>
                  <a:pt x="137" y="119"/>
                  <a:pt x="138" y="119"/>
                </a:cubicBezTo>
                <a:cubicBezTo>
                  <a:pt x="138" y="118"/>
                  <a:pt x="138" y="118"/>
                  <a:pt x="139" y="118"/>
                </a:cubicBezTo>
                <a:cubicBezTo>
                  <a:pt x="139" y="118"/>
                  <a:pt x="140" y="119"/>
                  <a:pt x="140" y="119"/>
                </a:cubicBezTo>
                <a:cubicBezTo>
                  <a:pt x="140" y="119"/>
                  <a:pt x="141" y="120"/>
                  <a:pt x="141" y="120"/>
                </a:cubicBezTo>
                <a:cubicBezTo>
                  <a:pt x="142" y="120"/>
                  <a:pt x="142" y="121"/>
                  <a:pt x="143" y="121"/>
                </a:cubicBezTo>
                <a:cubicBezTo>
                  <a:pt x="143" y="121"/>
                  <a:pt x="144" y="121"/>
                  <a:pt x="144" y="121"/>
                </a:cubicBezTo>
                <a:cubicBezTo>
                  <a:pt x="145" y="120"/>
                  <a:pt x="146" y="122"/>
                  <a:pt x="146" y="122"/>
                </a:cubicBezTo>
                <a:cubicBezTo>
                  <a:pt x="147" y="122"/>
                  <a:pt x="148" y="122"/>
                  <a:pt x="148" y="121"/>
                </a:cubicBezTo>
                <a:cubicBezTo>
                  <a:pt x="150" y="121"/>
                  <a:pt x="152" y="120"/>
                  <a:pt x="153" y="121"/>
                </a:cubicBezTo>
                <a:cubicBezTo>
                  <a:pt x="154" y="122"/>
                  <a:pt x="155" y="123"/>
                  <a:pt x="156" y="124"/>
                </a:cubicBezTo>
                <a:cubicBezTo>
                  <a:pt x="157" y="124"/>
                  <a:pt x="158" y="124"/>
                  <a:pt x="159" y="123"/>
                </a:cubicBezTo>
                <a:cubicBezTo>
                  <a:pt x="159" y="123"/>
                  <a:pt x="159" y="123"/>
                  <a:pt x="160" y="122"/>
                </a:cubicBezTo>
                <a:cubicBezTo>
                  <a:pt x="160" y="122"/>
                  <a:pt x="160" y="121"/>
                  <a:pt x="161" y="121"/>
                </a:cubicBezTo>
                <a:cubicBezTo>
                  <a:pt x="162" y="121"/>
                  <a:pt x="163" y="121"/>
                  <a:pt x="164" y="122"/>
                </a:cubicBezTo>
                <a:cubicBezTo>
                  <a:pt x="165" y="122"/>
                  <a:pt x="166" y="123"/>
                  <a:pt x="167" y="123"/>
                </a:cubicBezTo>
                <a:cubicBezTo>
                  <a:pt x="168" y="122"/>
                  <a:pt x="168" y="121"/>
                  <a:pt x="169" y="121"/>
                </a:cubicBezTo>
                <a:cubicBezTo>
                  <a:pt x="169" y="122"/>
                  <a:pt x="169" y="123"/>
                  <a:pt x="169" y="123"/>
                </a:cubicBezTo>
                <a:cubicBezTo>
                  <a:pt x="169" y="124"/>
                  <a:pt x="170" y="125"/>
                  <a:pt x="170" y="126"/>
                </a:cubicBezTo>
                <a:cubicBezTo>
                  <a:pt x="170" y="127"/>
                  <a:pt x="170" y="127"/>
                  <a:pt x="171" y="127"/>
                </a:cubicBezTo>
                <a:cubicBezTo>
                  <a:pt x="171" y="127"/>
                  <a:pt x="172" y="128"/>
                  <a:pt x="173" y="128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4" y="128"/>
                  <a:pt x="174" y="129"/>
                  <a:pt x="174" y="129"/>
                </a:cubicBezTo>
                <a:cubicBezTo>
                  <a:pt x="174" y="129"/>
                  <a:pt x="173" y="131"/>
                  <a:pt x="174" y="131"/>
                </a:cubicBezTo>
                <a:cubicBezTo>
                  <a:pt x="174" y="132"/>
                  <a:pt x="175" y="132"/>
                  <a:pt x="175" y="132"/>
                </a:cubicBezTo>
                <a:cubicBezTo>
                  <a:pt x="176" y="133"/>
                  <a:pt x="176" y="133"/>
                  <a:pt x="177" y="133"/>
                </a:cubicBezTo>
                <a:cubicBezTo>
                  <a:pt x="178" y="133"/>
                  <a:pt x="178" y="133"/>
                  <a:pt x="178" y="132"/>
                </a:cubicBezTo>
                <a:cubicBezTo>
                  <a:pt x="179" y="132"/>
                  <a:pt x="180" y="131"/>
                  <a:pt x="181" y="131"/>
                </a:cubicBezTo>
                <a:cubicBezTo>
                  <a:pt x="181" y="130"/>
                  <a:pt x="181" y="130"/>
                  <a:pt x="182" y="130"/>
                </a:cubicBezTo>
                <a:cubicBezTo>
                  <a:pt x="182" y="129"/>
                  <a:pt x="183" y="129"/>
                  <a:pt x="183" y="129"/>
                </a:cubicBezTo>
                <a:cubicBezTo>
                  <a:pt x="183" y="128"/>
                  <a:pt x="184" y="128"/>
                  <a:pt x="184" y="128"/>
                </a:cubicBezTo>
                <a:cubicBezTo>
                  <a:pt x="185" y="128"/>
                  <a:pt x="185" y="128"/>
                  <a:pt x="185" y="129"/>
                </a:cubicBezTo>
                <a:cubicBezTo>
                  <a:pt x="186" y="129"/>
                  <a:pt x="187" y="129"/>
                  <a:pt x="187" y="130"/>
                </a:cubicBezTo>
                <a:cubicBezTo>
                  <a:pt x="187" y="130"/>
                  <a:pt x="187" y="131"/>
                  <a:pt x="187" y="131"/>
                </a:cubicBezTo>
                <a:cubicBezTo>
                  <a:pt x="188" y="132"/>
                  <a:pt x="188" y="132"/>
                  <a:pt x="188" y="132"/>
                </a:cubicBezTo>
                <a:cubicBezTo>
                  <a:pt x="189" y="132"/>
                  <a:pt x="191" y="131"/>
                  <a:pt x="192" y="132"/>
                </a:cubicBezTo>
                <a:cubicBezTo>
                  <a:pt x="192" y="133"/>
                  <a:pt x="191" y="133"/>
                  <a:pt x="191" y="134"/>
                </a:cubicBezTo>
                <a:cubicBezTo>
                  <a:pt x="192" y="134"/>
                  <a:pt x="192" y="135"/>
                  <a:pt x="193" y="135"/>
                </a:cubicBezTo>
                <a:cubicBezTo>
                  <a:pt x="194" y="135"/>
                  <a:pt x="195" y="135"/>
                  <a:pt x="195" y="134"/>
                </a:cubicBezTo>
                <a:cubicBezTo>
                  <a:pt x="195" y="134"/>
                  <a:pt x="195" y="134"/>
                  <a:pt x="196" y="133"/>
                </a:cubicBezTo>
                <a:cubicBezTo>
                  <a:pt x="196" y="133"/>
                  <a:pt x="196" y="133"/>
                  <a:pt x="196" y="133"/>
                </a:cubicBezTo>
                <a:cubicBezTo>
                  <a:pt x="197" y="132"/>
                  <a:pt x="197" y="132"/>
                  <a:pt x="198" y="133"/>
                </a:cubicBezTo>
                <a:cubicBezTo>
                  <a:pt x="198" y="133"/>
                  <a:pt x="198" y="133"/>
                  <a:pt x="199" y="133"/>
                </a:cubicBezTo>
                <a:cubicBezTo>
                  <a:pt x="199" y="133"/>
                  <a:pt x="199" y="133"/>
                  <a:pt x="199" y="132"/>
                </a:cubicBezTo>
                <a:cubicBezTo>
                  <a:pt x="200" y="132"/>
                  <a:pt x="200" y="131"/>
                  <a:pt x="200" y="131"/>
                </a:cubicBezTo>
                <a:cubicBezTo>
                  <a:pt x="201" y="131"/>
                  <a:pt x="201" y="132"/>
                  <a:pt x="201" y="132"/>
                </a:cubicBezTo>
                <a:cubicBezTo>
                  <a:pt x="201" y="133"/>
                  <a:pt x="201" y="133"/>
                  <a:pt x="201" y="134"/>
                </a:cubicBezTo>
                <a:cubicBezTo>
                  <a:pt x="201" y="134"/>
                  <a:pt x="201" y="135"/>
                  <a:pt x="201" y="135"/>
                </a:cubicBezTo>
                <a:cubicBezTo>
                  <a:pt x="201" y="136"/>
                  <a:pt x="201" y="136"/>
                  <a:pt x="201" y="137"/>
                </a:cubicBezTo>
                <a:cubicBezTo>
                  <a:pt x="201" y="138"/>
                  <a:pt x="202" y="139"/>
                  <a:pt x="204" y="139"/>
                </a:cubicBezTo>
                <a:cubicBezTo>
                  <a:pt x="204" y="139"/>
                  <a:pt x="204" y="138"/>
                  <a:pt x="204" y="138"/>
                </a:cubicBezTo>
                <a:cubicBezTo>
                  <a:pt x="204" y="137"/>
                  <a:pt x="205" y="137"/>
                  <a:pt x="204" y="137"/>
                </a:cubicBezTo>
                <a:cubicBezTo>
                  <a:pt x="204" y="136"/>
                  <a:pt x="204" y="136"/>
                  <a:pt x="204" y="135"/>
                </a:cubicBezTo>
                <a:cubicBezTo>
                  <a:pt x="204" y="135"/>
                  <a:pt x="205" y="134"/>
                  <a:pt x="205" y="134"/>
                </a:cubicBezTo>
                <a:cubicBezTo>
                  <a:pt x="205" y="134"/>
                  <a:pt x="206" y="134"/>
                  <a:pt x="206" y="134"/>
                </a:cubicBezTo>
                <a:cubicBezTo>
                  <a:pt x="206" y="134"/>
                  <a:pt x="206" y="134"/>
                  <a:pt x="206" y="134"/>
                </a:cubicBezTo>
                <a:cubicBezTo>
                  <a:pt x="206" y="133"/>
                  <a:pt x="207" y="133"/>
                  <a:pt x="208" y="133"/>
                </a:cubicBezTo>
                <a:cubicBezTo>
                  <a:pt x="208" y="132"/>
                  <a:pt x="208" y="132"/>
                  <a:pt x="208" y="131"/>
                </a:cubicBezTo>
                <a:cubicBezTo>
                  <a:pt x="208" y="131"/>
                  <a:pt x="208" y="130"/>
                  <a:pt x="208" y="130"/>
                </a:cubicBezTo>
                <a:cubicBezTo>
                  <a:pt x="209" y="130"/>
                  <a:pt x="210" y="130"/>
                  <a:pt x="210" y="130"/>
                </a:cubicBezTo>
                <a:cubicBezTo>
                  <a:pt x="210" y="130"/>
                  <a:pt x="210" y="130"/>
                  <a:pt x="211" y="130"/>
                </a:cubicBezTo>
                <a:cubicBezTo>
                  <a:pt x="211" y="131"/>
                  <a:pt x="212" y="132"/>
                  <a:pt x="212" y="132"/>
                </a:cubicBezTo>
                <a:cubicBezTo>
                  <a:pt x="212" y="133"/>
                  <a:pt x="212" y="133"/>
                  <a:pt x="212" y="133"/>
                </a:cubicBezTo>
                <a:cubicBezTo>
                  <a:pt x="212" y="133"/>
                  <a:pt x="212" y="134"/>
                  <a:pt x="212" y="133"/>
                </a:cubicBezTo>
                <a:cubicBezTo>
                  <a:pt x="213" y="133"/>
                  <a:pt x="213" y="133"/>
                  <a:pt x="21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5" y="133"/>
                  <a:pt x="215" y="134"/>
                  <a:pt x="215" y="134"/>
                </a:cubicBezTo>
                <a:cubicBezTo>
                  <a:pt x="216" y="135"/>
                  <a:pt x="217" y="134"/>
                  <a:pt x="218" y="134"/>
                </a:cubicBezTo>
                <a:cubicBezTo>
                  <a:pt x="218" y="133"/>
                  <a:pt x="218" y="133"/>
                  <a:pt x="219" y="132"/>
                </a:cubicBezTo>
                <a:cubicBezTo>
                  <a:pt x="219" y="132"/>
                  <a:pt x="219" y="132"/>
                  <a:pt x="219" y="131"/>
                </a:cubicBezTo>
                <a:cubicBezTo>
                  <a:pt x="220" y="130"/>
                  <a:pt x="221" y="131"/>
                  <a:pt x="221" y="132"/>
                </a:cubicBezTo>
                <a:cubicBezTo>
                  <a:pt x="221" y="133"/>
                  <a:pt x="221" y="133"/>
                  <a:pt x="220" y="133"/>
                </a:cubicBezTo>
                <a:cubicBezTo>
                  <a:pt x="219" y="134"/>
                  <a:pt x="223" y="135"/>
                  <a:pt x="223" y="135"/>
                </a:cubicBezTo>
                <a:cubicBezTo>
                  <a:pt x="224" y="135"/>
                  <a:pt x="224" y="136"/>
                  <a:pt x="224" y="136"/>
                </a:cubicBezTo>
                <a:cubicBezTo>
                  <a:pt x="224" y="136"/>
                  <a:pt x="224" y="137"/>
                  <a:pt x="225" y="137"/>
                </a:cubicBezTo>
                <a:cubicBezTo>
                  <a:pt x="225" y="137"/>
                  <a:pt x="226" y="137"/>
                  <a:pt x="227" y="137"/>
                </a:cubicBezTo>
                <a:cubicBezTo>
                  <a:pt x="228" y="137"/>
                  <a:pt x="228" y="138"/>
                  <a:pt x="229" y="139"/>
                </a:cubicBezTo>
                <a:cubicBezTo>
                  <a:pt x="229" y="139"/>
                  <a:pt x="230" y="141"/>
                  <a:pt x="230" y="141"/>
                </a:cubicBezTo>
                <a:cubicBezTo>
                  <a:pt x="231" y="140"/>
                  <a:pt x="231" y="139"/>
                  <a:pt x="231" y="139"/>
                </a:cubicBezTo>
                <a:cubicBezTo>
                  <a:pt x="231" y="138"/>
                  <a:pt x="231" y="137"/>
                  <a:pt x="232" y="137"/>
                </a:cubicBezTo>
                <a:cubicBezTo>
                  <a:pt x="232" y="137"/>
                  <a:pt x="233" y="137"/>
                  <a:pt x="234" y="137"/>
                </a:cubicBezTo>
                <a:cubicBezTo>
                  <a:pt x="234" y="137"/>
                  <a:pt x="235" y="138"/>
                  <a:pt x="236" y="137"/>
                </a:cubicBezTo>
                <a:cubicBezTo>
                  <a:pt x="236" y="137"/>
                  <a:pt x="236" y="136"/>
                  <a:pt x="236" y="136"/>
                </a:cubicBezTo>
                <a:cubicBezTo>
                  <a:pt x="236" y="135"/>
                  <a:pt x="236" y="135"/>
                  <a:pt x="237" y="135"/>
                </a:cubicBezTo>
                <a:cubicBezTo>
                  <a:pt x="237" y="134"/>
                  <a:pt x="238" y="134"/>
                  <a:pt x="238" y="134"/>
                </a:cubicBezTo>
                <a:cubicBezTo>
                  <a:pt x="239" y="134"/>
                  <a:pt x="240" y="134"/>
                  <a:pt x="240" y="134"/>
                </a:cubicBezTo>
                <a:cubicBezTo>
                  <a:pt x="241" y="134"/>
                  <a:pt x="241" y="134"/>
                  <a:pt x="242" y="133"/>
                </a:cubicBezTo>
                <a:cubicBezTo>
                  <a:pt x="242" y="133"/>
                  <a:pt x="242" y="133"/>
                  <a:pt x="242" y="132"/>
                </a:cubicBezTo>
                <a:cubicBezTo>
                  <a:pt x="243" y="132"/>
                  <a:pt x="243" y="133"/>
                  <a:pt x="243" y="133"/>
                </a:cubicBezTo>
                <a:cubicBezTo>
                  <a:pt x="244" y="133"/>
                  <a:pt x="244" y="132"/>
                  <a:pt x="245" y="132"/>
                </a:cubicBezTo>
                <a:cubicBezTo>
                  <a:pt x="245" y="132"/>
                  <a:pt x="245" y="133"/>
                  <a:pt x="245" y="133"/>
                </a:cubicBezTo>
                <a:cubicBezTo>
                  <a:pt x="245" y="133"/>
                  <a:pt x="246" y="133"/>
                  <a:pt x="246" y="133"/>
                </a:cubicBezTo>
                <a:cubicBezTo>
                  <a:pt x="247" y="134"/>
                  <a:pt x="247" y="134"/>
                  <a:pt x="247" y="134"/>
                </a:cubicBezTo>
                <a:cubicBezTo>
                  <a:pt x="247" y="134"/>
                  <a:pt x="248" y="134"/>
                  <a:pt x="248" y="134"/>
                </a:cubicBezTo>
                <a:cubicBezTo>
                  <a:pt x="248" y="134"/>
                  <a:pt x="248" y="134"/>
                  <a:pt x="249" y="133"/>
                </a:cubicBezTo>
                <a:cubicBezTo>
                  <a:pt x="249" y="133"/>
                  <a:pt x="250" y="133"/>
                  <a:pt x="250" y="133"/>
                </a:cubicBezTo>
                <a:cubicBezTo>
                  <a:pt x="251" y="133"/>
                  <a:pt x="251" y="133"/>
                  <a:pt x="251" y="133"/>
                </a:cubicBezTo>
                <a:cubicBezTo>
                  <a:pt x="251" y="132"/>
                  <a:pt x="251" y="132"/>
                  <a:pt x="251" y="132"/>
                </a:cubicBezTo>
                <a:cubicBezTo>
                  <a:pt x="252" y="131"/>
                  <a:pt x="253" y="132"/>
                  <a:pt x="254" y="131"/>
                </a:cubicBezTo>
                <a:cubicBezTo>
                  <a:pt x="254" y="131"/>
                  <a:pt x="254" y="131"/>
                  <a:pt x="254" y="131"/>
                </a:cubicBezTo>
                <a:cubicBezTo>
                  <a:pt x="255" y="131"/>
                  <a:pt x="255" y="130"/>
                  <a:pt x="256" y="130"/>
                </a:cubicBezTo>
                <a:cubicBezTo>
                  <a:pt x="256" y="130"/>
                  <a:pt x="256" y="130"/>
                  <a:pt x="257" y="131"/>
                </a:cubicBezTo>
                <a:cubicBezTo>
                  <a:pt x="257" y="131"/>
                  <a:pt x="257" y="131"/>
                  <a:pt x="257" y="132"/>
                </a:cubicBezTo>
                <a:cubicBezTo>
                  <a:pt x="258" y="132"/>
                  <a:pt x="258" y="132"/>
                  <a:pt x="258" y="132"/>
                </a:cubicBezTo>
                <a:cubicBezTo>
                  <a:pt x="259" y="132"/>
                  <a:pt x="259" y="132"/>
                  <a:pt x="259" y="132"/>
                </a:cubicBezTo>
                <a:cubicBezTo>
                  <a:pt x="259" y="132"/>
                  <a:pt x="260" y="132"/>
                  <a:pt x="260" y="132"/>
                </a:cubicBezTo>
                <a:cubicBezTo>
                  <a:pt x="260" y="133"/>
                  <a:pt x="260" y="133"/>
                  <a:pt x="261" y="133"/>
                </a:cubicBezTo>
                <a:cubicBezTo>
                  <a:pt x="262" y="133"/>
                  <a:pt x="263" y="133"/>
                  <a:pt x="264" y="133"/>
                </a:cubicBezTo>
                <a:cubicBezTo>
                  <a:pt x="265" y="133"/>
                  <a:pt x="266" y="133"/>
                  <a:pt x="267" y="132"/>
                </a:cubicBezTo>
                <a:cubicBezTo>
                  <a:pt x="267" y="132"/>
                  <a:pt x="267" y="131"/>
                  <a:pt x="268" y="131"/>
                </a:cubicBezTo>
                <a:cubicBezTo>
                  <a:pt x="268" y="131"/>
                  <a:pt x="268" y="131"/>
                  <a:pt x="268" y="131"/>
                </a:cubicBezTo>
                <a:cubicBezTo>
                  <a:pt x="268" y="130"/>
                  <a:pt x="268" y="129"/>
                  <a:pt x="269" y="129"/>
                </a:cubicBezTo>
                <a:cubicBezTo>
                  <a:pt x="270" y="129"/>
                  <a:pt x="271" y="129"/>
                  <a:pt x="272" y="130"/>
                </a:cubicBezTo>
                <a:cubicBezTo>
                  <a:pt x="272" y="130"/>
                  <a:pt x="272" y="132"/>
                  <a:pt x="273" y="132"/>
                </a:cubicBezTo>
                <a:cubicBezTo>
                  <a:pt x="273" y="132"/>
                  <a:pt x="273" y="131"/>
                  <a:pt x="273" y="131"/>
                </a:cubicBezTo>
                <a:cubicBezTo>
                  <a:pt x="274" y="131"/>
                  <a:pt x="274" y="131"/>
                  <a:pt x="274" y="132"/>
                </a:cubicBezTo>
                <a:cubicBezTo>
                  <a:pt x="274" y="133"/>
                  <a:pt x="275" y="133"/>
                  <a:pt x="276" y="133"/>
                </a:cubicBezTo>
                <a:cubicBezTo>
                  <a:pt x="277" y="133"/>
                  <a:pt x="278" y="133"/>
                  <a:pt x="278" y="134"/>
                </a:cubicBezTo>
                <a:cubicBezTo>
                  <a:pt x="278" y="134"/>
                  <a:pt x="278" y="135"/>
                  <a:pt x="278" y="135"/>
                </a:cubicBezTo>
                <a:cubicBezTo>
                  <a:pt x="279" y="135"/>
                  <a:pt x="279" y="135"/>
                  <a:pt x="279" y="136"/>
                </a:cubicBezTo>
                <a:cubicBezTo>
                  <a:pt x="279" y="136"/>
                  <a:pt x="279" y="136"/>
                  <a:pt x="279" y="136"/>
                </a:cubicBezTo>
                <a:cubicBezTo>
                  <a:pt x="280" y="137"/>
                  <a:pt x="280" y="137"/>
                  <a:pt x="280" y="137"/>
                </a:cubicBezTo>
                <a:cubicBezTo>
                  <a:pt x="280" y="137"/>
                  <a:pt x="281" y="137"/>
                  <a:pt x="281" y="137"/>
                </a:cubicBezTo>
                <a:cubicBezTo>
                  <a:pt x="281" y="137"/>
                  <a:pt x="281" y="138"/>
                  <a:pt x="282" y="138"/>
                </a:cubicBezTo>
                <a:cubicBezTo>
                  <a:pt x="282" y="138"/>
                  <a:pt x="282" y="139"/>
                  <a:pt x="282" y="139"/>
                </a:cubicBezTo>
                <a:cubicBezTo>
                  <a:pt x="283" y="139"/>
                  <a:pt x="283" y="138"/>
                  <a:pt x="283" y="138"/>
                </a:cubicBezTo>
                <a:cubicBezTo>
                  <a:pt x="283" y="138"/>
                  <a:pt x="284" y="137"/>
                  <a:pt x="285" y="138"/>
                </a:cubicBezTo>
                <a:cubicBezTo>
                  <a:pt x="285" y="138"/>
                  <a:pt x="284" y="138"/>
                  <a:pt x="284" y="138"/>
                </a:cubicBezTo>
                <a:cubicBezTo>
                  <a:pt x="284" y="138"/>
                  <a:pt x="285" y="138"/>
                  <a:pt x="285" y="138"/>
                </a:cubicBezTo>
                <a:cubicBezTo>
                  <a:pt x="285" y="139"/>
                  <a:pt x="285" y="139"/>
                  <a:pt x="285" y="139"/>
                </a:cubicBezTo>
                <a:cubicBezTo>
                  <a:pt x="285" y="140"/>
                  <a:pt x="286" y="140"/>
                  <a:pt x="286" y="140"/>
                </a:cubicBezTo>
                <a:cubicBezTo>
                  <a:pt x="286" y="140"/>
                  <a:pt x="286" y="140"/>
                  <a:pt x="286" y="140"/>
                </a:cubicBezTo>
                <a:cubicBezTo>
                  <a:pt x="287" y="141"/>
                  <a:pt x="288" y="141"/>
                  <a:pt x="288" y="141"/>
                </a:cubicBezTo>
                <a:cubicBezTo>
                  <a:pt x="288" y="141"/>
                  <a:pt x="288" y="140"/>
                  <a:pt x="289" y="140"/>
                </a:cubicBezTo>
                <a:cubicBezTo>
                  <a:pt x="289" y="140"/>
                  <a:pt x="289" y="140"/>
                  <a:pt x="289" y="141"/>
                </a:cubicBezTo>
                <a:cubicBezTo>
                  <a:pt x="290" y="141"/>
                  <a:pt x="290" y="141"/>
                  <a:pt x="290" y="141"/>
                </a:cubicBezTo>
                <a:cubicBezTo>
                  <a:pt x="290" y="141"/>
                  <a:pt x="291" y="141"/>
                  <a:pt x="291" y="141"/>
                </a:cubicBezTo>
                <a:cubicBezTo>
                  <a:pt x="291" y="141"/>
                  <a:pt x="291" y="141"/>
                  <a:pt x="291" y="142"/>
                </a:cubicBezTo>
                <a:cubicBezTo>
                  <a:pt x="292" y="142"/>
                  <a:pt x="292" y="142"/>
                  <a:pt x="292" y="142"/>
                </a:cubicBezTo>
                <a:cubicBezTo>
                  <a:pt x="293" y="143"/>
                  <a:pt x="293" y="143"/>
                  <a:pt x="293" y="144"/>
                </a:cubicBezTo>
                <a:cubicBezTo>
                  <a:pt x="295" y="142"/>
                  <a:pt x="295" y="142"/>
                  <a:pt x="295" y="142"/>
                </a:cubicBezTo>
                <a:cubicBezTo>
                  <a:pt x="296" y="72"/>
                  <a:pt x="296" y="72"/>
                  <a:pt x="296" y="72"/>
                </a:cubicBezTo>
                <a:cubicBezTo>
                  <a:pt x="296" y="65"/>
                  <a:pt x="296" y="65"/>
                  <a:pt x="296" y="65"/>
                </a:cubicBezTo>
                <a:lnTo>
                  <a:pt x="290" y="22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5" name="Freeform 23">
            <a:extLst>
              <a:ext uri="{FF2B5EF4-FFF2-40B4-BE49-F238E27FC236}">
                <a16:creationId xmlns:a16="http://schemas.microsoft.com/office/drawing/2014/main" id="{FECB9D2B-A025-4B3A-A6F0-62FC8DA9E661}"/>
              </a:ext>
            </a:extLst>
          </p:cNvPr>
          <p:cNvSpPr>
            <a:spLocks/>
          </p:cNvSpPr>
          <p:nvPr/>
        </p:nvSpPr>
        <p:spPr bwMode="auto">
          <a:xfrm>
            <a:off x="9455756" y="2637594"/>
            <a:ext cx="589837" cy="639403"/>
          </a:xfrm>
          <a:custGeom>
            <a:avLst/>
            <a:gdLst>
              <a:gd name="T0" fmla="*/ 135 w 149"/>
              <a:gd name="T1" fmla="*/ 4 h 161"/>
              <a:gd name="T2" fmla="*/ 120 w 149"/>
              <a:gd name="T3" fmla="*/ 11 h 161"/>
              <a:gd name="T4" fmla="*/ 115 w 149"/>
              <a:gd name="T5" fmla="*/ 15 h 161"/>
              <a:gd name="T6" fmla="*/ 109 w 149"/>
              <a:gd name="T7" fmla="*/ 19 h 161"/>
              <a:gd name="T8" fmla="*/ 107 w 149"/>
              <a:gd name="T9" fmla="*/ 21 h 161"/>
              <a:gd name="T10" fmla="*/ 99 w 149"/>
              <a:gd name="T11" fmla="*/ 21 h 161"/>
              <a:gd name="T12" fmla="*/ 95 w 149"/>
              <a:gd name="T13" fmla="*/ 21 h 161"/>
              <a:gd name="T14" fmla="*/ 89 w 149"/>
              <a:gd name="T15" fmla="*/ 24 h 161"/>
              <a:gd name="T16" fmla="*/ 83 w 149"/>
              <a:gd name="T17" fmla="*/ 26 h 161"/>
              <a:gd name="T18" fmla="*/ 80 w 149"/>
              <a:gd name="T19" fmla="*/ 26 h 161"/>
              <a:gd name="T20" fmla="*/ 75 w 149"/>
              <a:gd name="T21" fmla="*/ 24 h 161"/>
              <a:gd name="T22" fmla="*/ 72 w 149"/>
              <a:gd name="T23" fmla="*/ 23 h 161"/>
              <a:gd name="T24" fmla="*/ 68 w 149"/>
              <a:gd name="T25" fmla="*/ 24 h 161"/>
              <a:gd name="T26" fmla="*/ 63 w 149"/>
              <a:gd name="T27" fmla="*/ 25 h 161"/>
              <a:gd name="T28" fmla="*/ 66 w 149"/>
              <a:gd name="T29" fmla="*/ 22 h 161"/>
              <a:gd name="T30" fmla="*/ 72 w 149"/>
              <a:gd name="T31" fmla="*/ 21 h 161"/>
              <a:gd name="T32" fmla="*/ 70 w 149"/>
              <a:gd name="T33" fmla="*/ 20 h 161"/>
              <a:gd name="T34" fmla="*/ 68 w 149"/>
              <a:gd name="T35" fmla="*/ 19 h 161"/>
              <a:gd name="T36" fmla="*/ 63 w 149"/>
              <a:gd name="T37" fmla="*/ 20 h 161"/>
              <a:gd name="T38" fmla="*/ 57 w 149"/>
              <a:gd name="T39" fmla="*/ 15 h 161"/>
              <a:gd name="T40" fmla="*/ 50 w 149"/>
              <a:gd name="T41" fmla="*/ 12 h 161"/>
              <a:gd name="T42" fmla="*/ 1 w 149"/>
              <a:gd name="T43" fmla="*/ 12 h 161"/>
              <a:gd name="T44" fmla="*/ 1 w 149"/>
              <a:gd name="T45" fmla="*/ 128 h 161"/>
              <a:gd name="T46" fmla="*/ 5 w 149"/>
              <a:gd name="T47" fmla="*/ 130 h 161"/>
              <a:gd name="T48" fmla="*/ 9 w 149"/>
              <a:gd name="T49" fmla="*/ 130 h 161"/>
              <a:gd name="T50" fmla="*/ 14 w 149"/>
              <a:gd name="T51" fmla="*/ 130 h 161"/>
              <a:gd name="T52" fmla="*/ 18 w 149"/>
              <a:gd name="T53" fmla="*/ 134 h 161"/>
              <a:gd name="T54" fmla="*/ 20 w 149"/>
              <a:gd name="T55" fmla="*/ 139 h 161"/>
              <a:gd name="T56" fmla="*/ 27 w 149"/>
              <a:gd name="T57" fmla="*/ 144 h 161"/>
              <a:gd name="T58" fmla="*/ 35 w 149"/>
              <a:gd name="T59" fmla="*/ 147 h 161"/>
              <a:gd name="T60" fmla="*/ 42 w 149"/>
              <a:gd name="T61" fmla="*/ 148 h 161"/>
              <a:gd name="T62" fmla="*/ 46 w 149"/>
              <a:gd name="T63" fmla="*/ 148 h 161"/>
              <a:gd name="T64" fmla="*/ 51 w 149"/>
              <a:gd name="T65" fmla="*/ 151 h 161"/>
              <a:gd name="T66" fmla="*/ 55 w 149"/>
              <a:gd name="T67" fmla="*/ 151 h 161"/>
              <a:gd name="T68" fmla="*/ 59 w 149"/>
              <a:gd name="T69" fmla="*/ 149 h 161"/>
              <a:gd name="T70" fmla="*/ 65 w 149"/>
              <a:gd name="T71" fmla="*/ 145 h 161"/>
              <a:gd name="T72" fmla="*/ 67 w 149"/>
              <a:gd name="T73" fmla="*/ 148 h 161"/>
              <a:gd name="T74" fmla="*/ 71 w 149"/>
              <a:gd name="T75" fmla="*/ 153 h 161"/>
              <a:gd name="T76" fmla="*/ 76 w 149"/>
              <a:gd name="T77" fmla="*/ 158 h 161"/>
              <a:gd name="T78" fmla="*/ 81 w 149"/>
              <a:gd name="T79" fmla="*/ 160 h 161"/>
              <a:gd name="T80" fmla="*/ 87 w 149"/>
              <a:gd name="T81" fmla="*/ 155 h 161"/>
              <a:gd name="T82" fmla="*/ 92 w 149"/>
              <a:gd name="T83" fmla="*/ 152 h 161"/>
              <a:gd name="T84" fmla="*/ 92 w 149"/>
              <a:gd name="T85" fmla="*/ 142 h 161"/>
              <a:gd name="T86" fmla="*/ 96 w 149"/>
              <a:gd name="T87" fmla="*/ 134 h 161"/>
              <a:gd name="T88" fmla="*/ 100 w 149"/>
              <a:gd name="T89" fmla="*/ 136 h 161"/>
              <a:gd name="T90" fmla="*/ 100 w 149"/>
              <a:gd name="T91" fmla="*/ 140 h 161"/>
              <a:gd name="T92" fmla="*/ 103 w 149"/>
              <a:gd name="T93" fmla="*/ 137 h 161"/>
              <a:gd name="T94" fmla="*/ 104 w 149"/>
              <a:gd name="T95" fmla="*/ 132 h 161"/>
              <a:gd name="T96" fmla="*/ 106 w 149"/>
              <a:gd name="T97" fmla="*/ 126 h 161"/>
              <a:gd name="T98" fmla="*/ 111 w 149"/>
              <a:gd name="T99" fmla="*/ 122 h 161"/>
              <a:gd name="T100" fmla="*/ 114 w 149"/>
              <a:gd name="T101" fmla="*/ 118 h 161"/>
              <a:gd name="T102" fmla="*/ 119 w 149"/>
              <a:gd name="T103" fmla="*/ 119 h 161"/>
              <a:gd name="T104" fmla="*/ 133 w 149"/>
              <a:gd name="T105" fmla="*/ 109 h 161"/>
              <a:gd name="T106" fmla="*/ 137 w 149"/>
              <a:gd name="T107" fmla="*/ 104 h 161"/>
              <a:gd name="T108" fmla="*/ 138 w 149"/>
              <a:gd name="T109" fmla="*/ 98 h 161"/>
              <a:gd name="T110" fmla="*/ 141 w 149"/>
              <a:gd name="T111" fmla="*/ 93 h 161"/>
              <a:gd name="T112" fmla="*/ 146 w 149"/>
              <a:gd name="T113" fmla="*/ 76 h 161"/>
              <a:gd name="T114" fmla="*/ 146 w 149"/>
              <a:gd name="T115" fmla="*/ 68 h 161"/>
              <a:gd name="T116" fmla="*/ 144 w 149"/>
              <a:gd name="T117" fmla="*/ 61 h 161"/>
              <a:gd name="T118" fmla="*/ 149 w 149"/>
              <a:gd name="T119" fmla="*/ 61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9" h="161">
                <a:moveTo>
                  <a:pt x="146" y="1"/>
                </a:moveTo>
                <a:cubicBezTo>
                  <a:pt x="145" y="1"/>
                  <a:pt x="143" y="2"/>
                  <a:pt x="142" y="2"/>
                </a:cubicBezTo>
                <a:cubicBezTo>
                  <a:pt x="140" y="3"/>
                  <a:pt x="138" y="4"/>
                  <a:pt x="135" y="4"/>
                </a:cubicBezTo>
                <a:cubicBezTo>
                  <a:pt x="134" y="5"/>
                  <a:pt x="132" y="6"/>
                  <a:pt x="130" y="7"/>
                </a:cubicBezTo>
                <a:cubicBezTo>
                  <a:pt x="128" y="7"/>
                  <a:pt x="127" y="8"/>
                  <a:pt x="125" y="8"/>
                </a:cubicBezTo>
                <a:cubicBezTo>
                  <a:pt x="123" y="9"/>
                  <a:pt x="122" y="10"/>
                  <a:pt x="120" y="11"/>
                </a:cubicBezTo>
                <a:cubicBezTo>
                  <a:pt x="119" y="11"/>
                  <a:pt x="118" y="12"/>
                  <a:pt x="118" y="13"/>
                </a:cubicBezTo>
                <a:cubicBezTo>
                  <a:pt x="117" y="13"/>
                  <a:pt x="117" y="14"/>
                  <a:pt x="116" y="14"/>
                </a:cubicBezTo>
                <a:cubicBezTo>
                  <a:pt x="116" y="15"/>
                  <a:pt x="115" y="15"/>
                  <a:pt x="115" y="15"/>
                </a:cubicBezTo>
                <a:cubicBezTo>
                  <a:pt x="115" y="15"/>
                  <a:pt x="115" y="16"/>
                  <a:pt x="114" y="16"/>
                </a:cubicBezTo>
                <a:cubicBezTo>
                  <a:pt x="113" y="16"/>
                  <a:pt x="112" y="17"/>
                  <a:pt x="112" y="18"/>
                </a:cubicBezTo>
                <a:cubicBezTo>
                  <a:pt x="111" y="18"/>
                  <a:pt x="110" y="19"/>
                  <a:pt x="109" y="19"/>
                </a:cubicBezTo>
                <a:cubicBezTo>
                  <a:pt x="108" y="20"/>
                  <a:pt x="108" y="20"/>
                  <a:pt x="108" y="21"/>
                </a:cubicBezTo>
                <a:cubicBezTo>
                  <a:pt x="108" y="21"/>
                  <a:pt x="108" y="21"/>
                  <a:pt x="107" y="21"/>
                </a:cubicBezTo>
                <a:cubicBezTo>
                  <a:pt x="107" y="21"/>
                  <a:pt x="107" y="21"/>
                  <a:pt x="107" y="21"/>
                </a:cubicBezTo>
                <a:cubicBezTo>
                  <a:pt x="105" y="21"/>
                  <a:pt x="104" y="21"/>
                  <a:pt x="102" y="21"/>
                </a:cubicBezTo>
                <a:cubicBezTo>
                  <a:pt x="102" y="21"/>
                  <a:pt x="101" y="21"/>
                  <a:pt x="101" y="21"/>
                </a:cubicBezTo>
                <a:cubicBezTo>
                  <a:pt x="100" y="21"/>
                  <a:pt x="100" y="21"/>
                  <a:pt x="99" y="21"/>
                </a:cubicBezTo>
                <a:cubicBezTo>
                  <a:pt x="99" y="21"/>
                  <a:pt x="98" y="21"/>
                  <a:pt x="98" y="21"/>
                </a:cubicBezTo>
                <a:cubicBezTo>
                  <a:pt x="97" y="21"/>
                  <a:pt x="97" y="21"/>
                  <a:pt x="96" y="21"/>
                </a:cubicBezTo>
                <a:cubicBezTo>
                  <a:pt x="96" y="21"/>
                  <a:pt x="95" y="21"/>
                  <a:pt x="95" y="21"/>
                </a:cubicBezTo>
                <a:cubicBezTo>
                  <a:pt x="95" y="21"/>
                  <a:pt x="94" y="22"/>
                  <a:pt x="94" y="22"/>
                </a:cubicBezTo>
                <a:cubicBezTo>
                  <a:pt x="94" y="22"/>
                  <a:pt x="93" y="22"/>
                  <a:pt x="93" y="22"/>
                </a:cubicBezTo>
                <a:cubicBezTo>
                  <a:pt x="91" y="23"/>
                  <a:pt x="90" y="23"/>
                  <a:pt x="89" y="24"/>
                </a:cubicBezTo>
                <a:cubicBezTo>
                  <a:pt x="88" y="24"/>
                  <a:pt x="87" y="24"/>
                  <a:pt x="87" y="24"/>
                </a:cubicBezTo>
                <a:cubicBezTo>
                  <a:pt x="86" y="24"/>
                  <a:pt x="86" y="25"/>
                  <a:pt x="85" y="25"/>
                </a:cubicBezTo>
                <a:cubicBezTo>
                  <a:pt x="85" y="25"/>
                  <a:pt x="84" y="25"/>
                  <a:pt x="83" y="26"/>
                </a:cubicBezTo>
                <a:cubicBezTo>
                  <a:pt x="83" y="26"/>
                  <a:pt x="82" y="26"/>
                  <a:pt x="82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0" y="26"/>
                  <a:pt x="80" y="26"/>
                  <a:pt x="80" y="26"/>
                </a:cubicBezTo>
                <a:cubicBezTo>
                  <a:pt x="79" y="26"/>
                  <a:pt x="79" y="26"/>
                  <a:pt x="79" y="25"/>
                </a:cubicBezTo>
                <a:cubicBezTo>
                  <a:pt x="78" y="25"/>
                  <a:pt x="78" y="25"/>
                  <a:pt x="77" y="25"/>
                </a:cubicBezTo>
                <a:cubicBezTo>
                  <a:pt x="76" y="25"/>
                  <a:pt x="76" y="25"/>
                  <a:pt x="75" y="24"/>
                </a:cubicBezTo>
                <a:cubicBezTo>
                  <a:pt x="75" y="24"/>
                  <a:pt x="74" y="24"/>
                  <a:pt x="74" y="24"/>
                </a:cubicBezTo>
                <a:cubicBezTo>
                  <a:pt x="74" y="24"/>
                  <a:pt x="73" y="24"/>
                  <a:pt x="73" y="24"/>
                </a:cubicBezTo>
                <a:cubicBezTo>
                  <a:pt x="73" y="24"/>
                  <a:pt x="72" y="24"/>
                  <a:pt x="72" y="23"/>
                </a:cubicBezTo>
                <a:cubicBezTo>
                  <a:pt x="71" y="23"/>
                  <a:pt x="71" y="23"/>
                  <a:pt x="71" y="23"/>
                </a:cubicBezTo>
                <a:cubicBezTo>
                  <a:pt x="70" y="23"/>
                  <a:pt x="69" y="23"/>
                  <a:pt x="69" y="23"/>
                </a:cubicBezTo>
                <a:cubicBezTo>
                  <a:pt x="69" y="24"/>
                  <a:pt x="68" y="24"/>
                  <a:pt x="68" y="24"/>
                </a:cubicBezTo>
                <a:cubicBezTo>
                  <a:pt x="68" y="24"/>
                  <a:pt x="67" y="24"/>
                  <a:pt x="67" y="24"/>
                </a:cubicBezTo>
                <a:cubicBezTo>
                  <a:pt x="66" y="25"/>
                  <a:pt x="66" y="25"/>
                  <a:pt x="65" y="25"/>
                </a:cubicBezTo>
                <a:cubicBezTo>
                  <a:pt x="64" y="25"/>
                  <a:pt x="63" y="25"/>
                  <a:pt x="63" y="25"/>
                </a:cubicBezTo>
                <a:cubicBezTo>
                  <a:pt x="62" y="25"/>
                  <a:pt x="61" y="25"/>
                  <a:pt x="62" y="25"/>
                </a:cubicBezTo>
                <a:cubicBezTo>
                  <a:pt x="62" y="24"/>
                  <a:pt x="63" y="23"/>
                  <a:pt x="63" y="23"/>
                </a:cubicBezTo>
                <a:cubicBezTo>
                  <a:pt x="64" y="22"/>
                  <a:pt x="65" y="22"/>
                  <a:pt x="66" y="22"/>
                </a:cubicBezTo>
                <a:cubicBezTo>
                  <a:pt x="67" y="22"/>
                  <a:pt x="68" y="22"/>
                  <a:pt x="69" y="22"/>
                </a:cubicBezTo>
                <a:cubicBezTo>
                  <a:pt x="69" y="22"/>
                  <a:pt x="70" y="22"/>
                  <a:pt x="70" y="22"/>
                </a:cubicBezTo>
                <a:cubicBezTo>
                  <a:pt x="71" y="21"/>
                  <a:pt x="71" y="21"/>
                  <a:pt x="72" y="21"/>
                </a:cubicBezTo>
                <a:cubicBezTo>
                  <a:pt x="72" y="21"/>
                  <a:pt x="72" y="20"/>
                  <a:pt x="72" y="20"/>
                </a:cubicBezTo>
                <a:cubicBezTo>
                  <a:pt x="72" y="20"/>
                  <a:pt x="71" y="20"/>
                  <a:pt x="71" y="20"/>
                </a:cubicBezTo>
                <a:cubicBezTo>
                  <a:pt x="71" y="20"/>
                  <a:pt x="70" y="20"/>
                  <a:pt x="70" y="20"/>
                </a:cubicBezTo>
                <a:cubicBezTo>
                  <a:pt x="70" y="20"/>
                  <a:pt x="69" y="20"/>
                  <a:pt x="69" y="19"/>
                </a:cubicBezTo>
                <a:cubicBezTo>
                  <a:pt x="69" y="19"/>
                  <a:pt x="69" y="19"/>
                  <a:pt x="69" y="19"/>
                </a:cubicBezTo>
                <a:cubicBezTo>
                  <a:pt x="68" y="19"/>
                  <a:pt x="68" y="19"/>
                  <a:pt x="68" y="19"/>
                </a:cubicBezTo>
                <a:cubicBezTo>
                  <a:pt x="67" y="19"/>
                  <a:pt x="67" y="20"/>
                  <a:pt x="66" y="20"/>
                </a:cubicBezTo>
                <a:cubicBezTo>
                  <a:pt x="66" y="21"/>
                  <a:pt x="65" y="21"/>
                  <a:pt x="65" y="20"/>
                </a:cubicBezTo>
                <a:cubicBezTo>
                  <a:pt x="64" y="20"/>
                  <a:pt x="64" y="20"/>
                  <a:pt x="63" y="20"/>
                </a:cubicBezTo>
                <a:cubicBezTo>
                  <a:pt x="63" y="19"/>
                  <a:pt x="62" y="19"/>
                  <a:pt x="62" y="18"/>
                </a:cubicBezTo>
                <a:cubicBezTo>
                  <a:pt x="61" y="17"/>
                  <a:pt x="60" y="16"/>
                  <a:pt x="58" y="16"/>
                </a:cubicBezTo>
                <a:cubicBezTo>
                  <a:pt x="58" y="15"/>
                  <a:pt x="57" y="15"/>
                  <a:pt x="57" y="15"/>
                </a:cubicBezTo>
                <a:cubicBezTo>
                  <a:pt x="56" y="15"/>
                  <a:pt x="56" y="14"/>
                  <a:pt x="56" y="14"/>
                </a:cubicBezTo>
                <a:cubicBezTo>
                  <a:pt x="55" y="14"/>
                  <a:pt x="54" y="13"/>
                  <a:pt x="52" y="13"/>
                </a:cubicBezTo>
                <a:cubicBezTo>
                  <a:pt x="51" y="12"/>
                  <a:pt x="51" y="12"/>
                  <a:pt x="50" y="12"/>
                </a:cubicBezTo>
                <a:cubicBezTo>
                  <a:pt x="49" y="12"/>
                  <a:pt x="48" y="12"/>
                  <a:pt x="47" y="12"/>
                </a:cubicBezTo>
                <a:cubicBezTo>
                  <a:pt x="47" y="12"/>
                  <a:pt x="47" y="11"/>
                  <a:pt x="47" y="10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29"/>
                  <a:pt x="1" y="128"/>
                  <a:pt x="1" y="128"/>
                </a:cubicBezTo>
                <a:cubicBezTo>
                  <a:pt x="1" y="128"/>
                  <a:pt x="2" y="128"/>
                  <a:pt x="2" y="128"/>
                </a:cubicBezTo>
                <a:cubicBezTo>
                  <a:pt x="3" y="128"/>
                  <a:pt x="3" y="128"/>
                  <a:pt x="4" y="129"/>
                </a:cubicBezTo>
                <a:cubicBezTo>
                  <a:pt x="4" y="129"/>
                  <a:pt x="4" y="130"/>
                  <a:pt x="5" y="130"/>
                </a:cubicBezTo>
                <a:cubicBezTo>
                  <a:pt x="5" y="130"/>
                  <a:pt x="6" y="131"/>
                  <a:pt x="7" y="131"/>
                </a:cubicBezTo>
                <a:cubicBezTo>
                  <a:pt x="7" y="131"/>
                  <a:pt x="8" y="131"/>
                  <a:pt x="8" y="131"/>
                </a:cubicBezTo>
                <a:cubicBezTo>
                  <a:pt x="8" y="130"/>
                  <a:pt x="9" y="130"/>
                  <a:pt x="9" y="130"/>
                </a:cubicBezTo>
                <a:cubicBezTo>
                  <a:pt x="10" y="130"/>
                  <a:pt x="11" y="129"/>
                  <a:pt x="11" y="129"/>
                </a:cubicBezTo>
                <a:cubicBezTo>
                  <a:pt x="12" y="129"/>
                  <a:pt x="13" y="129"/>
                  <a:pt x="13" y="129"/>
                </a:cubicBezTo>
                <a:cubicBezTo>
                  <a:pt x="13" y="130"/>
                  <a:pt x="13" y="130"/>
                  <a:pt x="14" y="130"/>
                </a:cubicBezTo>
                <a:cubicBezTo>
                  <a:pt x="14" y="131"/>
                  <a:pt x="15" y="132"/>
                  <a:pt x="16" y="132"/>
                </a:cubicBezTo>
                <a:cubicBezTo>
                  <a:pt x="16" y="132"/>
                  <a:pt x="17" y="133"/>
                  <a:pt x="17" y="133"/>
                </a:cubicBezTo>
                <a:cubicBezTo>
                  <a:pt x="17" y="133"/>
                  <a:pt x="18" y="134"/>
                  <a:pt x="18" y="134"/>
                </a:cubicBezTo>
                <a:cubicBezTo>
                  <a:pt x="18" y="135"/>
                  <a:pt x="18" y="135"/>
                  <a:pt x="18" y="135"/>
                </a:cubicBezTo>
                <a:cubicBezTo>
                  <a:pt x="18" y="136"/>
                  <a:pt x="19" y="136"/>
                  <a:pt x="19" y="136"/>
                </a:cubicBezTo>
                <a:cubicBezTo>
                  <a:pt x="19" y="137"/>
                  <a:pt x="19" y="138"/>
                  <a:pt x="20" y="139"/>
                </a:cubicBezTo>
                <a:cubicBezTo>
                  <a:pt x="20" y="140"/>
                  <a:pt x="21" y="141"/>
                  <a:pt x="21" y="142"/>
                </a:cubicBezTo>
                <a:cubicBezTo>
                  <a:pt x="22" y="143"/>
                  <a:pt x="22" y="144"/>
                  <a:pt x="23" y="144"/>
                </a:cubicBezTo>
                <a:cubicBezTo>
                  <a:pt x="25" y="144"/>
                  <a:pt x="26" y="144"/>
                  <a:pt x="27" y="144"/>
                </a:cubicBezTo>
                <a:cubicBezTo>
                  <a:pt x="28" y="144"/>
                  <a:pt x="30" y="143"/>
                  <a:pt x="31" y="144"/>
                </a:cubicBezTo>
                <a:cubicBezTo>
                  <a:pt x="32" y="144"/>
                  <a:pt x="33" y="145"/>
                  <a:pt x="33" y="145"/>
                </a:cubicBezTo>
                <a:cubicBezTo>
                  <a:pt x="34" y="146"/>
                  <a:pt x="34" y="146"/>
                  <a:pt x="35" y="147"/>
                </a:cubicBezTo>
                <a:cubicBezTo>
                  <a:pt x="36" y="148"/>
                  <a:pt x="36" y="149"/>
                  <a:pt x="37" y="150"/>
                </a:cubicBezTo>
                <a:cubicBezTo>
                  <a:pt x="38" y="151"/>
                  <a:pt x="40" y="150"/>
                  <a:pt x="40" y="150"/>
                </a:cubicBezTo>
                <a:cubicBezTo>
                  <a:pt x="41" y="149"/>
                  <a:pt x="41" y="149"/>
                  <a:pt x="42" y="148"/>
                </a:cubicBezTo>
                <a:cubicBezTo>
                  <a:pt x="42" y="148"/>
                  <a:pt x="43" y="148"/>
                  <a:pt x="43" y="148"/>
                </a:cubicBezTo>
                <a:cubicBezTo>
                  <a:pt x="44" y="148"/>
                  <a:pt x="45" y="147"/>
                  <a:pt x="45" y="147"/>
                </a:cubicBezTo>
                <a:cubicBezTo>
                  <a:pt x="46" y="147"/>
                  <a:pt x="46" y="147"/>
                  <a:pt x="46" y="148"/>
                </a:cubicBezTo>
                <a:cubicBezTo>
                  <a:pt x="46" y="148"/>
                  <a:pt x="47" y="148"/>
                  <a:pt x="47" y="148"/>
                </a:cubicBezTo>
                <a:cubicBezTo>
                  <a:pt x="47" y="148"/>
                  <a:pt x="48" y="149"/>
                  <a:pt x="48" y="149"/>
                </a:cubicBezTo>
                <a:cubicBezTo>
                  <a:pt x="49" y="149"/>
                  <a:pt x="50" y="150"/>
                  <a:pt x="51" y="151"/>
                </a:cubicBezTo>
                <a:cubicBezTo>
                  <a:pt x="51" y="151"/>
                  <a:pt x="52" y="152"/>
                  <a:pt x="52" y="152"/>
                </a:cubicBezTo>
                <a:cubicBezTo>
                  <a:pt x="52" y="152"/>
                  <a:pt x="53" y="151"/>
                  <a:pt x="54" y="151"/>
                </a:cubicBezTo>
                <a:cubicBezTo>
                  <a:pt x="54" y="151"/>
                  <a:pt x="54" y="151"/>
                  <a:pt x="55" y="151"/>
                </a:cubicBezTo>
                <a:cubicBezTo>
                  <a:pt x="55" y="151"/>
                  <a:pt x="56" y="151"/>
                  <a:pt x="56" y="151"/>
                </a:cubicBezTo>
                <a:cubicBezTo>
                  <a:pt x="57" y="151"/>
                  <a:pt x="57" y="151"/>
                  <a:pt x="58" y="150"/>
                </a:cubicBezTo>
                <a:cubicBezTo>
                  <a:pt x="58" y="150"/>
                  <a:pt x="59" y="150"/>
                  <a:pt x="59" y="149"/>
                </a:cubicBezTo>
                <a:cubicBezTo>
                  <a:pt x="60" y="149"/>
                  <a:pt x="60" y="148"/>
                  <a:pt x="61" y="148"/>
                </a:cubicBezTo>
                <a:cubicBezTo>
                  <a:pt x="61" y="147"/>
                  <a:pt x="62" y="146"/>
                  <a:pt x="62" y="146"/>
                </a:cubicBezTo>
                <a:cubicBezTo>
                  <a:pt x="63" y="146"/>
                  <a:pt x="64" y="146"/>
                  <a:pt x="65" y="145"/>
                </a:cubicBezTo>
                <a:cubicBezTo>
                  <a:pt x="65" y="145"/>
                  <a:pt x="66" y="145"/>
                  <a:pt x="67" y="146"/>
                </a:cubicBezTo>
                <a:cubicBezTo>
                  <a:pt x="67" y="146"/>
                  <a:pt x="67" y="146"/>
                  <a:pt x="67" y="147"/>
                </a:cubicBezTo>
                <a:cubicBezTo>
                  <a:pt x="67" y="147"/>
                  <a:pt x="67" y="147"/>
                  <a:pt x="67" y="148"/>
                </a:cubicBezTo>
                <a:cubicBezTo>
                  <a:pt x="67" y="149"/>
                  <a:pt x="67" y="150"/>
                  <a:pt x="67" y="151"/>
                </a:cubicBezTo>
                <a:cubicBezTo>
                  <a:pt x="68" y="151"/>
                  <a:pt x="68" y="152"/>
                  <a:pt x="69" y="153"/>
                </a:cubicBezTo>
                <a:cubicBezTo>
                  <a:pt x="70" y="153"/>
                  <a:pt x="70" y="153"/>
                  <a:pt x="71" y="153"/>
                </a:cubicBezTo>
                <a:cubicBezTo>
                  <a:pt x="71" y="154"/>
                  <a:pt x="72" y="154"/>
                  <a:pt x="72" y="154"/>
                </a:cubicBezTo>
                <a:cubicBezTo>
                  <a:pt x="73" y="154"/>
                  <a:pt x="74" y="155"/>
                  <a:pt x="75" y="156"/>
                </a:cubicBezTo>
                <a:cubicBezTo>
                  <a:pt x="76" y="156"/>
                  <a:pt x="76" y="157"/>
                  <a:pt x="76" y="158"/>
                </a:cubicBezTo>
                <a:cubicBezTo>
                  <a:pt x="76" y="158"/>
                  <a:pt x="76" y="158"/>
                  <a:pt x="76" y="158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81" y="160"/>
                  <a:pt x="81" y="160"/>
                  <a:pt x="81" y="160"/>
                </a:cubicBezTo>
                <a:cubicBezTo>
                  <a:pt x="81" y="160"/>
                  <a:pt x="84" y="160"/>
                  <a:pt x="85" y="159"/>
                </a:cubicBezTo>
                <a:cubicBezTo>
                  <a:pt x="85" y="159"/>
                  <a:pt x="86" y="158"/>
                  <a:pt x="86" y="158"/>
                </a:cubicBezTo>
                <a:cubicBezTo>
                  <a:pt x="86" y="158"/>
                  <a:pt x="87" y="156"/>
                  <a:pt x="87" y="155"/>
                </a:cubicBezTo>
                <a:cubicBezTo>
                  <a:pt x="87" y="155"/>
                  <a:pt x="87" y="153"/>
                  <a:pt x="87" y="153"/>
                </a:cubicBezTo>
                <a:cubicBezTo>
                  <a:pt x="87" y="153"/>
                  <a:pt x="89" y="153"/>
                  <a:pt x="89" y="152"/>
                </a:cubicBezTo>
                <a:cubicBezTo>
                  <a:pt x="89" y="152"/>
                  <a:pt x="92" y="152"/>
                  <a:pt x="92" y="152"/>
                </a:cubicBezTo>
                <a:cubicBezTo>
                  <a:pt x="92" y="152"/>
                  <a:pt x="91" y="148"/>
                  <a:pt x="91" y="148"/>
                </a:cubicBezTo>
                <a:cubicBezTo>
                  <a:pt x="91" y="147"/>
                  <a:pt x="90" y="144"/>
                  <a:pt x="90" y="144"/>
                </a:cubicBezTo>
                <a:cubicBezTo>
                  <a:pt x="90" y="144"/>
                  <a:pt x="92" y="142"/>
                  <a:pt x="92" y="142"/>
                </a:cubicBezTo>
                <a:cubicBezTo>
                  <a:pt x="92" y="142"/>
                  <a:pt x="93" y="140"/>
                  <a:pt x="93" y="139"/>
                </a:cubicBezTo>
                <a:cubicBezTo>
                  <a:pt x="93" y="139"/>
                  <a:pt x="95" y="136"/>
                  <a:pt x="95" y="135"/>
                </a:cubicBezTo>
                <a:cubicBezTo>
                  <a:pt x="95" y="135"/>
                  <a:pt x="96" y="134"/>
                  <a:pt x="96" y="134"/>
                </a:cubicBezTo>
                <a:cubicBezTo>
                  <a:pt x="96" y="133"/>
                  <a:pt x="97" y="133"/>
                  <a:pt x="97" y="133"/>
                </a:cubicBezTo>
                <a:cubicBezTo>
                  <a:pt x="97" y="134"/>
                  <a:pt x="99" y="135"/>
                  <a:pt x="99" y="135"/>
                </a:cubicBezTo>
                <a:cubicBezTo>
                  <a:pt x="99" y="135"/>
                  <a:pt x="100" y="136"/>
                  <a:pt x="100" y="136"/>
                </a:cubicBezTo>
                <a:cubicBezTo>
                  <a:pt x="100" y="136"/>
                  <a:pt x="101" y="137"/>
                  <a:pt x="101" y="137"/>
                </a:cubicBezTo>
                <a:cubicBezTo>
                  <a:pt x="101" y="137"/>
                  <a:pt x="100" y="138"/>
                  <a:pt x="100" y="138"/>
                </a:cubicBezTo>
                <a:cubicBezTo>
                  <a:pt x="100" y="138"/>
                  <a:pt x="100" y="140"/>
                  <a:pt x="100" y="140"/>
                </a:cubicBezTo>
                <a:cubicBezTo>
                  <a:pt x="100" y="140"/>
                  <a:pt x="102" y="140"/>
                  <a:pt x="102" y="140"/>
                </a:cubicBezTo>
                <a:cubicBezTo>
                  <a:pt x="102" y="140"/>
                  <a:pt x="103" y="139"/>
                  <a:pt x="103" y="139"/>
                </a:cubicBezTo>
                <a:cubicBezTo>
                  <a:pt x="103" y="138"/>
                  <a:pt x="103" y="137"/>
                  <a:pt x="103" y="137"/>
                </a:cubicBezTo>
                <a:cubicBezTo>
                  <a:pt x="105" y="138"/>
                  <a:pt x="105" y="138"/>
                  <a:pt x="105" y="138"/>
                </a:cubicBezTo>
                <a:cubicBezTo>
                  <a:pt x="105" y="138"/>
                  <a:pt x="105" y="133"/>
                  <a:pt x="105" y="133"/>
                </a:cubicBezTo>
                <a:cubicBezTo>
                  <a:pt x="105" y="133"/>
                  <a:pt x="104" y="132"/>
                  <a:pt x="104" y="132"/>
                </a:cubicBezTo>
                <a:cubicBezTo>
                  <a:pt x="104" y="131"/>
                  <a:pt x="105" y="131"/>
                  <a:pt x="105" y="131"/>
                </a:cubicBezTo>
                <a:cubicBezTo>
                  <a:pt x="105" y="131"/>
                  <a:pt x="106" y="130"/>
                  <a:pt x="106" y="130"/>
                </a:cubicBezTo>
                <a:cubicBezTo>
                  <a:pt x="106" y="130"/>
                  <a:pt x="106" y="126"/>
                  <a:pt x="106" y="126"/>
                </a:cubicBezTo>
                <a:cubicBezTo>
                  <a:pt x="106" y="126"/>
                  <a:pt x="107" y="125"/>
                  <a:pt x="108" y="125"/>
                </a:cubicBezTo>
                <a:cubicBezTo>
                  <a:pt x="108" y="125"/>
                  <a:pt x="109" y="122"/>
                  <a:pt x="109" y="122"/>
                </a:cubicBezTo>
                <a:cubicBezTo>
                  <a:pt x="109" y="122"/>
                  <a:pt x="110" y="122"/>
                  <a:pt x="111" y="122"/>
                </a:cubicBezTo>
                <a:cubicBezTo>
                  <a:pt x="111" y="122"/>
                  <a:pt x="112" y="123"/>
                  <a:pt x="112" y="123"/>
                </a:cubicBezTo>
                <a:cubicBezTo>
                  <a:pt x="112" y="123"/>
                  <a:pt x="113" y="119"/>
                  <a:pt x="113" y="119"/>
                </a:cubicBezTo>
                <a:cubicBezTo>
                  <a:pt x="113" y="119"/>
                  <a:pt x="114" y="118"/>
                  <a:pt x="114" y="118"/>
                </a:cubicBezTo>
                <a:cubicBezTo>
                  <a:pt x="115" y="118"/>
                  <a:pt x="115" y="116"/>
                  <a:pt x="116" y="116"/>
                </a:cubicBezTo>
                <a:cubicBezTo>
                  <a:pt x="116" y="116"/>
                  <a:pt x="117" y="116"/>
                  <a:pt x="117" y="116"/>
                </a:cubicBezTo>
                <a:cubicBezTo>
                  <a:pt x="117" y="116"/>
                  <a:pt x="119" y="119"/>
                  <a:pt x="119" y="119"/>
                </a:cubicBezTo>
                <a:cubicBezTo>
                  <a:pt x="119" y="119"/>
                  <a:pt x="121" y="119"/>
                  <a:pt x="121" y="119"/>
                </a:cubicBezTo>
                <a:cubicBezTo>
                  <a:pt x="121" y="119"/>
                  <a:pt x="126" y="116"/>
                  <a:pt x="126" y="116"/>
                </a:cubicBezTo>
                <a:cubicBezTo>
                  <a:pt x="133" y="109"/>
                  <a:pt x="133" y="109"/>
                  <a:pt x="133" y="109"/>
                </a:cubicBezTo>
                <a:cubicBezTo>
                  <a:pt x="133" y="109"/>
                  <a:pt x="134" y="107"/>
                  <a:pt x="134" y="107"/>
                </a:cubicBezTo>
                <a:cubicBezTo>
                  <a:pt x="134" y="107"/>
                  <a:pt x="136" y="107"/>
                  <a:pt x="136" y="107"/>
                </a:cubicBezTo>
                <a:cubicBezTo>
                  <a:pt x="136" y="107"/>
                  <a:pt x="136" y="104"/>
                  <a:pt x="137" y="104"/>
                </a:cubicBezTo>
                <a:cubicBezTo>
                  <a:pt x="137" y="103"/>
                  <a:pt x="138" y="103"/>
                  <a:pt x="138" y="103"/>
                </a:cubicBezTo>
                <a:cubicBezTo>
                  <a:pt x="138" y="103"/>
                  <a:pt x="136" y="101"/>
                  <a:pt x="136" y="100"/>
                </a:cubicBezTo>
                <a:cubicBezTo>
                  <a:pt x="136" y="100"/>
                  <a:pt x="137" y="98"/>
                  <a:pt x="138" y="98"/>
                </a:cubicBezTo>
                <a:cubicBezTo>
                  <a:pt x="138" y="98"/>
                  <a:pt x="139" y="96"/>
                  <a:pt x="139" y="96"/>
                </a:cubicBezTo>
                <a:cubicBezTo>
                  <a:pt x="139" y="96"/>
                  <a:pt x="139" y="94"/>
                  <a:pt x="139" y="94"/>
                </a:cubicBezTo>
                <a:cubicBezTo>
                  <a:pt x="139" y="94"/>
                  <a:pt x="141" y="93"/>
                  <a:pt x="141" y="93"/>
                </a:cubicBezTo>
                <a:cubicBezTo>
                  <a:pt x="141" y="89"/>
                  <a:pt x="141" y="89"/>
                  <a:pt x="141" y="89"/>
                </a:cubicBezTo>
                <a:cubicBezTo>
                  <a:pt x="141" y="85"/>
                  <a:pt x="141" y="85"/>
                  <a:pt x="141" y="85"/>
                </a:cubicBezTo>
                <a:cubicBezTo>
                  <a:pt x="146" y="76"/>
                  <a:pt x="146" y="76"/>
                  <a:pt x="146" y="76"/>
                </a:cubicBezTo>
                <a:cubicBezTo>
                  <a:pt x="146" y="76"/>
                  <a:pt x="144" y="73"/>
                  <a:pt x="144" y="72"/>
                </a:cubicBezTo>
                <a:cubicBezTo>
                  <a:pt x="144" y="72"/>
                  <a:pt x="145" y="71"/>
                  <a:pt x="145" y="70"/>
                </a:cubicBezTo>
                <a:cubicBezTo>
                  <a:pt x="145" y="70"/>
                  <a:pt x="146" y="68"/>
                  <a:pt x="146" y="68"/>
                </a:cubicBezTo>
                <a:cubicBezTo>
                  <a:pt x="146" y="68"/>
                  <a:pt x="145" y="66"/>
                  <a:pt x="145" y="66"/>
                </a:cubicBezTo>
                <a:cubicBezTo>
                  <a:pt x="145" y="66"/>
                  <a:pt x="143" y="63"/>
                  <a:pt x="143" y="63"/>
                </a:cubicBezTo>
                <a:cubicBezTo>
                  <a:pt x="143" y="63"/>
                  <a:pt x="144" y="62"/>
                  <a:pt x="144" y="61"/>
                </a:cubicBezTo>
                <a:cubicBezTo>
                  <a:pt x="144" y="61"/>
                  <a:pt x="145" y="61"/>
                  <a:pt x="145" y="61"/>
                </a:cubicBezTo>
                <a:cubicBezTo>
                  <a:pt x="147" y="62"/>
                  <a:pt x="147" y="62"/>
                  <a:pt x="147" y="62"/>
                </a:cubicBezTo>
                <a:cubicBezTo>
                  <a:pt x="149" y="61"/>
                  <a:pt x="149" y="61"/>
                  <a:pt x="149" y="61"/>
                </a:cubicBezTo>
                <a:cubicBezTo>
                  <a:pt x="149" y="0"/>
                  <a:pt x="149" y="0"/>
                  <a:pt x="149" y="0"/>
                </a:cubicBezTo>
                <a:cubicBezTo>
                  <a:pt x="148" y="0"/>
                  <a:pt x="147" y="0"/>
                  <a:pt x="146" y="1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6" name="Freeform 24">
            <a:extLst>
              <a:ext uri="{FF2B5EF4-FFF2-40B4-BE49-F238E27FC236}">
                <a16:creationId xmlns:a16="http://schemas.microsoft.com/office/drawing/2014/main" id="{A60DC027-859B-49D1-8CB3-5041E1113C7D}"/>
              </a:ext>
            </a:extLst>
          </p:cNvPr>
          <p:cNvSpPr>
            <a:spLocks/>
          </p:cNvSpPr>
          <p:nvPr/>
        </p:nvSpPr>
        <p:spPr bwMode="auto">
          <a:xfrm>
            <a:off x="6825448" y="1258003"/>
            <a:ext cx="1021062" cy="619576"/>
          </a:xfrm>
          <a:custGeom>
            <a:avLst/>
            <a:gdLst>
              <a:gd name="T0" fmla="*/ 258 w 258"/>
              <a:gd name="T1" fmla="*/ 139 h 156"/>
              <a:gd name="T2" fmla="*/ 256 w 258"/>
              <a:gd name="T3" fmla="*/ 134 h 156"/>
              <a:gd name="T4" fmla="*/ 253 w 258"/>
              <a:gd name="T5" fmla="*/ 131 h 156"/>
              <a:gd name="T6" fmla="*/ 252 w 258"/>
              <a:gd name="T7" fmla="*/ 127 h 156"/>
              <a:gd name="T8" fmla="*/ 251 w 258"/>
              <a:gd name="T9" fmla="*/ 123 h 156"/>
              <a:gd name="T10" fmla="*/ 251 w 258"/>
              <a:gd name="T11" fmla="*/ 119 h 156"/>
              <a:gd name="T12" fmla="*/ 252 w 258"/>
              <a:gd name="T13" fmla="*/ 111 h 156"/>
              <a:gd name="T14" fmla="*/ 252 w 258"/>
              <a:gd name="T15" fmla="*/ 109 h 156"/>
              <a:gd name="T16" fmla="*/ 251 w 258"/>
              <a:gd name="T17" fmla="*/ 106 h 156"/>
              <a:gd name="T18" fmla="*/ 249 w 258"/>
              <a:gd name="T19" fmla="*/ 102 h 156"/>
              <a:gd name="T20" fmla="*/ 249 w 258"/>
              <a:gd name="T21" fmla="*/ 90 h 156"/>
              <a:gd name="T22" fmla="*/ 249 w 258"/>
              <a:gd name="T23" fmla="*/ 84 h 156"/>
              <a:gd name="T24" fmla="*/ 248 w 258"/>
              <a:gd name="T25" fmla="*/ 75 h 156"/>
              <a:gd name="T26" fmla="*/ 247 w 258"/>
              <a:gd name="T27" fmla="*/ 69 h 156"/>
              <a:gd name="T28" fmla="*/ 244 w 258"/>
              <a:gd name="T29" fmla="*/ 62 h 156"/>
              <a:gd name="T30" fmla="*/ 241 w 258"/>
              <a:gd name="T31" fmla="*/ 52 h 156"/>
              <a:gd name="T32" fmla="*/ 239 w 258"/>
              <a:gd name="T33" fmla="*/ 47 h 156"/>
              <a:gd name="T34" fmla="*/ 239 w 258"/>
              <a:gd name="T35" fmla="*/ 40 h 156"/>
              <a:gd name="T36" fmla="*/ 239 w 258"/>
              <a:gd name="T37" fmla="*/ 36 h 156"/>
              <a:gd name="T38" fmla="*/ 238 w 258"/>
              <a:gd name="T39" fmla="*/ 33 h 156"/>
              <a:gd name="T40" fmla="*/ 239 w 258"/>
              <a:gd name="T41" fmla="*/ 30 h 156"/>
              <a:gd name="T42" fmla="*/ 238 w 258"/>
              <a:gd name="T43" fmla="*/ 28 h 156"/>
              <a:gd name="T44" fmla="*/ 238 w 258"/>
              <a:gd name="T45" fmla="*/ 27 h 156"/>
              <a:gd name="T46" fmla="*/ 239 w 258"/>
              <a:gd name="T47" fmla="*/ 25 h 156"/>
              <a:gd name="T48" fmla="*/ 238 w 258"/>
              <a:gd name="T49" fmla="*/ 24 h 156"/>
              <a:gd name="T50" fmla="*/ 239 w 258"/>
              <a:gd name="T51" fmla="*/ 21 h 156"/>
              <a:gd name="T52" fmla="*/ 239 w 258"/>
              <a:gd name="T53" fmla="*/ 18 h 156"/>
              <a:gd name="T54" fmla="*/ 239 w 258"/>
              <a:gd name="T55" fmla="*/ 14 h 156"/>
              <a:gd name="T56" fmla="*/ 237 w 258"/>
              <a:gd name="T57" fmla="*/ 8 h 156"/>
              <a:gd name="T58" fmla="*/ 236 w 258"/>
              <a:gd name="T59" fmla="*/ 4 h 156"/>
              <a:gd name="T60" fmla="*/ 236 w 258"/>
              <a:gd name="T61" fmla="*/ 0 h 156"/>
              <a:gd name="T62" fmla="*/ 0 w 258"/>
              <a:gd name="T63" fmla="*/ 0 h 156"/>
              <a:gd name="T64" fmla="*/ 0 w 258"/>
              <a:gd name="T65" fmla="*/ 156 h 156"/>
              <a:gd name="T66" fmla="*/ 258 w 258"/>
              <a:gd name="T67" fmla="*/ 156 h 156"/>
              <a:gd name="T68" fmla="*/ 258 w 258"/>
              <a:gd name="T69" fmla="*/ 139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8" h="156">
                <a:moveTo>
                  <a:pt x="258" y="139"/>
                </a:moveTo>
                <a:cubicBezTo>
                  <a:pt x="257" y="139"/>
                  <a:pt x="256" y="135"/>
                  <a:pt x="256" y="134"/>
                </a:cubicBezTo>
                <a:cubicBezTo>
                  <a:pt x="255" y="134"/>
                  <a:pt x="254" y="132"/>
                  <a:pt x="253" y="131"/>
                </a:cubicBezTo>
                <a:cubicBezTo>
                  <a:pt x="253" y="130"/>
                  <a:pt x="252" y="128"/>
                  <a:pt x="252" y="127"/>
                </a:cubicBezTo>
                <a:cubicBezTo>
                  <a:pt x="252" y="126"/>
                  <a:pt x="251" y="124"/>
                  <a:pt x="251" y="123"/>
                </a:cubicBezTo>
                <a:cubicBezTo>
                  <a:pt x="251" y="122"/>
                  <a:pt x="251" y="121"/>
                  <a:pt x="251" y="119"/>
                </a:cubicBezTo>
                <a:cubicBezTo>
                  <a:pt x="251" y="118"/>
                  <a:pt x="252" y="112"/>
                  <a:pt x="252" y="111"/>
                </a:cubicBezTo>
                <a:cubicBezTo>
                  <a:pt x="252" y="111"/>
                  <a:pt x="252" y="110"/>
                  <a:pt x="252" y="109"/>
                </a:cubicBezTo>
                <a:cubicBezTo>
                  <a:pt x="252" y="108"/>
                  <a:pt x="251" y="107"/>
                  <a:pt x="251" y="106"/>
                </a:cubicBezTo>
                <a:cubicBezTo>
                  <a:pt x="250" y="105"/>
                  <a:pt x="250" y="104"/>
                  <a:pt x="249" y="102"/>
                </a:cubicBezTo>
                <a:cubicBezTo>
                  <a:pt x="249" y="100"/>
                  <a:pt x="249" y="92"/>
                  <a:pt x="249" y="90"/>
                </a:cubicBezTo>
                <a:cubicBezTo>
                  <a:pt x="249" y="89"/>
                  <a:pt x="249" y="86"/>
                  <a:pt x="249" y="84"/>
                </a:cubicBezTo>
                <a:cubicBezTo>
                  <a:pt x="249" y="83"/>
                  <a:pt x="249" y="77"/>
                  <a:pt x="248" y="75"/>
                </a:cubicBezTo>
                <a:cubicBezTo>
                  <a:pt x="248" y="74"/>
                  <a:pt x="248" y="71"/>
                  <a:pt x="247" y="69"/>
                </a:cubicBezTo>
                <a:cubicBezTo>
                  <a:pt x="247" y="67"/>
                  <a:pt x="244" y="64"/>
                  <a:pt x="244" y="62"/>
                </a:cubicBezTo>
                <a:cubicBezTo>
                  <a:pt x="243" y="60"/>
                  <a:pt x="241" y="53"/>
                  <a:pt x="241" y="52"/>
                </a:cubicBezTo>
                <a:cubicBezTo>
                  <a:pt x="240" y="50"/>
                  <a:pt x="239" y="49"/>
                  <a:pt x="239" y="47"/>
                </a:cubicBezTo>
                <a:cubicBezTo>
                  <a:pt x="239" y="45"/>
                  <a:pt x="239" y="41"/>
                  <a:pt x="239" y="40"/>
                </a:cubicBezTo>
                <a:cubicBezTo>
                  <a:pt x="239" y="38"/>
                  <a:pt x="239" y="37"/>
                  <a:pt x="239" y="36"/>
                </a:cubicBezTo>
                <a:cubicBezTo>
                  <a:pt x="239" y="35"/>
                  <a:pt x="238" y="34"/>
                  <a:pt x="238" y="33"/>
                </a:cubicBezTo>
                <a:cubicBezTo>
                  <a:pt x="238" y="32"/>
                  <a:pt x="239" y="30"/>
                  <a:pt x="239" y="30"/>
                </a:cubicBezTo>
                <a:cubicBezTo>
                  <a:pt x="239" y="29"/>
                  <a:pt x="238" y="28"/>
                  <a:pt x="238" y="28"/>
                </a:cubicBezTo>
                <a:cubicBezTo>
                  <a:pt x="238" y="28"/>
                  <a:pt x="238" y="27"/>
                  <a:pt x="238" y="27"/>
                </a:cubicBezTo>
                <a:cubicBezTo>
                  <a:pt x="239" y="26"/>
                  <a:pt x="239" y="25"/>
                  <a:pt x="239" y="25"/>
                </a:cubicBezTo>
                <a:cubicBezTo>
                  <a:pt x="238" y="24"/>
                  <a:pt x="238" y="25"/>
                  <a:pt x="238" y="24"/>
                </a:cubicBezTo>
                <a:cubicBezTo>
                  <a:pt x="238" y="23"/>
                  <a:pt x="238" y="21"/>
                  <a:pt x="239" y="21"/>
                </a:cubicBezTo>
                <a:cubicBezTo>
                  <a:pt x="239" y="20"/>
                  <a:pt x="239" y="20"/>
                  <a:pt x="239" y="18"/>
                </a:cubicBezTo>
                <a:cubicBezTo>
                  <a:pt x="240" y="16"/>
                  <a:pt x="239" y="15"/>
                  <a:pt x="239" y="14"/>
                </a:cubicBezTo>
                <a:cubicBezTo>
                  <a:pt x="239" y="14"/>
                  <a:pt x="237" y="9"/>
                  <a:pt x="237" y="8"/>
                </a:cubicBezTo>
                <a:cubicBezTo>
                  <a:pt x="237" y="7"/>
                  <a:pt x="236" y="6"/>
                  <a:pt x="236" y="4"/>
                </a:cubicBezTo>
                <a:cubicBezTo>
                  <a:pt x="236" y="3"/>
                  <a:pt x="236" y="0"/>
                  <a:pt x="23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56"/>
                  <a:pt x="0" y="156"/>
                  <a:pt x="0" y="156"/>
                </a:cubicBezTo>
                <a:cubicBezTo>
                  <a:pt x="258" y="156"/>
                  <a:pt x="258" y="156"/>
                  <a:pt x="258" y="156"/>
                </a:cubicBezTo>
                <a:cubicBezTo>
                  <a:pt x="258" y="156"/>
                  <a:pt x="258" y="140"/>
                  <a:pt x="258" y="139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7" name="Freeform 25">
            <a:extLst>
              <a:ext uri="{FF2B5EF4-FFF2-40B4-BE49-F238E27FC236}">
                <a16:creationId xmlns:a16="http://schemas.microsoft.com/office/drawing/2014/main" id="{3C45AC45-338B-4586-9FEE-66AFCA2F6510}"/>
              </a:ext>
            </a:extLst>
          </p:cNvPr>
          <p:cNvSpPr>
            <a:spLocks noEditPoints="1"/>
          </p:cNvSpPr>
          <p:nvPr/>
        </p:nvSpPr>
        <p:spPr bwMode="auto">
          <a:xfrm>
            <a:off x="9521844" y="3589264"/>
            <a:ext cx="1196195" cy="460965"/>
          </a:xfrm>
          <a:custGeom>
            <a:avLst/>
            <a:gdLst>
              <a:gd name="T0" fmla="*/ 300 w 302"/>
              <a:gd name="T1" fmla="*/ 26 h 116"/>
              <a:gd name="T2" fmla="*/ 293 w 302"/>
              <a:gd name="T3" fmla="*/ 4 h 116"/>
              <a:gd name="T4" fmla="*/ 123 w 302"/>
              <a:gd name="T5" fmla="*/ 0 h 116"/>
              <a:gd name="T6" fmla="*/ 87 w 302"/>
              <a:gd name="T7" fmla="*/ 10 h 116"/>
              <a:gd name="T8" fmla="*/ 72 w 302"/>
              <a:gd name="T9" fmla="*/ 19 h 116"/>
              <a:gd name="T10" fmla="*/ 59 w 302"/>
              <a:gd name="T11" fmla="*/ 22 h 116"/>
              <a:gd name="T12" fmla="*/ 48 w 302"/>
              <a:gd name="T13" fmla="*/ 33 h 116"/>
              <a:gd name="T14" fmla="*/ 37 w 302"/>
              <a:gd name="T15" fmla="*/ 38 h 116"/>
              <a:gd name="T16" fmla="*/ 14 w 302"/>
              <a:gd name="T17" fmla="*/ 47 h 116"/>
              <a:gd name="T18" fmla="*/ 5 w 302"/>
              <a:gd name="T19" fmla="*/ 58 h 116"/>
              <a:gd name="T20" fmla="*/ 52 w 302"/>
              <a:gd name="T21" fmla="*/ 64 h 116"/>
              <a:gd name="T22" fmla="*/ 68 w 302"/>
              <a:gd name="T23" fmla="*/ 59 h 116"/>
              <a:gd name="T24" fmla="*/ 114 w 302"/>
              <a:gd name="T25" fmla="*/ 63 h 116"/>
              <a:gd name="T26" fmla="*/ 122 w 302"/>
              <a:gd name="T27" fmla="*/ 75 h 116"/>
              <a:gd name="T28" fmla="*/ 205 w 302"/>
              <a:gd name="T29" fmla="*/ 114 h 116"/>
              <a:gd name="T30" fmla="*/ 218 w 302"/>
              <a:gd name="T31" fmla="*/ 114 h 116"/>
              <a:gd name="T32" fmla="*/ 222 w 302"/>
              <a:gd name="T33" fmla="*/ 106 h 116"/>
              <a:gd name="T34" fmla="*/ 225 w 302"/>
              <a:gd name="T35" fmla="*/ 104 h 116"/>
              <a:gd name="T36" fmla="*/ 233 w 302"/>
              <a:gd name="T37" fmla="*/ 93 h 116"/>
              <a:gd name="T38" fmla="*/ 240 w 302"/>
              <a:gd name="T39" fmla="*/ 88 h 116"/>
              <a:gd name="T40" fmla="*/ 240 w 302"/>
              <a:gd name="T41" fmla="*/ 83 h 116"/>
              <a:gd name="T42" fmla="*/ 242 w 302"/>
              <a:gd name="T43" fmla="*/ 84 h 116"/>
              <a:gd name="T44" fmla="*/ 252 w 302"/>
              <a:gd name="T45" fmla="*/ 81 h 116"/>
              <a:gd name="T46" fmla="*/ 261 w 302"/>
              <a:gd name="T47" fmla="*/ 79 h 116"/>
              <a:gd name="T48" fmla="*/ 268 w 302"/>
              <a:gd name="T49" fmla="*/ 78 h 116"/>
              <a:gd name="T50" fmla="*/ 274 w 302"/>
              <a:gd name="T51" fmla="*/ 73 h 116"/>
              <a:gd name="T52" fmla="*/ 274 w 302"/>
              <a:gd name="T53" fmla="*/ 69 h 116"/>
              <a:gd name="T54" fmla="*/ 269 w 302"/>
              <a:gd name="T55" fmla="*/ 68 h 116"/>
              <a:gd name="T56" fmla="*/ 261 w 302"/>
              <a:gd name="T57" fmla="*/ 71 h 116"/>
              <a:gd name="T58" fmla="*/ 253 w 302"/>
              <a:gd name="T59" fmla="*/ 65 h 116"/>
              <a:gd name="T60" fmla="*/ 258 w 302"/>
              <a:gd name="T61" fmla="*/ 67 h 116"/>
              <a:gd name="T62" fmla="*/ 265 w 302"/>
              <a:gd name="T63" fmla="*/ 67 h 116"/>
              <a:gd name="T64" fmla="*/ 264 w 302"/>
              <a:gd name="T65" fmla="*/ 61 h 116"/>
              <a:gd name="T66" fmla="*/ 270 w 302"/>
              <a:gd name="T67" fmla="*/ 56 h 116"/>
              <a:gd name="T68" fmla="*/ 259 w 302"/>
              <a:gd name="T69" fmla="*/ 51 h 116"/>
              <a:gd name="T70" fmla="*/ 266 w 302"/>
              <a:gd name="T71" fmla="*/ 51 h 116"/>
              <a:gd name="T72" fmla="*/ 271 w 302"/>
              <a:gd name="T73" fmla="*/ 47 h 116"/>
              <a:gd name="T74" fmla="*/ 274 w 302"/>
              <a:gd name="T75" fmla="*/ 50 h 116"/>
              <a:gd name="T76" fmla="*/ 285 w 302"/>
              <a:gd name="T77" fmla="*/ 52 h 116"/>
              <a:gd name="T78" fmla="*/ 298 w 302"/>
              <a:gd name="T79" fmla="*/ 39 h 116"/>
              <a:gd name="T80" fmla="*/ 291 w 302"/>
              <a:gd name="T81" fmla="*/ 29 h 116"/>
              <a:gd name="T82" fmla="*/ 284 w 302"/>
              <a:gd name="T83" fmla="*/ 38 h 116"/>
              <a:gd name="T84" fmla="*/ 286 w 302"/>
              <a:gd name="T85" fmla="*/ 27 h 116"/>
              <a:gd name="T86" fmla="*/ 274 w 302"/>
              <a:gd name="T87" fmla="*/ 26 h 116"/>
              <a:gd name="T88" fmla="*/ 264 w 302"/>
              <a:gd name="T89" fmla="*/ 26 h 116"/>
              <a:gd name="T90" fmla="*/ 261 w 302"/>
              <a:gd name="T91" fmla="*/ 19 h 116"/>
              <a:gd name="T92" fmla="*/ 264 w 302"/>
              <a:gd name="T93" fmla="*/ 17 h 116"/>
              <a:gd name="T94" fmla="*/ 269 w 302"/>
              <a:gd name="T95" fmla="*/ 24 h 116"/>
              <a:gd name="T96" fmla="*/ 274 w 302"/>
              <a:gd name="T97" fmla="*/ 19 h 116"/>
              <a:gd name="T98" fmla="*/ 279 w 302"/>
              <a:gd name="T99" fmla="*/ 17 h 116"/>
              <a:gd name="T100" fmla="*/ 283 w 302"/>
              <a:gd name="T101" fmla="*/ 15 h 116"/>
              <a:gd name="T102" fmla="*/ 289 w 302"/>
              <a:gd name="T103" fmla="*/ 17 h 116"/>
              <a:gd name="T104" fmla="*/ 294 w 302"/>
              <a:gd name="T105" fmla="*/ 20 h 116"/>
              <a:gd name="T106" fmla="*/ 287 w 302"/>
              <a:gd name="T107" fmla="*/ 4 h 116"/>
              <a:gd name="T108" fmla="*/ 294 w 302"/>
              <a:gd name="T109" fmla="*/ 12 h 116"/>
              <a:gd name="T110" fmla="*/ 302 w 302"/>
              <a:gd name="T111" fmla="*/ 29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02" h="116">
                <a:moveTo>
                  <a:pt x="298" y="29"/>
                </a:moveTo>
                <a:cubicBezTo>
                  <a:pt x="299" y="28"/>
                  <a:pt x="299" y="29"/>
                  <a:pt x="300" y="30"/>
                </a:cubicBezTo>
                <a:cubicBezTo>
                  <a:pt x="300" y="30"/>
                  <a:pt x="301" y="31"/>
                  <a:pt x="300" y="31"/>
                </a:cubicBezTo>
                <a:cubicBezTo>
                  <a:pt x="300" y="32"/>
                  <a:pt x="299" y="31"/>
                  <a:pt x="299" y="31"/>
                </a:cubicBezTo>
                <a:cubicBezTo>
                  <a:pt x="299" y="31"/>
                  <a:pt x="299" y="31"/>
                  <a:pt x="299" y="30"/>
                </a:cubicBezTo>
                <a:cubicBezTo>
                  <a:pt x="298" y="30"/>
                  <a:pt x="298" y="30"/>
                  <a:pt x="298" y="29"/>
                </a:cubicBezTo>
                <a:close/>
                <a:moveTo>
                  <a:pt x="300" y="26"/>
                </a:moveTo>
                <a:cubicBezTo>
                  <a:pt x="300" y="25"/>
                  <a:pt x="299" y="24"/>
                  <a:pt x="299" y="23"/>
                </a:cubicBezTo>
                <a:cubicBezTo>
                  <a:pt x="298" y="21"/>
                  <a:pt x="298" y="20"/>
                  <a:pt x="297" y="19"/>
                </a:cubicBezTo>
                <a:cubicBezTo>
                  <a:pt x="297" y="18"/>
                  <a:pt x="296" y="17"/>
                  <a:pt x="296" y="16"/>
                </a:cubicBezTo>
                <a:cubicBezTo>
                  <a:pt x="296" y="15"/>
                  <a:pt x="295" y="13"/>
                  <a:pt x="295" y="12"/>
                </a:cubicBezTo>
                <a:cubicBezTo>
                  <a:pt x="295" y="11"/>
                  <a:pt x="294" y="10"/>
                  <a:pt x="294" y="9"/>
                </a:cubicBezTo>
                <a:cubicBezTo>
                  <a:pt x="294" y="8"/>
                  <a:pt x="294" y="8"/>
                  <a:pt x="294" y="7"/>
                </a:cubicBezTo>
                <a:cubicBezTo>
                  <a:pt x="294" y="6"/>
                  <a:pt x="293" y="5"/>
                  <a:pt x="293" y="4"/>
                </a:cubicBezTo>
                <a:cubicBezTo>
                  <a:pt x="293" y="3"/>
                  <a:pt x="293" y="2"/>
                  <a:pt x="293" y="2"/>
                </a:cubicBezTo>
                <a:cubicBezTo>
                  <a:pt x="291" y="2"/>
                  <a:pt x="291" y="2"/>
                  <a:pt x="291" y="2"/>
                </a:cubicBezTo>
                <a:cubicBezTo>
                  <a:pt x="291" y="2"/>
                  <a:pt x="291" y="2"/>
                  <a:pt x="291" y="2"/>
                </a:cubicBezTo>
                <a:cubicBezTo>
                  <a:pt x="291" y="2"/>
                  <a:pt x="291" y="2"/>
                  <a:pt x="290" y="2"/>
                </a:cubicBezTo>
                <a:cubicBezTo>
                  <a:pt x="290" y="2"/>
                  <a:pt x="290" y="2"/>
                  <a:pt x="290" y="2"/>
                </a:cubicBezTo>
                <a:cubicBezTo>
                  <a:pt x="187" y="2"/>
                  <a:pt x="187" y="2"/>
                  <a:pt x="187" y="2"/>
                </a:cubicBezTo>
                <a:cubicBezTo>
                  <a:pt x="123" y="0"/>
                  <a:pt x="123" y="0"/>
                  <a:pt x="123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92" y="0"/>
                  <a:pt x="90" y="2"/>
                  <a:pt x="90" y="3"/>
                </a:cubicBezTo>
                <a:cubicBezTo>
                  <a:pt x="90" y="3"/>
                  <a:pt x="91" y="5"/>
                  <a:pt x="91" y="5"/>
                </a:cubicBezTo>
                <a:cubicBezTo>
                  <a:pt x="91" y="6"/>
                  <a:pt x="90" y="6"/>
                  <a:pt x="90" y="7"/>
                </a:cubicBezTo>
                <a:cubicBezTo>
                  <a:pt x="89" y="8"/>
                  <a:pt x="90" y="8"/>
                  <a:pt x="90" y="9"/>
                </a:cubicBezTo>
                <a:cubicBezTo>
                  <a:pt x="90" y="9"/>
                  <a:pt x="91" y="11"/>
                  <a:pt x="90" y="11"/>
                </a:cubicBezTo>
                <a:cubicBezTo>
                  <a:pt x="90" y="10"/>
                  <a:pt x="88" y="10"/>
                  <a:pt x="87" y="10"/>
                </a:cubicBezTo>
                <a:cubicBezTo>
                  <a:pt x="87" y="9"/>
                  <a:pt x="86" y="10"/>
                  <a:pt x="86" y="11"/>
                </a:cubicBezTo>
                <a:cubicBezTo>
                  <a:pt x="85" y="11"/>
                  <a:pt x="84" y="12"/>
                  <a:pt x="83" y="13"/>
                </a:cubicBezTo>
                <a:cubicBezTo>
                  <a:pt x="82" y="14"/>
                  <a:pt x="80" y="19"/>
                  <a:pt x="80" y="19"/>
                </a:cubicBezTo>
                <a:cubicBezTo>
                  <a:pt x="79" y="20"/>
                  <a:pt x="78" y="20"/>
                  <a:pt x="78" y="21"/>
                </a:cubicBezTo>
                <a:cubicBezTo>
                  <a:pt x="77" y="21"/>
                  <a:pt x="76" y="20"/>
                  <a:pt x="75" y="19"/>
                </a:cubicBezTo>
                <a:cubicBezTo>
                  <a:pt x="74" y="19"/>
                  <a:pt x="74" y="18"/>
                  <a:pt x="73" y="18"/>
                </a:cubicBezTo>
                <a:cubicBezTo>
                  <a:pt x="73" y="19"/>
                  <a:pt x="72" y="19"/>
                  <a:pt x="72" y="19"/>
                </a:cubicBezTo>
                <a:cubicBezTo>
                  <a:pt x="71" y="20"/>
                  <a:pt x="70" y="19"/>
                  <a:pt x="68" y="20"/>
                </a:cubicBezTo>
                <a:cubicBezTo>
                  <a:pt x="67" y="20"/>
                  <a:pt x="67" y="21"/>
                  <a:pt x="66" y="22"/>
                </a:cubicBezTo>
                <a:cubicBezTo>
                  <a:pt x="65" y="23"/>
                  <a:pt x="65" y="24"/>
                  <a:pt x="65" y="25"/>
                </a:cubicBezTo>
                <a:cubicBezTo>
                  <a:pt x="64" y="26"/>
                  <a:pt x="63" y="26"/>
                  <a:pt x="62" y="27"/>
                </a:cubicBezTo>
                <a:cubicBezTo>
                  <a:pt x="61" y="27"/>
                  <a:pt x="59" y="26"/>
                  <a:pt x="59" y="26"/>
                </a:cubicBezTo>
                <a:cubicBezTo>
                  <a:pt x="59" y="25"/>
                  <a:pt x="60" y="24"/>
                  <a:pt x="60" y="24"/>
                </a:cubicBezTo>
                <a:cubicBezTo>
                  <a:pt x="60" y="24"/>
                  <a:pt x="59" y="22"/>
                  <a:pt x="59" y="22"/>
                </a:cubicBezTo>
                <a:cubicBezTo>
                  <a:pt x="58" y="22"/>
                  <a:pt x="57" y="23"/>
                  <a:pt x="57" y="23"/>
                </a:cubicBezTo>
                <a:cubicBezTo>
                  <a:pt x="56" y="23"/>
                  <a:pt x="54" y="25"/>
                  <a:pt x="54" y="25"/>
                </a:cubicBezTo>
                <a:cubicBezTo>
                  <a:pt x="53" y="28"/>
                  <a:pt x="53" y="28"/>
                  <a:pt x="53" y="28"/>
                </a:cubicBezTo>
                <a:cubicBezTo>
                  <a:pt x="53" y="28"/>
                  <a:pt x="52" y="28"/>
                  <a:pt x="51" y="27"/>
                </a:cubicBezTo>
                <a:cubicBezTo>
                  <a:pt x="51" y="27"/>
                  <a:pt x="50" y="28"/>
                  <a:pt x="49" y="28"/>
                </a:cubicBezTo>
                <a:cubicBezTo>
                  <a:pt x="49" y="29"/>
                  <a:pt x="49" y="30"/>
                  <a:pt x="49" y="30"/>
                </a:cubicBezTo>
                <a:cubicBezTo>
                  <a:pt x="49" y="31"/>
                  <a:pt x="48" y="32"/>
                  <a:pt x="48" y="33"/>
                </a:cubicBezTo>
                <a:cubicBezTo>
                  <a:pt x="47" y="33"/>
                  <a:pt x="47" y="34"/>
                  <a:pt x="46" y="34"/>
                </a:cubicBezTo>
                <a:cubicBezTo>
                  <a:pt x="46" y="34"/>
                  <a:pt x="45" y="34"/>
                  <a:pt x="44" y="34"/>
                </a:cubicBezTo>
                <a:cubicBezTo>
                  <a:pt x="44" y="34"/>
                  <a:pt x="42" y="34"/>
                  <a:pt x="42" y="34"/>
                </a:cubicBezTo>
                <a:cubicBezTo>
                  <a:pt x="41" y="35"/>
                  <a:pt x="41" y="35"/>
                  <a:pt x="41" y="35"/>
                </a:cubicBezTo>
                <a:cubicBezTo>
                  <a:pt x="40" y="36"/>
                  <a:pt x="39" y="36"/>
                  <a:pt x="39" y="37"/>
                </a:cubicBezTo>
                <a:cubicBezTo>
                  <a:pt x="39" y="37"/>
                  <a:pt x="38" y="37"/>
                  <a:pt x="37" y="37"/>
                </a:cubicBezTo>
                <a:cubicBezTo>
                  <a:pt x="37" y="37"/>
                  <a:pt x="37" y="38"/>
                  <a:pt x="37" y="38"/>
                </a:cubicBezTo>
                <a:cubicBezTo>
                  <a:pt x="37" y="39"/>
                  <a:pt x="36" y="39"/>
                  <a:pt x="36" y="39"/>
                </a:cubicBezTo>
                <a:cubicBezTo>
                  <a:pt x="36" y="39"/>
                  <a:pt x="34" y="39"/>
                  <a:pt x="34" y="40"/>
                </a:cubicBezTo>
                <a:cubicBezTo>
                  <a:pt x="34" y="40"/>
                  <a:pt x="33" y="40"/>
                  <a:pt x="32" y="41"/>
                </a:cubicBezTo>
                <a:cubicBezTo>
                  <a:pt x="32" y="41"/>
                  <a:pt x="29" y="44"/>
                  <a:pt x="29" y="44"/>
                </a:cubicBezTo>
                <a:cubicBezTo>
                  <a:pt x="20" y="44"/>
                  <a:pt x="20" y="44"/>
                  <a:pt x="20" y="44"/>
                </a:cubicBezTo>
                <a:cubicBezTo>
                  <a:pt x="20" y="44"/>
                  <a:pt x="18" y="44"/>
                  <a:pt x="18" y="44"/>
                </a:cubicBezTo>
                <a:cubicBezTo>
                  <a:pt x="18" y="44"/>
                  <a:pt x="14" y="47"/>
                  <a:pt x="14" y="47"/>
                </a:cubicBezTo>
                <a:cubicBezTo>
                  <a:pt x="14" y="47"/>
                  <a:pt x="11" y="50"/>
                  <a:pt x="11" y="50"/>
                </a:cubicBezTo>
                <a:cubicBezTo>
                  <a:pt x="11" y="50"/>
                  <a:pt x="11" y="51"/>
                  <a:pt x="11" y="52"/>
                </a:cubicBezTo>
                <a:cubicBezTo>
                  <a:pt x="11" y="52"/>
                  <a:pt x="10" y="53"/>
                  <a:pt x="10" y="53"/>
                </a:cubicBezTo>
                <a:cubicBezTo>
                  <a:pt x="10" y="53"/>
                  <a:pt x="10" y="54"/>
                  <a:pt x="10" y="54"/>
                </a:cubicBezTo>
                <a:cubicBezTo>
                  <a:pt x="11" y="55"/>
                  <a:pt x="10" y="56"/>
                  <a:pt x="10" y="56"/>
                </a:cubicBezTo>
                <a:cubicBezTo>
                  <a:pt x="9" y="56"/>
                  <a:pt x="8" y="57"/>
                  <a:pt x="7" y="57"/>
                </a:cubicBezTo>
                <a:cubicBezTo>
                  <a:pt x="7" y="57"/>
                  <a:pt x="5" y="58"/>
                  <a:pt x="5" y="58"/>
                </a:cubicBezTo>
                <a:cubicBezTo>
                  <a:pt x="5" y="58"/>
                  <a:pt x="4" y="56"/>
                  <a:pt x="4" y="56"/>
                </a:cubicBezTo>
                <a:cubicBezTo>
                  <a:pt x="3" y="56"/>
                  <a:pt x="2" y="57"/>
                  <a:pt x="1" y="58"/>
                </a:cubicBezTo>
                <a:cubicBezTo>
                  <a:pt x="1" y="58"/>
                  <a:pt x="1" y="60"/>
                  <a:pt x="1" y="61"/>
                </a:cubicBezTo>
                <a:cubicBezTo>
                  <a:pt x="1" y="61"/>
                  <a:pt x="0" y="68"/>
                  <a:pt x="0" y="68"/>
                </a:cubicBezTo>
                <a:cubicBezTo>
                  <a:pt x="42" y="68"/>
                  <a:pt x="42" y="68"/>
                  <a:pt x="42" y="68"/>
                </a:cubicBezTo>
                <a:cubicBezTo>
                  <a:pt x="42" y="68"/>
                  <a:pt x="51" y="65"/>
                  <a:pt x="51" y="65"/>
                </a:cubicBezTo>
                <a:cubicBezTo>
                  <a:pt x="51" y="65"/>
                  <a:pt x="52" y="64"/>
                  <a:pt x="52" y="64"/>
                </a:cubicBezTo>
                <a:cubicBezTo>
                  <a:pt x="53" y="64"/>
                  <a:pt x="55" y="64"/>
                  <a:pt x="55" y="64"/>
                </a:cubicBezTo>
                <a:cubicBezTo>
                  <a:pt x="55" y="64"/>
                  <a:pt x="55" y="63"/>
                  <a:pt x="56" y="63"/>
                </a:cubicBezTo>
                <a:cubicBezTo>
                  <a:pt x="57" y="63"/>
                  <a:pt x="57" y="62"/>
                  <a:pt x="58" y="62"/>
                </a:cubicBezTo>
                <a:cubicBezTo>
                  <a:pt x="59" y="62"/>
                  <a:pt x="62" y="61"/>
                  <a:pt x="62" y="61"/>
                </a:cubicBezTo>
                <a:cubicBezTo>
                  <a:pt x="63" y="61"/>
                  <a:pt x="64" y="61"/>
                  <a:pt x="64" y="61"/>
                </a:cubicBezTo>
                <a:cubicBezTo>
                  <a:pt x="65" y="60"/>
                  <a:pt x="66" y="59"/>
                  <a:pt x="66" y="59"/>
                </a:cubicBezTo>
                <a:cubicBezTo>
                  <a:pt x="67" y="59"/>
                  <a:pt x="68" y="59"/>
                  <a:pt x="68" y="59"/>
                </a:cubicBezTo>
                <a:cubicBezTo>
                  <a:pt x="68" y="60"/>
                  <a:pt x="69" y="60"/>
                  <a:pt x="70" y="59"/>
                </a:cubicBezTo>
                <a:cubicBezTo>
                  <a:pt x="71" y="59"/>
                  <a:pt x="74" y="59"/>
                  <a:pt x="75" y="59"/>
                </a:cubicBezTo>
                <a:cubicBezTo>
                  <a:pt x="75" y="59"/>
                  <a:pt x="80" y="59"/>
                  <a:pt x="80" y="59"/>
                </a:cubicBezTo>
                <a:cubicBezTo>
                  <a:pt x="80" y="59"/>
                  <a:pt x="99" y="60"/>
                  <a:pt x="99" y="60"/>
                </a:cubicBezTo>
                <a:cubicBezTo>
                  <a:pt x="99" y="60"/>
                  <a:pt x="108" y="61"/>
                  <a:pt x="108" y="61"/>
                </a:cubicBezTo>
                <a:cubicBezTo>
                  <a:pt x="108" y="61"/>
                  <a:pt x="114" y="61"/>
                  <a:pt x="114" y="61"/>
                </a:cubicBezTo>
                <a:cubicBezTo>
                  <a:pt x="114" y="61"/>
                  <a:pt x="114" y="63"/>
                  <a:pt x="114" y="63"/>
                </a:cubicBezTo>
                <a:cubicBezTo>
                  <a:pt x="114" y="63"/>
                  <a:pt x="113" y="64"/>
                  <a:pt x="113" y="64"/>
                </a:cubicBezTo>
                <a:cubicBezTo>
                  <a:pt x="113" y="64"/>
                  <a:pt x="114" y="65"/>
                  <a:pt x="114" y="65"/>
                </a:cubicBezTo>
                <a:cubicBezTo>
                  <a:pt x="114" y="65"/>
                  <a:pt x="115" y="64"/>
                  <a:pt x="115" y="64"/>
                </a:cubicBezTo>
                <a:cubicBezTo>
                  <a:pt x="116" y="64"/>
                  <a:pt x="117" y="64"/>
                  <a:pt x="117" y="64"/>
                </a:cubicBezTo>
                <a:cubicBezTo>
                  <a:pt x="117" y="64"/>
                  <a:pt x="118" y="64"/>
                  <a:pt x="118" y="64"/>
                </a:cubicBezTo>
                <a:cubicBezTo>
                  <a:pt x="118" y="64"/>
                  <a:pt x="122" y="70"/>
                  <a:pt x="122" y="70"/>
                </a:cubicBezTo>
                <a:cubicBezTo>
                  <a:pt x="122" y="70"/>
                  <a:pt x="122" y="75"/>
                  <a:pt x="122" y="75"/>
                </a:cubicBezTo>
                <a:cubicBezTo>
                  <a:pt x="161" y="76"/>
                  <a:pt x="161" y="76"/>
                  <a:pt x="161" y="76"/>
                </a:cubicBezTo>
                <a:cubicBezTo>
                  <a:pt x="200" y="116"/>
                  <a:pt x="200" y="116"/>
                  <a:pt x="200" y="116"/>
                </a:cubicBezTo>
                <a:cubicBezTo>
                  <a:pt x="200" y="116"/>
                  <a:pt x="201" y="116"/>
                  <a:pt x="201" y="115"/>
                </a:cubicBezTo>
                <a:cubicBezTo>
                  <a:pt x="201" y="115"/>
                  <a:pt x="201" y="115"/>
                  <a:pt x="202" y="115"/>
                </a:cubicBezTo>
                <a:cubicBezTo>
                  <a:pt x="202" y="115"/>
                  <a:pt x="202" y="115"/>
                  <a:pt x="203" y="114"/>
                </a:cubicBezTo>
                <a:cubicBezTo>
                  <a:pt x="203" y="114"/>
                  <a:pt x="203" y="114"/>
                  <a:pt x="203" y="114"/>
                </a:cubicBezTo>
                <a:cubicBezTo>
                  <a:pt x="204" y="114"/>
                  <a:pt x="205" y="114"/>
                  <a:pt x="205" y="114"/>
                </a:cubicBezTo>
                <a:cubicBezTo>
                  <a:pt x="206" y="114"/>
                  <a:pt x="206" y="113"/>
                  <a:pt x="206" y="113"/>
                </a:cubicBezTo>
                <a:cubicBezTo>
                  <a:pt x="207" y="113"/>
                  <a:pt x="208" y="113"/>
                  <a:pt x="209" y="113"/>
                </a:cubicBezTo>
                <a:cubicBezTo>
                  <a:pt x="210" y="113"/>
                  <a:pt x="211" y="113"/>
                  <a:pt x="213" y="113"/>
                </a:cubicBezTo>
                <a:cubicBezTo>
                  <a:pt x="213" y="113"/>
                  <a:pt x="214" y="113"/>
                  <a:pt x="215" y="113"/>
                </a:cubicBezTo>
                <a:cubicBezTo>
                  <a:pt x="215" y="114"/>
                  <a:pt x="215" y="114"/>
                  <a:pt x="216" y="114"/>
                </a:cubicBezTo>
                <a:cubicBezTo>
                  <a:pt x="216" y="114"/>
                  <a:pt x="217" y="114"/>
                  <a:pt x="217" y="114"/>
                </a:cubicBezTo>
                <a:cubicBezTo>
                  <a:pt x="218" y="114"/>
                  <a:pt x="218" y="114"/>
                  <a:pt x="218" y="114"/>
                </a:cubicBezTo>
                <a:cubicBezTo>
                  <a:pt x="219" y="113"/>
                  <a:pt x="219" y="113"/>
                  <a:pt x="219" y="113"/>
                </a:cubicBezTo>
                <a:cubicBezTo>
                  <a:pt x="219" y="112"/>
                  <a:pt x="220" y="112"/>
                  <a:pt x="220" y="111"/>
                </a:cubicBezTo>
                <a:cubicBezTo>
                  <a:pt x="220" y="111"/>
                  <a:pt x="220" y="110"/>
                  <a:pt x="220" y="109"/>
                </a:cubicBezTo>
                <a:cubicBezTo>
                  <a:pt x="220" y="108"/>
                  <a:pt x="220" y="108"/>
                  <a:pt x="220" y="107"/>
                </a:cubicBezTo>
                <a:cubicBezTo>
                  <a:pt x="220" y="106"/>
                  <a:pt x="221" y="106"/>
                  <a:pt x="221" y="106"/>
                </a:cubicBezTo>
                <a:cubicBezTo>
                  <a:pt x="221" y="105"/>
                  <a:pt x="221" y="105"/>
                  <a:pt x="221" y="105"/>
                </a:cubicBezTo>
                <a:cubicBezTo>
                  <a:pt x="221" y="105"/>
                  <a:pt x="222" y="106"/>
                  <a:pt x="222" y="106"/>
                </a:cubicBezTo>
                <a:cubicBezTo>
                  <a:pt x="222" y="107"/>
                  <a:pt x="221" y="107"/>
                  <a:pt x="222" y="108"/>
                </a:cubicBezTo>
                <a:cubicBezTo>
                  <a:pt x="222" y="108"/>
                  <a:pt x="222" y="108"/>
                  <a:pt x="222" y="109"/>
                </a:cubicBezTo>
                <a:cubicBezTo>
                  <a:pt x="222" y="109"/>
                  <a:pt x="222" y="108"/>
                  <a:pt x="223" y="108"/>
                </a:cubicBezTo>
                <a:cubicBezTo>
                  <a:pt x="223" y="108"/>
                  <a:pt x="223" y="107"/>
                  <a:pt x="223" y="107"/>
                </a:cubicBezTo>
                <a:cubicBezTo>
                  <a:pt x="223" y="107"/>
                  <a:pt x="223" y="106"/>
                  <a:pt x="223" y="106"/>
                </a:cubicBezTo>
                <a:cubicBezTo>
                  <a:pt x="223" y="106"/>
                  <a:pt x="224" y="105"/>
                  <a:pt x="224" y="105"/>
                </a:cubicBezTo>
                <a:cubicBezTo>
                  <a:pt x="224" y="105"/>
                  <a:pt x="224" y="104"/>
                  <a:pt x="225" y="104"/>
                </a:cubicBezTo>
                <a:cubicBezTo>
                  <a:pt x="225" y="104"/>
                  <a:pt x="225" y="103"/>
                  <a:pt x="225" y="103"/>
                </a:cubicBezTo>
                <a:cubicBezTo>
                  <a:pt x="225" y="102"/>
                  <a:pt x="225" y="102"/>
                  <a:pt x="225" y="101"/>
                </a:cubicBezTo>
                <a:cubicBezTo>
                  <a:pt x="225" y="100"/>
                  <a:pt x="226" y="100"/>
                  <a:pt x="227" y="100"/>
                </a:cubicBezTo>
                <a:cubicBezTo>
                  <a:pt x="228" y="99"/>
                  <a:pt x="228" y="98"/>
                  <a:pt x="229" y="98"/>
                </a:cubicBezTo>
                <a:cubicBezTo>
                  <a:pt x="230" y="97"/>
                  <a:pt x="230" y="97"/>
                  <a:pt x="230" y="97"/>
                </a:cubicBezTo>
                <a:cubicBezTo>
                  <a:pt x="230" y="96"/>
                  <a:pt x="231" y="96"/>
                  <a:pt x="231" y="95"/>
                </a:cubicBezTo>
                <a:cubicBezTo>
                  <a:pt x="231" y="95"/>
                  <a:pt x="232" y="94"/>
                  <a:pt x="233" y="93"/>
                </a:cubicBezTo>
                <a:cubicBezTo>
                  <a:pt x="233" y="93"/>
                  <a:pt x="234" y="92"/>
                  <a:pt x="234" y="91"/>
                </a:cubicBezTo>
                <a:cubicBezTo>
                  <a:pt x="235" y="91"/>
                  <a:pt x="235" y="91"/>
                  <a:pt x="235" y="91"/>
                </a:cubicBezTo>
                <a:cubicBezTo>
                  <a:pt x="235" y="91"/>
                  <a:pt x="235" y="91"/>
                  <a:pt x="236" y="91"/>
                </a:cubicBezTo>
                <a:cubicBezTo>
                  <a:pt x="236" y="91"/>
                  <a:pt x="236" y="91"/>
                  <a:pt x="237" y="90"/>
                </a:cubicBezTo>
                <a:cubicBezTo>
                  <a:pt x="237" y="90"/>
                  <a:pt x="238" y="89"/>
                  <a:pt x="239" y="89"/>
                </a:cubicBezTo>
                <a:cubicBezTo>
                  <a:pt x="239" y="89"/>
                  <a:pt x="239" y="89"/>
                  <a:pt x="240" y="89"/>
                </a:cubicBezTo>
                <a:cubicBezTo>
                  <a:pt x="240" y="89"/>
                  <a:pt x="240" y="88"/>
                  <a:pt x="240" y="88"/>
                </a:cubicBezTo>
                <a:cubicBezTo>
                  <a:pt x="240" y="88"/>
                  <a:pt x="242" y="87"/>
                  <a:pt x="242" y="87"/>
                </a:cubicBezTo>
                <a:cubicBezTo>
                  <a:pt x="242" y="87"/>
                  <a:pt x="241" y="86"/>
                  <a:pt x="241" y="86"/>
                </a:cubicBezTo>
                <a:cubicBezTo>
                  <a:pt x="241" y="86"/>
                  <a:pt x="240" y="86"/>
                  <a:pt x="240" y="86"/>
                </a:cubicBezTo>
                <a:cubicBezTo>
                  <a:pt x="239" y="86"/>
                  <a:pt x="239" y="85"/>
                  <a:pt x="239" y="85"/>
                </a:cubicBezTo>
                <a:cubicBezTo>
                  <a:pt x="239" y="85"/>
                  <a:pt x="238" y="84"/>
                  <a:pt x="238" y="84"/>
                </a:cubicBezTo>
                <a:cubicBezTo>
                  <a:pt x="238" y="84"/>
                  <a:pt x="239" y="84"/>
                  <a:pt x="239" y="84"/>
                </a:cubicBezTo>
                <a:cubicBezTo>
                  <a:pt x="239" y="84"/>
                  <a:pt x="240" y="83"/>
                  <a:pt x="240" y="83"/>
                </a:cubicBezTo>
                <a:cubicBezTo>
                  <a:pt x="241" y="82"/>
                  <a:pt x="240" y="82"/>
                  <a:pt x="239" y="81"/>
                </a:cubicBezTo>
                <a:cubicBezTo>
                  <a:pt x="239" y="81"/>
                  <a:pt x="239" y="81"/>
                  <a:pt x="239" y="81"/>
                </a:cubicBezTo>
                <a:cubicBezTo>
                  <a:pt x="239" y="80"/>
                  <a:pt x="240" y="80"/>
                  <a:pt x="240" y="80"/>
                </a:cubicBezTo>
                <a:cubicBezTo>
                  <a:pt x="240" y="80"/>
                  <a:pt x="241" y="81"/>
                  <a:pt x="241" y="81"/>
                </a:cubicBezTo>
                <a:cubicBezTo>
                  <a:pt x="241" y="82"/>
                  <a:pt x="241" y="82"/>
                  <a:pt x="241" y="83"/>
                </a:cubicBezTo>
                <a:cubicBezTo>
                  <a:pt x="242" y="83"/>
                  <a:pt x="242" y="83"/>
                  <a:pt x="242" y="83"/>
                </a:cubicBezTo>
                <a:cubicBezTo>
                  <a:pt x="242" y="84"/>
                  <a:pt x="242" y="84"/>
                  <a:pt x="242" y="84"/>
                </a:cubicBezTo>
                <a:cubicBezTo>
                  <a:pt x="242" y="85"/>
                  <a:pt x="242" y="85"/>
                  <a:pt x="242" y="86"/>
                </a:cubicBezTo>
                <a:cubicBezTo>
                  <a:pt x="242" y="86"/>
                  <a:pt x="242" y="87"/>
                  <a:pt x="243" y="86"/>
                </a:cubicBezTo>
                <a:cubicBezTo>
                  <a:pt x="243" y="86"/>
                  <a:pt x="244" y="86"/>
                  <a:pt x="244" y="86"/>
                </a:cubicBezTo>
                <a:cubicBezTo>
                  <a:pt x="245" y="85"/>
                  <a:pt x="246" y="84"/>
                  <a:pt x="247" y="84"/>
                </a:cubicBezTo>
                <a:cubicBezTo>
                  <a:pt x="247" y="83"/>
                  <a:pt x="248" y="82"/>
                  <a:pt x="249" y="82"/>
                </a:cubicBezTo>
                <a:cubicBezTo>
                  <a:pt x="249" y="82"/>
                  <a:pt x="250" y="82"/>
                  <a:pt x="250" y="82"/>
                </a:cubicBezTo>
                <a:cubicBezTo>
                  <a:pt x="250" y="81"/>
                  <a:pt x="251" y="81"/>
                  <a:pt x="252" y="81"/>
                </a:cubicBezTo>
                <a:cubicBezTo>
                  <a:pt x="252" y="81"/>
                  <a:pt x="252" y="81"/>
                  <a:pt x="253" y="81"/>
                </a:cubicBezTo>
                <a:cubicBezTo>
                  <a:pt x="253" y="81"/>
                  <a:pt x="253" y="81"/>
                  <a:pt x="254" y="81"/>
                </a:cubicBezTo>
                <a:cubicBezTo>
                  <a:pt x="254" y="81"/>
                  <a:pt x="255" y="81"/>
                  <a:pt x="255" y="81"/>
                </a:cubicBezTo>
                <a:cubicBezTo>
                  <a:pt x="256" y="81"/>
                  <a:pt x="256" y="80"/>
                  <a:pt x="256" y="80"/>
                </a:cubicBezTo>
                <a:cubicBezTo>
                  <a:pt x="257" y="80"/>
                  <a:pt x="258" y="80"/>
                  <a:pt x="259" y="80"/>
                </a:cubicBezTo>
                <a:cubicBezTo>
                  <a:pt x="259" y="80"/>
                  <a:pt x="260" y="80"/>
                  <a:pt x="260" y="79"/>
                </a:cubicBezTo>
                <a:cubicBezTo>
                  <a:pt x="260" y="79"/>
                  <a:pt x="260" y="79"/>
                  <a:pt x="261" y="79"/>
                </a:cubicBezTo>
                <a:cubicBezTo>
                  <a:pt x="261" y="79"/>
                  <a:pt x="261" y="78"/>
                  <a:pt x="262" y="78"/>
                </a:cubicBezTo>
                <a:cubicBezTo>
                  <a:pt x="262" y="78"/>
                  <a:pt x="263" y="78"/>
                  <a:pt x="264" y="77"/>
                </a:cubicBezTo>
                <a:cubicBezTo>
                  <a:pt x="264" y="77"/>
                  <a:pt x="265" y="77"/>
                  <a:pt x="265" y="78"/>
                </a:cubicBezTo>
                <a:cubicBezTo>
                  <a:pt x="265" y="78"/>
                  <a:pt x="265" y="78"/>
                  <a:pt x="265" y="79"/>
                </a:cubicBezTo>
                <a:cubicBezTo>
                  <a:pt x="265" y="79"/>
                  <a:pt x="265" y="79"/>
                  <a:pt x="266" y="80"/>
                </a:cubicBezTo>
                <a:cubicBezTo>
                  <a:pt x="266" y="80"/>
                  <a:pt x="266" y="80"/>
                  <a:pt x="266" y="79"/>
                </a:cubicBezTo>
                <a:cubicBezTo>
                  <a:pt x="267" y="79"/>
                  <a:pt x="266" y="77"/>
                  <a:pt x="268" y="78"/>
                </a:cubicBezTo>
                <a:cubicBezTo>
                  <a:pt x="268" y="78"/>
                  <a:pt x="268" y="79"/>
                  <a:pt x="268" y="79"/>
                </a:cubicBezTo>
                <a:cubicBezTo>
                  <a:pt x="268" y="79"/>
                  <a:pt x="269" y="79"/>
                  <a:pt x="269" y="79"/>
                </a:cubicBezTo>
                <a:cubicBezTo>
                  <a:pt x="270" y="79"/>
                  <a:pt x="270" y="79"/>
                  <a:pt x="271" y="79"/>
                </a:cubicBezTo>
                <a:cubicBezTo>
                  <a:pt x="271" y="78"/>
                  <a:pt x="271" y="78"/>
                  <a:pt x="271" y="78"/>
                </a:cubicBezTo>
                <a:cubicBezTo>
                  <a:pt x="272" y="77"/>
                  <a:pt x="272" y="76"/>
                  <a:pt x="272" y="75"/>
                </a:cubicBezTo>
                <a:cubicBezTo>
                  <a:pt x="273" y="75"/>
                  <a:pt x="273" y="74"/>
                  <a:pt x="273" y="73"/>
                </a:cubicBezTo>
                <a:cubicBezTo>
                  <a:pt x="274" y="73"/>
                  <a:pt x="274" y="72"/>
                  <a:pt x="274" y="73"/>
                </a:cubicBezTo>
                <a:cubicBezTo>
                  <a:pt x="275" y="73"/>
                  <a:pt x="275" y="73"/>
                  <a:pt x="275" y="73"/>
                </a:cubicBezTo>
                <a:cubicBezTo>
                  <a:pt x="275" y="73"/>
                  <a:pt x="275" y="73"/>
                  <a:pt x="276" y="73"/>
                </a:cubicBezTo>
                <a:cubicBezTo>
                  <a:pt x="276" y="73"/>
                  <a:pt x="276" y="73"/>
                  <a:pt x="277" y="72"/>
                </a:cubicBezTo>
                <a:cubicBezTo>
                  <a:pt x="277" y="72"/>
                  <a:pt x="278" y="71"/>
                  <a:pt x="278" y="71"/>
                </a:cubicBezTo>
                <a:cubicBezTo>
                  <a:pt x="278" y="70"/>
                  <a:pt x="279" y="70"/>
                  <a:pt x="278" y="69"/>
                </a:cubicBezTo>
                <a:cubicBezTo>
                  <a:pt x="277" y="69"/>
                  <a:pt x="277" y="69"/>
                  <a:pt x="276" y="69"/>
                </a:cubicBezTo>
                <a:cubicBezTo>
                  <a:pt x="276" y="69"/>
                  <a:pt x="275" y="69"/>
                  <a:pt x="274" y="69"/>
                </a:cubicBezTo>
                <a:cubicBezTo>
                  <a:pt x="273" y="69"/>
                  <a:pt x="273" y="69"/>
                  <a:pt x="273" y="68"/>
                </a:cubicBezTo>
                <a:cubicBezTo>
                  <a:pt x="273" y="68"/>
                  <a:pt x="273" y="67"/>
                  <a:pt x="273" y="66"/>
                </a:cubicBezTo>
                <a:cubicBezTo>
                  <a:pt x="273" y="66"/>
                  <a:pt x="273" y="66"/>
                  <a:pt x="272" y="66"/>
                </a:cubicBezTo>
                <a:cubicBezTo>
                  <a:pt x="272" y="66"/>
                  <a:pt x="272" y="66"/>
                  <a:pt x="272" y="67"/>
                </a:cubicBezTo>
                <a:cubicBezTo>
                  <a:pt x="272" y="67"/>
                  <a:pt x="272" y="67"/>
                  <a:pt x="271" y="67"/>
                </a:cubicBezTo>
                <a:cubicBezTo>
                  <a:pt x="271" y="67"/>
                  <a:pt x="271" y="68"/>
                  <a:pt x="270" y="68"/>
                </a:cubicBezTo>
                <a:cubicBezTo>
                  <a:pt x="269" y="68"/>
                  <a:pt x="269" y="68"/>
                  <a:pt x="269" y="68"/>
                </a:cubicBezTo>
                <a:cubicBezTo>
                  <a:pt x="268" y="68"/>
                  <a:pt x="268" y="68"/>
                  <a:pt x="267" y="69"/>
                </a:cubicBezTo>
                <a:cubicBezTo>
                  <a:pt x="267" y="69"/>
                  <a:pt x="266" y="69"/>
                  <a:pt x="266" y="69"/>
                </a:cubicBezTo>
                <a:cubicBezTo>
                  <a:pt x="266" y="69"/>
                  <a:pt x="265" y="70"/>
                  <a:pt x="265" y="70"/>
                </a:cubicBezTo>
                <a:cubicBezTo>
                  <a:pt x="264" y="70"/>
                  <a:pt x="264" y="70"/>
                  <a:pt x="264" y="70"/>
                </a:cubicBezTo>
                <a:cubicBezTo>
                  <a:pt x="264" y="70"/>
                  <a:pt x="264" y="70"/>
                  <a:pt x="263" y="70"/>
                </a:cubicBezTo>
                <a:cubicBezTo>
                  <a:pt x="263" y="71"/>
                  <a:pt x="263" y="71"/>
                  <a:pt x="262" y="71"/>
                </a:cubicBezTo>
                <a:cubicBezTo>
                  <a:pt x="262" y="71"/>
                  <a:pt x="261" y="71"/>
                  <a:pt x="261" y="71"/>
                </a:cubicBezTo>
                <a:cubicBezTo>
                  <a:pt x="261" y="71"/>
                  <a:pt x="260" y="71"/>
                  <a:pt x="260" y="71"/>
                </a:cubicBezTo>
                <a:cubicBezTo>
                  <a:pt x="259" y="70"/>
                  <a:pt x="259" y="70"/>
                  <a:pt x="259" y="70"/>
                </a:cubicBezTo>
                <a:cubicBezTo>
                  <a:pt x="258" y="70"/>
                  <a:pt x="258" y="70"/>
                  <a:pt x="258" y="70"/>
                </a:cubicBezTo>
                <a:cubicBezTo>
                  <a:pt x="258" y="69"/>
                  <a:pt x="257" y="69"/>
                  <a:pt x="257" y="69"/>
                </a:cubicBezTo>
                <a:cubicBezTo>
                  <a:pt x="256" y="69"/>
                  <a:pt x="255" y="69"/>
                  <a:pt x="255" y="68"/>
                </a:cubicBezTo>
                <a:cubicBezTo>
                  <a:pt x="255" y="68"/>
                  <a:pt x="255" y="67"/>
                  <a:pt x="254" y="67"/>
                </a:cubicBezTo>
                <a:cubicBezTo>
                  <a:pt x="254" y="66"/>
                  <a:pt x="254" y="66"/>
                  <a:pt x="253" y="65"/>
                </a:cubicBezTo>
                <a:cubicBezTo>
                  <a:pt x="253" y="65"/>
                  <a:pt x="253" y="64"/>
                  <a:pt x="252" y="64"/>
                </a:cubicBezTo>
                <a:cubicBezTo>
                  <a:pt x="252" y="64"/>
                  <a:pt x="252" y="64"/>
                  <a:pt x="252" y="64"/>
                </a:cubicBezTo>
                <a:cubicBezTo>
                  <a:pt x="253" y="63"/>
                  <a:pt x="253" y="64"/>
                  <a:pt x="254" y="64"/>
                </a:cubicBezTo>
                <a:cubicBezTo>
                  <a:pt x="254" y="64"/>
                  <a:pt x="254" y="64"/>
                  <a:pt x="254" y="64"/>
                </a:cubicBezTo>
                <a:cubicBezTo>
                  <a:pt x="254" y="65"/>
                  <a:pt x="255" y="65"/>
                  <a:pt x="255" y="65"/>
                </a:cubicBezTo>
                <a:cubicBezTo>
                  <a:pt x="255" y="65"/>
                  <a:pt x="255" y="65"/>
                  <a:pt x="256" y="66"/>
                </a:cubicBezTo>
                <a:cubicBezTo>
                  <a:pt x="256" y="66"/>
                  <a:pt x="257" y="67"/>
                  <a:pt x="258" y="67"/>
                </a:cubicBezTo>
                <a:cubicBezTo>
                  <a:pt x="258" y="67"/>
                  <a:pt x="258" y="68"/>
                  <a:pt x="258" y="68"/>
                </a:cubicBezTo>
                <a:cubicBezTo>
                  <a:pt x="259" y="68"/>
                  <a:pt x="259" y="68"/>
                  <a:pt x="259" y="68"/>
                </a:cubicBezTo>
                <a:cubicBezTo>
                  <a:pt x="260" y="69"/>
                  <a:pt x="260" y="69"/>
                  <a:pt x="260" y="69"/>
                </a:cubicBezTo>
                <a:cubicBezTo>
                  <a:pt x="261" y="69"/>
                  <a:pt x="261" y="69"/>
                  <a:pt x="262" y="68"/>
                </a:cubicBezTo>
                <a:cubicBezTo>
                  <a:pt x="262" y="68"/>
                  <a:pt x="263" y="68"/>
                  <a:pt x="263" y="67"/>
                </a:cubicBezTo>
                <a:cubicBezTo>
                  <a:pt x="264" y="67"/>
                  <a:pt x="264" y="67"/>
                  <a:pt x="264" y="67"/>
                </a:cubicBezTo>
                <a:cubicBezTo>
                  <a:pt x="264" y="67"/>
                  <a:pt x="265" y="67"/>
                  <a:pt x="265" y="67"/>
                </a:cubicBezTo>
                <a:cubicBezTo>
                  <a:pt x="265" y="66"/>
                  <a:pt x="265" y="66"/>
                  <a:pt x="265" y="66"/>
                </a:cubicBezTo>
                <a:cubicBezTo>
                  <a:pt x="266" y="66"/>
                  <a:pt x="266" y="66"/>
                  <a:pt x="266" y="65"/>
                </a:cubicBezTo>
                <a:cubicBezTo>
                  <a:pt x="267" y="65"/>
                  <a:pt x="267" y="65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8" y="63"/>
                  <a:pt x="268" y="62"/>
                  <a:pt x="268" y="61"/>
                </a:cubicBezTo>
                <a:cubicBezTo>
                  <a:pt x="267" y="60"/>
                  <a:pt x="266" y="61"/>
                  <a:pt x="265" y="61"/>
                </a:cubicBezTo>
                <a:cubicBezTo>
                  <a:pt x="265" y="61"/>
                  <a:pt x="265" y="61"/>
                  <a:pt x="264" y="61"/>
                </a:cubicBezTo>
                <a:cubicBezTo>
                  <a:pt x="264" y="62"/>
                  <a:pt x="264" y="61"/>
                  <a:pt x="264" y="61"/>
                </a:cubicBezTo>
                <a:cubicBezTo>
                  <a:pt x="264" y="61"/>
                  <a:pt x="264" y="61"/>
                  <a:pt x="265" y="60"/>
                </a:cubicBezTo>
                <a:cubicBezTo>
                  <a:pt x="265" y="60"/>
                  <a:pt x="265" y="60"/>
                  <a:pt x="265" y="60"/>
                </a:cubicBezTo>
                <a:cubicBezTo>
                  <a:pt x="266" y="59"/>
                  <a:pt x="266" y="59"/>
                  <a:pt x="267" y="59"/>
                </a:cubicBezTo>
                <a:cubicBezTo>
                  <a:pt x="267" y="59"/>
                  <a:pt x="268" y="60"/>
                  <a:pt x="269" y="59"/>
                </a:cubicBezTo>
                <a:cubicBezTo>
                  <a:pt x="269" y="59"/>
                  <a:pt x="270" y="59"/>
                  <a:pt x="270" y="59"/>
                </a:cubicBezTo>
                <a:cubicBezTo>
                  <a:pt x="270" y="58"/>
                  <a:pt x="270" y="57"/>
                  <a:pt x="270" y="56"/>
                </a:cubicBezTo>
                <a:cubicBezTo>
                  <a:pt x="271" y="56"/>
                  <a:pt x="271" y="56"/>
                  <a:pt x="271" y="55"/>
                </a:cubicBezTo>
                <a:cubicBezTo>
                  <a:pt x="270" y="54"/>
                  <a:pt x="268" y="54"/>
                  <a:pt x="267" y="54"/>
                </a:cubicBezTo>
                <a:cubicBezTo>
                  <a:pt x="266" y="54"/>
                  <a:pt x="266" y="53"/>
                  <a:pt x="265" y="53"/>
                </a:cubicBezTo>
                <a:cubicBezTo>
                  <a:pt x="265" y="53"/>
                  <a:pt x="264" y="53"/>
                  <a:pt x="264" y="53"/>
                </a:cubicBezTo>
                <a:cubicBezTo>
                  <a:pt x="264" y="53"/>
                  <a:pt x="263" y="53"/>
                  <a:pt x="263" y="53"/>
                </a:cubicBezTo>
                <a:cubicBezTo>
                  <a:pt x="263" y="52"/>
                  <a:pt x="263" y="52"/>
                  <a:pt x="262" y="52"/>
                </a:cubicBezTo>
                <a:cubicBezTo>
                  <a:pt x="261" y="52"/>
                  <a:pt x="260" y="51"/>
                  <a:pt x="259" y="51"/>
                </a:cubicBezTo>
                <a:cubicBezTo>
                  <a:pt x="259" y="50"/>
                  <a:pt x="258" y="50"/>
                  <a:pt x="258" y="50"/>
                </a:cubicBezTo>
                <a:cubicBezTo>
                  <a:pt x="257" y="49"/>
                  <a:pt x="256" y="49"/>
                  <a:pt x="256" y="48"/>
                </a:cubicBezTo>
                <a:cubicBezTo>
                  <a:pt x="255" y="48"/>
                  <a:pt x="254" y="48"/>
                  <a:pt x="254" y="47"/>
                </a:cubicBezTo>
                <a:cubicBezTo>
                  <a:pt x="255" y="47"/>
                  <a:pt x="256" y="48"/>
                  <a:pt x="257" y="48"/>
                </a:cubicBezTo>
                <a:cubicBezTo>
                  <a:pt x="258" y="49"/>
                  <a:pt x="260" y="49"/>
                  <a:pt x="261" y="49"/>
                </a:cubicBezTo>
                <a:cubicBezTo>
                  <a:pt x="262" y="50"/>
                  <a:pt x="264" y="50"/>
                  <a:pt x="265" y="50"/>
                </a:cubicBezTo>
                <a:cubicBezTo>
                  <a:pt x="265" y="51"/>
                  <a:pt x="266" y="51"/>
                  <a:pt x="266" y="51"/>
                </a:cubicBezTo>
                <a:cubicBezTo>
                  <a:pt x="266" y="51"/>
                  <a:pt x="267" y="51"/>
                  <a:pt x="267" y="51"/>
                </a:cubicBezTo>
                <a:cubicBezTo>
                  <a:pt x="268" y="51"/>
                  <a:pt x="267" y="50"/>
                  <a:pt x="267" y="49"/>
                </a:cubicBezTo>
                <a:cubicBezTo>
                  <a:pt x="266" y="49"/>
                  <a:pt x="266" y="48"/>
                  <a:pt x="266" y="47"/>
                </a:cubicBezTo>
                <a:cubicBezTo>
                  <a:pt x="267" y="47"/>
                  <a:pt x="267" y="46"/>
                  <a:pt x="267" y="46"/>
                </a:cubicBezTo>
                <a:cubicBezTo>
                  <a:pt x="268" y="45"/>
                  <a:pt x="268" y="45"/>
                  <a:pt x="269" y="45"/>
                </a:cubicBezTo>
                <a:cubicBezTo>
                  <a:pt x="270" y="45"/>
                  <a:pt x="271" y="45"/>
                  <a:pt x="271" y="45"/>
                </a:cubicBezTo>
                <a:cubicBezTo>
                  <a:pt x="271" y="46"/>
                  <a:pt x="271" y="47"/>
                  <a:pt x="271" y="47"/>
                </a:cubicBezTo>
                <a:cubicBezTo>
                  <a:pt x="270" y="47"/>
                  <a:pt x="270" y="47"/>
                  <a:pt x="269" y="46"/>
                </a:cubicBezTo>
                <a:cubicBezTo>
                  <a:pt x="269" y="46"/>
                  <a:pt x="268" y="46"/>
                  <a:pt x="268" y="47"/>
                </a:cubicBezTo>
                <a:cubicBezTo>
                  <a:pt x="268" y="47"/>
                  <a:pt x="269" y="48"/>
                  <a:pt x="269" y="48"/>
                </a:cubicBezTo>
                <a:cubicBezTo>
                  <a:pt x="269" y="49"/>
                  <a:pt x="270" y="49"/>
                  <a:pt x="270" y="50"/>
                </a:cubicBezTo>
                <a:cubicBezTo>
                  <a:pt x="270" y="50"/>
                  <a:pt x="270" y="51"/>
                  <a:pt x="271" y="51"/>
                </a:cubicBezTo>
                <a:cubicBezTo>
                  <a:pt x="271" y="52"/>
                  <a:pt x="272" y="52"/>
                  <a:pt x="272" y="52"/>
                </a:cubicBezTo>
                <a:cubicBezTo>
                  <a:pt x="273" y="51"/>
                  <a:pt x="273" y="50"/>
                  <a:pt x="274" y="50"/>
                </a:cubicBezTo>
                <a:cubicBezTo>
                  <a:pt x="275" y="50"/>
                  <a:pt x="275" y="51"/>
                  <a:pt x="276" y="51"/>
                </a:cubicBezTo>
                <a:cubicBezTo>
                  <a:pt x="276" y="52"/>
                  <a:pt x="277" y="52"/>
                  <a:pt x="277" y="53"/>
                </a:cubicBezTo>
                <a:cubicBezTo>
                  <a:pt x="278" y="53"/>
                  <a:pt x="278" y="53"/>
                  <a:pt x="279" y="53"/>
                </a:cubicBezTo>
                <a:cubicBezTo>
                  <a:pt x="279" y="53"/>
                  <a:pt x="280" y="53"/>
                  <a:pt x="281" y="54"/>
                </a:cubicBezTo>
                <a:cubicBezTo>
                  <a:pt x="281" y="54"/>
                  <a:pt x="281" y="54"/>
                  <a:pt x="282" y="54"/>
                </a:cubicBezTo>
                <a:cubicBezTo>
                  <a:pt x="283" y="54"/>
                  <a:pt x="283" y="54"/>
                  <a:pt x="283" y="53"/>
                </a:cubicBezTo>
                <a:cubicBezTo>
                  <a:pt x="284" y="53"/>
                  <a:pt x="285" y="53"/>
                  <a:pt x="285" y="52"/>
                </a:cubicBezTo>
                <a:cubicBezTo>
                  <a:pt x="286" y="52"/>
                  <a:pt x="286" y="51"/>
                  <a:pt x="287" y="51"/>
                </a:cubicBezTo>
                <a:cubicBezTo>
                  <a:pt x="287" y="50"/>
                  <a:pt x="288" y="49"/>
                  <a:pt x="288" y="49"/>
                </a:cubicBezTo>
                <a:cubicBezTo>
                  <a:pt x="289" y="47"/>
                  <a:pt x="289" y="46"/>
                  <a:pt x="290" y="45"/>
                </a:cubicBezTo>
                <a:cubicBezTo>
                  <a:pt x="291" y="44"/>
                  <a:pt x="293" y="43"/>
                  <a:pt x="294" y="43"/>
                </a:cubicBezTo>
                <a:cubicBezTo>
                  <a:pt x="295" y="43"/>
                  <a:pt x="295" y="43"/>
                  <a:pt x="296" y="43"/>
                </a:cubicBezTo>
                <a:cubicBezTo>
                  <a:pt x="296" y="43"/>
                  <a:pt x="296" y="42"/>
                  <a:pt x="296" y="42"/>
                </a:cubicBezTo>
                <a:cubicBezTo>
                  <a:pt x="296" y="41"/>
                  <a:pt x="297" y="40"/>
                  <a:pt x="298" y="39"/>
                </a:cubicBezTo>
                <a:cubicBezTo>
                  <a:pt x="298" y="39"/>
                  <a:pt x="298" y="38"/>
                  <a:pt x="298" y="38"/>
                </a:cubicBezTo>
                <a:cubicBezTo>
                  <a:pt x="298" y="37"/>
                  <a:pt x="298" y="37"/>
                  <a:pt x="298" y="37"/>
                </a:cubicBezTo>
                <a:cubicBezTo>
                  <a:pt x="297" y="36"/>
                  <a:pt x="297" y="35"/>
                  <a:pt x="297" y="34"/>
                </a:cubicBezTo>
                <a:cubicBezTo>
                  <a:pt x="297" y="34"/>
                  <a:pt x="297" y="33"/>
                  <a:pt x="297" y="33"/>
                </a:cubicBezTo>
                <a:cubicBezTo>
                  <a:pt x="297" y="32"/>
                  <a:pt x="297" y="31"/>
                  <a:pt x="296" y="30"/>
                </a:cubicBezTo>
                <a:cubicBezTo>
                  <a:pt x="296" y="29"/>
                  <a:pt x="295" y="29"/>
                  <a:pt x="294" y="29"/>
                </a:cubicBezTo>
                <a:cubicBezTo>
                  <a:pt x="293" y="29"/>
                  <a:pt x="292" y="28"/>
                  <a:pt x="291" y="29"/>
                </a:cubicBezTo>
                <a:cubicBezTo>
                  <a:pt x="290" y="29"/>
                  <a:pt x="289" y="30"/>
                  <a:pt x="288" y="31"/>
                </a:cubicBezTo>
                <a:cubicBezTo>
                  <a:pt x="288" y="31"/>
                  <a:pt x="288" y="32"/>
                  <a:pt x="288" y="32"/>
                </a:cubicBezTo>
                <a:cubicBezTo>
                  <a:pt x="288" y="33"/>
                  <a:pt x="288" y="34"/>
                  <a:pt x="288" y="35"/>
                </a:cubicBezTo>
                <a:cubicBezTo>
                  <a:pt x="288" y="36"/>
                  <a:pt x="288" y="38"/>
                  <a:pt x="288" y="39"/>
                </a:cubicBezTo>
                <a:cubicBezTo>
                  <a:pt x="287" y="40"/>
                  <a:pt x="286" y="40"/>
                  <a:pt x="285" y="40"/>
                </a:cubicBezTo>
                <a:cubicBezTo>
                  <a:pt x="284" y="39"/>
                  <a:pt x="284" y="39"/>
                  <a:pt x="284" y="39"/>
                </a:cubicBezTo>
                <a:cubicBezTo>
                  <a:pt x="283" y="39"/>
                  <a:pt x="283" y="38"/>
                  <a:pt x="284" y="38"/>
                </a:cubicBezTo>
                <a:cubicBezTo>
                  <a:pt x="284" y="38"/>
                  <a:pt x="284" y="39"/>
                  <a:pt x="285" y="39"/>
                </a:cubicBezTo>
                <a:cubicBezTo>
                  <a:pt x="285" y="39"/>
                  <a:pt x="285" y="39"/>
                  <a:pt x="285" y="38"/>
                </a:cubicBezTo>
                <a:cubicBezTo>
                  <a:pt x="285" y="37"/>
                  <a:pt x="286" y="37"/>
                  <a:pt x="286" y="36"/>
                </a:cubicBezTo>
                <a:cubicBezTo>
                  <a:pt x="286" y="35"/>
                  <a:pt x="286" y="34"/>
                  <a:pt x="286" y="33"/>
                </a:cubicBezTo>
                <a:cubicBezTo>
                  <a:pt x="286" y="32"/>
                  <a:pt x="286" y="31"/>
                  <a:pt x="286" y="30"/>
                </a:cubicBezTo>
                <a:cubicBezTo>
                  <a:pt x="285" y="29"/>
                  <a:pt x="286" y="29"/>
                  <a:pt x="286" y="29"/>
                </a:cubicBezTo>
                <a:cubicBezTo>
                  <a:pt x="286" y="28"/>
                  <a:pt x="286" y="27"/>
                  <a:pt x="286" y="27"/>
                </a:cubicBezTo>
                <a:cubicBezTo>
                  <a:pt x="286" y="27"/>
                  <a:pt x="286" y="26"/>
                  <a:pt x="285" y="26"/>
                </a:cubicBezTo>
                <a:cubicBezTo>
                  <a:pt x="281" y="26"/>
                  <a:pt x="281" y="26"/>
                  <a:pt x="281" y="26"/>
                </a:cubicBezTo>
                <a:cubicBezTo>
                  <a:pt x="280" y="26"/>
                  <a:pt x="280" y="27"/>
                  <a:pt x="279" y="27"/>
                </a:cubicBezTo>
                <a:cubicBezTo>
                  <a:pt x="279" y="27"/>
                  <a:pt x="278" y="27"/>
                  <a:pt x="277" y="28"/>
                </a:cubicBezTo>
                <a:cubicBezTo>
                  <a:pt x="277" y="28"/>
                  <a:pt x="277" y="28"/>
                  <a:pt x="276" y="28"/>
                </a:cubicBezTo>
                <a:cubicBezTo>
                  <a:pt x="276" y="28"/>
                  <a:pt x="275" y="27"/>
                  <a:pt x="275" y="27"/>
                </a:cubicBezTo>
                <a:cubicBezTo>
                  <a:pt x="275" y="27"/>
                  <a:pt x="275" y="26"/>
                  <a:pt x="274" y="26"/>
                </a:cubicBezTo>
                <a:cubicBezTo>
                  <a:pt x="274" y="26"/>
                  <a:pt x="273" y="27"/>
                  <a:pt x="273" y="27"/>
                </a:cubicBezTo>
                <a:cubicBezTo>
                  <a:pt x="272" y="27"/>
                  <a:pt x="272" y="27"/>
                  <a:pt x="271" y="27"/>
                </a:cubicBezTo>
                <a:cubicBezTo>
                  <a:pt x="271" y="27"/>
                  <a:pt x="270" y="28"/>
                  <a:pt x="270" y="28"/>
                </a:cubicBezTo>
                <a:cubicBezTo>
                  <a:pt x="270" y="28"/>
                  <a:pt x="270" y="28"/>
                  <a:pt x="270" y="29"/>
                </a:cubicBezTo>
                <a:cubicBezTo>
                  <a:pt x="264" y="29"/>
                  <a:pt x="264" y="29"/>
                  <a:pt x="264" y="29"/>
                </a:cubicBezTo>
                <a:cubicBezTo>
                  <a:pt x="263" y="28"/>
                  <a:pt x="262" y="28"/>
                  <a:pt x="263" y="28"/>
                </a:cubicBezTo>
                <a:cubicBezTo>
                  <a:pt x="263" y="27"/>
                  <a:pt x="264" y="27"/>
                  <a:pt x="264" y="26"/>
                </a:cubicBezTo>
                <a:cubicBezTo>
                  <a:pt x="265" y="26"/>
                  <a:pt x="265" y="25"/>
                  <a:pt x="265" y="25"/>
                </a:cubicBezTo>
                <a:cubicBezTo>
                  <a:pt x="264" y="24"/>
                  <a:pt x="264" y="25"/>
                  <a:pt x="263" y="25"/>
                </a:cubicBezTo>
                <a:cubicBezTo>
                  <a:pt x="263" y="25"/>
                  <a:pt x="263" y="24"/>
                  <a:pt x="263" y="23"/>
                </a:cubicBezTo>
                <a:cubicBezTo>
                  <a:pt x="263" y="23"/>
                  <a:pt x="263" y="23"/>
                  <a:pt x="263" y="22"/>
                </a:cubicBezTo>
                <a:cubicBezTo>
                  <a:pt x="263" y="22"/>
                  <a:pt x="262" y="22"/>
                  <a:pt x="262" y="22"/>
                </a:cubicBezTo>
                <a:cubicBezTo>
                  <a:pt x="262" y="21"/>
                  <a:pt x="262" y="21"/>
                  <a:pt x="262" y="20"/>
                </a:cubicBezTo>
                <a:cubicBezTo>
                  <a:pt x="262" y="20"/>
                  <a:pt x="261" y="20"/>
                  <a:pt x="261" y="19"/>
                </a:cubicBezTo>
                <a:cubicBezTo>
                  <a:pt x="262" y="19"/>
                  <a:pt x="262" y="19"/>
                  <a:pt x="262" y="19"/>
                </a:cubicBezTo>
                <a:cubicBezTo>
                  <a:pt x="262" y="18"/>
                  <a:pt x="262" y="18"/>
                  <a:pt x="263" y="17"/>
                </a:cubicBezTo>
                <a:cubicBezTo>
                  <a:pt x="263" y="17"/>
                  <a:pt x="263" y="16"/>
                  <a:pt x="263" y="15"/>
                </a:cubicBezTo>
                <a:cubicBezTo>
                  <a:pt x="263" y="15"/>
                  <a:pt x="264" y="14"/>
                  <a:pt x="264" y="14"/>
                </a:cubicBezTo>
                <a:cubicBezTo>
                  <a:pt x="265" y="14"/>
                  <a:pt x="265" y="15"/>
                  <a:pt x="265" y="15"/>
                </a:cubicBezTo>
                <a:cubicBezTo>
                  <a:pt x="264" y="15"/>
                  <a:pt x="264" y="16"/>
                  <a:pt x="264" y="16"/>
                </a:cubicBezTo>
                <a:cubicBezTo>
                  <a:pt x="264" y="16"/>
                  <a:pt x="264" y="17"/>
                  <a:pt x="264" y="17"/>
                </a:cubicBezTo>
                <a:cubicBezTo>
                  <a:pt x="263" y="18"/>
                  <a:pt x="263" y="18"/>
                  <a:pt x="263" y="19"/>
                </a:cubicBezTo>
                <a:cubicBezTo>
                  <a:pt x="263" y="20"/>
                  <a:pt x="264" y="20"/>
                  <a:pt x="264" y="21"/>
                </a:cubicBezTo>
                <a:cubicBezTo>
                  <a:pt x="264" y="22"/>
                  <a:pt x="265" y="22"/>
                  <a:pt x="265" y="23"/>
                </a:cubicBezTo>
                <a:cubicBezTo>
                  <a:pt x="265" y="23"/>
                  <a:pt x="265" y="24"/>
                  <a:pt x="266" y="24"/>
                </a:cubicBezTo>
                <a:cubicBezTo>
                  <a:pt x="266" y="24"/>
                  <a:pt x="266" y="23"/>
                  <a:pt x="266" y="23"/>
                </a:cubicBezTo>
                <a:cubicBezTo>
                  <a:pt x="267" y="23"/>
                  <a:pt x="267" y="24"/>
                  <a:pt x="268" y="24"/>
                </a:cubicBezTo>
                <a:cubicBezTo>
                  <a:pt x="268" y="25"/>
                  <a:pt x="269" y="24"/>
                  <a:pt x="269" y="24"/>
                </a:cubicBezTo>
                <a:cubicBezTo>
                  <a:pt x="270" y="24"/>
                  <a:pt x="270" y="24"/>
                  <a:pt x="270" y="24"/>
                </a:cubicBezTo>
                <a:cubicBezTo>
                  <a:pt x="271" y="24"/>
                  <a:pt x="271" y="24"/>
                  <a:pt x="271" y="24"/>
                </a:cubicBezTo>
                <a:cubicBezTo>
                  <a:pt x="272" y="24"/>
                  <a:pt x="272" y="24"/>
                  <a:pt x="272" y="23"/>
                </a:cubicBezTo>
                <a:cubicBezTo>
                  <a:pt x="273" y="23"/>
                  <a:pt x="274" y="23"/>
                  <a:pt x="275" y="22"/>
                </a:cubicBezTo>
                <a:cubicBezTo>
                  <a:pt x="275" y="22"/>
                  <a:pt x="276" y="22"/>
                  <a:pt x="276" y="22"/>
                </a:cubicBezTo>
                <a:cubicBezTo>
                  <a:pt x="277" y="22"/>
                  <a:pt x="276" y="21"/>
                  <a:pt x="276" y="21"/>
                </a:cubicBezTo>
                <a:cubicBezTo>
                  <a:pt x="275" y="20"/>
                  <a:pt x="275" y="20"/>
                  <a:pt x="274" y="19"/>
                </a:cubicBezTo>
                <a:cubicBezTo>
                  <a:pt x="274" y="19"/>
                  <a:pt x="273" y="19"/>
                  <a:pt x="272" y="18"/>
                </a:cubicBezTo>
                <a:cubicBezTo>
                  <a:pt x="273" y="17"/>
                  <a:pt x="274" y="19"/>
                  <a:pt x="275" y="19"/>
                </a:cubicBezTo>
                <a:cubicBezTo>
                  <a:pt x="276" y="20"/>
                  <a:pt x="277" y="20"/>
                  <a:pt x="278" y="20"/>
                </a:cubicBezTo>
                <a:cubicBezTo>
                  <a:pt x="278" y="21"/>
                  <a:pt x="280" y="21"/>
                  <a:pt x="280" y="21"/>
                </a:cubicBezTo>
                <a:cubicBezTo>
                  <a:pt x="281" y="20"/>
                  <a:pt x="281" y="20"/>
                  <a:pt x="281" y="19"/>
                </a:cubicBezTo>
                <a:cubicBezTo>
                  <a:pt x="280" y="19"/>
                  <a:pt x="280" y="18"/>
                  <a:pt x="279" y="18"/>
                </a:cubicBezTo>
                <a:cubicBezTo>
                  <a:pt x="279" y="18"/>
                  <a:pt x="278" y="17"/>
                  <a:pt x="279" y="17"/>
                </a:cubicBezTo>
                <a:cubicBezTo>
                  <a:pt x="279" y="17"/>
                  <a:pt x="280" y="18"/>
                  <a:pt x="280" y="19"/>
                </a:cubicBezTo>
                <a:cubicBezTo>
                  <a:pt x="281" y="19"/>
                  <a:pt x="282" y="20"/>
                  <a:pt x="282" y="20"/>
                </a:cubicBezTo>
                <a:cubicBezTo>
                  <a:pt x="283" y="20"/>
                  <a:pt x="283" y="20"/>
                  <a:pt x="284" y="19"/>
                </a:cubicBezTo>
                <a:cubicBezTo>
                  <a:pt x="284" y="19"/>
                  <a:pt x="285" y="19"/>
                  <a:pt x="286" y="19"/>
                </a:cubicBezTo>
                <a:cubicBezTo>
                  <a:pt x="286" y="18"/>
                  <a:pt x="285" y="18"/>
                  <a:pt x="285" y="17"/>
                </a:cubicBezTo>
                <a:cubicBezTo>
                  <a:pt x="284" y="17"/>
                  <a:pt x="284" y="16"/>
                  <a:pt x="284" y="16"/>
                </a:cubicBezTo>
                <a:cubicBezTo>
                  <a:pt x="284" y="16"/>
                  <a:pt x="283" y="15"/>
                  <a:pt x="283" y="15"/>
                </a:cubicBezTo>
                <a:cubicBezTo>
                  <a:pt x="283" y="14"/>
                  <a:pt x="283" y="14"/>
                  <a:pt x="282" y="13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82" y="12"/>
                  <a:pt x="282" y="13"/>
                  <a:pt x="283" y="13"/>
                </a:cubicBezTo>
                <a:cubicBezTo>
                  <a:pt x="283" y="13"/>
                  <a:pt x="284" y="14"/>
                  <a:pt x="284" y="14"/>
                </a:cubicBezTo>
                <a:cubicBezTo>
                  <a:pt x="285" y="15"/>
                  <a:pt x="286" y="15"/>
                  <a:pt x="286" y="15"/>
                </a:cubicBezTo>
                <a:cubicBezTo>
                  <a:pt x="287" y="16"/>
                  <a:pt x="287" y="16"/>
                  <a:pt x="288" y="17"/>
                </a:cubicBezTo>
                <a:cubicBezTo>
                  <a:pt x="288" y="17"/>
                  <a:pt x="289" y="17"/>
                  <a:pt x="289" y="17"/>
                </a:cubicBezTo>
                <a:cubicBezTo>
                  <a:pt x="290" y="17"/>
                  <a:pt x="289" y="16"/>
                  <a:pt x="289" y="15"/>
                </a:cubicBezTo>
                <a:cubicBezTo>
                  <a:pt x="289" y="15"/>
                  <a:pt x="289" y="14"/>
                  <a:pt x="290" y="14"/>
                </a:cubicBezTo>
                <a:cubicBezTo>
                  <a:pt x="290" y="14"/>
                  <a:pt x="290" y="15"/>
                  <a:pt x="290" y="15"/>
                </a:cubicBezTo>
                <a:cubicBezTo>
                  <a:pt x="290" y="16"/>
                  <a:pt x="290" y="17"/>
                  <a:pt x="291" y="17"/>
                </a:cubicBezTo>
                <a:cubicBezTo>
                  <a:pt x="291" y="18"/>
                  <a:pt x="292" y="19"/>
                  <a:pt x="292" y="20"/>
                </a:cubicBezTo>
                <a:cubicBezTo>
                  <a:pt x="293" y="21"/>
                  <a:pt x="294" y="22"/>
                  <a:pt x="295" y="22"/>
                </a:cubicBezTo>
                <a:cubicBezTo>
                  <a:pt x="295" y="21"/>
                  <a:pt x="295" y="21"/>
                  <a:pt x="294" y="20"/>
                </a:cubicBezTo>
                <a:cubicBezTo>
                  <a:pt x="294" y="20"/>
                  <a:pt x="294" y="19"/>
                  <a:pt x="294" y="19"/>
                </a:cubicBezTo>
                <a:cubicBezTo>
                  <a:pt x="294" y="17"/>
                  <a:pt x="293" y="16"/>
                  <a:pt x="293" y="15"/>
                </a:cubicBezTo>
                <a:cubicBezTo>
                  <a:pt x="293" y="14"/>
                  <a:pt x="293" y="13"/>
                  <a:pt x="292" y="12"/>
                </a:cubicBezTo>
                <a:cubicBezTo>
                  <a:pt x="291" y="11"/>
                  <a:pt x="290" y="10"/>
                  <a:pt x="290" y="9"/>
                </a:cubicBezTo>
                <a:cubicBezTo>
                  <a:pt x="289" y="9"/>
                  <a:pt x="288" y="8"/>
                  <a:pt x="288" y="7"/>
                </a:cubicBezTo>
                <a:cubicBezTo>
                  <a:pt x="288" y="6"/>
                  <a:pt x="287" y="6"/>
                  <a:pt x="287" y="5"/>
                </a:cubicBezTo>
                <a:cubicBezTo>
                  <a:pt x="287" y="5"/>
                  <a:pt x="287" y="4"/>
                  <a:pt x="287" y="4"/>
                </a:cubicBezTo>
                <a:cubicBezTo>
                  <a:pt x="287" y="3"/>
                  <a:pt x="288" y="3"/>
                  <a:pt x="288" y="3"/>
                </a:cubicBezTo>
                <a:cubicBezTo>
                  <a:pt x="288" y="4"/>
                  <a:pt x="289" y="4"/>
                  <a:pt x="289" y="4"/>
                </a:cubicBezTo>
                <a:cubicBezTo>
                  <a:pt x="290" y="4"/>
                  <a:pt x="291" y="4"/>
                  <a:pt x="292" y="4"/>
                </a:cubicBezTo>
                <a:cubicBezTo>
                  <a:pt x="292" y="5"/>
                  <a:pt x="292" y="5"/>
                  <a:pt x="292" y="6"/>
                </a:cubicBezTo>
                <a:cubicBezTo>
                  <a:pt x="292" y="7"/>
                  <a:pt x="293" y="7"/>
                  <a:pt x="293" y="8"/>
                </a:cubicBezTo>
                <a:cubicBezTo>
                  <a:pt x="293" y="9"/>
                  <a:pt x="294" y="10"/>
                  <a:pt x="294" y="10"/>
                </a:cubicBezTo>
                <a:cubicBezTo>
                  <a:pt x="293" y="11"/>
                  <a:pt x="294" y="11"/>
                  <a:pt x="294" y="12"/>
                </a:cubicBezTo>
                <a:cubicBezTo>
                  <a:pt x="294" y="12"/>
                  <a:pt x="294" y="13"/>
                  <a:pt x="294" y="13"/>
                </a:cubicBezTo>
                <a:cubicBezTo>
                  <a:pt x="294" y="14"/>
                  <a:pt x="295" y="15"/>
                  <a:pt x="295" y="16"/>
                </a:cubicBezTo>
                <a:cubicBezTo>
                  <a:pt x="296" y="17"/>
                  <a:pt x="296" y="19"/>
                  <a:pt x="297" y="20"/>
                </a:cubicBezTo>
                <a:cubicBezTo>
                  <a:pt x="297" y="21"/>
                  <a:pt x="297" y="22"/>
                  <a:pt x="298" y="23"/>
                </a:cubicBezTo>
                <a:cubicBezTo>
                  <a:pt x="298" y="23"/>
                  <a:pt x="299" y="24"/>
                  <a:pt x="299" y="24"/>
                </a:cubicBezTo>
                <a:cubicBezTo>
                  <a:pt x="300" y="25"/>
                  <a:pt x="300" y="26"/>
                  <a:pt x="300" y="27"/>
                </a:cubicBezTo>
                <a:cubicBezTo>
                  <a:pt x="301" y="28"/>
                  <a:pt x="301" y="29"/>
                  <a:pt x="302" y="29"/>
                </a:cubicBezTo>
                <a:cubicBezTo>
                  <a:pt x="301" y="28"/>
                  <a:pt x="301" y="27"/>
                  <a:pt x="300" y="2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Freeform 26">
            <a:extLst>
              <a:ext uri="{FF2B5EF4-FFF2-40B4-BE49-F238E27FC236}">
                <a16:creationId xmlns:a16="http://schemas.microsoft.com/office/drawing/2014/main" id="{C3C0C7AD-B4FA-4CFA-8F60-AEEA6BBE53E4}"/>
              </a:ext>
            </a:extLst>
          </p:cNvPr>
          <p:cNvSpPr>
            <a:spLocks/>
          </p:cNvSpPr>
          <p:nvPr/>
        </p:nvSpPr>
        <p:spPr bwMode="auto">
          <a:xfrm>
            <a:off x="6139784" y="3518220"/>
            <a:ext cx="827755" cy="935148"/>
          </a:xfrm>
          <a:custGeom>
            <a:avLst/>
            <a:gdLst>
              <a:gd name="T0" fmla="*/ 1 w 209"/>
              <a:gd name="T1" fmla="*/ 0 h 236"/>
              <a:gd name="T2" fmla="*/ 0 w 209"/>
              <a:gd name="T3" fmla="*/ 236 h 236"/>
              <a:gd name="T4" fmla="*/ 29 w 209"/>
              <a:gd name="T5" fmla="*/ 236 h 236"/>
              <a:gd name="T6" fmla="*/ 29 w 209"/>
              <a:gd name="T7" fmla="*/ 218 h 236"/>
              <a:gd name="T8" fmla="*/ 88 w 209"/>
              <a:gd name="T9" fmla="*/ 218 h 236"/>
              <a:gd name="T10" fmla="*/ 86 w 209"/>
              <a:gd name="T11" fmla="*/ 217 h 236"/>
              <a:gd name="T12" fmla="*/ 84 w 209"/>
              <a:gd name="T13" fmla="*/ 216 h 236"/>
              <a:gd name="T14" fmla="*/ 84 w 209"/>
              <a:gd name="T15" fmla="*/ 214 h 236"/>
              <a:gd name="T16" fmla="*/ 84 w 209"/>
              <a:gd name="T17" fmla="*/ 213 h 236"/>
              <a:gd name="T18" fmla="*/ 85 w 209"/>
              <a:gd name="T19" fmla="*/ 212 h 236"/>
              <a:gd name="T20" fmla="*/ 84 w 209"/>
              <a:gd name="T21" fmla="*/ 211 h 236"/>
              <a:gd name="T22" fmla="*/ 84 w 209"/>
              <a:gd name="T23" fmla="*/ 211 h 236"/>
              <a:gd name="T24" fmla="*/ 84 w 209"/>
              <a:gd name="T25" fmla="*/ 209 h 236"/>
              <a:gd name="T26" fmla="*/ 207 w 209"/>
              <a:gd name="T27" fmla="*/ 210 h 236"/>
              <a:gd name="T28" fmla="*/ 208 w 209"/>
              <a:gd name="T29" fmla="*/ 21 h 236"/>
              <a:gd name="T30" fmla="*/ 209 w 209"/>
              <a:gd name="T31" fmla="*/ 21 h 236"/>
              <a:gd name="T32" fmla="*/ 209 w 209"/>
              <a:gd name="T33" fmla="*/ 0 h 236"/>
              <a:gd name="T34" fmla="*/ 1 w 209"/>
              <a:gd name="T35" fmla="*/ 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" h="236">
                <a:moveTo>
                  <a:pt x="1" y="0"/>
                </a:moveTo>
                <a:cubicBezTo>
                  <a:pt x="0" y="236"/>
                  <a:pt x="0" y="236"/>
                  <a:pt x="0" y="236"/>
                </a:cubicBezTo>
                <a:cubicBezTo>
                  <a:pt x="29" y="236"/>
                  <a:pt x="29" y="236"/>
                  <a:pt x="29" y="236"/>
                </a:cubicBezTo>
                <a:cubicBezTo>
                  <a:pt x="29" y="218"/>
                  <a:pt x="29" y="218"/>
                  <a:pt x="29" y="218"/>
                </a:cubicBezTo>
                <a:cubicBezTo>
                  <a:pt x="88" y="218"/>
                  <a:pt x="88" y="218"/>
                  <a:pt x="88" y="218"/>
                </a:cubicBezTo>
                <a:cubicBezTo>
                  <a:pt x="88" y="218"/>
                  <a:pt x="87" y="217"/>
                  <a:pt x="86" y="217"/>
                </a:cubicBezTo>
                <a:cubicBezTo>
                  <a:pt x="86" y="217"/>
                  <a:pt x="85" y="216"/>
                  <a:pt x="84" y="216"/>
                </a:cubicBezTo>
                <a:cubicBezTo>
                  <a:pt x="84" y="215"/>
                  <a:pt x="84" y="214"/>
                  <a:pt x="84" y="214"/>
                </a:cubicBezTo>
                <a:cubicBezTo>
                  <a:pt x="84" y="214"/>
                  <a:pt x="84" y="213"/>
                  <a:pt x="84" y="213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84" y="211"/>
                  <a:pt x="84" y="211"/>
                  <a:pt x="84" y="211"/>
                </a:cubicBezTo>
                <a:cubicBezTo>
                  <a:pt x="84" y="211"/>
                  <a:pt x="84" y="211"/>
                  <a:pt x="84" y="211"/>
                </a:cubicBezTo>
                <a:cubicBezTo>
                  <a:pt x="84" y="211"/>
                  <a:pt x="84" y="209"/>
                  <a:pt x="84" y="209"/>
                </a:cubicBezTo>
                <a:cubicBezTo>
                  <a:pt x="207" y="210"/>
                  <a:pt x="207" y="210"/>
                  <a:pt x="207" y="210"/>
                </a:cubicBezTo>
                <a:cubicBezTo>
                  <a:pt x="208" y="21"/>
                  <a:pt x="208" y="21"/>
                  <a:pt x="208" y="21"/>
                </a:cubicBezTo>
                <a:cubicBezTo>
                  <a:pt x="209" y="21"/>
                  <a:pt x="209" y="21"/>
                  <a:pt x="209" y="21"/>
                </a:cubicBezTo>
                <a:cubicBezTo>
                  <a:pt x="209" y="0"/>
                  <a:pt x="209" y="0"/>
                  <a:pt x="209" y="0"/>
                </a:cubicBezTo>
                <a:lnTo>
                  <a:pt x="1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9" name="Freeform 27">
            <a:extLst>
              <a:ext uri="{FF2B5EF4-FFF2-40B4-BE49-F238E27FC236}">
                <a16:creationId xmlns:a16="http://schemas.microsoft.com/office/drawing/2014/main" id="{3ABDD5E4-E85B-4140-BC60-CD1E1B8F6F6C}"/>
              </a:ext>
            </a:extLst>
          </p:cNvPr>
          <p:cNvSpPr>
            <a:spLocks noEditPoints="1"/>
          </p:cNvSpPr>
          <p:nvPr/>
        </p:nvSpPr>
        <p:spPr bwMode="auto">
          <a:xfrm>
            <a:off x="10148030" y="2059322"/>
            <a:ext cx="1077237" cy="849234"/>
          </a:xfrm>
          <a:custGeom>
            <a:avLst/>
            <a:gdLst>
              <a:gd name="T0" fmla="*/ 207 w 272"/>
              <a:gd name="T1" fmla="*/ 195 h 214"/>
              <a:gd name="T2" fmla="*/ 207 w 272"/>
              <a:gd name="T3" fmla="*/ 198 h 214"/>
              <a:gd name="T4" fmla="*/ 211 w 272"/>
              <a:gd name="T5" fmla="*/ 197 h 214"/>
              <a:gd name="T6" fmla="*/ 217 w 272"/>
              <a:gd name="T7" fmla="*/ 196 h 214"/>
              <a:gd name="T8" fmla="*/ 222 w 272"/>
              <a:gd name="T9" fmla="*/ 194 h 214"/>
              <a:gd name="T10" fmla="*/ 236 w 272"/>
              <a:gd name="T11" fmla="*/ 192 h 214"/>
              <a:gd name="T12" fmla="*/ 248 w 272"/>
              <a:gd name="T13" fmla="*/ 190 h 214"/>
              <a:gd name="T14" fmla="*/ 255 w 272"/>
              <a:gd name="T15" fmla="*/ 187 h 214"/>
              <a:gd name="T16" fmla="*/ 249 w 272"/>
              <a:gd name="T17" fmla="*/ 192 h 214"/>
              <a:gd name="T18" fmla="*/ 250 w 272"/>
              <a:gd name="T19" fmla="*/ 194 h 214"/>
              <a:gd name="T20" fmla="*/ 260 w 272"/>
              <a:gd name="T21" fmla="*/ 189 h 214"/>
              <a:gd name="T22" fmla="*/ 269 w 272"/>
              <a:gd name="T23" fmla="*/ 188 h 214"/>
              <a:gd name="T24" fmla="*/ 269 w 272"/>
              <a:gd name="T25" fmla="*/ 189 h 214"/>
              <a:gd name="T26" fmla="*/ 261 w 272"/>
              <a:gd name="T27" fmla="*/ 193 h 214"/>
              <a:gd name="T28" fmla="*/ 254 w 272"/>
              <a:gd name="T29" fmla="*/ 196 h 214"/>
              <a:gd name="T30" fmla="*/ 250 w 272"/>
              <a:gd name="T31" fmla="*/ 197 h 214"/>
              <a:gd name="T32" fmla="*/ 241 w 272"/>
              <a:gd name="T33" fmla="*/ 200 h 214"/>
              <a:gd name="T34" fmla="*/ 233 w 272"/>
              <a:gd name="T35" fmla="*/ 202 h 214"/>
              <a:gd name="T36" fmla="*/ 227 w 272"/>
              <a:gd name="T37" fmla="*/ 204 h 214"/>
              <a:gd name="T38" fmla="*/ 220 w 272"/>
              <a:gd name="T39" fmla="*/ 206 h 214"/>
              <a:gd name="T40" fmla="*/ 211 w 272"/>
              <a:gd name="T41" fmla="*/ 208 h 214"/>
              <a:gd name="T42" fmla="*/ 206 w 272"/>
              <a:gd name="T43" fmla="*/ 208 h 214"/>
              <a:gd name="T44" fmla="*/ 203 w 272"/>
              <a:gd name="T45" fmla="*/ 209 h 214"/>
              <a:gd name="T46" fmla="*/ 198 w 272"/>
              <a:gd name="T47" fmla="*/ 207 h 214"/>
              <a:gd name="T48" fmla="*/ 202 w 272"/>
              <a:gd name="T49" fmla="*/ 191 h 214"/>
              <a:gd name="T50" fmla="*/ 167 w 272"/>
              <a:gd name="T51" fmla="*/ 169 h 214"/>
              <a:gd name="T52" fmla="*/ 162 w 272"/>
              <a:gd name="T53" fmla="*/ 159 h 214"/>
              <a:gd name="T54" fmla="*/ 158 w 272"/>
              <a:gd name="T55" fmla="*/ 150 h 214"/>
              <a:gd name="T56" fmla="*/ 0 w 272"/>
              <a:gd name="T57" fmla="*/ 132 h 214"/>
              <a:gd name="T58" fmla="*/ 18 w 272"/>
              <a:gd name="T59" fmla="*/ 120 h 214"/>
              <a:gd name="T60" fmla="*/ 24 w 272"/>
              <a:gd name="T61" fmla="*/ 113 h 214"/>
              <a:gd name="T62" fmla="*/ 30 w 272"/>
              <a:gd name="T63" fmla="*/ 103 h 214"/>
              <a:gd name="T64" fmla="*/ 26 w 272"/>
              <a:gd name="T65" fmla="*/ 94 h 214"/>
              <a:gd name="T66" fmla="*/ 35 w 272"/>
              <a:gd name="T67" fmla="*/ 82 h 214"/>
              <a:gd name="T68" fmla="*/ 73 w 272"/>
              <a:gd name="T69" fmla="*/ 84 h 214"/>
              <a:gd name="T70" fmla="*/ 101 w 272"/>
              <a:gd name="T71" fmla="*/ 83 h 214"/>
              <a:gd name="T72" fmla="*/ 123 w 272"/>
              <a:gd name="T73" fmla="*/ 68 h 214"/>
              <a:gd name="T74" fmla="*/ 122 w 272"/>
              <a:gd name="T75" fmla="*/ 60 h 214"/>
              <a:gd name="T76" fmla="*/ 124 w 272"/>
              <a:gd name="T77" fmla="*/ 55 h 214"/>
              <a:gd name="T78" fmla="*/ 124 w 272"/>
              <a:gd name="T79" fmla="*/ 51 h 214"/>
              <a:gd name="T80" fmla="*/ 122 w 272"/>
              <a:gd name="T81" fmla="*/ 50 h 214"/>
              <a:gd name="T82" fmla="*/ 119 w 272"/>
              <a:gd name="T83" fmla="*/ 46 h 214"/>
              <a:gd name="T84" fmla="*/ 125 w 272"/>
              <a:gd name="T85" fmla="*/ 39 h 214"/>
              <a:gd name="T86" fmla="*/ 133 w 272"/>
              <a:gd name="T87" fmla="*/ 33 h 214"/>
              <a:gd name="T88" fmla="*/ 139 w 272"/>
              <a:gd name="T89" fmla="*/ 25 h 214"/>
              <a:gd name="T90" fmla="*/ 168 w 272"/>
              <a:gd name="T91" fmla="*/ 2 h 214"/>
              <a:gd name="T92" fmla="*/ 220 w 272"/>
              <a:gd name="T93" fmla="*/ 8 h 214"/>
              <a:gd name="T94" fmla="*/ 222 w 272"/>
              <a:gd name="T95" fmla="*/ 28 h 214"/>
              <a:gd name="T96" fmla="*/ 218 w 272"/>
              <a:gd name="T97" fmla="*/ 47 h 214"/>
              <a:gd name="T98" fmla="*/ 218 w 272"/>
              <a:gd name="T99" fmla="*/ 68 h 214"/>
              <a:gd name="T100" fmla="*/ 223 w 272"/>
              <a:gd name="T101" fmla="*/ 70 h 214"/>
              <a:gd name="T102" fmla="*/ 215 w 272"/>
              <a:gd name="T103" fmla="*/ 161 h 214"/>
              <a:gd name="T104" fmla="*/ 208 w 272"/>
              <a:gd name="T105" fmla="*/ 188 h 214"/>
              <a:gd name="T106" fmla="*/ 190 w 272"/>
              <a:gd name="T107" fmla="*/ 213 h 214"/>
              <a:gd name="T108" fmla="*/ 196 w 272"/>
              <a:gd name="T109" fmla="*/ 20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2" h="214">
                <a:moveTo>
                  <a:pt x="208" y="188"/>
                </a:moveTo>
                <a:cubicBezTo>
                  <a:pt x="211" y="191"/>
                  <a:pt x="211" y="191"/>
                  <a:pt x="211" y="191"/>
                </a:cubicBezTo>
                <a:cubicBezTo>
                  <a:pt x="210" y="191"/>
                  <a:pt x="210" y="191"/>
                  <a:pt x="210" y="191"/>
                </a:cubicBezTo>
                <a:cubicBezTo>
                  <a:pt x="210" y="191"/>
                  <a:pt x="209" y="191"/>
                  <a:pt x="209" y="192"/>
                </a:cubicBezTo>
                <a:cubicBezTo>
                  <a:pt x="209" y="192"/>
                  <a:pt x="209" y="193"/>
                  <a:pt x="208" y="193"/>
                </a:cubicBezTo>
                <a:cubicBezTo>
                  <a:pt x="208" y="194"/>
                  <a:pt x="207" y="194"/>
                  <a:pt x="207" y="195"/>
                </a:cubicBezTo>
                <a:cubicBezTo>
                  <a:pt x="207" y="195"/>
                  <a:pt x="207" y="196"/>
                  <a:pt x="206" y="196"/>
                </a:cubicBezTo>
                <a:cubicBezTo>
                  <a:pt x="206" y="197"/>
                  <a:pt x="206" y="197"/>
                  <a:pt x="206" y="197"/>
                </a:cubicBezTo>
                <a:cubicBezTo>
                  <a:pt x="206" y="197"/>
                  <a:pt x="206" y="198"/>
                  <a:pt x="206" y="198"/>
                </a:cubicBezTo>
                <a:cubicBezTo>
                  <a:pt x="206" y="199"/>
                  <a:pt x="206" y="199"/>
                  <a:pt x="206" y="200"/>
                </a:cubicBezTo>
                <a:cubicBezTo>
                  <a:pt x="207" y="200"/>
                  <a:pt x="208" y="200"/>
                  <a:pt x="207" y="199"/>
                </a:cubicBezTo>
                <a:cubicBezTo>
                  <a:pt x="207" y="199"/>
                  <a:pt x="207" y="199"/>
                  <a:pt x="207" y="198"/>
                </a:cubicBezTo>
                <a:cubicBezTo>
                  <a:pt x="208" y="198"/>
                  <a:pt x="208" y="198"/>
                  <a:pt x="208" y="198"/>
                </a:cubicBezTo>
                <a:cubicBezTo>
                  <a:pt x="208" y="198"/>
                  <a:pt x="209" y="198"/>
                  <a:pt x="209" y="198"/>
                </a:cubicBezTo>
                <a:cubicBezTo>
                  <a:pt x="209" y="198"/>
                  <a:pt x="209" y="198"/>
                  <a:pt x="209" y="198"/>
                </a:cubicBezTo>
                <a:cubicBezTo>
                  <a:pt x="208" y="197"/>
                  <a:pt x="208" y="197"/>
                  <a:pt x="208" y="197"/>
                </a:cubicBezTo>
                <a:cubicBezTo>
                  <a:pt x="209" y="197"/>
                  <a:pt x="209" y="197"/>
                  <a:pt x="210" y="197"/>
                </a:cubicBezTo>
                <a:cubicBezTo>
                  <a:pt x="210" y="197"/>
                  <a:pt x="211" y="197"/>
                  <a:pt x="211" y="197"/>
                </a:cubicBezTo>
                <a:cubicBezTo>
                  <a:pt x="211" y="197"/>
                  <a:pt x="211" y="196"/>
                  <a:pt x="211" y="196"/>
                </a:cubicBezTo>
                <a:cubicBezTo>
                  <a:pt x="212" y="196"/>
                  <a:pt x="212" y="195"/>
                  <a:pt x="212" y="195"/>
                </a:cubicBezTo>
                <a:cubicBezTo>
                  <a:pt x="212" y="195"/>
                  <a:pt x="213" y="195"/>
                  <a:pt x="213" y="195"/>
                </a:cubicBezTo>
                <a:cubicBezTo>
                  <a:pt x="214" y="195"/>
                  <a:pt x="214" y="195"/>
                  <a:pt x="214" y="195"/>
                </a:cubicBezTo>
                <a:cubicBezTo>
                  <a:pt x="215" y="195"/>
                  <a:pt x="215" y="195"/>
                  <a:pt x="216" y="195"/>
                </a:cubicBezTo>
                <a:cubicBezTo>
                  <a:pt x="216" y="196"/>
                  <a:pt x="217" y="196"/>
                  <a:pt x="217" y="196"/>
                </a:cubicBezTo>
                <a:cubicBezTo>
                  <a:pt x="217" y="196"/>
                  <a:pt x="218" y="195"/>
                  <a:pt x="218" y="195"/>
                </a:cubicBezTo>
                <a:cubicBezTo>
                  <a:pt x="218" y="195"/>
                  <a:pt x="218" y="195"/>
                  <a:pt x="218" y="195"/>
                </a:cubicBezTo>
                <a:cubicBezTo>
                  <a:pt x="218" y="195"/>
                  <a:pt x="218" y="194"/>
                  <a:pt x="218" y="194"/>
                </a:cubicBezTo>
                <a:cubicBezTo>
                  <a:pt x="219" y="194"/>
                  <a:pt x="219" y="194"/>
                  <a:pt x="219" y="195"/>
                </a:cubicBezTo>
                <a:cubicBezTo>
                  <a:pt x="220" y="195"/>
                  <a:pt x="220" y="195"/>
                  <a:pt x="221" y="194"/>
                </a:cubicBezTo>
                <a:cubicBezTo>
                  <a:pt x="221" y="194"/>
                  <a:pt x="221" y="194"/>
                  <a:pt x="222" y="194"/>
                </a:cubicBezTo>
                <a:cubicBezTo>
                  <a:pt x="223" y="194"/>
                  <a:pt x="223" y="194"/>
                  <a:pt x="224" y="194"/>
                </a:cubicBezTo>
                <a:cubicBezTo>
                  <a:pt x="226" y="194"/>
                  <a:pt x="228" y="194"/>
                  <a:pt x="229" y="193"/>
                </a:cubicBezTo>
                <a:cubicBezTo>
                  <a:pt x="229" y="192"/>
                  <a:pt x="230" y="192"/>
                  <a:pt x="231" y="192"/>
                </a:cubicBezTo>
                <a:cubicBezTo>
                  <a:pt x="231" y="192"/>
                  <a:pt x="232" y="192"/>
                  <a:pt x="233" y="192"/>
                </a:cubicBezTo>
                <a:cubicBezTo>
                  <a:pt x="233" y="192"/>
                  <a:pt x="234" y="192"/>
                  <a:pt x="234" y="192"/>
                </a:cubicBezTo>
                <a:cubicBezTo>
                  <a:pt x="235" y="192"/>
                  <a:pt x="236" y="192"/>
                  <a:pt x="236" y="192"/>
                </a:cubicBezTo>
                <a:cubicBezTo>
                  <a:pt x="237" y="192"/>
                  <a:pt x="237" y="192"/>
                  <a:pt x="238" y="192"/>
                </a:cubicBezTo>
                <a:cubicBezTo>
                  <a:pt x="238" y="192"/>
                  <a:pt x="238" y="192"/>
                  <a:pt x="239" y="192"/>
                </a:cubicBezTo>
                <a:cubicBezTo>
                  <a:pt x="240" y="192"/>
                  <a:pt x="240" y="191"/>
                  <a:pt x="241" y="191"/>
                </a:cubicBezTo>
                <a:cubicBezTo>
                  <a:pt x="242" y="192"/>
                  <a:pt x="243" y="192"/>
                  <a:pt x="244" y="191"/>
                </a:cubicBezTo>
                <a:cubicBezTo>
                  <a:pt x="245" y="191"/>
                  <a:pt x="246" y="191"/>
                  <a:pt x="246" y="191"/>
                </a:cubicBezTo>
                <a:cubicBezTo>
                  <a:pt x="247" y="190"/>
                  <a:pt x="247" y="190"/>
                  <a:pt x="248" y="190"/>
                </a:cubicBezTo>
                <a:cubicBezTo>
                  <a:pt x="248" y="190"/>
                  <a:pt x="249" y="190"/>
                  <a:pt x="249" y="189"/>
                </a:cubicBezTo>
                <a:cubicBezTo>
                  <a:pt x="250" y="189"/>
                  <a:pt x="251" y="188"/>
                  <a:pt x="251" y="188"/>
                </a:cubicBezTo>
                <a:cubicBezTo>
                  <a:pt x="252" y="188"/>
                  <a:pt x="252" y="187"/>
                  <a:pt x="253" y="187"/>
                </a:cubicBezTo>
                <a:cubicBezTo>
                  <a:pt x="253" y="187"/>
                  <a:pt x="254" y="186"/>
                  <a:pt x="254" y="186"/>
                </a:cubicBezTo>
                <a:cubicBezTo>
                  <a:pt x="254" y="186"/>
                  <a:pt x="255" y="186"/>
                  <a:pt x="255" y="186"/>
                </a:cubicBezTo>
                <a:cubicBezTo>
                  <a:pt x="255" y="186"/>
                  <a:pt x="255" y="186"/>
                  <a:pt x="255" y="187"/>
                </a:cubicBezTo>
                <a:cubicBezTo>
                  <a:pt x="255" y="187"/>
                  <a:pt x="255" y="187"/>
                  <a:pt x="254" y="187"/>
                </a:cubicBezTo>
                <a:cubicBezTo>
                  <a:pt x="254" y="188"/>
                  <a:pt x="253" y="189"/>
                  <a:pt x="253" y="190"/>
                </a:cubicBezTo>
                <a:cubicBezTo>
                  <a:pt x="253" y="190"/>
                  <a:pt x="253" y="191"/>
                  <a:pt x="252" y="191"/>
                </a:cubicBezTo>
                <a:cubicBezTo>
                  <a:pt x="252" y="191"/>
                  <a:pt x="251" y="191"/>
                  <a:pt x="251" y="191"/>
                </a:cubicBezTo>
                <a:cubicBezTo>
                  <a:pt x="251" y="191"/>
                  <a:pt x="251" y="191"/>
                  <a:pt x="250" y="192"/>
                </a:cubicBezTo>
                <a:cubicBezTo>
                  <a:pt x="250" y="192"/>
                  <a:pt x="249" y="192"/>
                  <a:pt x="249" y="192"/>
                </a:cubicBezTo>
                <a:cubicBezTo>
                  <a:pt x="248" y="193"/>
                  <a:pt x="248" y="193"/>
                  <a:pt x="248" y="193"/>
                </a:cubicBezTo>
                <a:cubicBezTo>
                  <a:pt x="247" y="193"/>
                  <a:pt x="247" y="193"/>
                  <a:pt x="247" y="194"/>
                </a:cubicBezTo>
                <a:cubicBezTo>
                  <a:pt x="247" y="194"/>
                  <a:pt x="247" y="194"/>
                  <a:pt x="247" y="194"/>
                </a:cubicBezTo>
                <a:cubicBezTo>
                  <a:pt x="248" y="194"/>
                  <a:pt x="248" y="194"/>
                  <a:pt x="248" y="194"/>
                </a:cubicBezTo>
                <a:cubicBezTo>
                  <a:pt x="248" y="194"/>
                  <a:pt x="248" y="194"/>
                  <a:pt x="249" y="195"/>
                </a:cubicBezTo>
                <a:cubicBezTo>
                  <a:pt x="249" y="195"/>
                  <a:pt x="249" y="194"/>
                  <a:pt x="250" y="194"/>
                </a:cubicBezTo>
                <a:cubicBezTo>
                  <a:pt x="251" y="194"/>
                  <a:pt x="252" y="194"/>
                  <a:pt x="253" y="193"/>
                </a:cubicBezTo>
                <a:cubicBezTo>
                  <a:pt x="254" y="193"/>
                  <a:pt x="254" y="192"/>
                  <a:pt x="255" y="192"/>
                </a:cubicBezTo>
                <a:cubicBezTo>
                  <a:pt x="255" y="191"/>
                  <a:pt x="256" y="191"/>
                  <a:pt x="256" y="191"/>
                </a:cubicBezTo>
                <a:cubicBezTo>
                  <a:pt x="257" y="190"/>
                  <a:pt x="257" y="190"/>
                  <a:pt x="258" y="190"/>
                </a:cubicBezTo>
                <a:cubicBezTo>
                  <a:pt x="258" y="190"/>
                  <a:pt x="259" y="190"/>
                  <a:pt x="259" y="190"/>
                </a:cubicBezTo>
                <a:cubicBezTo>
                  <a:pt x="259" y="190"/>
                  <a:pt x="260" y="189"/>
                  <a:pt x="260" y="189"/>
                </a:cubicBezTo>
                <a:cubicBezTo>
                  <a:pt x="260" y="189"/>
                  <a:pt x="261" y="189"/>
                  <a:pt x="261" y="189"/>
                </a:cubicBezTo>
                <a:cubicBezTo>
                  <a:pt x="261" y="189"/>
                  <a:pt x="261" y="188"/>
                  <a:pt x="262" y="188"/>
                </a:cubicBezTo>
                <a:cubicBezTo>
                  <a:pt x="262" y="188"/>
                  <a:pt x="263" y="189"/>
                  <a:pt x="263" y="189"/>
                </a:cubicBezTo>
                <a:cubicBezTo>
                  <a:pt x="263" y="189"/>
                  <a:pt x="264" y="189"/>
                  <a:pt x="265" y="189"/>
                </a:cubicBezTo>
                <a:cubicBezTo>
                  <a:pt x="265" y="189"/>
                  <a:pt x="266" y="189"/>
                  <a:pt x="267" y="189"/>
                </a:cubicBezTo>
                <a:cubicBezTo>
                  <a:pt x="267" y="189"/>
                  <a:pt x="268" y="188"/>
                  <a:pt x="269" y="188"/>
                </a:cubicBezTo>
                <a:cubicBezTo>
                  <a:pt x="269" y="188"/>
                  <a:pt x="269" y="188"/>
                  <a:pt x="270" y="188"/>
                </a:cubicBezTo>
                <a:cubicBezTo>
                  <a:pt x="270" y="187"/>
                  <a:pt x="270" y="187"/>
                  <a:pt x="271" y="187"/>
                </a:cubicBezTo>
                <a:cubicBezTo>
                  <a:pt x="271" y="187"/>
                  <a:pt x="272" y="187"/>
                  <a:pt x="272" y="188"/>
                </a:cubicBezTo>
                <a:cubicBezTo>
                  <a:pt x="272" y="189"/>
                  <a:pt x="271" y="189"/>
                  <a:pt x="270" y="189"/>
                </a:cubicBezTo>
                <a:cubicBezTo>
                  <a:pt x="270" y="189"/>
                  <a:pt x="270" y="189"/>
                  <a:pt x="270" y="189"/>
                </a:cubicBezTo>
                <a:cubicBezTo>
                  <a:pt x="270" y="189"/>
                  <a:pt x="269" y="189"/>
                  <a:pt x="269" y="189"/>
                </a:cubicBezTo>
                <a:cubicBezTo>
                  <a:pt x="268" y="190"/>
                  <a:pt x="268" y="190"/>
                  <a:pt x="267" y="190"/>
                </a:cubicBezTo>
                <a:cubicBezTo>
                  <a:pt x="267" y="191"/>
                  <a:pt x="266" y="191"/>
                  <a:pt x="265" y="191"/>
                </a:cubicBezTo>
                <a:cubicBezTo>
                  <a:pt x="265" y="191"/>
                  <a:pt x="265" y="192"/>
                  <a:pt x="264" y="192"/>
                </a:cubicBezTo>
                <a:cubicBezTo>
                  <a:pt x="264" y="192"/>
                  <a:pt x="264" y="192"/>
                  <a:pt x="263" y="192"/>
                </a:cubicBezTo>
                <a:cubicBezTo>
                  <a:pt x="263" y="193"/>
                  <a:pt x="263" y="193"/>
                  <a:pt x="262" y="193"/>
                </a:cubicBezTo>
                <a:cubicBezTo>
                  <a:pt x="262" y="193"/>
                  <a:pt x="261" y="193"/>
                  <a:pt x="261" y="193"/>
                </a:cubicBezTo>
                <a:cubicBezTo>
                  <a:pt x="260" y="193"/>
                  <a:pt x="260" y="194"/>
                  <a:pt x="259" y="194"/>
                </a:cubicBezTo>
                <a:cubicBezTo>
                  <a:pt x="259" y="194"/>
                  <a:pt x="258" y="194"/>
                  <a:pt x="258" y="194"/>
                </a:cubicBezTo>
                <a:cubicBezTo>
                  <a:pt x="258" y="195"/>
                  <a:pt x="257" y="195"/>
                  <a:pt x="257" y="195"/>
                </a:cubicBezTo>
                <a:cubicBezTo>
                  <a:pt x="256" y="195"/>
                  <a:pt x="256" y="195"/>
                  <a:pt x="256" y="195"/>
                </a:cubicBezTo>
                <a:cubicBezTo>
                  <a:pt x="255" y="195"/>
                  <a:pt x="255" y="196"/>
                  <a:pt x="255" y="196"/>
                </a:cubicBezTo>
                <a:cubicBezTo>
                  <a:pt x="255" y="196"/>
                  <a:pt x="254" y="196"/>
                  <a:pt x="254" y="196"/>
                </a:cubicBezTo>
                <a:cubicBezTo>
                  <a:pt x="254" y="196"/>
                  <a:pt x="253" y="196"/>
                  <a:pt x="253" y="196"/>
                </a:cubicBezTo>
                <a:cubicBezTo>
                  <a:pt x="253" y="196"/>
                  <a:pt x="253" y="196"/>
                  <a:pt x="253" y="196"/>
                </a:cubicBezTo>
                <a:cubicBezTo>
                  <a:pt x="253" y="195"/>
                  <a:pt x="252" y="196"/>
                  <a:pt x="251" y="196"/>
                </a:cubicBezTo>
                <a:cubicBezTo>
                  <a:pt x="251" y="196"/>
                  <a:pt x="251" y="195"/>
                  <a:pt x="251" y="196"/>
                </a:cubicBezTo>
                <a:cubicBezTo>
                  <a:pt x="251" y="196"/>
                  <a:pt x="251" y="196"/>
                  <a:pt x="250" y="196"/>
                </a:cubicBezTo>
                <a:cubicBezTo>
                  <a:pt x="250" y="196"/>
                  <a:pt x="250" y="196"/>
                  <a:pt x="250" y="197"/>
                </a:cubicBezTo>
                <a:cubicBezTo>
                  <a:pt x="250" y="197"/>
                  <a:pt x="250" y="198"/>
                  <a:pt x="250" y="198"/>
                </a:cubicBezTo>
                <a:cubicBezTo>
                  <a:pt x="249" y="198"/>
                  <a:pt x="249" y="199"/>
                  <a:pt x="248" y="199"/>
                </a:cubicBezTo>
                <a:cubicBezTo>
                  <a:pt x="248" y="199"/>
                  <a:pt x="247" y="199"/>
                  <a:pt x="247" y="199"/>
                </a:cubicBezTo>
                <a:cubicBezTo>
                  <a:pt x="246" y="199"/>
                  <a:pt x="246" y="199"/>
                  <a:pt x="245" y="199"/>
                </a:cubicBezTo>
                <a:cubicBezTo>
                  <a:pt x="244" y="199"/>
                  <a:pt x="244" y="200"/>
                  <a:pt x="244" y="200"/>
                </a:cubicBezTo>
                <a:cubicBezTo>
                  <a:pt x="243" y="200"/>
                  <a:pt x="242" y="200"/>
                  <a:pt x="241" y="200"/>
                </a:cubicBezTo>
                <a:cubicBezTo>
                  <a:pt x="241" y="200"/>
                  <a:pt x="240" y="200"/>
                  <a:pt x="240" y="200"/>
                </a:cubicBezTo>
                <a:cubicBezTo>
                  <a:pt x="239" y="201"/>
                  <a:pt x="239" y="201"/>
                  <a:pt x="239" y="201"/>
                </a:cubicBezTo>
                <a:cubicBezTo>
                  <a:pt x="239" y="202"/>
                  <a:pt x="238" y="202"/>
                  <a:pt x="238" y="202"/>
                </a:cubicBezTo>
                <a:cubicBezTo>
                  <a:pt x="237" y="202"/>
                  <a:pt x="237" y="202"/>
                  <a:pt x="236" y="202"/>
                </a:cubicBezTo>
                <a:cubicBezTo>
                  <a:pt x="235" y="202"/>
                  <a:pt x="235" y="202"/>
                  <a:pt x="234" y="202"/>
                </a:cubicBezTo>
                <a:cubicBezTo>
                  <a:pt x="234" y="202"/>
                  <a:pt x="233" y="202"/>
                  <a:pt x="233" y="202"/>
                </a:cubicBezTo>
                <a:cubicBezTo>
                  <a:pt x="232" y="202"/>
                  <a:pt x="232" y="202"/>
                  <a:pt x="232" y="202"/>
                </a:cubicBezTo>
                <a:cubicBezTo>
                  <a:pt x="231" y="202"/>
                  <a:pt x="231" y="202"/>
                  <a:pt x="231" y="202"/>
                </a:cubicBezTo>
                <a:cubicBezTo>
                  <a:pt x="230" y="202"/>
                  <a:pt x="230" y="203"/>
                  <a:pt x="230" y="203"/>
                </a:cubicBezTo>
                <a:cubicBezTo>
                  <a:pt x="229" y="203"/>
                  <a:pt x="229" y="203"/>
                  <a:pt x="229" y="203"/>
                </a:cubicBezTo>
                <a:cubicBezTo>
                  <a:pt x="229" y="203"/>
                  <a:pt x="229" y="203"/>
                  <a:pt x="229" y="203"/>
                </a:cubicBezTo>
                <a:cubicBezTo>
                  <a:pt x="228" y="204"/>
                  <a:pt x="228" y="204"/>
                  <a:pt x="227" y="204"/>
                </a:cubicBezTo>
                <a:cubicBezTo>
                  <a:pt x="226" y="204"/>
                  <a:pt x="226" y="204"/>
                  <a:pt x="225" y="204"/>
                </a:cubicBezTo>
                <a:cubicBezTo>
                  <a:pt x="225" y="204"/>
                  <a:pt x="224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ubicBezTo>
                  <a:pt x="223" y="204"/>
                  <a:pt x="223" y="204"/>
                  <a:pt x="223" y="205"/>
                </a:cubicBezTo>
                <a:cubicBezTo>
                  <a:pt x="222" y="205"/>
                  <a:pt x="222" y="205"/>
                  <a:pt x="222" y="205"/>
                </a:cubicBezTo>
                <a:cubicBezTo>
                  <a:pt x="221" y="205"/>
                  <a:pt x="221" y="205"/>
                  <a:pt x="220" y="206"/>
                </a:cubicBezTo>
                <a:cubicBezTo>
                  <a:pt x="219" y="206"/>
                  <a:pt x="218" y="206"/>
                  <a:pt x="218" y="206"/>
                </a:cubicBezTo>
                <a:cubicBezTo>
                  <a:pt x="217" y="206"/>
                  <a:pt x="217" y="206"/>
                  <a:pt x="217" y="206"/>
                </a:cubicBezTo>
                <a:cubicBezTo>
                  <a:pt x="216" y="207"/>
                  <a:pt x="216" y="207"/>
                  <a:pt x="216" y="207"/>
                </a:cubicBezTo>
                <a:cubicBezTo>
                  <a:pt x="216" y="207"/>
                  <a:pt x="216" y="208"/>
                  <a:pt x="215" y="209"/>
                </a:cubicBezTo>
                <a:cubicBezTo>
                  <a:pt x="214" y="209"/>
                  <a:pt x="214" y="208"/>
                  <a:pt x="213" y="208"/>
                </a:cubicBezTo>
                <a:cubicBezTo>
                  <a:pt x="213" y="208"/>
                  <a:pt x="211" y="207"/>
                  <a:pt x="211" y="208"/>
                </a:cubicBezTo>
                <a:cubicBezTo>
                  <a:pt x="211" y="208"/>
                  <a:pt x="211" y="208"/>
                  <a:pt x="211" y="209"/>
                </a:cubicBezTo>
                <a:cubicBezTo>
                  <a:pt x="211" y="209"/>
                  <a:pt x="210" y="209"/>
                  <a:pt x="210" y="209"/>
                </a:cubicBezTo>
                <a:cubicBezTo>
                  <a:pt x="210" y="209"/>
                  <a:pt x="209" y="209"/>
                  <a:pt x="209" y="209"/>
                </a:cubicBezTo>
                <a:cubicBezTo>
                  <a:pt x="209" y="209"/>
                  <a:pt x="208" y="209"/>
                  <a:pt x="208" y="209"/>
                </a:cubicBezTo>
                <a:cubicBezTo>
                  <a:pt x="207" y="209"/>
                  <a:pt x="207" y="209"/>
                  <a:pt x="206" y="209"/>
                </a:cubicBezTo>
                <a:cubicBezTo>
                  <a:pt x="206" y="209"/>
                  <a:pt x="206" y="208"/>
                  <a:pt x="206" y="208"/>
                </a:cubicBezTo>
                <a:cubicBezTo>
                  <a:pt x="206" y="208"/>
                  <a:pt x="207" y="208"/>
                  <a:pt x="206" y="208"/>
                </a:cubicBezTo>
                <a:cubicBezTo>
                  <a:pt x="206" y="208"/>
                  <a:pt x="205" y="208"/>
                  <a:pt x="205" y="207"/>
                </a:cubicBezTo>
                <a:cubicBezTo>
                  <a:pt x="205" y="207"/>
                  <a:pt x="205" y="207"/>
                  <a:pt x="205" y="207"/>
                </a:cubicBezTo>
                <a:cubicBezTo>
                  <a:pt x="204" y="207"/>
                  <a:pt x="204" y="207"/>
                  <a:pt x="204" y="207"/>
                </a:cubicBezTo>
                <a:cubicBezTo>
                  <a:pt x="204" y="208"/>
                  <a:pt x="204" y="208"/>
                  <a:pt x="203" y="208"/>
                </a:cubicBezTo>
                <a:cubicBezTo>
                  <a:pt x="203" y="208"/>
                  <a:pt x="203" y="208"/>
                  <a:pt x="203" y="209"/>
                </a:cubicBezTo>
                <a:cubicBezTo>
                  <a:pt x="202" y="209"/>
                  <a:pt x="202" y="209"/>
                  <a:pt x="202" y="209"/>
                </a:cubicBezTo>
                <a:cubicBezTo>
                  <a:pt x="202" y="209"/>
                  <a:pt x="201" y="209"/>
                  <a:pt x="201" y="209"/>
                </a:cubicBezTo>
                <a:cubicBezTo>
                  <a:pt x="201" y="209"/>
                  <a:pt x="201" y="210"/>
                  <a:pt x="201" y="210"/>
                </a:cubicBezTo>
                <a:cubicBezTo>
                  <a:pt x="200" y="210"/>
                  <a:pt x="200" y="210"/>
                  <a:pt x="199" y="210"/>
                </a:cubicBezTo>
                <a:cubicBezTo>
                  <a:pt x="199" y="210"/>
                  <a:pt x="199" y="210"/>
                  <a:pt x="198" y="209"/>
                </a:cubicBezTo>
                <a:cubicBezTo>
                  <a:pt x="198" y="209"/>
                  <a:pt x="198" y="208"/>
                  <a:pt x="198" y="207"/>
                </a:cubicBezTo>
                <a:cubicBezTo>
                  <a:pt x="198" y="207"/>
                  <a:pt x="198" y="206"/>
                  <a:pt x="198" y="206"/>
                </a:cubicBezTo>
                <a:cubicBezTo>
                  <a:pt x="198" y="206"/>
                  <a:pt x="199" y="205"/>
                  <a:pt x="199" y="204"/>
                </a:cubicBezTo>
                <a:cubicBezTo>
                  <a:pt x="199" y="204"/>
                  <a:pt x="199" y="203"/>
                  <a:pt x="199" y="202"/>
                </a:cubicBezTo>
                <a:cubicBezTo>
                  <a:pt x="199" y="202"/>
                  <a:pt x="199" y="202"/>
                  <a:pt x="199" y="202"/>
                </a:cubicBezTo>
                <a:cubicBezTo>
                  <a:pt x="199" y="202"/>
                  <a:pt x="198" y="202"/>
                  <a:pt x="198" y="202"/>
                </a:cubicBezTo>
                <a:cubicBezTo>
                  <a:pt x="202" y="191"/>
                  <a:pt x="202" y="191"/>
                  <a:pt x="202" y="191"/>
                </a:cubicBezTo>
                <a:cubicBezTo>
                  <a:pt x="202" y="191"/>
                  <a:pt x="176" y="175"/>
                  <a:pt x="176" y="175"/>
                </a:cubicBezTo>
                <a:cubicBezTo>
                  <a:pt x="176" y="175"/>
                  <a:pt x="174" y="173"/>
                  <a:pt x="174" y="173"/>
                </a:cubicBezTo>
                <a:cubicBezTo>
                  <a:pt x="174" y="173"/>
                  <a:pt x="173" y="171"/>
                  <a:pt x="173" y="171"/>
                </a:cubicBezTo>
                <a:cubicBezTo>
                  <a:pt x="173" y="170"/>
                  <a:pt x="172" y="170"/>
                  <a:pt x="172" y="170"/>
                </a:cubicBezTo>
                <a:cubicBezTo>
                  <a:pt x="171" y="170"/>
                  <a:pt x="169" y="170"/>
                  <a:pt x="168" y="170"/>
                </a:cubicBezTo>
                <a:cubicBezTo>
                  <a:pt x="167" y="170"/>
                  <a:pt x="167" y="169"/>
                  <a:pt x="167" y="169"/>
                </a:cubicBezTo>
                <a:cubicBezTo>
                  <a:pt x="167" y="169"/>
                  <a:pt x="167" y="168"/>
                  <a:pt x="167" y="168"/>
                </a:cubicBezTo>
                <a:cubicBezTo>
                  <a:pt x="166" y="168"/>
                  <a:pt x="165" y="168"/>
                  <a:pt x="164" y="168"/>
                </a:cubicBezTo>
                <a:cubicBezTo>
                  <a:pt x="164" y="168"/>
                  <a:pt x="162" y="162"/>
                  <a:pt x="162" y="162"/>
                </a:cubicBezTo>
                <a:cubicBezTo>
                  <a:pt x="162" y="162"/>
                  <a:pt x="162" y="162"/>
                  <a:pt x="162" y="162"/>
                </a:cubicBezTo>
                <a:cubicBezTo>
                  <a:pt x="163" y="162"/>
                  <a:pt x="163" y="161"/>
                  <a:pt x="163" y="161"/>
                </a:cubicBezTo>
                <a:cubicBezTo>
                  <a:pt x="163" y="161"/>
                  <a:pt x="162" y="160"/>
                  <a:pt x="162" y="159"/>
                </a:cubicBezTo>
                <a:cubicBezTo>
                  <a:pt x="162" y="159"/>
                  <a:pt x="162" y="158"/>
                  <a:pt x="162" y="158"/>
                </a:cubicBezTo>
                <a:cubicBezTo>
                  <a:pt x="162" y="158"/>
                  <a:pt x="162" y="156"/>
                  <a:pt x="162" y="156"/>
                </a:cubicBezTo>
                <a:cubicBezTo>
                  <a:pt x="162" y="155"/>
                  <a:pt x="161" y="155"/>
                  <a:pt x="161" y="155"/>
                </a:cubicBezTo>
                <a:cubicBezTo>
                  <a:pt x="161" y="154"/>
                  <a:pt x="161" y="154"/>
                  <a:pt x="161" y="154"/>
                </a:cubicBezTo>
                <a:cubicBezTo>
                  <a:pt x="161" y="154"/>
                  <a:pt x="162" y="152"/>
                  <a:pt x="162" y="152"/>
                </a:cubicBezTo>
                <a:cubicBezTo>
                  <a:pt x="162" y="152"/>
                  <a:pt x="158" y="150"/>
                  <a:pt x="158" y="150"/>
                </a:cubicBezTo>
                <a:cubicBezTo>
                  <a:pt x="158" y="149"/>
                  <a:pt x="157" y="150"/>
                  <a:pt x="156" y="150"/>
                </a:cubicBezTo>
                <a:cubicBezTo>
                  <a:pt x="156" y="150"/>
                  <a:pt x="155" y="150"/>
                  <a:pt x="155" y="150"/>
                </a:cubicBezTo>
                <a:cubicBezTo>
                  <a:pt x="155" y="150"/>
                  <a:pt x="154" y="147"/>
                  <a:pt x="154" y="146"/>
                </a:cubicBezTo>
                <a:cubicBezTo>
                  <a:pt x="154" y="146"/>
                  <a:pt x="152" y="144"/>
                  <a:pt x="152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32"/>
                  <a:pt x="0" y="132"/>
                  <a:pt x="0" y="132"/>
                </a:cubicBezTo>
                <a:cubicBezTo>
                  <a:pt x="0" y="132"/>
                  <a:pt x="0" y="131"/>
                  <a:pt x="0" y="131"/>
                </a:cubicBezTo>
                <a:cubicBezTo>
                  <a:pt x="4" y="129"/>
                  <a:pt x="7" y="127"/>
                  <a:pt x="10" y="125"/>
                </a:cubicBezTo>
                <a:cubicBezTo>
                  <a:pt x="11" y="124"/>
                  <a:pt x="12" y="123"/>
                  <a:pt x="13" y="122"/>
                </a:cubicBezTo>
                <a:cubicBezTo>
                  <a:pt x="14" y="122"/>
                  <a:pt x="15" y="122"/>
                  <a:pt x="16" y="121"/>
                </a:cubicBezTo>
                <a:cubicBezTo>
                  <a:pt x="16" y="121"/>
                  <a:pt x="16" y="121"/>
                  <a:pt x="17" y="120"/>
                </a:cubicBezTo>
                <a:cubicBezTo>
                  <a:pt x="17" y="120"/>
                  <a:pt x="18" y="120"/>
                  <a:pt x="18" y="120"/>
                </a:cubicBezTo>
                <a:cubicBezTo>
                  <a:pt x="19" y="119"/>
                  <a:pt x="19" y="119"/>
                  <a:pt x="20" y="119"/>
                </a:cubicBezTo>
                <a:cubicBezTo>
                  <a:pt x="20" y="118"/>
                  <a:pt x="21" y="118"/>
                  <a:pt x="22" y="118"/>
                </a:cubicBezTo>
                <a:cubicBezTo>
                  <a:pt x="22" y="117"/>
                  <a:pt x="22" y="117"/>
                  <a:pt x="23" y="116"/>
                </a:cubicBezTo>
                <a:cubicBezTo>
                  <a:pt x="23" y="116"/>
                  <a:pt x="23" y="115"/>
                  <a:pt x="23" y="115"/>
                </a:cubicBezTo>
                <a:cubicBezTo>
                  <a:pt x="24" y="114"/>
                  <a:pt x="24" y="114"/>
                  <a:pt x="24" y="114"/>
                </a:cubicBezTo>
                <a:cubicBezTo>
                  <a:pt x="24" y="113"/>
                  <a:pt x="24" y="113"/>
                  <a:pt x="24" y="113"/>
                </a:cubicBezTo>
                <a:cubicBezTo>
                  <a:pt x="25" y="113"/>
                  <a:pt x="25" y="112"/>
                  <a:pt x="25" y="112"/>
                </a:cubicBezTo>
                <a:cubicBezTo>
                  <a:pt x="27" y="111"/>
                  <a:pt x="28" y="110"/>
                  <a:pt x="29" y="110"/>
                </a:cubicBezTo>
                <a:cubicBezTo>
                  <a:pt x="30" y="109"/>
                  <a:pt x="31" y="108"/>
                  <a:pt x="31" y="107"/>
                </a:cubicBezTo>
                <a:cubicBezTo>
                  <a:pt x="31" y="106"/>
                  <a:pt x="31" y="105"/>
                  <a:pt x="31" y="105"/>
                </a:cubicBezTo>
                <a:cubicBezTo>
                  <a:pt x="31" y="105"/>
                  <a:pt x="31" y="104"/>
                  <a:pt x="30" y="103"/>
                </a:cubicBezTo>
                <a:cubicBezTo>
                  <a:pt x="30" y="103"/>
                  <a:pt x="30" y="103"/>
                  <a:pt x="30" y="103"/>
                </a:cubicBezTo>
                <a:cubicBezTo>
                  <a:pt x="29" y="103"/>
                  <a:pt x="29" y="103"/>
                  <a:pt x="29" y="102"/>
                </a:cubicBezTo>
                <a:cubicBezTo>
                  <a:pt x="29" y="100"/>
                  <a:pt x="29" y="100"/>
                  <a:pt x="29" y="100"/>
                </a:cubicBezTo>
                <a:cubicBezTo>
                  <a:pt x="25" y="98"/>
                  <a:pt x="25" y="98"/>
                  <a:pt x="25" y="98"/>
                </a:cubicBezTo>
                <a:cubicBezTo>
                  <a:pt x="25" y="96"/>
                  <a:pt x="25" y="96"/>
                  <a:pt x="25" y="96"/>
                </a:cubicBezTo>
                <a:cubicBezTo>
                  <a:pt x="26" y="95"/>
                  <a:pt x="26" y="95"/>
                  <a:pt x="26" y="95"/>
                </a:cubicBezTo>
                <a:cubicBezTo>
                  <a:pt x="26" y="94"/>
                  <a:pt x="26" y="94"/>
                  <a:pt x="26" y="94"/>
                </a:cubicBezTo>
                <a:cubicBezTo>
                  <a:pt x="23" y="93"/>
                  <a:pt x="23" y="93"/>
                  <a:pt x="23" y="93"/>
                </a:cubicBezTo>
                <a:cubicBezTo>
                  <a:pt x="24" y="91"/>
                  <a:pt x="24" y="91"/>
                  <a:pt x="24" y="91"/>
                </a:cubicBezTo>
                <a:cubicBezTo>
                  <a:pt x="24" y="85"/>
                  <a:pt x="24" y="85"/>
                  <a:pt x="24" y="85"/>
                </a:cubicBezTo>
                <a:cubicBezTo>
                  <a:pt x="25" y="85"/>
                  <a:pt x="26" y="84"/>
                  <a:pt x="26" y="84"/>
                </a:cubicBezTo>
                <a:cubicBezTo>
                  <a:pt x="28" y="83"/>
                  <a:pt x="29" y="83"/>
                  <a:pt x="31" y="83"/>
                </a:cubicBezTo>
                <a:cubicBezTo>
                  <a:pt x="32" y="83"/>
                  <a:pt x="33" y="82"/>
                  <a:pt x="35" y="82"/>
                </a:cubicBezTo>
                <a:cubicBezTo>
                  <a:pt x="36" y="81"/>
                  <a:pt x="38" y="81"/>
                  <a:pt x="39" y="81"/>
                </a:cubicBezTo>
                <a:cubicBezTo>
                  <a:pt x="42" y="81"/>
                  <a:pt x="46" y="80"/>
                  <a:pt x="49" y="80"/>
                </a:cubicBezTo>
                <a:cubicBezTo>
                  <a:pt x="51" y="80"/>
                  <a:pt x="53" y="80"/>
                  <a:pt x="55" y="80"/>
                </a:cubicBezTo>
                <a:cubicBezTo>
                  <a:pt x="57" y="80"/>
                  <a:pt x="59" y="80"/>
                  <a:pt x="61" y="80"/>
                </a:cubicBezTo>
                <a:cubicBezTo>
                  <a:pt x="64" y="80"/>
                  <a:pt x="67" y="81"/>
                  <a:pt x="70" y="82"/>
                </a:cubicBezTo>
                <a:cubicBezTo>
                  <a:pt x="71" y="82"/>
                  <a:pt x="72" y="84"/>
                  <a:pt x="73" y="84"/>
                </a:cubicBezTo>
                <a:cubicBezTo>
                  <a:pt x="75" y="85"/>
                  <a:pt x="76" y="87"/>
                  <a:pt x="78" y="86"/>
                </a:cubicBezTo>
                <a:cubicBezTo>
                  <a:pt x="79" y="86"/>
                  <a:pt x="80" y="86"/>
                  <a:pt x="81" y="85"/>
                </a:cubicBezTo>
                <a:cubicBezTo>
                  <a:pt x="82" y="85"/>
                  <a:pt x="84" y="85"/>
                  <a:pt x="85" y="85"/>
                </a:cubicBezTo>
                <a:cubicBezTo>
                  <a:pt x="87" y="85"/>
                  <a:pt x="89" y="85"/>
                  <a:pt x="91" y="85"/>
                </a:cubicBezTo>
                <a:cubicBezTo>
                  <a:pt x="93" y="85"/>
                  <a:pt x="96" y="85"/>
                  <a:pt x="98" y="84"/>
                </a:cubicBezTo>
                <a:cubicBezTo>
                  <a:pt x="99" y="84"/>
                  <a:pt x="100" y="84"/>
                  <a:pt x="101" y="83"/>
                </a:cubicBezTo>
                <a:cubicBezTo>
                  <a:pt x="102" y="83"/>
                  <a:pt x="103" y="83"/>
                  <a:pt x="104" y="82"/>
                </a:cubicBezTo>
                <a:cubicBezTo>
                  <a:pt x="106" y="81"/>
                  <a:pt x="107" y="79"/>
                  <a:pt x="109" y="78"/>
                </a:cubicBezTo>
                <a:cubicBezTo>
                  <a:pt x="111" y="76"/>
                  <a:pt x="113" y="75"/>
                  <a:pt x="115" y="73"/>
                </a:cubicBezTo>
                <a:cubicBezTo>
                  <a:pt x="117" y="73"/>
                  <a:pt x="118" y="72"/>
                  <a:pt x="119" y="72"/>
                </a:cubicBezTo>
                <a:cubicBezTo>
                  <a:pt x="120" y="72"/>
                  <a:pt x="122" y="72"/>
                  <a:pt x="122" y="71"/>
                </a:cubicBezTo>
                <a:cubicBezTo>
                  <a:pt x="123" y="71"/>
                  <a:pt x="123" y="69"/>
                  <a:pt x="123" y="68"/>
                </a:cubicBezTo>
                <a:cubicBezTo>
                  <a:pt x="123" y="68"/>
                  <a:pt x="124" y="67"/>
                  <a:pt x="124" y="66"/>
                </a:cubicBezTo>
                <a:cubicBezTo>
                  <a:pt x="124" y="65"/>
                  <a:pt x="123" y="65"/>
                  <a:pt x="123" y="64"/>
                </a:cubicBezTo>
                <a:cubicBezTo>
                  <a:pt x="123" y="64"/>
                  <a:pt x="123" y="64"/>
                  <a:pt x="123" y="63"/>
                </a:cubicBezTo>
                <a:cubicBezTo>
                  <a:pt x="123" y="63"/>
                  <a:pt x="123" y="63"/>
                  <a:pt x="123" y="62"/>
                </a:cubicBezTo>
                <a:cubicBezTo>
                  <a:pt x="123" y="62"/>
                  <a:pt x="123" y="62"/>
                  <a:pt x="123" y="61"/>
                </a:cubicBezTo>
                <a:cubicBezTo>
                  <a:pt x="123" y="61"/>
                  <a:pt x="123" y="61"/>
                  <a:pt x="122" y="60"/>
                </a:cubicBezTo>
                <a:cubicBezTo>
                  <a:pt x="122" y="60"/>
                  <a:pt x="122" y="59"/>
                  <a:pt x="121" y="59"/>
                </a:cubicBezTo>
                <a:cubicBezTo>
                  <a:pt x="121" y="59"/>
                  <a:pt x="121" y="58"/>
                  <a:pt x="120" y="58"/>
                </a:cubicBezTo>
                <a:cubicBezTo>
                  <a:pt x="120" y="58"/>
                  <a:pt x="120" y="58"/>
                  <a:pt x="120" y="57"/>
                </a:cubicBezTo>
                <a:cubicBezTo>
                  <a:pt x="120" y="57"/>
                  <a:pt x="120" y="57"/>
                  <a:pt x="121" y="56"/>
                </a:cubicBezTo>
                <a:cubicBezTo>
                  <a:pt x="121" y="56"/>
                  <a:pt x="122" y="56"/>
                  <a:pt x="123" y="56"/>
                </a:cubicBezTo>
                <a:cubicBezTo>
                  <a:pt x="123" y="55"/>
                  <a:pt x="124" y="55"/>
                  <a:pt x="124" y="55"/>
                </a:cubicBezTo>
                <a:cubicBezTo>
                  <a:pt x="125" y="55"/>
                  <a:pt x="126" y="55"/>
                  <a:pt x="126" y="54"/>
                </a:cubicBezTo>
                <a:cubicBezTo>
                  <a:pt x="126" y="54"/>
                  <a:pt x="126" y="54"/>
                  <a:pt x="126" y="54"/>
                </a:cubicBezTo>
                <a:cubicBezTo>
                  <a:pt x="126" y="53"/>
                  <a:pt x="126" y="53"/>
                  <a:pt x="126" y="53"/>
                </a:cubicBezTo>
                <a:cubicBezTo>
                  <a:pt x="126" y="53"/>
                  <a:pt x="126" y="53"/>
                  <a:pt x="126" y="53"/>
                </a:cubicBezTo>
                <a:cubicBezTo>
                  <a:pt x="126" y="53"/>
                  <a:pt x="126" y="52"/>
                  <a:pt x="125" y="52"/>
                </a:cubicBezTo>
                <a:cubicBezTo>
                  <a:pt x="125" y="51"/>
                  <a:pt x="124" y="51"/>
                  <a:pt x="124" y="51"/>
                </a:cubicBezTo>
                <a:cubicBezTo>
                  <a:pt x="124" y="51"/>
                  <a:pt x="123" y="51"/>
                  <a:pt x="123" y="51"/>
                </a:cubicBezTo>
                <a:cubicBezTo>
                  <a:pt x="122" y="51"/>
                  <a:pt x="123" y="51"/>
                  <a:pt x="124" y="50"/>
                </a:cubicBezTo>
                <a:cubicBezTo>
                  <a:pt x="124" y="50"/>
                  <a:pt x="125" y="49"/>
                  <a:pt x="124" y="49"/>
                </a:cubicBezTo>
                <a:cubicBezTo>
                  <a:pt x="124" y="49"/>
                  <a:pt x="124" y="49"/>
                  <a:pt x="123" y="49"/>
                </a:cubicBezTo>
                <a:cubicBezTo>
                  <a:pt x="123" y="48"/>
                  <a:pt x="123" y="48"/>
                  <a:pt x="123" y="49"/>
                </a:cubicBezTo>
                <a:cubicBezTo>
                  <a:pt x="122" y="49"/>
                  <a:pt x="122" y="49"/>
                  <a:pt x="122" y="50"/>
                </a:cubicBezTo>
                <a:cubicBezTo>
                  <a:pt x="122" y="50"/>
                  <a:pt x="121" y="50"/>
                  <a:pt x="121" y="51"/>
                </a:cubicBezTo>
                <a:cubicBezTo>
                  <a:pt x="121" y="51"/>
                  <a:pt x="121" y="51"/>
                  <a:pt x="121" y="51"/>
                </a:cubicBezTo>
                <a:cubicBezTo>
                  <a:pt x="120" y="51"/>
                  <a:pt x="120" y="50"/>
                  <a:pt x="120" y="50"/>
                </a:cubicBezTo>
                <a:cubicBezTo>
                  <a:pt x="120" y="50"/>
                  <a:pt x="120" y="49"/>
                  <a:pt x="119" y="49"/>
                </a:cubicBezTo>
                <a:cubicBezTo>
                  <a:pt x="119" y="49"/>
                  <a:pt x="119" y="48"/>
                  <a:pt x="119" y="48"/>
                </a:cubicBezTo>
                <a:cubicBezTo>
                  <a:pt x="119" y="47"/>
                  <a:pt x="119" y="47"/>
                  <a:pt x="119" y="46"/>
                </a:cubicBezTo>
                <a:cubicBezTo>
                  <a:pt x="119" y="46"/>
                  <a:pt x="118" y="46"/>
                  <a:pt x="118" y="45"/>
                </a:cubicBezTo>
                <a:cubicBezTo>
                  <a:pt x="118" y="44"/>
                  <a:pt x="118" y="44"/>
                  <a:pt x="119" y="44"/>
                </a:cubicBezTo>
                <a:cubicBezTo>
                  <a:pt x="119" y="44"/>
                  <a:pt x="119" y="44"/>
                  <a:pt x="119" y="43"/>
                </a:cubicBezTo>
                <a:cubicBezTo>
                  <a:pt x="119" y="43"/>
                  <a:pt x="120" y="43"/>
                  <a:pt x="120" y="42"/>
                </a:cubicBezTo>
                <a:cubicBezTo>
                  <a:pt x="121" y="42"/>
                  <a:pt x="122" y="41"/>
                  <a:pt x="123" y="41"/>
                </a:cubicBezTo>
                <a:cubicBezTo>
                  <a:pt x="124" y="40"/>
                  <a:pt x="124" y="40"/>
                  <a:pt x="125" y="39"/>
                </a:cubicBezTo>
                <a:cubicBezTo>
                  <a:pt x="126" y="39"/>
                  <a:pt x="126" y="39"/>
                  <a:pt x="127" y="38"/>
                </a:cubicBezTo>
                <a:cubicBezTo>
                  <a:pt x="127" y="38"/>
                  <a:pt x="128" y="37"/>
                  <a:pt x="128" y="37"/>
                </a:cubicBezTo>
                <a:cubicBezTo>
                  <a:pt x="128" y="36"/>
                  <a:pt x="129" y="35"/>
                  <a:pt x="129" y="35"/>
                </a:cubicBezTo>
                <a:cubicBezTo>
                  <a:pt x="129" y="34"/>
                  <a:pt x="129" y="34"/>
                  <a:pt x="130" y="34"/>
                </a:cubicBezTo>
                <a:cubicBezTo>
                  <a:pt x="130" y="33"/>
                  <a:pt x="131" y="33"/>
                  <a:pt x="131" y="33"/>
                </a:cubicBezTo>
                <a:cubicBezTo>
                  <a:pt x="132" y="33"/>
                  <a:pt x="133" y="33"/>
                  <a:pt x="133" y="33"/>
                </a:cubicBezTo>
                <a:cubicBezTo>
                  <a:pt x="134" y="32"/>
                  <a:pt x="134" y="32"/>
                  <a:pt x="135" y="31"/>
                </a:cubicBezTo>
                <a:cubicBezTo>
                  <a:pt x="135" y="31"/>
                  <a:pt x="136" y="30"/>
                  <a:pt x="136" y="30"/>
                </a:cubicBezTo>
                <a:cubicBezTo>
                  <a:pt x="137" y="30"/>
                  <a:pt x="137" y="29"/>
                  <a:pt x="138" y="29"/>
                </a:cubicBezTo>
                <a:cubicBezTo>
                  <a:pt x="138" y="28"/>
                  <a:pt x="138" y="28"/>
                  <a:pt x="139" y="27"/>
                </a:cubicBezTo>
                <a:cubicBezTo>
                  <a:pt x="139" y="27"/>
                  <a:pt x="139" y="26"/>
                  <a:pt x="139" y="25"/>
                </a:cubicBezTo>
                <a:cubicBezTo>
                  <a:pt x="139" y="25"/>
                  <a:pt x="139" y="25"/>
                  <a:pt x="139" y="25"/>
                </a:cubicBezTo>
                <a:cubicBezTo>
                  <a:pt x="152" y="12"/>
                  <a:pt x="152" y="12"/>
                  <a:pt x="152" y="12"/>
                </a:cubicBezTo>
                <a:cubicBezTo>
                  <a:pt x="152" y="10"/>
                  <a:pt x="152" y="10"/>
                  <a:pt x="152" y="10"/>
                </a:cubicBezTo>
                <a:cubicBezTo>
                  <a:pt x="156" y="8"/>
                  <a:pt x="156" y="8"/>
                  <a:pt x="156" y="8"/>
                </a:cubicBezTo>
                <a:cubicBezTo>
                  <a:pt x="157" y="8"/>
                  <a:pt x="157" y="8"/>
                  <a:pt x="157" y="8"/>
                </a:cubicBezTo>
                <a:cubicBezTo>
                  <a:pt x="157" y="8"/>
                  <a:pt x="161" y="6"/>
                  <a:pt x="161" y="6"/>
                </a:cubicBezTo>
                <a:cubicBezTo>
                  <a:pt x="161" y="6"/>
                  <a:pt x="168" y="2"/>
                  <a:pt x="168" y="2"/>
                </a:cubicBezTo>
                <a:cubicBezTo>
                  <a:pt x="168" y="2"/>
                  <a:pt x="169" y="1"/>
                  <a:pt x="169" y="1"/>
                </a:cubicBezTo>
                <a:cubicBezTo>
                  <a:pt x="169" y="1"/>
                  <a:pt x="170" y="0"/>
                  <a:pt x="170" y="0"/>
                </a:cubicBezTo>
                <a:cubicBezTo>
                  <a:pt x="173" y="2"/>
                  <a:pt x="173" y="2"/>
                  <a:pt x="173" y="2"/>
                </a:cubicBezTo>
                <a:cubicBezTo>
                  <a:pt x="221" y="0"/>
                  <a:pt x="221" y="0"/>
                  <a:pt x="221" y="0"/>
                </a:cubicBezTo>
                <a:cubicBezTo>
                  <a:pt x="221" y="0"/>
                  <a:pt x="221" y="4"/>
                  <a:pt x="221" y="5"/>
                </a:cubicBezTo>
                <a:cubicBezTo>
                  <a:pt x="221" y="6"/>
                  <a:pt x="220" y="7"/>
                  <a:pt x="220" y="8"/>
                </a:cubicBezTo>
                <a:cubicBezTo>
                  <a:pt x="219" y="9"/>
                  <a:pt x="220" y="9"/>
                  <a:pt x="221" y="10"/>
                </a:cubicBezTo>
                <a:cubicBezTo>
                  <a:pt x="221" y="11"/>
                  <a:pt x="221" y="12"/>
                  <a:pt x="221" y="13"/>
                </a:cubicBezTo>
                <a:cubicBezTo>
                  <a:pt x="221" y="13"/>
                  <a:pt x="221" y="15"/>
                  <a:pt x="220" y="16"/>
                </a:cubicBezTo>
                <a:cubicBezTo>
                  <a:pt x="220" y="18"/>
                  <a:pt x="220" y="20"/>
                  <a:pt x="220" y="21"/>
                </a:cubicBezTo>
                <a:cubicBezTo>
                  <a:pt x="219" y="22"/>
                  <a:pt x="221" y="24"/>
                  <a:pt x="222" y="25"/>
                </a:cubicBezTo>
                <a:cubicBezTo>
                  <a:pt x="222" y="26"/>
                  <a:pt x="222" y="28"/>
                  <a:pt x="222" y="28"/>
                </a:cubicBezTo>
                <a:cubicBezTo>
                  <a:pt x="222" y="29"/>
                  <a:pt x="222" y="31"/>
                  <a:pt x="222" y="32"/>
                </a:cubicBezTo>
                <a:cubicBezTo>
                  <a:pt x="221" y="32"/>
                  <a:pt x="222" y="37"/>
                  <a:pt x="222" y="37"/>
                </a:cubicBezTo>
                <a:cubicBezTo>
                  <a:pt x="222" y="37"/>
                  <a:pt x="221" y="38"/>
                  <a:pt x="221" y="39"/>
                </a:cubicBezTo>
                <a:cubicBezTo>
                  <a:pt x="220" y="39"/>
                  <a:pt x="219" y="40"/>
                  <a:pt x="219" y="41"/>
                </a:cubicBezTo>
                <a:cubicBezTo>
                  <a:pt x="219" y="41"/>
                  <a:pt x="219" y="43"/>
                  <a:pt x="218" y="44"/>
                </a:cubicBezTo>
                <a:cubicBezTo>
                  <a:pt x="218" y="44"/>
                  <a:pt x="218" y="47"/>
                  <a:pt x="218" y="47"/>
                </a:cubicBezTo>
                <a:cubicBezTo>
                  <a:pt x="218" y="47"/>
                  <a:pt x="219" y="49"/>
                  <a:pt x="219" y="49"/>
                </a:cubicBezTo>
                <a:cubicBezTo>
                  <a:pt x="219" y="49"/>
                  <a:pt x="219" y="52"/>
                  <a:pt x="219" y="53"/>
                </a:cubicBezTo>
                <a:cubicBezTo>
                  <a:pt x="219" y="53"/>
                  <a:pt x="219" y="58"/>
                  <a:pt x="219" y="58"/>
                </a:cubicBezTo>
                <a:cubicBezTo>
                  <a:pt x="221" y="61"/>
                  <a:pt x="221" y="61"/>
                  <a:pt x="221" y="61"/>
                </a:cubicBezTo>
                <a:cubicBezTo>
                  <a:pt x="221" y="61"/>
                  <a:pt x="219" y="65"/>
                  <a:pt x="219" y="65"/>
                </a:cubicBezTo>
                <a:cubicBezTo>
                  <a:pt x="219" y="66"/>
                  <a:pt x="218" y="68"/>
                  <a:pt x="218" y="68"/>
                </a:cubicBezTo>
                <a:cubicBezTo>
                  <a:pt x="218" y="68"/>
                  <a:pt x="219" y="69"/>
                  <a:pt x="219" y="70"/>
                </a:cubicBezTo>
                <a:cubicBezTo>
                  <a:pt x="219" y="70"/>
                  <a:pt x="220" y="70"/>
                  <a:pt x="220" y="70"/>
                </a:cubicBezTo>
                <a:cubicBezTo>
                  <a:pt x="220" y="69"/>
                  <a:pt x="220" y="69"/>
                  <a:pt x="220" y="69"/>
                </a:cubicBezTo>
                <a:cubicBezTo>
                  <a:pt x="220" y="69"/>
                  <a:pt x="221" y="68"/>
                  <a:pt x="221" y="68"/>
                </a:cubicBezTo>
                <a:cubicBezTo>
                  <a:pt x="221" y="68"/>
                  <a:pt x="222" y="68"/>
                  <a:pt x="222" y="68"/>
                </a:cubicBezTo>
                <a:cubicBezTo>
                  <a:pt x="223" y="68"/>
                  <a:pt x="223" y="69"/>
                  <a:pt x="223" y="70"/>
                </a:cubicBezTo>
                <a:cubicBezTo>
                  <a:pt x="223" y="70"/>
                  <a:pt x="224" y="71"/>
                  <a:pt x="224" y="71"/>
                </a:cubicBezTo>
                <a:cubicBezTo>
                  <a:pt x="223" y="105"/>
                  <a:pt x="223" y="105"/>
                  <a:pt x="223" y="105"/>
                </a:cubicBezTo>
                <a:cubicBezTo>
                  <a:pt x="224" y="109"/>
                  <a:pt x="224" y="109"/>
                  <a:pt x="224" y="109"/>
                </a:cubicBezTo>
                <a:cubicBezTo>
                  <a:pt x="215" y="140"/>
                  <a:pt x="215" y="140"/>
                  <a:pt x="215" y="140"/>
                </a:cubicBezTo>
                <a:cubicBezTo>
                  <a:pt x="216" y="142"/>
                  <a:pt x="216" y="142"/>
                  <a:pt x="216" y="142"/>
                </a:cubicBezTo>
                <a:cubicBezTo>
                  <a:pt x="215" y="161"/>
                  <a:pt x="215" y="161"/>
                  <a:pt x="215" y="161"/>
                </a:cubicBezTo>
                <a:cubicBezTo>
                  <a:pt x="214" y="176"/>
                  <a:pt x="214" y="176"/>
                  <a:pt x="214" y="176"/>
                </a:cubicBezTo>
                <a:cubicBezTo>
                  <a:pt x="214" y="176"/>
                  <a:pt x="215" y="178"/>
                  <a:pt x="215" y="178"/>
                </a:cubicBezTo>
                <a:cubicBezTo>
                  <a:pt x="215" y="178"/>
                  <a:pt x="216" y="181"/>
                  <a:pt x="216" y="181"/>
                </a:cubicBezTo>
                <a:cubicBezTo>
                  <a:pt x="210" y="184"/>
                  <a:pt x="210" y="184"/>
                  <a:pt x="210" y="184"/>
                </a:cubicBezTo>
                <a:cubicBezTo>
                  <a:pt x="210" y="184"/>
                  <a:pt x="208" y="186"/>
                  <a:pt x="208" y="186"/>
                </a:cubicBezTo>
                <a:cubicBezTo>
                  <a:pt x="208" y="187"/>
                  <a:pt x="208" y="188"/>
                  <a:pt x="208" y="188"/>
                </a:cubicBezTo>
                <a:close/>
                <a:moveTo>
                  <a:pt x="195" y="206"/>
                </a:moveTo>
                <a:cubicBezTo>
                  <a:pt x="195" y="206"/>
                  <a:pt x="193" y="206"/>
                  <a:pt x="193" y="206"/>
                </a:cubicBezTo>
                <a:cubicBezTo>
                  <a:pt x="193" y="206"/>
                  <a:pt x="192" y="207"/>
                  <a:pt x="192" y="207"/>
                </a:cubicBezTo>
                <a:cubicBezTo>
                  <a:pt x="192" y="208"/>
                  <a:pt x="191" y="209"/>
                  <a:pt x="191" y="209"/>
                </a:cubicBezTo>
                <a:cubicBezTo>
                  <a:pt x="190" y="210"/>
                  <a:pt x="190" y="211"/>
                  <a:pt x="190" y="212"/>
                </a:cubicBezTo>
                <a:cubicBezTo>
                  <a:pt x="190" y="212"/>
                  <a:pt x="190" y="213"/>
                  <a:pt x="190" y="213"/>
                </a:cubicBezTo>
                <a:cubicBezTo>
                  <a:pt x="192" y="214"/>
                  <a:pt x="192" y="214"/>
                  <a:pt x="192" y="214"/>
                </a:cubicBezTo>
                <a:cubicBezTo>
                  <a:pt x="192" y="213"/>
                  <a:pt x="193" y="213"/>
                  <a:pt x="193" y="212"/>
                </a:cubicBezTo>
                <a:cubicBezTo>
                  <a:pt x="194" y="212"/>
                  <a:pt x="194" y="211"/>
                  <a:pt x="195" y="211"/>
                </a:cubicBezTo>
                <a:cubicBezTo>
                  <a:pt x="195" y="210"/>
                  <a:pt x="195" y="210"/>
                  <a:pt x="195" y="209"/>
                </a:cubicBezTo>
                <a:cubicBezTo>
                  <a:pt x="195" y="209"/>
                  <a:pt x="195" y="209"/>
                  <a:pt x="195" y="208"/>
                </a:cubicBezTo>
                <a:cubicBezTo>
                  <a:pt x="196" y="208"/>
                  <a:pt x="196" y="207"/>
                  <a:pt x="196" y="207"/>
                </a:cubicBezTo>
                <a:cubicBezTo>
                  <a:pt x="196" y="207"/>
                  <a:pt x="196" y="206"/>
                  <a:pt x="196" y="206"/>
                </a:cubicBezTo>
                <a:cubicBezTo>
                  <a:pt x="196" y="206"/>
                  <a:pt x="196" y="206"/>
                  <a:pt x="196" y="206"/>
                </a:cubicBezTo>
                <a:cubicBezTo>
                  <a:pt x="196" y="206"/>
                  <a:pt x="195" y="205"/>
                  <a:pt x="195" y="20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0" name="Freeform 28">
            <a:extLst>
              <a:ext uri="{FF2B5EF4-FFF2-40B4-BE49-F238E27FC236}">
                <a16:creationId xmlns:a16="http://schemas.microsoft.com/office/drawing/2014/main" id="{93200E6A-A45F-4776-9942-9FA3E7819A35}"/>
              </a:ext>
            </a:extLst>
          </p:cNvPr>
          <p:cNvSpPr>
            <a:spLocks/>
          </p:cNvSpPr>
          <p:nvPr/>
        </p:nvSpPr>
        <p:spPr bwMode="auto">
          <a:xfrm>
            <a:off x="10722997" y="2744988"/>
            <a:ext cx="224700" cy="436182"/>
          </a:xfrm>
          <a:custGeom>
            <a:avLst/>
            <a:gdLst>
              <a:gd name="T0" fmla="*/ 52 w 57"/>
              <a:gd name="T1" fmla="*/ 44 h 110"/>
              <a:gd name="T2" fmla="*/ 48 w 57"/>
              <a:gd name="T3" fmla="*/ 43 h 110"/>
              <a:gd name="T4" fmla="*/ 45 w 57"/>
              <a:gd name="T5" fmla="*/ 42 h 110"/>
              <a:gd name="T6" fmla="*/ 45 w 57"/>
              <a:gd name="T7" fmla="*/ 41 h 110"/>
              <a:gd name="T8" fmla="*/ 45 w 57"/>
              <a:gd name="T9" fmla="*/ 36 h 110"/>
              <a:gd name="T10" fmla="*/ 47 w 57"/>
              <a:gd name="T11" fmla="*/ 33 h 110"/>
              <a:gd name="T12" fmla="*/ 50 w 57"/>
              <a:gd name="T13" fmla="*/ 32 h 110"/>
              <a:gd name="T14" fmla="*/ 52 w 57"/>
              <a:gd name="T15" fmla="*/ 32 h 110"/>
              <a:gd name="T16" fmla="*/ 53 w 57"/>
              <a:gd name="T17" fmla="*/ 29 h 110"/>
              <a:gd name="T18" fmla="*/ 31 w 57"/>
              <a:gd name="T19" fmla="*/ 2 h 110"/>
              <a:gd name="T20" fmla="*/ 25 w 57"/>
              <a:gd name="T21" fmla="*/ 4 h 110"/>
              <a:gd name="T22" fmla="*/ 20 w 57"/>
              <a:gd name="T23" fmla="*/ 13 h 110"/>
              <a:gd name="T24" fmla="*/ 17 w 57"/>
              <a:gd name="T25" fmla="*/ 23 h 110"/>
              <a:gd name="T26" fmla="*/ 12 w 57"/>
              <a:gd name="T27" fmla="*/ 28 h 110"/>
              <a:gd name="T28" fmla="*/ 17 w 57"/>
              <a:gd name="T29" fmla="*/ 38 h 110"/>
              <a:gd name="T30" fmla="*/ 21 w 57"/>
              <a:gd name="T31" fmla="*/ 47 h 110"/>
              <a:gd name="T32" fmla="*/ 27 w 57"/>
              <a:gd name="T33" fmla="*/ 57 h 110"/>
              <a:gd name="T34" fmla="*/ 14 w 57"/>
              <a:gd name="T35" fmla="*/ 68 h 110"/>
              <a:gd name="T36" fmla="*/ 8 w 57"/>
              <a:gd name="T37" fmla="*/ 70 h 110"/>
              <a:gd name="T38" fmla="*/ 3 w 57"/>
              <a:gd name="T39" fmla="*/ 75 h 110"/>
              <a:gd name="T40" fmla="*/ 1 w 57"/>
              <a:gd name="T41" fmla="*/ 80 h 110"/>
              <a:gd name="T42" fmla="*/ 1 w 57"/>
              <a:gd name="T43" fmla="*/ 85 h 110"/>
              <a:gd name="T44" fmla="*/ 6 w 57"/>
              <a:gd name="T45" fmla="*/ 88 h 110"/>
              <a:gd name="T46" fmla="*/ 7 w 57"/>
              <a:gd name="T47" fmla="*/ 92 h 110"/>
              <a:gd name="T48" fmla="*/ 12 w 57"/>
              <a:gd name="T49" fmla="*/ 97 h 110"/>
              <a:gd name="T50" fmla="*/ 14 w 57"/>
              <a:gd name="T51" fmla="*/ 99 h 110"/>
              <a:gd name="T52" fmla="*/ 17 w 57"/>
              <a:gd name="T53" fmla="*/ 98 h 110"/>
              <a:gd name="T54" fmla="*/ 20 w 57"/>
              <a:gd name="T55" fmla="*/ 99 h 110"/>
              <a:gd name="T56" fmla="*/ 23 w 57"/>
              <a:gd name="T57" fmla="*/ 101 h 110"/>
              <a:gd name="T58" fmla="*/ 22 w 57"/>
              <a:gd name="T59" fmla="*/ 105 h 110"/>
              <a:gd name="T60" fmla="*/ 21 w 57"/>
              <a:gd name="T61" fmla="*/ 110 h 110"/>
              <a:gd name="T62" fmla="*/ 25 w 57"/>
              <a:gd name="T63" fmla="*/ 108 h 110"/>
              <a:gd name="T64" fmla="*/ 28 w 57"/>
              <a:gd name="T65" fmla="*/ 104 h 110"/>
              <a:gd name="T66" fmla="*/ 31 w 57"/>
              <a:gd name="T67" fmla="*/ 98 h 110"/>
              <a:gd name="T68" fmla="*/ 32 w 57"/>
              <a:gd name="T69" fmla="*/ 95 h 110"/>
              <a:gd name="T70" fmla="*/ 35 w 57"/>
              <a:gd name="T71" fmla="*/ 94 h 110"/>
              <a:gd name="T72" fmla="*/ 39 w 57"/>
              <a:gd name="T73" fmla="*/ 91 h 110"/>
              <a:gd name="T74" fmla="*/ 42 w 57"/>
              <a:gd name="T75" fmla="*/ 88 h 110"/>
              <a:gd name="T76" fmla="*/ 40 w 57"/>
              <a:gd name="T77" fmla="*/ 89 h 110"/>
              <a:gd name="T78" fmla="*/ 38 w 57"/>
              <a:gd name="T79" fmla="*/ 89 h 110"/>
              <a:gd name="T80" fmla="*/ 40 w 57"/>
              <a:gd name="T81" fmla="*/ 86 h 110"/>
              <a:gd name="T82" fmla="*/ 40 w 57"/>
              <a:gd name="T83" fmla="*/ 83 h 110"/>
              <a:gd name="T84" fmla="*/ 43 w 57"/>
              <a:gd name="T85" fmla="*/ 81 h 110"/>
              <a:gd name="T86" fmla="*/ 46 w 57"/>
              <a:gd name="T87" fmla="*/ 79 h 110"/>
              <a:gd name="T88" fmla="*/ 48 w 57"/>
              <a:gd name="T89" fmla="*/ 71 h 110"/>
              <a:gd name="T90" fmla="*/ 49 w 57"/>
              <a:gd name="T91" fmla="*/ 64 h 110"/>
              <a:gd name="T92" fmla="*/ 52 w 57"/>
              <a:gd name="T93" fmla="*/ 60 h 110"/>
              <a:gd name="T94" fmla="*/ 53 w 57"/>
              <a:gd name="T95" fmla="*/ 55 h 110"/>
              <a:gd name="T96" fmla="*/ 54 w 57"/>
              <a:gd name="T97" fmla="*/ 50 h 110"/>
              <a:gd name="T98" fmla="*/ 54 w 57"/>
              <a:gd name="T99" fmla="*/ 46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7" h="110">
                <a:moveTo>
                  <a:pt x="54" y="46"/>
                </a:moveTo>
                <a:cubicBezTo>
                  <a:pt x="54" y="45"/>
                  <a:pt x="53" y="45"/>
                  <a:pt x="53" y="44"/>
                </a:cubicBezTo>
                <a:cubicBezTo>
                  <a:pt x="52" y="44"/>
                  <a:pt x="52" y="44"/>
                  <a:pt x="52" y="44"/>
                </a:cubicBezTo>
                <a:cubicBezTo>
                  <a:pt x="51" y="43"/>
                  <a:pt x="51" y="43"/>
                  <a:pt x="51" y="43"/>
                </a:cubicBezTo>
                <a:cubicBezTo>
                  <a:pt x="51" y="43"/>
                  <a:pt x="50" y="43"/>
                  <a:pt x="50" y="43"/>
                </a:cubicBezTo>
                <a:cubicBezTo>
                  <a:pt x="49" y="43"/>
                  <a:pt x="49" y="43"/>
                  <a:pt x="48" y="43"/>
                </a:cubicBezTo>
                <a:cubicBezTo>
                  <a:pt x="48" y="43"/>
                  <a:pt x="48" y="43"/>
                  <a:pt x="47" y="42"/>
                </a:cubicBezTo>
                <a:cubicBezTo>
                  <a:pt x="47" y="42"/>
                  <a:pt x="47" y="42"/>
                  <a:pt x="46" y="42"/>
                </a:cubicBezTo>
                <a:cubicBezTo>
                  <a:pt x="46" y="42"/>
                  <a:pt x="45" y="42"/>
                  <a:pt x="45" y="42"/>
                </a:cubicBezTo>
                <a:cubicBezTo>
                  <a:pt x="45" y="41"/>
                  <a:pt x="45" y="41"/>
                  <a:pt x="45" y="41"/>
                </a:cubicBezTo>
                <a:cubicBezTo>
                  <a:pt x="45" y="41"/>
                  <a:pt x="46" y="41"/>
                  <a:pt x="46" y="41"/>
                </a:cubicBezTo>
                <a:cubicBezTo>
                  <a:pt x="45" y="41"/>
                  <a:pt x="45" y="41"/>
                  <a:pt x="45" y="41"/>
                </a:cubicBezTo>
                <a:cubicBezTo>
                  <a:pt x="45" y="41"/>
                  <a:pt x="45" y="41"/>
                  <a:pt x="44" y="41"/>
                </a:cubicBezTo>
                <a:cubicBezTo>
                  <a:pt x="44" y="40"/>
                  <a:pt x="44" y="39"/>
                  <a:pt x="44" y="39"/>
                </a:cubicBezTo>
                <a:cubicBezTo>
                  <a:pt x="44" y="38"/>
                  <a:pt x="45" y="36"/>
                  <a:pt x="45" y="36"/>
                </a:cubicBezTo>
                <a:cubicBezTo>
                  <a:pt x="45" y="36"/>
                  <a:pt x="45" y="36"/>
                  <a:pt x="46" y="35"/>
                </a:cubicBezTo>
                <a:cubicBezTo>
                  <a:pt x="46" y="34"/>
                  <a:pt x="46" y="34"/>
                  <a:pt x="47" y="34"/>
                </a:cubicBezTo>
                <a:cubicBezTo>
                  <a:pt x="47" y="34"/>
                  <a:pt x="47" y="33"/>
                  <a:pt x="47" y="33"/>
                </a:cubicBezTo>
                <a:cubicBezTo>
                  <a:pt x="47" y="33"/>
                  <a:pt x="47" y="32"/>
                  <a:pt x="47" y="32"/>
                </a:cubicBezTo>
                <a:cubicBezTo>
                  <a:pt x="48" y="32"/>
                  <a:pt x="48" y="32"/>
                  <a:pt x="50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32"/>
                  <a:pt x="51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52" y="32"/>
                  <a:pt x="52" y="31"/>
                  <a:pt x="52" y="31"/>
                </a:cubicBezTo>
                <a:cubicBezTo>
                  <a:pt x="52" y="31"/>
                  <a:pt x="53" y="30"/>
                  <a:pt x="53" y="30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7" y="18"/>
                  <a:pt x="57" y="18"/>
                  <a:pt x="57" y="18"/>
                </a:cubicBezTo>
                <a:cubicBezTo>
                  <a:pt x="57" y="18"/>
                  <a:pt x="31" y="2"/>
                  <a:pt x="31" y="2"/>
                </a:cubicBezTo>
                <a:cubicBezTo>
                  <a:pt x="31" y="2"/>
                  <a:pt x="30" y="1"/>
                  <a:pt x="30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5" y="4"/>
                  <a:pt x="25" y="4"/>
                  <a:pt x="25" y="4"/>
                </a:cubicBezTo>
                <a:cubicBezTo>
                  <a:pt x="23" y="9"/>
                  <a:pt x="23" y="9"/>
                  <a:pt x="23" y="9"/>
                </a:cubicBezTo>
                <a:cubicBezTo>
                  <a:pt x="20" y="11"/>
                  <a:pt x="20" y="11"/>
                  <a:pt x="20" y="11"/>
                </a:cubicBezTo>
                <a:cubicBezTo>
                  <a:pt x="20" y="13"/>
                  <a:pt x="20" y="13"/>
                  <a:pt x="20" y="13"/>
                </a:cubicBezTo>
                <a:cubicBezTo>
                  <a:pt x="15" y="17"/>
                  <a:pt x="15" y="17"/>
                  <a:pt x="15" y="17"/>
                </a:cubicBezTo>
                <a:cubicBezTo>
                  <a:pt x="15" y="20"/>
                  <a:pt x="15" y="20"/>
                  <a:pt x="15" y="20"/>
                </a:cubicBezTo>
                <a:cubicBezTo>
                  <a:pt x="17" y="23"/>
                  <a:pt x="17" y="23"/>
                  <a:pt x="17" y="23"/>
                </a:cubicBezTo>
                <a:cubicBezTo>
                  <a:pt x="16" y="24"/>
                  <a:pt x="16" y="24"/>
                  <a:pt x="16" y="24"/>
                </a:cubicBezTo>
                <a:cubicBezTo>
                  <a:pt x="15" y="26"/>
                  <a:pt x="15" y="26"/>
                  <a:pt x="15" y="26"/>
                </a:cubicBezTo>
                <a:cubicBezTo>
                  <a:pt x="12" y="28"/>
                  <a:pt x="12" y="28"/>
                  <a:pt x="12" y="28"/>
                </a:cubicBezTo>
                <a:cubicBezTo>
                  <a:pt x="12" y="36"/>
                  <a:pt x="12" y="36"/>
                  <a:pt x="12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8"/>
                  <a:pt x="17" y="38"/>
                  <a:pt x="17" y="38"/>
                </a:cubicBezTo>
                <a:cubicBezTo>
                  <a:pt x="16" y="43"/>
                  <a:pt x="16" y="43"/>
                  <a:pt x="16" y="43"/>
                </a:cubicBezTo>
                <a:cubicBezTo>
                  <a:pt x="20" y="44"/>
                  <a:pt x="20" y="44"/>
                  <a:pt x="20" y="44"/>
                </a:cubicBezTo>
                <a:cubicBezTo>
                  <a:pt x="21" y="47"/>
                  <a:pt x="21" y="47"/>
                  <a:pt x="21" y="47"/>
                </a:cubicBezTo>
                <a:cubicBezTo>
                  <a:pt x="27" y="53"/>
                  <a:pt x="27" y="53"/>
                  <a:pt x="27" y="53"/>
                </a:cubicBezTo>
                <a:cubicBezTo>
                  <a:pt x="28" y="54"/>
                  <a:pt x="28" y="54"/>
                  <a:pt x="28" y="54"/>
                </a:cubicBezTo>
                <a:cubicBezTo>
                  <a:pt x="27" y="57"/>
                  <a:pt x="27" y="57"/>
                  <a:pt x="27" y="57"/>
                </a:cubicBezTo>
                <a:cubicBezTo>
                  <a:pt x="24" y="58"/>
                  <a:pt x="24" y="58"/>
                  <a:pt x="24" y="58"/>
                </a:cubicBezTo>
                <a:cubicBezTo>
                  <a:pt x="14" y="64"/>
                  <a:pt x="14" y="64"/>
                  <a:pt x="14" y="64"/>
                </a:cubicBezTo>
                <a:cubicBezTo>
                  <a:pt x="14" y="68"/>
                  <a:pt x="14" y="68"/>
                  <a:pt x="14" y="68"/>
                </a:cubicBezTo>
                <a:cubicBezTo>
                  <a:pt x="14" y="68"/>
                  <a:pt x="14" y="68"/>
                  <a:pt x="13" y="68"/>
                </a:cubicBezTo>
                <a:cubicBezTo>
                  <a:pt x="13" y="69"/>
                  <a:pt x="12" y="69"/>
                  <a:pt x="12" y="69"/>
                </a:cubicBezTo>
                <a:cubicBezTo>
                  <a:pt x="10" y="70"/>
                  <a:pt x="9" y="70"/>
                  <a:pt x="8" y="70"/>
                </a:cubicBezTo>
                <a:cubicBezTo>
                  <a:pt x="7" y="71"/>
                  <a:pt x="6" y="71"/>
                  <a:pt x="5" y="72"/>
                </a:cubicBezTo>
                <a:cubicBezTo>
                  <a:pt x="4" y="72"/>
                  <a:pt x="4" y="73"/>
                  <a:pt x="4" y="74"/>
                </a:cubicBezTo>
                <a:cubicBezTo>
                  <a:pt x="3" y="74"/>
                  <a:pt x="3" y="75"/>
                  <a:pt x="3" y="75"/>
                </a:cubicBezTo>
                <a:cubicBezTo>
                  <a:pt x="2" y="76"/>
                  <a:pt x="2" y="77"/>
                  <a:pt x="1" y="78"/>
                </a:cubicBezTo>
                <a:cubicBezTo>
                  <a:pt x="1" y="78"/>
                  <a:pt x="0" y="78"/>
                  <a:pt x="1" y="79"/>
                </a:cubicBezTo>
                <a:cubicBezTo>
                  <a:pt x="1" y="79"/>
                  <a:pt x="1" y="80"/>
                  <a:pt x="1" y="80"/>
                </a:cubicBezTo>
                <a:cubicBezTo>
                  <a:pt x="2" y="81"/>
                  <a:pt x="2" y="81"/>
                  <a:pt x="3" y="81"/>
                </a:cubicBezTo>
                <a:cubicBezTo>
                  <a:pt x="3" y="82"/>
                  <a:pt x="2" y="83"/>
                  <a:pt x="2" y="84"/>
                </a:cubicBezTo>
                <a:cubicBezTo>
                  <a:pt x="2" y="84"/>
                  <a:pt x="1" y="84"/>
                  <a:pt x="1" y="85"/>
                </a:cubicBezTo>
                <a:cubicBezTo>
                  <a:pt x="1" y="85"/>
                  <a:pt x="1" y="86"/>
                  <a:pt x="1" y="86"/>
                </a:cubicBezTo>
                <a:cubicBezTo>
                  <a:pt x="1" y="87"/>
                  <a:pt x="3" y="87"/>
                  <a:pt x="4" y="87"/>
                </a:cubicBezTo>
                <a:cubicBezTo>
                  <a:pt x="5" y="87"/>
                  <a:pt x="6" y="87"/>
                  <a:pt x="6" y="88"/>
                </a:cubicBezTo>
                <a:cubicBezTo>
                  <a:pt x="6" y="88"/>
                  <a:pt x="6" y="90"/>
                  <a:pt x="6" y="90"/>
                </a:cubicBezTo>
                <a:cubicBezTo>
                  <a:pt x="6" y="91"/>
                  <a:pt x="5" y="91"/>
                  <a:pt x="6" y="92"/>
                </a:cubicBezTo>
                <a:cubicBezTo>
                  <a:pt x="6" y="92"/>
                  <a:pt x="7" y="92"/>
                  <a:pt x="7" y="92"/>
                </a:cubicBezTo>
                <a:cubicBezTo>
                  <a:pt x="8" y="93"/>
                  <a:pt x="8" y="93"/>
                  <a:pt x="9" y="93"/>
                </a:cubicBezTo>
                <a:cubicBezTo>
                  <a:pt x="10" y="94"/>
                  <a:pt x="10" y="94"/>
                  <a:pt x="11" y="95"/>
                </a:cubicBezTo>
                <a:cubicBezTo>
                  <a:pt x="11" y="96"/>
                  <a:pt x="12" y="96"/>
                  <a:pt x="12" y="97"/>
                </a:cubicBezTo>
                <a:cubicBezTo>
                  <a:pt x="13" y="97"/>
                  <a:pt x="13" y="97"/>
                  <a:pt x="13" y="98"/>
                </a:cubicBezTo>
                <a:cubicBezTo>
                  <a:pt x="14" y="98"/>
                  <a:pt x="14" y="98"/>
                  <a:pt x="14" y="98"/>
                </a:cubicBezTo>
                <a:cubicBezTo>
                  <a:pt x="14" y="99"/>
                  <a:pt x="14" y="99"/>
                  <a:pt x="14" y="99"/>
                </a:cubicBezTo>
                <a:cubicBezTo>
                  <a:pt x="15" y="99"/>
                  <a:pt x="15" y="99"/>
                  <a:pt x="15" y="99"/>
                </a:cubicBezTo>
                <a:cubicBezTo>
                  <a:pt x="16" y="99"/>
                  <a:pt x="16" y="99"/>
                  <a:pt x="16" y="98"/>
                </a:cubicBezTo>
                <a:cubicBezTo>
                  <a:pt x="17" y="98"/>
                  <a:pt x="17" y="98"/>
                  <a:pt x="17" y="98"/>
                </a:cubicBezTo>
                <a:cubicBezTo>
                  <a:pt x="17" y="97"/>
                  <a:pt x="18" y="98"/>
                  <a:pt x="18" y="98"/>
                </a:cubicBezTo>
                <a:cubicBezTo>
                  <a:pt x="19" y="98"/>
                  <a:pt x="19" y="98"/>
                  <a:pt x="19" y="99"/>
                </a:cubicBezTo>
                <a:cubicBezTo>
                  <a:pt x="20" y="99"/>
                  <a:pt x="20" y="99"/>
                  <a:pt x="20" y="99"/>
                </a:cubicBezTo>
                <a:cubicBezTo>
                  <a:pt x="20" y="99"/>
                  <a:pt x="21" y="99"/>
                  <a:pt x="21" y="99"/>
                </a:cubicBezTo>
                <a:cubicBezTo>
                  <a:pt x="21" y="99"/>
                  <a:pt x="22" y="99"/>
                  <a:pt x="22" y="99"/>
                </a:cubicBezTo>
                <a:cubicBezTo>
                  <a:pt x="22" y="100"/>
                  <a:pt x="23" y="100"/>
                  <a:pt x="23" y="101"/>
                </a:cubicBezTo>
                <a:cubicBezTo>
                  <a:pt x="23" y="101"/>
                  <a:pt x="23" y="102"/>
                  <a:pt x="23" y="102"/>
                </a:cubicBezTo>
                <a:cubicBezTo>
                  <a:pt x="23" y="103"/>
                  <a:pt x="23" y="103"/>
                  <a:pt x="23" y="104"/>
                </a:cubicBezTo>
                <a:cubicBezTo>
                  <a:pt x="23" y="104"/>
                  <a:pt x="22" y="104"/>
                  <a:pt x="22" y="105"/>
                </a:cubicBezTo>
                <a:cubicBezTo>
                  <a:pt x="22" y="106"/>
                  <a:pt x="22" y="107"/>
                  <a:pt x="21" y="107"/>
                </a:cubicBezTo>
                <a:cubicBezTo>
                  <a:pt x="21" y="108"/>
                  <a:pt x="21" y="108"/>
                  <a:pt x="21" y="109"/>
                </a:cubicBezTo>
                <a:cubicBezTo>
                  <a:pt x="21" y="109"/>
                  <a:pt x="21" y="110"/>
                  <a:pt x="21" y="110"/>
                </a:cubicBezTo>
                <a:cubicBezTo>
                  <a:pt x="22" y="110"/>
                  <a:pt x="22" y="110"/>
                  <a:pt x="22" y="110"/>
                </a:cubicBezTo>
                <a:cubicBezTo>
                  <a:pt x="23" y="110"/>
                  <a:pt x="23" y="110"/>
                  <a:pt x="24" y="109"/>
                </a:cubicBezTo>
                <a:cubicBezTo>
                  <a:pt x="24" y="109"/>
                  <a:pt x="24" y="109"/>
                  <a:pt x="25" y="108"/>
                </a:cubicBezTo>
                <a:cubicBezTo>
                  <a:pt x="25" y="108"/>
                  <a:pt x="26" y="108"/>
                  <a:pt x="26" y="108"/>
                </a:cubicBezTo>
                <a:cubicBezTo>
                  <a:pt x="27" y="107"/>
                  <a:pt x="27" y="106"/>
                  <a:pt x="27" y="106"/>
                </a:cubicBezTo>
                <a:cubicBezTo>
                  <a:pt x="28" y="105"/>
                  <a:pt x="28" y="104"/>
                  <a:pt x="28" y="104"/>
                </a:cubicBezTo>
                <a:cubicBezTo>
                  <a:pt x="29" y="103"/>
                  <a:pt x="29" y="102"/>
                  <a:pt x="29" y="102"/>
                </a:cubicBezTo>
                <a:cubicBezTo>
                  <a:pt x="29" y="102"/>
                  <a:pt x="30" y="101"/>
                  <a:pt x="30" y="101"/>
                </a:cubicBezTo>
                <a:cubicBezTo>
                  <a:pt x="30" y="100"/>
                  <a:pt x="30" y="99"/>
                  <a:pt x="31" y="98"/>
                </a:cubicBezTo>
                <a:cubicBezTo>
                  <a:pt x="31" y="97"/>
                  <a:pt x="32" y="97"/>
                  <a:pt x="32" y="97"/>
                </a:cubicBezTo>
                <a:cubicBezTo>
                  <a:pt x="32" y="96"/>
                  <a:pt x="34" y="96"/>
                  <a:pt x="34" y="95"/>
                </a:cubicBezTo>
                <a:cubicBezTo>
                  <a:pt x="33" y="94"/>
                  <a:pt x="33" y="95"/>
                  <a:pt x="32" y="95"/>
                </a:cubicBezTo>
                <a:cubicBezTo>
                  <a:pt x="32" y="95"/>
                  <a:pt x="31" y="95"/>
                  <a:pt x="32" y="94"/>
                </a:cubicBezTo>
                <a:cubicBezTo>
                  <a:pt x="32" y="94"/>
                  <a:pt x="33" y="94"/>
                  <a:pt x="33" y="94"/>
                </a:cubicBezTo>
                <a:cubicBezTo>
                  <a:pt x="34" y="94"/>
                  <a:pt x="34" y="94"/>
                  <a:pt x="35" y="94"/>
                </a:cubicBezTo>
                <a:cubicBezTo>
                  <a:pt x="36" y="94"/>
                  <a:pt x="36" y="93"/>
                  <a:pt x="37" y="93"/>
                </a:cubicBezTo>
                <a:cubicBezTo>
                  <a:pt x="37" y="92"/>
                  <a:pt x="37" y="92"/>
                  <a:pt x="38" y="92"/>
                </a:cubicBezTo>
                <a:cubicBezTo>
                  <a:pt x="38" y="92"/>
                  <a:pt x="38" y="91"/>
                  <a:pt x="39" y="91"/>
                </a:cubicBezTo>
                <a:cubicBezTo>
                  <a:pt x="39" y="91"/>
                  <a:pt x="39" y="91"/>
                  <a:pt x="39" y="91"/>
                </a:cubicBezTo>
                <a:cubicBezTo>
                  <a:pt x="40" y="90"/>
                  <a:pt x="40" y="90"/>
                  <a:pt x="41" y="89"/>
                </a:cubicBezTo>
                <a:cubicBezTo>
                  <a:pt x="41" y="89"/>
                  <a:pt x="41" y="89"/>
                  <a:pt x="42" y="88"/>
                </a:cubicBezTo>
                <a:cubicBezTo>
                  <a:pt x="42" y="88"/>
                  <a:pt x="42" y="87"/>
                  <a:pt x="41" y="88"/>
                </a:cubicBezTo>
                <a:cubicBezTo>
                  <a:pt x="41" y="88"/>
                  <a:pt x="41" y="88"/>
                  <a:pt x="41" y="88"/>
                </a:cubicBezTo>
                <a:cubicBezTo>
                  <a:pt x="41" y="88"/>
                  <a:pt x="40" y="88"/>
                  <a:pt x="40" y="89"/>
                </a:cubicBezTo>
                <a:cubicBezTo>
                  <a:pt x="40" y="89"/>
                  <a:pt x="40" y="89"/>
                  <a:pt x="39" y="89"/>
                </a:cubicBezTo>
                <a:cubicBezTo>
                  <a:pt x="39" y="89"/>
                  <a:pt x="39" y="89"/>
                  <a:pt x="39" y="89"/>
                </a:cubicBezTo>
                <a:cubicBezTo>
                  <a:pt x="39" y="89"/>
                  <a:pt x="38" y="89"/>
                  <a:pt x="38" y="89"/>
                </a:cubicBezTo>
                <a:cubicBezTo>
                  <a:pt x="38" y="89"/>
                  <a:pt x="38" y="88"/>
                  <a:pt x="38" y="88"/>
                </a:cubicBezTo>
                <a:cubicBezTo>
                  <a:pt x="38" y="88"/>
                  <a:pt x="39" y="87"/>
                  <a:pt x="39" y="87"/>
                </a:cubicBezTo>
                <a:cubicBezTo>
                  <a:pt x="39" y="87"/>
                  <a:pt x="40" y="87"/>
                  <a:pt x="40" y="86"/>
                </a:cubicBezTo>
                <a:cubicBezTo>
                  <a:pt x="40" y="86"/>
                  <a:pt x="40" y="86"/>
                  <a:pt x="40" y="85"/>
                </a:cubicBezTo>
                <a:cubicBezTo>
                  <a:pt x="40" y="85"/>
                  <a:pt x="40" y="85"/>
                  <a:pt x="40" y="85"/>
                </a:cubicBezTo>
                <a:cubicBezTo>
                  <a:pt x="40" y="84"/>
                  <a:pt x="39" y="84"/>
                  <a:pt x="40" y="83"/>
                </a:cubicBezTo>
                <a:cubicBezTo>
                  <a:pt x="40" y="83"/>
                  <a:pt x="41" y="82"/>
                  <a:pt x="41" y="82"/>
                </a:cubicBezTo>
                <a:cubicBezTo>
                  <a:pt x="42" y="82"/>
                  <a:pt x="42" y="81"/>
                  <a:pt x="42" y="81"/>
                </a:cubicBezTo>
                <a:cubicBezTo>
                  <a:pt x="43" y="81"/>
                  <a:pt x="43" y="81"/>
                  <a:pt x="43" y="81"/>
                </a:cubicBezTo>
                <a:cubicBezTo>
                  <a:pt x="44" y="80"/>
                  <a:pt x="44" y="80"/>
                  <a:pt x="45" y="80"/>
                </a:cubicBezTo>
                <a:cubicBezTo>
                  <a:pt x="45" y="79"/>
                  <a:pt x="45" y="79"/>
                  <a:pt x="46" y="79"/>
                </a:cubicBezTo>
                <a:cubicBezTo>
                  <a:pt x="46" y="79"/>
                  <a:pt x="46" y="79"/>
                  <a:pt x="46" y="79"/>
                </a:cubicBezTo>
                <a:cubicBezTo>
                  <a:pt x="47" y="78"/>
                  <a:pt x="47" y="77"/>
                  <a:pt x="48" y="76"/>
                </a:cubicBezTo>
                <a:cubicBezTo>
                  <a:pt x="48" y="75"/>
                  <a:pt x="48" y="74"/>
                  <a:pt x="48" y="73"/>
                </a:cubicBezTo>
                <a:cubicBezTo>
                  <a:pt x="48" y="73"/>
                  <a:pt x="48" y="72"/>
                  <a:pt x="48" y="71"/>
                </a:cubicBezTo>
                <a:cubicBezTo>
                  <a:pt x="48" y="70"/>
                  <a:pt x="48" y="70"/>
                  <a:pt x="49" y="69"/>
                </a:cubicBezTo>
                <a:cubicBezTo>
                  <a:pt x="49" y="69"/>
                  <a:pt x="49" y="68"/>
                  <a:pt x="49" y="67"/>
                </a:cubicBezTo>
                <a:cubicBezTo>
                  <a:pt x="49" y="66"/>
                  <a:pt x="49" y="65"/>
                  <a:pt x="49" y="64"/>
                </a:cubicBezTo>
                <a:cubicBezTo>
                  <a:pt x="50" y="64"/>
                  <a:pt x="50" y="63"/>
                  <a:pt x="50" y="63"/>
                </a:cubicBezTo>
                <a:cubicBezTo>
                  <a:pt x="50" y="62"/>
                  <a:pt x="50" y="62"/>
                  <a:pt x="50" y="62"/>
                </a:cubicBezTo>
                <a:cubicBezTo>
                  <a:pt x="51" y="61"/>
                  <a:pt x="51" y="60"/>
                  <a:pt x="52" y="60"/>
                </a:cubicBezTo>
                <a:cubicBezTo>
                  <a:pt x="52" y="59"/>
                  <a:pt x="52" y="59"/>
                  <a:pt x="53" y="58"/>
                </a:cubicBezTo>
                <a:cubicBezTo>
                  <a:pt x="53" y="58"/>
                  <a:pt x="53" y="57"/>
                  <a:pt x="53" y="56"/>
                </a:cubicBezTo>
                <a:cubicBezTo>
                  <a:pt x="53" y="56"/>
                  <a:pt x="53" y="55"/>
                  <a:pt x="53" y="55"/>
                </a:cubicBezTo>
                <a:cubicBezTo>
                  <a:pt x="53" y="54"/>
                  <a:pt x="54" y="54"/>
                  <a:pt x="54" y="53"/>
                </a:cubicBezTo>
                <a:cubicBezTo>
                  <a:pt x="54" y="53"/>
                  <a:pt x="54" y="52"/>
                  <a:pt x="54" y="51"/>
                </a:cubicBezTo>
                <a:cubicBezTo>
                  <a:pt x="54" y="51"/>
                  <a:pt x="54" y="51"/>
                  <a:pt x="54" y="50"/>
                </a:cubicBezTo>
                <a:cubicBezTo>
                  <a:pt x="54" y="50"/>
                  <a:pt x="55" y="50"/>
                  <a:pt x="55" y="49"/>
                </a:cubicBezTo>
                <a:cubicBezTo>
                  <a:pt x="55" y="49"/>
                  <a:pt x="55" y="48"/>
                  <a:pt x="55" y="47"/>
                </a:cubicBezTo>
                <a:cubicBezTo>
                  <a:pt x="55" y="47"/>
                  <a:pt x="55" y="46"/>
                  <a:pt x="54" y="4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" name="Freeform 29">
            <a:extLst>
              <a:ext uri="{FF2B5EF4-FFF2-40B4-BE49-F238E27FC236}">
                <a16:creationId xmlns:a16="http://schemas.microsoft.com/office/drawing/2014/main" id="{EC092EFD-0192-4227-A5DE-40A67B8F86F1}"/>
              </a:ext>
            </a:extLst>
          </p:cNvPr>
          <p:cNvSpPr>
            <a:spLocks/>
          </p:cNvSpPr>
          <p:nvPr/>
        </p:nvSpPr>
        <p:spPr bwMode="auto">
          <a:xfrm>
            <a:off x="11131090" y="2004800"/>
            <a:ext cx="252788" cy="498966"/>
          </a:xfrm>
          <a:custGeom>
            <a:avLst/>
            <a:gdLst>
              <a:gd name="T0" fmla="*/ 37 w 64"/>
              <a:gd name="T1" fmla="*/ 20 h 126"/>
              <a:gd name="T2" fmla="*/ 34 w 64"/>
              <a:gd name="T3" fmla="*/ 24 h 126"/>
              <a:gd name="T4" fmla="*/ 32 w 64"/>
              <a:gd name="T5" fmla="*/ 28 h 126"/>
              <a:gd name="T6" fmla="*/ 36 w 64"/>
              <a:gd name="T7" fmla="*/ 35 h 126"/>
              <a:gd name="T8" fmla="*/ 34 w 64"/>
              <a:gd name="T9" fmla="*/ 37 h 126"/>
              <a:gd name="T10" fmla="*/ 33 w 64"/>
              <a:gd name="T11" fmla="*/ 40 h 126"/>
              <a:gd name="T12" fmla="*/ 30 w 64"/>
              <a:gd name="T13" fmla="*/ 43 h 126"/>
              <a:gd name="T14" fmla="*/ 26 w 64"/>
              <a:gd name="T15" fmla="*/ 46 h 126"/>
              <a:gd name="T16" fmla="*/ 21 w 64"/>
              <a:gd name="T17" fmla="*/ 47 h 126"/>
              <a:gd name="T18" fmla="*/ 18 w 64"/>
              <a:gd name="T19" fmla="*/ 50 h 126"/>
              <a:gd name="T20" fmla="*/ 18 w 64"/>
              <a:gd name="T21" fmla="*/ 60 h 126"/>
              <a:gd name="T22" fmla="*/ 16 w 64"/>
              <a:gd name="T23" fmla="*/ 66 h 126"/>
              <a:gd name="T24" fmla="*/ 12 w 64"/>
              <a:gd name="T25" fmla="*/ 71 h 126"/>
              <a:gd name="T26" fmla="*/ 9 w 64"/>
              <a:gd name="T27" fmla="*/ 77 h 126"/>
              <a:gd name="T28" fmla="*/ 7 w 64"/>
              <a:gd name="T29" fmla="*/ 82 h 126"/>
              <a:gd name="T30" fmla="*/ 6 w 64"/>
              <a:gd name="T31" fmla="*/ 91 h 126"/>
              <a:gd name="T32" fmla="*/ 6 w 64"/>
              <a:gd name="T33" fmla="*/ 97 h 126"/>
              <a:gd name="T34" fmla="*/ 3 w 64"/>
              <a:gd name="T35" fmla="*/ 104 h 126"/>
              <a:gd name="T36" fmla="*/ 3 w 64"/>
              <a:gd name="T37" fmla="*/ 111 h 126"/>
              <a:gd name="T38" fmla="*/ 1 w 64"/>
              <a:gd name="T39" fmla="*/ 115 h 126"/>
              <a:gd name="T40" fmla="*/ 1 w 64"/>
              <a:gd name="T41" fmla="*/ 120 h 126"/>
              <a:gd name="T42" fmla="*/ 3 w 64"/>
              <a:gd name="T43" fmla="*/ 124 h 126"/>
              <a:gd name="T44" fmla="*/ 45 w 64"/>
              <a:gd name="T45" fmla="*/ 123 h 126"/>
              <a:gd name="T46" fmla="*/ 47 w 64"/>
              <a:gd name="T47" fmla="*/ 122 h 126"/>
              <a:gd name="T48" fmla="*/ 52 w 64"/>
              <a:gd name="T49" fmla="*/ 119 h 126"/>
              <a:gd name="T50" fmla="*/ 57 w 64"/>
              <a:gd name="T51" fmla="*/ 117 h 126"/>
              <a:gd name="T52" fmla="*/ 61 w 64"/>
              <a:gd name="T53" fmla="*/ 116 h 126"/>
              <a:gd name="T54" fmla="*/ 63 w 64"/>
              <a:gd name="T55" fmla="*/ 111 h 126"/>
              <a:gd name="T56" fmla="*/ 63 w 64"/>
              <a:gd name="T57" fmla="*/ 109 h 126"/>
              <a:gd name="T58" fmla="*/ 59 w 64"/>
              <a:gd name="T59" fmla="*/ 106 h 126"/>
              <a:gd name="T60" fmla="*/ 60 w 64"/>
              <a:gd name="T61" fmla="*/ 103 h 126"/>
              <a:gd name="T62" fmla="*/ 55 w 64"/>
              <a:gd name="T63" fmla="*/ 94 h 126"/>
              <a:gd name="T64" fmla="*/ 55 w 64"/>
              <a:gd name="T65" fmla="*/ 78 h 126"/>
              <a:gd name="T66" fmla="*/ 51 w 64"/>
              <a:gd name="T67" fmla="*/ 0 h 126"/>
              <a:gd name="T68" fmla="*/ 49 w 64"/>
              <a:gd name="T69" fmla="*/ 3 h 126"/>
              <a:gd name="T70" fmla="*/ 44 w 64"/>
              <a:gd name="T71" fmla="*/ 0 h 126"/>
              <a:gd name="T72" fmla="*/ 39 w 64"/>
              <a:gd name="T73" fmla="*/ 4 h 126"/>
              <a:gd name="T74" fmla="*/ 39 w 64"/>
              <a:gd name="T75" fmla="*/ 9 h 126"/>
              <a:gd name="T76" fmla="*/ 37 w 64"/>
              <a:gd name="T77" fmla="*/ 14 h 126"/>
              <a:gd name="T78" fmla="*/ 37 w 64"/>
              <a:gd name="T79" fmla="*/ 19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4" h="126">
                <a:moveTo>
                  <a:pt x="37" y="19"/>
                </a:moveTo>
                <a:cubicBezTo>
                  <a:pt x="37" y="19"/>
                  <a:pt x="37" y="20"/>
                  <a:pt x="37" y="20"/>
                </a:cubicBezTo>
                <a:cubicBezTo>
                  <a:pt x="37" y="20"/>
                  <a:pt x="36" y="21"/>
                  <a:pt x="36" y="21"/>
                </a:cubicBezTo>
                <a:cubicBezTo>
                  <a:pt x="35" y="21"/>
                  <a:pt x="35" y="24"/>
                  <a:pt x="34" y="24"/>
                </a:cubicBezTo>
                <a:cubicBezTo>
                  <a:pt x="34" y="25"/>
                  <a:pt x="34" y="26"/>
                  <a:pt x="33" y="26"/>
                </a:cubicBezTo>
                <a:cubicBezTo>
                  <a:pt x="33" y="26"/>
                  <a:pt x="32" y="27"/>
                  <a:pt x="32" y="28"/>
                </a:cubicBezTo>
                <a:cubicBezTo>
                  <a:pt x="32" y="28"/>
                  <a:pt x="33" y="30"/>
                  <a:pt x="34" y="30"/>
                </a:cubicBezTo>
                <a:cubicBezTo>
                  <a:pt x="34" y="31"/>
                  <a:pt x="36" y="35"/>
                  <a:pt x="36" y="35"/>
                </a:cubicBezTo>
                <a:cubicBezTo>
                  <a:pt x="36" y="35"/>
                  <a:pt x="34" y="36"/>
                  <a:pt x="34" y="36"/>
                </a:cubicBezTo>
                <a:cubicBezTo>
                  <a:pt x="34" y="36"/>
                  <a:pt x="34" y="37"/>
                  <a:pt x="34" y="37"/>
                </a:cubicBezTo>
                <a:cubicBezTo>
                  <a:pt x="34" y="38"/>
                  <a:pt x="34" y="39"/>
                  <a:pt x="34" y="39"/>
                </a:cubicBezTo>
                <a:cubicBezTo>
                  <a:pt x="34" y="39"/>
                  <a:pt x="34" y="40"/>
                  <a:pt x="33" y="40"/>
                </a:cubicBezTo>
                <a:cubicBezTo>
                  <a:pt x="33" y="40"/>
                  <a:pt x="32" y="41"/>
                  <a:pt x="32" y="41"/>
                </a:cubicBezTo>
                <a:cubicBezTo>
                  <a:pt x="31" y="42"/>
                  <a:pt x="31" y="43"/>
                  <a:pt x="30" y="43"/>
                </a:cubicBezTo>
                <a:cubicBezTo>
                  <a:pt x="30" y="43"/>
                  <a:pt x="27" y="44"/>
                  <a:pt x="27" y="44"/>
                </a:cubicBezTo>
                <a:cubicBezTo>
                  <a:pt x="26" y="46"/>
                  <a:pt x="26" y="46"/>
                  <a:pt x="26" y="46"/>
                </a:cubicBezTo>
                <a:cubicBezTo>
                  <a:pt x="26" y="46"/>
                  <a:pt x="24" y="47"/>
                  <a:pt x="23" y="47"/>
                </a:cubicBezTo>
                <a:cubicBezTo>
                  <a:pt x="23" y="47"/>
                  <a:pt x="21" y="47"/>
                  <a:pt x="21" y="47"/>
                </a:cubicBezTo>
                <a:cubicBezTo>
                  <a:pt x="21" y="47"/>
                  <a:pt x="19" y="48"/>
                  <a:pt x="18" y="48"/>
                </a:cubicBezTo>
                <a:cubicBezTo>
                  <a:pt x="18" y="48"/>
                  <a:pt x="18" y="50"/>
                  <a:pt x="18" y="50"/>
                </a:cubicBezTo>
                <a:cubicBezTo>
                  <a:pt x="18" y="51"/>
                  <a:pt x="18" y="54"/>
                  <a:pt x="18" y="54"/>
                </a:cubicBezTo>
                <a:cubicBezTo>
                  <a:pt x="18" y="54"/>
                  <a:pt x="18" y="59"/>
                  <a:pt x="18" y="60"/>
                </a:cubicBezTo>
                <a:cubicBezTo>
                  <a:pt x="18" y="60"/>
                  <a:pt x="16" y="63"/>
                  <a:pt x="16" y="63"/>
                </a:cubicBezTo>
                <a:cubicBezTo>
                  <a:pt x="16" y="63"/>
                  <a:pt x="16" y="66"/>
                  <a:pt x="16" y="66"/>
                </a:cubicBezTo>
                <a:cubicBezTo>
                  <a:pt x="16" y="66"/>
                  <a:pt x="15" y="67"/>
                  <a:pt x="15" y="68"/>
                </a:cubicBezTo>
                <a:cubicBezTo>
                  <a:pt x="14" y="68"/>
                  <a:pt x="13" y="71"/>
                  <a:pt x="12" y="71"/>
                </a:cubicBezTo>
                <a:cubicBezTo>
                  <a:pt x="12" y="72"/>
                  <a:pt x="12" y="74"/>
                  <a:pt x="12" y="74"/>
                </a:cubicBezTo>
                <a:cubicBezTo>
                  <a:pt x="11" y="75"/>
                  <a:pt x="9" y="77"/>
                  <a:pt x="9" y="77"/>
                </a:cubicBezTo>
                <a:cubicBezTo>
                  <a:pt x="9" y="77"/>
                  <a:pt x="9" y="78"/>
                  <a:pt x="9" y="78"/>
                </a:cubicBezTo>
                <a:cubicBezTo>
                  <a:pt x="9" y="79"/>
                  <a:pt x="8" y="81"/>
                  <a:pt x="7" y="82"/>
                </a:cubicBezTo>
                <a:cubicBezTo>
                  <a:pt x="7" y="82"/>
                  <a:pt x="5" y="86"/>
                  <a:pt x="5" y="87"/>
                </a:cubicBezTo>
                <a:cubicBezTo>
                  <a:pt x="5" y="87"/>
                  <a:pt x="6" y="91"/>
                  <a:pt x="6" y="91"/>
                </a:cubicBezTo>
                <a:cubicBezTo>
                  <a:pt x="6" y="92"/>
                  <a:pt x="5" y="94"/>
                  <a:pt x="5" y="95"/>
                </a:cubicBezTo>
                <a:cubicBezTo>
                  <a:pt x="5" y="96"/>
                  <a:pt x="6" y="97"/>
                  <a:pt x="6" y="97"/>
                </a:cubicBezTo>
                <a:cubicBezTo>
                  <a:pt x="6" y="97"/>
                  <a:pt x="4" y="102"/>
                  <a:pt x="4" y="102"/>
                </a:cubicBezTo>
                <a:cubicBezTo>
                  <a:pt x="4" y="103"/>
                  <a:pt x="3" y="103"/>
                  <a:pt x="3" y="104"/>
                </a:cubicBezTo>
                <a:cubicBezTo>
                  <a:pt x="3" y="104"/>
                  <a:pt x="4" y="105"/>
                  <a:pt x="4" y="106"/>
                </a:cubicBezTo>
                <a:cubicBezTo>
                  <a:pt x="4" y="106"/>
                  <a:pt x="3" y="110"/>
                  <a:pt x="3" y="111"/>
                </a:cubicBezTo>
                <a:cubicBezTo>
                  <a:pt x="3" y="111"/>
                  <a:pt x="1" y="113"/>
                  <a:pt x="1" y="113"/>
                </a:cubicBezTo>
                <a:cubicBezTo>
                  <a:pt x="1" y="113"/>
                  <a:pt x="1" y="115"/>
                  <a:pt x="1" y="115"/>
                </a:cubicBezTo>
                <a:cubicBezTo>
                  <a:pt x="1" y="115"/>
                  <a:pt x="0" y="117"/>
                  <a:pt x="0" y="117"/>
                </a:cubicBezTo>
                <a:cubicBezTo>
                  <a:pt x="0" y="118"/>
                  <a:pt x="1" y="120"/>
                  <a:pt x="1" y="120"/>
                </a:cubicBezTo>
                <a:cubicBezTo>
                  <a:pt x="1" y="120"/>
                  <a:pt x="1" y="121"/>
                  <a:pt x="1" y="121"/>
                </a:cubicBezTo>
                <a:cubicBezTo>
                  <a:pt x="3" y="124"/>
                  <a:pt x="3" y="124"/>
                  <a:pt x="3" y="124"/>
                </a:cubicBezTo>
                <a:cubicBezTo>
                  <a:pt x="43" y="126"/>
                  <a:pt x="43" y="126"/>
                  <a:pt x="43" y="126"/>
                </a:cubicBezTo>
                <a:cubicBezTo>
                  <a:pt x="43" y="126"/>
                  <a:pt x="45" y="124"/>
                  <a:pt x="45" y="123"/>
                </a:cubicBezTo>
                <a:cubicBezTo>
                  <a:pt x="45" y="123"/>
                  <a:pt x="47" y="123"/>
                  <a:pt x="47" y="123"/>
                </a:cubicBezTo>
                <a:cubicBezTo>
                  <a:pt x="47" y="123"/>
                  <a:pt x="47" y="122"/>
                  <a:pt x="47" y="122"/>
                </a:cubicBezTo>
                <a:cubicBezTo>
                  <a:pt x="47" y="121"/>
                  <a:pt x="49" y="120"/>
                  <a:pt x="49" y="120"/>
                </a:cubicBezTo>
                <a:cubicBezTo>
                  <a:pt x="49" y="120"/>
                  <a:pt x="52" y="119"/>
                  <a:pt x="52" y="119"/>
                </a:cubicBezTo>
                <a:cubicBezTo>
                  <a:pt x="52" y="119"/>
                  <a:pt x="53" y="118"/>
                  <a:pt x="53" y="118"/>
                </a:cubicBezTo>
                <a:cubicBezTo>
                  <a:pt x="53" y="118"/>
                  <a:pt x="56" y="117"/>
                  <a:pt x="57" y="117"/>
                </a:cubicBezTo>
                <a:cubicBezTo>
                  <a:pt x="57" y="117"/>
                  <a:pt x="59" y="117"/>
                  <a:pt x="61" y="117"/>
                </a:cubicBezTo>
                <a:cubicBezTo>
                  <a:pt x="61" y="117"/>
                  <a:pt x="61" y="116"/>
                  <a:pt x="61" y="116"/>
                </a:cubicBezTo>
                <a:cubicBezTo>
                  <a:pt x="61" y="115"/>
                  <a:pt x="61" y="114"/>
                  <a:pt x="62" y="114"/>
                </a:cubicBezTo>
                <a:cubicBezTo>
                  <a:pt x="63" y="113"/>
                  <a:pt x="63" y="112"/>
                  <a:pt x="63" y="111"/>
                </a:cubicBezTo>
                <a:cubicBezTo>
                  <a:pt x="63" y="111"/>
                  <a:pt x="64" y="110"/>
                  <a:pt x="64" y="110"/>
                </a:cubicBezTo>
                <a:cubicBezTo>
                  <a:pt x="64" y="109"/>
                  <a:pt x="63" y="109"/>
                  <a:pt x="63" y="109"/>
                </a:cubicBezTo>
                <a:cubicBezTo>
                  <a:pt x="63" y="108"/>
                  <a:pt x="63" y="108"/>
                  <a:pt x="63" y="107"/>
                </a:cubicBezTo>
                <a:cubicBezTo>
                  <a:pt x="62" y="106"/>
                  <a:pt x="60" y="107"/>
                  <a:pt x="59" y="106"/>
                </a:cubicBezTo>
                <a:cubicBezTo>
                  <a:pt x="60" y="106"/>
                  <a:pt x="60" y="106"/>
                  <a:pt x="60" y="106"/>
                </a:cubicBezTo>
                <a:cubicBezTo>
                  <a:pt x="60" y="105"/>
                  <a:pt x="60" y="103"/>
                  <a:pt x="60" y="103"/>
                </a:cubicBezTo>
                <a:cubicBezTo>
                  <a:pt x="60" y="103"/>
                  <a:pt x="60" y="100"/>
                  <a:pt x="60" y="100"/>
                </a:cubicBezTo>
                <a:cubicBezTo>
                  <a:pt x="55" y="94"/>
                  <a:pt x="55" y="94"/>
                  <a:pt x="55" y="94"/>
                </a:cubicBezTo>
                <a:cubicBezTo>
                  <a:pt x="55" y="94"/>
                  <a:pt x="55" y="87"/>
                  <a:pt x="55" y="87"/>
                </a:cubicBezTo>
                <a:cubicBezTo>
                  <a:pt x="55" y="87"/>
                  <a:pt x="55" y="78"/>
                  <a:pt x="55" y="78"/>
                </a:cubicBezTo>
                <a:cubicBezTo>
                  <a:pt x="54" y="58"/>
                  <a:pt x="54" y="58"/>
                  <a:pt x="54" y="58"/>
                </a:cubicBezTo>
                <a:cubicBezTo>
                  <a:pt x="51" y="0"/>
                  <a:pt x="51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49" y="3"/>
                  <a:pt x="49" y="3"/>
                  <a:pt x="49" y="3"/>
                </a:cubicBezTo>
                <a:cubicBezTo>
                  <a:pt x="46" y="3"/>
                  <a:pt x="46" y="3"/>
                  <a:pt x="46" y="3"/>
                </a:cubicBezTo>
                <a:cubicBezTo>
                  <a:pt x="44" y="0"/>
                  <a:pt x="44" y="0"/>
                  <a:pt x="44" y="0"/>
                </a:cubicBezTo>
                <a:cubicBezTo>
                  <a:pt x="41" y="4"/>
                  <a:pt x="41" y="4"/>
                  <a:pt x="41" y="4"/>
                </a:cubicBezTo>
                <a:cubicBezTo>
                  <a:pt x="39" y="4"/>
                  <a:pt x="39" y="4"/>
                  <a:pt x="39" y="4"/>
                </a:cubicBezTo>
                <a:cubicBezTo>
                  <a:pt x="40" y="5"/>
                  <a:pt x="40" y="5"/>
                  <a:pt x="40" y="5"/>
                </a:cubicBezTo>
                <a:cubicBezTo>
                  <a:pt x="40" y="5"/>
                  <a:pt x="39" y="9"/>
                  <a:pt x="39" y="9"/>
                </a:cubicBezTo>
                <a:cubicBezTo>
                  <a:pt x="39" y="10"/>
                  <a:pt x="37" y="12"/>
                  <a:pt x="37" y="12"/>
                </a:cubicBezTo>
                <a:cubicBezTo>
                  <a:pt x="37" y="14"/>
                  <a:pt x="37" y="14"/>
                  <a:pt x="37" y="14"/>
                </a:cubicBezTo>
                <a:cubicBezTo>
                  <a:pt x="37" y="14"/>
                  <a:pt x="36" y="17"/>
                  <a:pt x="36" y="17"/>
                </a:cubicBezTo>
                <a:cubicBezTo>
                  <a:pt x="36" y="17"/>
                  <a:pt x="37" y="18"/>
                  <a:pt x="37" y="19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Freeform 30">
            <a:extLst>
              <a:ext uri="{FF2B5EF4-FFF2-40B4-BE49-F238E27FC236}">
                <a16:creationId xmlns:a16="http://schemas.microsoft.com/office/drawing/2014/main" id="{E9AA2F34-5062-4D43-AE1F-49003C866FB0}"/>
              </a:ext>
            </a:extLst>
          </p:cNvPr>
          <p:cNvSpPr>
            <a:spLocks/>
          </p:cNvSpPr>
          <p:nvPr/>
        </p:nvSpPr>
        <p:spPr bwMode="auto">
          <a:xfrm>
            <a:off x="4642887" y="2630985"/>
            <a:ext cx="816189" cy="1224284"/>
          </a:xfrm>
          <a:custGeom>
            <a:avLst/>
            <a:gdLst>
              <a:gd name="T0" fmla="*/ 0 w 206"/>
              <a:gd name="T1" fmla="*/ 0 h 309"/>
              <a:gd name="T2" fmla="*/ 0 w 206"/>
              <a:gd name="T3" fmla="*/ 137 h 309"/>
              <a:gd name="T4" fmla="*/ 40 w 206"/>
              <a:gd name="T5" fmla="*/ 171 h 309"/>
              <a:gd name="T6" fmla="*/ 186 w 206"/>
              <a:gd name="T7" fmla="*/ 309 h 309"/>
              <a:gd name="T8" fmla="*/ 186 w 206"/>
              <a:gd name="T9" fmla="*/ 307 h 309"/>
              <a:gd name="T10" fmla="*/ 186 w 206"/>
              <a:gd name="T11" fmla="*/ 305 h 309"/>
              <a:gd name="T12" fmla="*/ 185 w 206"/>
              <a:gd name="T13" fmla="*/ 305 h 309"/>
              <a:gd name="T14" fmla="*/ 187 w 206"/>
              <a:gd name="T15" fmla="*/ 304 h 309"/>
              <a:gd name="T16" fmla="*/ 188 w 206"/>
              <a:gd name="T17" fmla="*/ 302 h 309"/>
              <a:gd name="T18" fmla="*/ 187 w 206"/>
              <a:gd name="T19" fmla="*/ 298 h 309"/>
              <a:gd name="T20" fmla="*/ 187 w 206"/>
              <a:gd name="T21" fmla="*/ 295 h 309"/>
              <a:gd name="T22" fmla="*/ 186 w 206"/>
              <a:gd name="T23" fmla="*/ 292 h 309"/>
              <a:gd name="T24" fmla="*/ 184 w 206"/>
              <a:gd name="T25" fmla="*/ 289 h 309"/>
              <a:gd name="T26" fmla="*/ 184 w 206"/>
              <a:gd name="T27" fmla="*/ 286 h 309"/>
              <a:gd name="T28" fmla="*/ 185 w 206"/>
              <a:gd name="T29" fmla="*/ 283 h 309"/>
              <a:gd name="T30" fmla="*/ 183 w 206"/>
              <a:gd name="T31" fmla="*/ 279 h 309"/>
              <a:gd name="T32" fmla="*/ 183 w 206"/>
              <a:gd name="T33" fmla="*/ 277 h 309"/>
              <a:gd name="T34" fmla="*/ 183 w 206"/>
              <a:gd name="T35" fmla="*/ 274 h 309"/>
              <a:gd name="T36" fmla="*/ 185 w 206"/>
              <a:gd name="T37" fmla="*/ 272 h 309"/>
              <a:gd name="T38" fmla="*/ 183 w 206"/>
              <a:gd name="T39" fmla="*/ 271 h 309"/>
              <a:gd name="T40" fmla="*/ 183 w 206"/>
              <a:gd name="T41" fmla="*/ 269 h 309"/>
              <a:gd name="T42" fmla="*/ 183 w 206"/>
              <a:gd name="T43" fmla="*/ 265 h 309"/>
              <a:gd name="T44" fmla="*/ 182 w 206"/>
              <a:gd name="T45" fmla="*/ 263 h 309"/>
              <a:gd name="T46" fmla="*/ 183 w 206"/>
              <a:gd name="T47" fmla="*/ 262 h 309"/>
              <a:gd name="T48" fmla="*/ 185 w 206"/>
              <a:gd name="T49" fmla="*/ 262 h 309"/>
              <a:gd name="T50" fmla="*/ 188 w 206"/>
              <a:gd name="T51" fmla="*/ 261 h 309"/>
              <a:gd name="T52" fmla="*/ 190 w 206"/>
              <a:gd name="T53" fmla="*/ 261 h 309"/>
              <a:gd name="T54" fmla="*/ 191 w 206"/>
              <a:gd name="T55" fmla="*/ 262 h 309"/>
              <a:gd name="T56" fmla="*/ 193 w 206"/>
              <a:gd name="T57" fmla="*/ 261 h 309"/>
              <a:gd name="T58" fmla="*/ 195 w 206"/>
              <a:gd name="T59" fmla="*/ 263 h 309"/>
              <a:gd name="T60" fmla="*/ 198 w 206"/>
              <a:gd name="T61" fmla="*/ 265 h 309"/>
              <a:gd name="T62" fmla="*/ 201 w 206"/>
              <a:gd name="T63" fmla="*/ 266 h 309"/>
              <a:gd name="T64" fmla="*/ 203 w 206"/>
              <a:gd name="T65" fmla="*/ 265 h 309"/>
              <a:gd name="T66" fmla="*/ 203 w 206"/>
              <a:gd name="T67" fmla="*/ 262 h 309"/>
              <a:gd name="T68" fmla="*/ 204 w 206"/>
              <a:gd name="T69" fmla="*/ 260 h 309"/>
              <a:gd name="T70" fmla="*/ 206 w 206"/>
              <a:gd name="T71" fmla="*/ 259 h 309"/>
              <a:gd name="T72" fmla="*/ 206 w 206"/>
              <a:gd name="T73" fmla="*/ 224 h 309"/>
              <a:gd name="T74" fmla="*/ 206 w 206"/>
              <a:gd name="T75" fmla="*/ 0 h 309"/>
              <a:gd name="T76" fmla="*/ 0 w 206"/>
              <a:gd name="T77" fmla="*/ 0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6" h="309">
                <a:moveTo>
                  <a:pt x="0" y="0"/>
                </a:moveTo>
                <a:cubicBezTo>
                  <a:pt x="0" y="137"/>
                  <a:pt x="0" y="137"/>
                  <a:pt x="0" y="137"/>
                </a:cubicBezTo>
                <a:cubicBezTo>
                  <a:pt x="40" y="171"/>
                  <a:pt x="40" y="171"/>
                  <a:pt x="40" y="171"/>
                </a:cubicBezTo>
                <a:cubicBezTo>
                  <a:pt x="186" y="309"/>
                  <a:pt x="186" y="309"/>
                  <a:pt x="186" y="309"/>
                </a:cubicBezTo>
                <a:cubicBezTo>
                  <a:pt x="186" y="309"/>
                  <a:pt x="186" y="307"/>
                  <a:pt x="186" y="307"/>
                </a:cubicBezTo>
                <a:cubicBezTo>
                  <a:pt x="186" y="307"/>
                  <a:pt x="187" y="306"/>
                  <a:pt x="186" y="305"/>
                </a:cubicBezTo>
                <a:cubicBezTo>
                  <a:pt x="186" y="305"/>
                  <a:pt x="185" y="305"/>
                  <a:pt x="185" y="305"/>
                </a:cubicBezTo>
                <a:cubicBezTo>
                  <a:pt x="186" y="305"/>
                  <a:pt x="187" y="304"/>
                  <a:pt x="187" y="304"/>
                </a:cubicBezTo>
                <a:cubicBezTo>
                  <a:pt x="187" y="304"/>
                  <a:pt x="189" y="302"/>
                  <a:pt x="188" y="302"/>
                </a:cubicBezTo>
                <a:cubicBezTo>
                  <a:pt x="188" y="301"/>
                  <a:pt x="187" y="299"/>
                  <a:pt x="187" y="298"/>
                </a:cubicBezTo>
                <a:cubicBezTo>
                  <a:pt x="188" y="298"/>
                  <a:pt x="187" y="296"/>
                  <a:pt x="187" y="295"/>
                </a:cubicBezTo>
                <a:cubicBezTo>
                  <a:pt x="187" y="295"/>
                  <a:pt x="186" y="293"/>
                  <a:pt x="186" y="292"/>
                </a:cubicBezTo>
                <a:cubicBezTo>
                  <a:pt x="185" y="291"/>
                  <a:pt x="184" y="290"/>
                  <a:pt x="184" y="289"/>
                </a:cubicBezTo>
                <a:cubicBezTo>
                  <a:pt x="184" y="288"/>
                  <a:pt x="184" y="287"/>
                  <a:pt x="184" y="286"/>
                </a:cubicBezTo>
                <a:cubicBezTo>
                  <a:pt x="185" y="285"/>
                  <a:pt x="185" y="284"/>
                  <a:pt x="185" y="283"/>
                </a:cubicBezTo>
                <a:cubicBezTo>
                  <a:pt x="184" y="283"/>
                  <a:pt x="183" y="280"/>
                  <a:pt x="183" y="279"/>
                </a:cubicBezTo>
                <a:cubicBezTo>
                  <a:pt x="183" y="278"/>
                  <a:pt x="183" y="278"/>
                  <a:pt x="183" y="277"/>
                </a:cubicBezTo>
                <a:cubicBezTo>
                  <a:pt x="183" y="276"/>
                  <a:pt x="182" y="275"/>
                  <a:pt x="183" y="274"/>
                </a:cubicBezTo>
                <a:cubicBezTo>
                  <a:pt x="183" y="274"/>
                  <a:pt x="185" y="272"/>
                  <a:pt x="185" y="272"/>
                </a:cubicBezTo>
                <a:cubicBezTo>
                  <a:pt x="185" y="272"/>
                  <a:pt x="183" y="271"/>
                  <a:pt x="183" y="271"/>
                </a:cubicBezTo>
                <a:cubicBezTo>
                  <a:pt x="183" y="270"/>
                  <a:pt x="183" y="270"/>
                  <a:pt x="183" y="269"/>
                </a:cubicBezTo>
                <a:cubicBezTo>
                  <a:pt x="183" y="268"/>
                  <a:pt x="183" y="266"/>
                  <a:pt x="183" y="265"/>
                </a:cubicBezTo>
                <a:cubicBezTo>
                  <a:pt x="182" y="264"/>
                  <a:pt x="182" y="263"/>
                  <a:pt x="182" y="263"/>
                </a:cubicBezTo>
                <a:cubicBezTo>
                  <a:pt x="182" y="263"/>
                  <a:pt x="182" y="263"/>
                  <a:pt x="183" y="262"/>
                </a:cubicBezTo>
                <a:cubicBezTo>
                  <a:pt x="184" y="262"/>
                  <a:pt x="185" y="262"/>
                  <a:pt x="185" y="262"/>
                </a:cubicBezTo>
                <a:cubicBezTo>
                  <a:pt x="186" y="261"/>
                  <a:pt x="187" y="261"/>
                  <a:pt x="188" y="261"/>
                </a:cubicBezTo>
                <a:cubicBezTo>
                  <a:pt x="188" y="261"/>
                  <a:pt x="189" y="260"/>
                  <a:pt x="190" y="261"/>
                </a:cubicBezTo>
                <a:cubicBezTo>
                  <a:pt x="190" y="261"/>
                  <a:pt x="190" y="262"/>
                  <a:pt x="191" y="262"/>
                </a:cubicBezTo>
                <a:cubicBezTo>
                  <a:pt x="192" y="262"/>
                  <a:pt x="193" y="261"/>
                  <a:pt x="193" y="261"/>
                </a:cubicBezTo>
                <a:cubicBezTo>
                  <a:pt x="193" y="261"/>
                  <a:pt x="195" y="262"/>
                  <a:pt x="195" y="263"/>
                </a:cubicBezTo>
                <a:cubicBezTo>
                  <a:pt x="196" y="263"/>
                  <a:pt x="197" y="265"/>
                  <a:pt x="198" y="265"/>
                </a:cubicBezTo>
                <a:cubicBezTo>
                  <a:pt x="199" y="266"/>
                  <a:pt x="200" y="267"/>
                  <a:pt x="201" y="266"/>
                </a:cubicBezTo>
                <a:cubicBezTo>
                  <a:pt x="202" y="266"/>
                  <a:pt x="202" y="266"/>
                  <a:pt x="203" y="265"/>
                </a:cubicBezTo>
                <a:cubicBezTo>
                  <a:pt x="203" y="264"/>
                  <a:pt x="203" y="263"/>
                  <a:pt x="203" y="262"/>
                </a:cubicBezTo>
                <a:cubicBezTo>
                  <a:pt x="204" y="262"/>
                  <a:pt x="204" y="261"/>
                  <a:pt x="204" y="260"/>
                </a:cubicBezTo>
                <a:cubicBezTo>
                  <a:pt x="205" y="259"/>
                  <a:pt x="206" y="259"/>
                  <a:pt x="206" y="259"/>
                </a:cubicBezTo>
                <a:cubicBezTo>
                  <a:pt x="206" y="224"/>
                  <a:pt x="206" y="224"/>
                  <a:pt x="206" y="224"/>
                </a:cubicBezTo>
                <a:cubicBezTo>
                  <a:pt x="206" y="0"/>
                  <a:pt x="206" y="0"/>
                  <a:pt x="20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3" name="Freeform 31">
            <a:extLst>
              <a:ext uri="{FF2B5EF4-FFF2-40B4-BE49-F238E27FC236}">
                <a16:creationId xmlns:a16="http://schemas.microsoft.com/office/drawing/2014/main" id="{896D0305-A76C-4C30-81E8-E1A949948FB7}"/>
              </a:ext>
            </a:extLst>
          </p:cNvPr>
          <p:cNvSpPr>
            <a:spLocks/>
          </p:cNvSpPr>
          <p:nvPr/>
        </p:nvSpPr>
        <p:spPr bwMode="auto">
          <a:xfrm>
            <a:off x="6825448" y="2444286"/>
            <a:ext cx="1191239" cy="546879"/>
          </a:xfrm>
          <a:custGeom>
            <a:avLst/>
            <a:gdLst>
              <a:gd name="T0" fmla="*/ 299 w 301"/>
              <a:gd name="T1" fmla="*/ 137 h 138"/>
              <a:gd name="T2" fmla="*/ 299 w 301"/>
              <a:gd name="T3" fmla="*/ 134 h 138"/>
              <a:gd name="T4" fmla="*/ 296 w 301"/>
              <a:gd name="T5" fmla="*/ 130 h 138"/>
              <a:gd name="T6" fmla="*/ 293 w 301"/>
              <a:gd name="T7" fmla="*/ 126 h 138"/>
              <a:gd name="T8" fmla="*/ 291 w 301"/>
              <a:gd name="T9" fmla="*/ 123 h 138"/>
              <a:gd name="T10" fmla="*/ 288 w 301"/>
              <a:gd name="T11" fmla="*/ 116 h 138"/>
              <a:gd name="T12" fmla="*/ 289 w 301"/>
              <a:gd name="T13" fmla="*/ 113 h 138"/>
              <a:gd name="T14" fmla="*/ 286 w 301"/>
              <a:gd name="T15" fmla="*/ 114 h 138"/>
              <a:gd name="T16" fmla="*/ 285 w 301"/>
              <a:gd name="T17" fmla="*/ 109 h 138"/>
              <a:gd name="T18" fmla="*/ 282 w 301"/>
              <a:gd name="T19" fmla="*/ 105 h 138"/>
              <a:gd name="T20" fmla="*/ 284 w 301"/>
              <a:gd name="T21" fmla="*/ 98 h 138"/>
              <a:gd name="T22" fmla="*/ 282 w 301"/>
              <a:gd name="T23" fmla="*/ 89 h 138"/>
              <a:gd name="T24" fmla="*/ 280 w 301"/>
              <a:gd name="T25" fmla="*/ 83 h 138"/>
              <a:gd name="T26" fmla="*/ 282 w 301"/>
              <a:gd name="T27" fmla="*/ 79 h 138"/>
              <a:gd name="T28" fmla="*/ 280 w 301"/>
              <a:gd name="T29" fmla="*/ 72 h 138"/>
              <a:gd name="T30" fmla="*/ 278 w 301"/>
              <a:gd name="T31" fmla="*/ 68 h 138"/>
              <a:gd name="T32" fmla="*/ 275 w 301"/>
              <a:gd name="T33" fmla="*/ 68 h 138"/>
              <a:gd name="T34" fmla="*/ 274 w 301"/>
              <a:gd name="T35" fmla="*/ 63 h 138"/>
              <a:gd name="T36" fmla="*/ 275 w 301"/>
              <a:gd name="T37" fmla="*/ 61 h 138"/>
              <a:gd name="T38" fmla="*/ 276 w 301"/>
              <a:gd name="T39" fmla="*/ 56 h 138"/>
              <a:gd name="T40" fmla="*/ 273 w 301"/>
              <a:gd name="T41" fmla="*/ 49 h 138"/>
              <a:gd name="T42" fmla="*/ 271 w 301"/>
              <a:gd name="T43" fmla="*/ 47 h 138"/>
              <a:gd name="T44" fmla="*/ 270 w 301"/>
              <a:gd name="T45" fmla="*/ 45 h 138"/>
              <a:gd name="T46" fmla="*/ 268 w 301"/>
              <a:gd name="T47" fmla="*/ 41 h 138"/>
              <a:gd name="T48" fmla="*/ 266 w 301"/>
              <a:gd name="T49" fmla="*/ 37 h 138"/>
              <a:gd name="T50" fmla="*/ 265 w 301"/>
              <a:gd name="T51" fmla="*/ 33 h 138"/>
              <a:gd name="T52" fmla="*/ 264 w 301"/>
              <a:gd name="T53" fmla="*/ 28 h 138"/>
              <a:gd name="T54" fmla="*/ 261 w 301"/>
              <a:gd name="T55" fmla="*/ 24 h 138"/>
              <a:gd name="T56" fmla="*/ 257 w 301"/>
              <a:gd name="T57" fmla="*/ 23 h 138"/>
              <a:gd name="T58" fmla="*/ 254 w 301"/>
              <a:gd name="T59" fmla="*/ 16 h 138"/>
              <a:gd name="T60" fmla="*/ 249 w 301"/>
              <a:gd name="T61" fmla="*/ 13 h 138"/>
              <a:gd name="T62" fmla="*/ 244 w 301"/>
              <a:gd name="T63" fmla="*/ 12 h 138"/>
              <a:gd name="T64" fmla="*/ 236 w 301"/>
              <a:gd name="T65" fmla="*/ 9 h 138"/>
              <a:gd name="T66" fmla="*/ 232 w 301"/>
              <a:gd name="T67" fmla="*/ 7 h 138"/>
              <a:gd name="T68" fmla="*/ 227 w 301"/>
              <a:gd name="T69" fmla="*/ 7 h 138"/>
              <a:gd name="T70" fmla="*/ 219 w 301"/>
              <a:gd name="T71" fmla="*/ 8 h 138"/>
              <a:gd name="T72" fmla="*/ 212 w 301"/>
              <a:gd name="T73" fmla="*/ 10 h 138"/>
              <a:gd name="T74" fmla="*/ 203 w 301"/>
              <a:gd name="T75" fmla="*/ 7 h 138"/>
              <a:gd name="T76" fmla="*/ 192 w 301"/>
              <a:gd name="T77" fmla="*/ 0 h 138"/>
              <a:gd name="T78" fmla="*/ 0 w 301"/>
              <a:gd name="T79" fmla="*/ 93 h 138"/>
              <a:gd name="T80" fmla="*/ 69 w 301"/>
              <a:gd name="T81" fmla="*/ 13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1" h="138">
                <a:moveTo>
                  <a:pt x="301" y="138"/>
                </a:moveTo>
                <a:cubicBezTo>
                  <a:pt x="301" y="138"/>
                  <a:pt x="299" y="137"/>
                  <a:pt x="299" y="137"/>
                </a:cubicBezTo>
                <a:cubicBezTo>
                  <a:pt x="299" y="137"/>
                  <a:pt x="298" y="136"/>
                  <a:pt x="298" y="136"/>
                </a:cubicBezTo>
                <a:cubicBezTo>
                  <a:pt x="298" y="135"/>
                  <a:pt x="299" y="134"/>
                  <a:pt x="299" y="134"/>
                </a:cubicBezTo>
                <a:cubicBezTo>
                  <a:pt x="299" y="133"/>
                  <a:pt x="298" y="132"/>
                  <a:pt x="298" y="132"/>
                </a:cubicBezTo>
                <a:cubicBezTo>
                  <a:pt x="297" y="132"/>
                  <a:pt x="296" y="131"/>
                  <a:pt x="296" y="130"/>
                </a:cubicBezTo>
                <a:cubicBezTo>
                  <a:pt x="296" y="130"/>
                  <a:pt x="296" y="128"/>
                  <a:pt x="296" y="128"/>
                </a:cubicBezTo>
                <a:cubicBezTo>
                  <a:pt x="296" y="127"/>
                  <a:pt x="294" y="126"/>
                  <a:pt x="293" y="126"/>
                </a:cubicBezTo>
                <a:cubicBezTo>
                  <a:pt x="292" y="125"/>
                  <a:pt x="290" y="125"/>
                  <a:pt x="290" y="125"/>
                </a:cubicBezTo>
                <a:cubicBezTo>
                  <a:pt x="290" y="125"/>
                  <a:pt x="291" y="123"/>
                  <a:pt x="291" y="123"/>
                </a:cubicBezTo>
                <a:cubicBezTo>
                  <a:pt x="291" y="122"/>
                  <a:pt x="290" y="120"/>
                  <a:pt x="290" y="120"/>
                </a:cubicBezTo>
                <a:cubicBezTo>
                  <a:pt x="289" y="119"/>
                  <a:pt x="288" y="117"/>
                  <a:pt x="288" y="116"/>
                </a:cubicBezTo>
                <a:cubicBezTo>
                  <a:pt x="288" y="116"/>
                  <a:pt x="290" y="115"/>
                  <a:pt x="290" y="114"/>
                </a:cubicBezTo>
                <a:cubicBezTo>
                  <a:pt x="290" y="114"/>
                  <a:pt x="289" y="113"/>
                  <a:pt x="289" y="113"/>
                </a:cubicBezTo>
                <a:cubicBezTo>
                  <a:pt x="289" y="113"/>
                  <a:pt x="289" y="114"/>
                  <a:pt x="288" y="114"/>
                </a:cubicBezTo>
                <a:cubicBezTo>
                  <a:pt x="288" y="115"/>
                  <a:pt x="286" y="115"/>
                  <a:pt x="286" y="114"/>
                </a:cubicBezTo>
                <a:cubicBezTo>
                  <a:pt x="286" y="114"/>
                  <a:pt x="286" y="112"/>
                  <a:pt x="286" y="112"/>
                </a:cubicBezTo>
                <a:cubicBezTo>
                  <a:pt x="286" y="112"/>
                  <a:pt x="286" y="109"/>
                  <a:pt x="285" y="109"/>
                </a:cubicBezTo>
                <a:cubicBezTo>
                  <a:pt x="285" y="108"/>
                  <a:pt x="283" y="108"/>
                  <a:pt x="283" y="107"/>
                </a:cubicBezTo>
                <a:cubicBezTo>
                  <a:pt x="282" y="107"/>
                  <a:pt x="281" y="106"/>
                  <a:pt x="282" y="105"/>
                </a:cubicBezTo>
                <a:cubicBezTo>
                  <a:pt x="283" y="105"/>
                  <a:pt x="283" y="105"/>
                  <a:pt x="284" y="103"/>
                </a:cubicBezTo>
                <a:cubicBezTo>
                  <a:pt x="284" y="102"/>
                  <a:pt x="284" y="99"/>
                  <a:pt x="284" y="98"/>
                </a:cubicBezTo>
                <a:cubicBezTo>
                  <a:pt x="284" y="97"/>
                  <a:pt x="284" y="94"/>
                  <a:pt x="283" y="93"/>
                </a:cubicBezTo>
                <a:cubicBezTo>
                  <a:pt x="283" y="92"/>
                  <a:pt x="282" y="90"/>
                  <a:pt x="282" y="89"/>
                </a:cubicBezTo>
                <a:cubicBezTo>
                  <a:pt x="282" y="88"/>
                  <a:pt x="282" y="86"/>
                  <a:pt x="282" y="85"/>
                </a:cubicBezTo>
                <a:cubicBezTo>
                  <a:pt x="281" y="85"/>
                  <a:pt x="280" y="84"/>
                  <a:pt x="280" y="83"/>
                </a:cubicBezTo>
                <a:cubicBezTo>
                  <a:pt x="280" y="82"/>
                  <a:pt x="280" y="81"/>
                  <a:pt x="281" y="81"/>
                </a:cubicBezTo>
                <a:cubicBezTo>
                  <a:pt x="281" y="80"/>
                  <a:pt x="282" y="80"/>
                  <a:pt x="282" y="79"/>
                </a:cubicBezTo>
                <a:cubicBezTo>
                  <a:pt x="282" y="78"/>
                  <a:pt x="281" y="75"/>
                  <a:pt x="281" y="75"/>
                </a:cubicBezTo>
                <a:cubicBezTo>
                  <a:pt x="281" y="74"/>
                  <a:pt x="281" y="73"/>
                  <a:pt x="280" y="72"/>
                </a:cubicBezTo>
                <a:cubicBezTo>
                  <a:pt x="280" y="72"/>
                  <a:pt x="277" y="71"/>
                  <a:pt x="277" y="71"/>
                </a:cubicBezTo>
                <a:cubicBezTo>
                  <a:pt x="277" y="71"/>
                  <a:pt x="278" y="68"/>
                  <a:pt x="278" y="68"/>
                </a:cubicBezTo>
                <a:cubicBezTo>
                  <a:pt x="277" y="68"/>
                  <a:pt x="276" y="70"/>
                  <a:pt x="276" y="70"/>
                </a:cubicBezTo>
                <a:cubicBezTo>
                  <a:pt x="276" y="70"/>
                  <a:pt x="275" y="68"/>
                  <a:pt x="275" y="68"/>
                </a:cubicBezTo>
                <a:cubicBezTo>
                  <a:pt x="275" y="67"/>
                  <a:pt x="274" y="65"/>
                  <a:pt x="274" y="65"/>
                </a:cubicBezTo>
                <a:cubicBezTo>
                  <a:pt x="274" y="65"/>
                  <a:pt x="274" y="63"/>
                  <a:pt x="274" y="63"/>
                </a:cubicBezTo>
                <a:cubicBezTo>
                  <a:pt x="274" y="63"/>
                  <a:pt x="274" y="61"/>
                  <a:pt x="274" y="61"/>
                </a:cubicBezTo>
                <a:cubicBezTo>
                  <a:pt x="274" y="61"/>
                  <a:pt x="275" y="61"/>
                  <a:pt x="275" y="61"/>
                </a:cubicBezTo>
                <a:cubicBezTo>
                  <a:pt x="275" y="60"/>
                  <a:pt x="275" y="58"/>
                  <a:pt x="275" y="58"/>
                </a:cubicBezTo>
                <a:cubicBezTo>
                  <a:pt x="275" y="58"/>
                  <a:pt x="276" y="56"/>
                  <a:pt x="276" y="56"/>
                </a:cubicBezTo>
                <a:cubicBezTo>
                  <a:pt x="275" y="55"/>
                  <a:pt x="272" y="52"/>
                  <a:pt x="272" y="52"/>
                </a:cubicBezTo>
                <a:cubicBezTo>
                  <a:pt x="272" y="52"/>
                  <a:pt x="274" y="49"/>
                  <a:pt x="273" y="49"/>
                </a:cubicBezTo>
                <a:cubicBezTo>
                  <a:pt x="273" y="48"/>
                  <a:pt x="272" y="48"/>
                  <a:pt x="272" y="48"/>
                </a:cubicBezTo>
                <a:cubicBezTo>
                  <a:pt x="272" y="48"/>
                  <a:pt x="272" y="47"/>
                  <a:pt x="271" y="47"/>
                </a:cubicBezTo>
                <a:cubicBezTo>
                  <a:pt x="271" y="47"/>
                  <a:pt x="270" y="48"/>
                  <a:pt x="270" y="47"/>
                </a:cubicBezTo>
                <a:cubicBezTo>
                  <a:pt x="270" y="47"/>
                  <a:pt x="270" y="45"/>
                  <a:pt x="270" y="45"/>
                </a:cubicBezTo>
                <a:cubicBezTo>
                  <a:pt x="270" y="45"/>
                  <a:pt x="268" y="45"/>
                  <a:pt x="268" y="45"/>
                </a:cubicBezTo>
                <a:cubicBezTo>
                  <a:pt x="268" y="41"/>
                  <a:pt x="268" y="41"/>
                  <a:pt x="268" y="41"/>
                </a:cubicBezTo>
                <a:cubicBezTo>
                  <a:pt x="268" y="41"/>
                  <a:pt x="266" y="39"/>
                  <a:pt x="266" y="39"/>
                </a:cubicBezTo>
                <a:cubicBezTo>
                  <a:pt x="266" y="39"/>
                  <a:pt x="266" y="38"/>
                  <a:pt x="266" y="37"/>
                </a:cubicBezTo>
                <a:cubicBezTo>
                  <a:pt x="266" y="37"/>
                  <a:pt x="267" y="35"/>
                  <a:pt x="267" y="35"/>
                </a:cubicBezTo>
                <a:cubicBezTo>
                  <a:pt x="267" y="35"/>
                  <a:pt x="266" y="34"/>
                  <a:pt x="265" y="33"/>
                </a:cubicBezTo>
                <a:cubicBezTo>
                  <a:pt x="265" y="33"/>
                  <a:pt x="264" y="31"/>
                  <a:pt x="264" y="31"/>
                </a:cubicBezTo>
                <a:cubicBezTo>
                  <a:pt x="264" y="30"/>
                  <a:pt x="264" y="29"/>
                  <a:pt x="264" y="28"/>
                </a:cubicBezTo>
                <a:cubicBezTo>
                  <a:pt x="264" y="28"/>
                  <a:pt x="265" y="25"/>
                  <a:pt x="265" y="25"/>
                </a:cubicBezTo>
                <a:cubicBezTo>
                  <a:pt x="261" y="24"/>
                  <a:pt x="261" y="24"/>
                  <a:pt x="261" y="24"/>
                </a:cubicBezTo>
                <a:cubicBezTo>
                  <a:pt x="258" y="23"/>
                  <a:pt x="258" y="23"/>
                  <a:pt x="258" y="23"/>
                </a:cubicBezTo>
                <a:cubicBezTo>
                  <a:pt x="257" y="23"/>
                  <a:pt x="257" y="23"/>
                  <a:pt x="257" y="23"/>
                </a:cubicBezTo>
                <a:cubicBezTo>
                  <a:pt x="257" y="23"/>
                  <a:pt x="253" y="19"/>
                  <a:pt x="253" y="19"/>
                </a:cubicBezTo>
                <a:cubicBezTo>
                  <a:pt x="253" y="19"/>
                  <a:pt x="254" y="16"/>
                  <a:pt x="254" y="16"/>
                </a:cubicBezTo>
                <a:cubicBezTo>
                  <a:pt x="254" y="16"/>
                  <a:pt x="251" y="16"/>
                  <a:pt x="251" y="16"/>
                </a:cubicBezTo>
                <a:cubicBezTo>
                  <a:pt x="251" y="16"/>
                  <a:pt x="249" y="13"/>
                  <a:pt x="249" y="13"/>
                </a:cubicBezTo>
                <a:cubicBezTo>
                  <a:pt x="244" y="13"/>
                  <a:pt x="244" y="13"/>
                  <a:pt x="244" y="13"/>
                </a:cubicBezTo>
                <a:cubicBezTo>
                  <a:pt x="244" y="12"/>
                  <a:pt x="244" y="12"/>
                  <a:pt x="244" y="12"/>
                </a:cubicBezTo>
                <a:cubicBezTo>
                  <a:pt x="239" y="11"/>
                  <a:pt x="239" y="11"/>
                  <a:pt x="239" y="11"/>
                </a:cubicBezTo>
                <a:cubicBezTo>
                  <a:pt x="239" y="11"/>
                  <a:pt x="236" y="10"/>
                  <a:pt x="236" y="9"/>
                </a:cubicBezTo>
                <a:cubicBezTo>
                  <a:pt x="236" y="9"/>
                  <a:pt x="235" y="7"/>
                  <a:pt x="235" y="7"/>
                </a:cubicBezTo>
                <a:cubicBezTo>
                  <a:pt x="232" y="7"/>
                  <a:pt x="232" y="7"/>
                  <a:pt x="232" y="7"/>
                </a:cubicBezTo>
                <a:cubicBezTo>
                  <a:pt x="229" y="6"/>
                  <a:pt x="229" y="6"/>
                  <a:pt x="229" y="6"/>
                </a:cubicBezTo>
                <a:cubicBezTo>
                  <a:pt x="229" y="6"/>
                  <a:pt x="228" y="7"/>
                  <a:pt x="227" y="7"/>
                </a:cubicBezTo>
                <a:cubicBezTo>
                  <a:pt x="227" y="7"/>
                  <a:pt x="222" y="8"/>
                  <a:pt x="222" y="8"/>
                </a:cubicBezTo>
                <a:cubicBezTo>
                  <a:pt x="221" y="8"/>
                  <a:pt x="220" y="8"/>
                  <a:pt x="219" y="8"/>
                </a:cubicBezTo>
                <a:cubicBezTo>
                  <a:pt x="219" y="8"/>
                  <a:pt x="214" y="6"/>
                  <a:pt x="214" y="6"/>
                </a:cubicBezTo>
                <a:cubicBezTo>
                  <a:pt x="212" y="10"/>
                  <a:pt x="212" y="10"/>
                  <a:pt x="212" y="10"/>
                </a:cubicBezTo>
                <a:cubicBezTo>
                  <a:pt x="212" y="10"/>
                  <a:pt x="207" y="12"/>
                  <a:pt x="207" y="11"/>
                </a:cubicBezTo>
                <a:cubicBezTo>
                  <a:pt x="207" y="11"/>
                  <a:pt x="203" y="7"/>
                  <a:pt x="203" y="7"/>
                </a:cubicBezTo>
                <a:cubicBezTo>
                  <a:pt x="203" y="7"/>
                  <a:pt x="193" y="4"/>
                  <a:pt x="193" y="4"/>
                </a:cubicBezTo>
                <a:cubicBezTo>
                  <a:pt x="192" y="0"/>
                  <a:pt x="192" y="0"/>
                  <a:pt x="19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3"/>
                  <a:pt x="0" y="93"/>
                  <a:pt x="0" y="93"/>
                </a:cubicBezTo>
                <a:cubicBezTo>
                  <a:pt x="69" y="93"/>
                  <a:pt x="69" y="93"/>
                  <a:pt x="69" y="93"/>
                </a:cubicBezTo>
                <a:cubicBezTo>
                  <a:pt x="69" y="138"/>
                  <a:pt x="69" y="138"/>
                  <a:pt x="69" y="138"/>
                </a:cubicBezTo>
                <a:lnTo>
                  <a:pt x="301" y="138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4" name="Freeform 32">
            <a:extLst>
              <a:ext uri="{FF2B5EF4-FFF2-40B4-BE49-F238E27FC236}">
                <a16:creationId xmlns:a16="http://schemas.microsoft.com/office/drawing/2014/main" id="{690696F7-C00C-4202-94FB-CF97D691761C}"/>
              </a:ext>
            </a:extLst>
          </p:cNvPr>
          <p:cNvSpPr>
            <a:spLocks/>
          </p:cNvSpPr>
          <p:nvPr/>
        </p:nvSpPr>
        <p:spPr bwMode="auto">
          <a:xfrm>
            <a:off x="5184810" y="1258003"/>
            <a:ext cx="1640639" cy="928539"/>
          </a:xfrm>
          <a:custGeom>
            <a:avLst/>
            <a:gdLst>
              <a:gd name="T0" fmla="*/ 10 w 414"/>
              <a:gd name="T1" fmla="*/ 67 h 234"/>
              <a:gd name="T2" fmla="*/ 10 w 414"/>
              <a:gd name="T3" fmla="*/ 75 h 234"/>
              <a:gd name="T4" fmla="*/ 14 w 414"/>
              <a:gd name="T5" fmla="*/ 79 h 234"/>
              <a:gd name="T6" fmla="*/ 10 w 414"/>
              <a:gd name="T7" fmla="*/ 82 h 234"/>
              <a:gd name="T8" fmla="*/ 15 w 414"/>
              <a:gd name="T9" fmla="*/ 85 h 234"/>
              <a:gd name="T10" fmla="*/ 23 w 414"/>
              <a:gd name="T11" fmla="*/ 90 h 234"/>
              <a:gd name="T12" fmla="*/ 30 w 414"/>
              <a:gd name="T13" fmla="*/ 98 h 234"/>
              <a:gd name="T14" fmla="*/ 36 w 414"/>
              <a:gd name="T15" fmla="*/ 106 h 234"/>
              <a:gd name="T16" fmla="*/ 40 w 414"/>
              <a:gd name="T17" fmla="*/ 114 h 234"/>
              <a:gd name="T18" fmla="*/ 44 w 414"/>
              <a:gd name="T19" fmla="*/ 117 h 234"/>
              <a:gd name="T20" fmla="*/ 48 w 414"/>
              <a:gd name="T21" fmla="*/ 118 h 234"/>
              <a:gd name="T22" fmla="*/ 52 w 414"/>
              <a:gd name="T23" fmla="*/ 122 h 234"/>
              <a:gd name="T24" fmla="*/ 58 w 414"/>
              <a:gd name="T25" fmla="*/ 121 h 234"/>
              <a:gd name="T26" fmla="*/ 58 w 414"/>
              <a:gd name="T27" fmla="*/ 128 h 234"/>
              <a:gd name="T28" fmla="*/ 57 w 414"/>
              <a:gd name="T29" fmla="*/ 134 h 234"/>
              <a:gd name="T30" fmla="*/ 54 w 414"/>
              <a:gd name="T31" fmla="*/ 143 h 234"/>
              <a:gd name="T32" fmla="*/ 53 w 414"/>
              <a:gd name="T33" fmla="*/ 147 h 234"/>
              <a:gd name="T34" fmla="*/ 54 w 414"/>
              <a:gd name="T35" fmla="*/ 153 h 234"/>
              <a:gd name="T36" fmla="*/ 57 w 414"/>
              <a:gd name="T37" fmla="*/ 160 h 234"/>
              <a:gd name="T38" fmla="*/ 52 w 414"/>
              <a:gd name="T39" fmla="*/ 163 h 234"/>
              <a:gd name="T40" fmla="*/ 52 w 414"/>
              <a:gd name="T41" fmla="*/ 172 h 234"/>
              <a:gd name="T42" fmla="*/ 55 w 414"/>
              <a:gd name="T43" fmla="*/ 176 h 234"/>
              <a:gd name="T44" fmla="*/ 61 w 414"/>
              <a:gd name="T45" fmla="*/ 179 h 234"/>
              <a:gd name="T46" fmla="*/ 68 w 414"/>
              <a:gd name="T47" fmla="*/ 173 h 234"/>
              <a:gd name="T48" fmla="*/ 73 w 414"/>
              <a:gd name="T49" fmla="*/ 171 h 234"/>
              <a:gd name="T50" fmla="*/ 76 w 414"/>
              <a:gd name="T51" fmla="*/ 176 h 234"/>
              <a:gd name="T52" fmla="*/ 78 w 414"/>
              <a:gd name="T53" fmla="*/ 180 h 234"/>
              <a:gd name="T54" fmla="*/ 80 w 414"/>
              <a:gd name="T55" fmla="*/ 185 h 234"/>
              <a:gd name="T56" fmla="*/ 84 w 414"/>
              <a:gd name="T57" fmla="*/ 194 h 234"/>
              <a:gd name="T58" fmla="*/ 88 w 414"/>
              <a:gd name="T59" fmla="*/ 199 h 234"/>
              <a:gd name="T60" fmla="*/ 90 w 414"/>
              <a:gd name="T61" fmla="*/ 205 h 234"/>
              <a:gd name="T62" fmla="*/ 91 w 414"/>
              <a:gd name="T63" fmla="*/ 210 h 234"/>
              <a:gd name="T64" fmla="*/ 95 w 414"/>
              <a:gd name="T65" fmla="*/ 212 h 234"/>
              <a:gd name="T66" fmla="*/ 102 w 414"/>
              <a:gd name="T67" fmla="*/ 217 h 234"/>
              <a:gd name="T68" fmla="*/ 102 w 414"/>
              <a:gd name="T69" fmla="*/ 223 h 234"/>
              <a:gd name="T70" fmla="*/ 105 w 414"/>
              <a:gd name="T71" fmla="*/ 229 h 234"/>
              <a:gd name="T72" fmla="*/ 111 w 414"/>
              <a:gd name="T73" fmla="*/ 234 h 234"/>
              <a:gd name="T74" fmla="*/ 117 w 414"/>
              <a:gd name="T75" fmla="*/ 228 h 234"/>
              <a:gd name="T76" fmla="*/ 127 w 414"/>
              <a:gd name="T77" fmla="*/ 228 h 234"/>
              <a:gd name="T78" fmla="*/ 137 w 414"/>
              <a:gd name="T79" fmla="*/ 226 h 234"/>
              <a:gd name="T80" fmla="*/ 145 w 414"/>
              <a:gd name="T81" fmla="*/ 227 h 234"/>
              <a:gd name="T82" fmla="*/ 155 w 414"/>
              <a:gd name="T83" fmla="*/ 225 h 234"/>
              <a:gd name="T84" fmla="*/ 156 w 414"/>
              <a:gd name="T85" fmla="*/ 222 h 234"/>
              <a:gd name="T86" fmla="*/ 160 w 414"/>
              <a:gd name="T87" fmla="*/ 217 h 234"/>
              <a:gd name="T88" fmla="*/ 172 w 414"/>
              <a:gd name="T89" fmla="*/ 229 h 234"/>
              <a:gd name="T90" fmla="*/ 414 w 414"/>
              <a:gd name="T91" fmla="*/ 0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14" h="234">
                <a:moveTo>
                  <a:pt x="0" y="0"/>
                </a:moveTo>
                <a:cubicBezTo>
                  <a:pt x="0" y="54"/>
                  <a:pt x="0" y="54"/>
                  <a:pt x="0" y="54"/>
                </a:cubicBezTo>
                <a:cubicBezTo>
                  <a:pt x="10" y="67"/>
                  <a:pt x="10" y="67"/>
                  <a:pt x="10" y="67"/>
                </a:cubicBezTo>
                <a:cubicBezTo>
                  <a:pt x="10" y="67"/>
                  <a:pt x="12" y="70"/>
                  <a:pt x="12" y="71"/>
                </a:cubicBezTo>
                <a:cubicBezTo>
                  <a:pt x="12" y="71"/>
                  <a:pt x="12" y="74"/>
                  <a:pt x="12" y="74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6"/>
                  <a:pt x="10" y="76"/>
                  <a:pt x="10" y="76"/>
                </a:cubicBezTo>
                <a:cubicBezTo>
                  <a:pt x="10" y="76"/>
                  <a:pt x="12" y="78"/>
                  <a:pt x="13" y="78"/>
                </a:cubicBezTo>
                <a:cubicBezTo>
                  <a:pt x="13" y="79"/>
                  <a:pt x="14" y="79"/>
                  <a:pt x="14" y="79"/>
                </a:cubicBezTo>
                <a:cubicBezTo>
                  <a:pt x="14" y="80"/>
                  <a:pt x="14" y="80"/>
                  <a:pt x="14" y="80"/>
                </a:cubicBezTo>
                <a:cubicBezTo>
                  <a:pt x="14" y="80"/>
                  <a:pt x="13" y="81"/>
                  <a:pt x="12" y="81"/>
                </a:cubicBezTo>
                <a:cubicBezTo>
                  <a:pt x="12" y="81"/>
                  <a:pt x="10" y="82"/>
                  <a:pt x="10" y="82"/>
                </a:cubicBezTo>
                <a:cubicBezTo>
                  <a:pt x="11" y="83"/>
                  <a:pt x="11" y="83"/>
                  <a:pt x="11" y="83"/>
                </a:cubicBezTo>
                <a:cubicBezTo>
                  <a:pt x="11" y="83"/>
                  <a:pt x="13" y="83"/>
                  <a:pt x="13" y="84"/>
                </a:cubicBezTo>
                <a:cubicBezTo>
                  <a:pt x="14" y="84"/>
                  <a:pt x="15" y="84"/>
                  <a:pt x="15" y="85"/>
                </a:cubicBezTo>
                <a:cubicBezTo>
                  <a:pt x="16" y="86"/>
                  <a:pt x="17" y="88"/>
                  <a:pt x="18" y="89"/>
                </a:cubicBezTo>
                <a:cubicBezTo>
                  <a:pt x="19" y="89"/>
                  <a:pt x="19" y="89"/>
                  <a:pt x="20" y="90"/>
                </a:cubicBezTo>
                <a:cubicBezTo>
                  <a:pt x="21" y="90"/>
                  <a:pt x="23" y="90"/>
                  <a:pt x="23" y="90"/>
                </a:cubicBezTo>
                <a:cubicBezTo>
                  <a:pt x="24" y="91"/>
                  <a:pt x="25" y="91"/>
                  <a:pt x="25" y="91"/>
                </a:cubicBezTo>
                <a:cubicBezTo>
                  <a:pt x="25" y="92"/>
                  <a:pt x="25" y="94"/>
                  <a:pt x="26" y="94"/>
                </a:cubicBezTo>
                <a:cubicBezTo>
                  <a:pt x="26" y="95"/>
                  <a:pt x="30" y="98"/>
                  <a:pt x="30" y="98"/>
                </a:cubicBezTo>
                <a:cubicBezTo>
                  <a:pt x="31" y="99"/>
                  <a:pt x="32" y="100"/>
                  <a:pt x="32" y="101"/>
                </a:cubicBezTo>
                <a:cubicBezTo>
                  <a:pt x="32" y="101"/>
                  <a:pt x="33" y="104"/>
                  <a:pt x="34" y="105"/>
                </a:cubicBezTo>
                <a:cubicBezTo>
                  <a:pt x="34" y="105"/>
                  <a:pt x="35" y="105"/>
                  <a:pt x="36" y="106"/>
                </a:cubicBezTo>
                <a:cubicBezTo>
                  <a:pt x="37" y="106"/>
                  <a:pt x="38" y="107"/>
                  <a:pt x="38" y="108"/>
                </a:cubicBezTo>
                <a:cubicBezTo>
                  <a:pt x="38" y="109"/>
                  <a:pt x="38" y="111"/>
                  <a:pt x="38" y="112"/>
                </a:cubicBezTo>
                <a:cubicBezTo>
                  <a:pt x="38" y="112"/>
                  <a:pt x="39" y="114"/>
                  <a:pt x="40" y="114"/>
                </a:cubicBezTo>
                <a:cubicBezTo>
                  <a:pt x="40" y="114"/>
                  <a:pt x="41" y="113"/>
                  <a:pt x="41" y="113"/>
                </a:cubicBezTo>
                <a:cubicBezTo>
                  <a:pt x="42" y="114"/>
                  <a:pt x="43" y="115"/>
                  <a:pt x="43" y="115"/>
                </a:cubicBezTo>
                <a:cubicBezTo>
                  <a:pt x="44" y="116"/>
                  <a:pt x="44" y="116"/>
                  <a:pt x="44" y="117"/>
                </a:cubicBezTo>
                <a:cubicBezTo>
                  <a:pt x="44" y="118"/>
                  <a:pt x="44" y="119"/>
                  <a:pt x="44" y="119"/>
                </a:cubicBezTo>
                <a:cubicBezTo>
                  <a:pt x="45" y="119"/>
                  <a:pt x="46" y="117"/>
                  <a:pt x="46" y="117"/>
                </a:cubicBezTo>
                <a:cubicBezTo>
                  <a:pt x="47" y="117"/>
                  <a:pt x="48" y="117"/>
                  <a:pt x="48" y="118"/>
                </a:cubicBezTo>
                <a:cubicBezTo>
                  <a:pt x="48" y="118"/>
                  <a:pt x="48" y="119"/>
                  <a:pt x="49" y="120"/>
                </a:cubicBezTo>
                <a:cubicBezTo>
                  <a:pt x="49" y="121"/>
                  <a:pt x="50" y="122"/>
                  <a:pt x="50" y="122"/>
                </a:cubicBezTo>
                <a:cubicBezTo>
                  <a:pt x="50" y="122"/>
                  <a:pt x="52" y="122"/>
                  <a:pt x="52" y="122"/>
                </a:cubicBezTo>
                <a:cubicBezTo>
                  <a:pt x="52" y="122"/>
                  <a:pt x="53" y="122"/>
                  <a:pt x="54" y="122"/>
                </a:cubicBezTo>
                <a:cubicBezTo>
                  <a:pt x="54" y="122"/>
                  <a:pt x="55" y="123"/>
                  <a:pt x="55" y="122"/>
                </a:cubicBezTo>
                <a:cubicBezTo>
                  <a:pt x="56" y="122"/>
                  <a:pt x="58" y="121"/>
                  <a:pt x="58" y="121"/>
                </a:cubicBezTo>
                <a:cubicBezTo>
                  <a:pt x="58" y="121"/>
                  <a:pt x="59" y="121"/>
                  <a:pt x="59" y="122"/>
                </a:cubicBezTo>
                <a:cubicBezTo>
                  <a:pt x="59" y="122"/>
                  <a:pt x="59" y="125"/>
                  <a:pt x="59" y="125"/>
                </a:cubicBezTo>
                <a:cubicBezTo>
                  <a:pt x="59" y="125"/>
                  <a:pt x="59" y="128"/>
                  <a:pt x="58" y="128"/>
                </a:cubicBezTo>
                <a:cubicBezTo>
                  <a:pt x="58" y="128"/>
                  <a:pt x="57" y="129"/>
                  <a:pt x="57" y="129"/>
                </a:cubicBezTo>
                <a:cubicBezTo>
                  <a:pt x="57" y="129"/>
                  <a:pt x="57" y="130"/>
                  <a:pt x="57" y="130"/>
                </a:cubicBezTo>
                <a:cubicBezTo>
                  <a:pt x="57" y="131"/>
                  <a:pt x="57" y="133"/>
                  <a:pt x="57" y="134"/>
                </a:cubicBezTo>
                <a:cubicBezTo>
                  <a:pt x="57" y="135"/>
                  <a:pt x="56" y="137"/>
                  <a:pt x="56" y="138"/>
                </a:cubicBezTo>
                <a:cubicBezTo>
                  <a:pt x="56" y="138"/>
                  <a:pt x="55" y="140"/>
                  <a:pt x="55" y="140"/>
                </a:cubicBezTo>
                <a:cubicBezTo>
                  <a:pt x="54" y="141"/>
                  <a:pt x="54" y="142"/>
                  <a:pt x="54" y="143"/>
                </a:cubicBezTo>
                <a:cubicBezTo>
                  <a:pt x="55" y="143"/>
                  <a:pt x="55" y="144"/>
                  <a:pt x="55" y="145"/>
                </a:cubicBezTo>
                <a:cubicBezTo>
                  <a:pt x="55" y="145"/>
                  <a:pt x="55" y="146"/>
                  <a:pt x="54" y="146"/>
                </a:cubicBezTo>
                <a:cubicBezTo>
                  <a:pt x="53" y="146"/>
                  <a:pt x="53" y="147"/>
                  <a:pt x="53" y="147"/>
                </a:cubicBezTo>
                <a:cubicBezTo>
                  <a:pt x="53" y="148"/>
                  <a:pt x="54" y="149"/>
                  <a:pt x="54" y="149"/>
                </a:cubicBezTo>
                <a:cubicBezTo>
                  <a:pt x="54" y="150"/>
                  <a:pt x="54" y="151"/>
                  <a:pt x="54" y="151"/>
                </a:cubicBezTo>
                <a:cubicBezTo>
                  <a:pt x="54" y="151"/>
                  <a:pt x="54" y="153"/>
                  <a:pt x="54" y="153"/>
                </a:cubicBezTo>
                <a:cubicBezTo>
                  <a:pt x="54" y="154"/>
                  <a:pt x="55" y="154"/>
                  <a:pt x="56" y="155"/>
                </a:cubicBezTo>
                <a:cubicBezTo>
                  <a:pt x="56" y="155"/>
                  <a:pt x="56" y="156"/>
                  <a:pt x="57" y="158"/>
                </a:cubicBezTo>
                <a:cubicBezTo>
                  <a:pt x="57" y="159"/>
                  <a:pt x="57" y="159"/>
                  <a:pt x="57" y="160"/>
                </a:cubicBezTo>
                <a:cubicBezTo>
                  <a:pt x="57" y="161"/>
                  <a:pt x="57" y="161"/>
                  <a:pt x="56" y="161"/>
                </a:cubicBezTo>
                <a:cubicBezTo>
                  <a:pt x="55" y="161"/>
                  <a:pt x="54" y="161"/>
                  <a:pt x="54" y="161"/>
                </a:cubicBezTo>
                <a:cubicBezTo>
                  <a:pt x="53" y="162"/>
                  <a:pt x="53" y="162"/>
                  <a:pt x="52" y="163"/>
                </a:cubicBezTo>
                <a:cubicBezTo>
                  <a:pt x="52" y="164"/>
                  <a:pt x="51" y="164"/>
                  <a:pt x="51" y="165"/>
                </a:cubicBezTo>
                <a:cubicBezTo>
                  <a:pt x="51" y="166"/>
                  <a:pt x="53" y="168"/>
                  <a:pt x="53" y="169"/>
                </a:cubicBezTo>
                <a:cubicBezTo>
                  <a:pt x="53" y="169"/>
                  <a:pt x="53" y="171"/>
                  <a:pt x="52" y="172"/>
                </a:cubicBezTo>
                <a:cubicBezTo>
                  <a:pt x="52" y="172"/>
                  <a:pt x="51" y="173"/>
                  <a:pt x="51" y="174"/>
                </a:cubicBezTo>
                <a:cubicBezTo>
                  <a:pt x="51" y="175"/>
                  <a:pt x="51" y="176"/>
                  <a:pt x="52" y="176"/>
                </a:cubicBezTo>
                <a:cubicBezTo>
                  <a:pt x="53" y="176"/>
                  <a:pt x="54" y="176"/>
                  <a:pt x="55" y="176"/>
                </a:cubicBezTo>
                <a:cubicBezTo>
                  <a:pt x="55" y="177"/>
                  <a:pt x="55" y="178"/>
                  <a:pt x="56" y="179"/>
                </a:cubicBezTo>
                <a:cubicBezTo>
                  <a:pt x="57" y="179"/>
                  <a:pt x="58" y="180"/>
                  <a:pt x="59" y="180"/>
                </a:cubicBezTo>
                <a:cubicBezTo>
                  <a:pt x="59" y="180"/>
                  <a:pt x="60" y="179"/>
                  <a:pt x="61" y="179"/>
                </a:cubicBezTo>
                <a:cubicBezTo>
                  <a:pt x="62" y="179"/>
                  <a:pt x="62" y="177"/>
                  <a:pt x="62" y="177"/>
                </a:cubicBezTo>
                <a:cubicBezTo>
                  <a:pt x="62" y="176"/>
                  <a:pt x="63" y="176"/>
                  <a:pt x="64" y="176"/>
                </a:cubicBezTo>
                <a:cubicBezTo>
                  <a:pt x="65" y="176"/>
                  <a:pt x="68" y="174"/>
                  <a:pt x="68" y="173"/>
                </a:cubicBezTo>
                <a:cubicBezTo>
                  <a:pt x="69" y="173"/>
                  <a:pt x="70" y="172"/>
                  <a:pt x="70" y="171"/>
                </a:cubicBezTo>
                <a:cubicBezTo>
                  <a:pt x="70" y="170"/>
                  <a:pt x="69" y="169"/>
                  <a:pt x="70" y="169"/>
                </a:cubicBezTo>
                <a:cubicBezTo>
                  <a:pt x="72" y="169"/>
                  <a:pt x="73" y="171"/>
                  <a:pt x="73" y="171"/>
                </a:cubicBezTo>
                <a:cubicBezTo>
                  <a:pt x="73" y="172"/>
                  <a:pt x="74" y="173"/>
                  <a:pt x="75" y="173"/>
                </a:cubicBezTo>
                <a:cubicBezTo>
                  <a:pt x="76" y="173"/>
                  <a:pt x="76" y="173"/>
                  <a:pt x="76" y="174"/>
                </a:cubicBezTo>
                <a:cubicBezTo>
                  <a:pt x="77" y="174"/>
                  <a:pt x="77" y="176"/>
                  <a:pt x="76" y="176"/>
                </a:cubicBezTo>
                <a:cubicBezTo>
                  <a:pt x="76" y="176"/>
                  <a:pt x="76" y="177"/>
                  <a:pt x="77" y="177"/>
                </a:cubicBezTo>
                <a:cubicBezTo>
                  <a:pt x="78" y="178"/>
                  <a:pt x="78" y="178"/>
                  <a:pt x="78" y="178"/>
                </a:cubicBezTo>
                <a:cubicBezTo>
                  <a:pt x="78" y="179"/>
                  <a:pt x="79" y="180"/>
                  <a:pt x="78" y="180"/>
                </a:cubicBezTo>
                <a:cubicBezTo>
                  <a:pt x="78" y="181"/>
                  <a:pt x="78" y="182"/>
                  <a:pt x="78" y="182"/>
                </a:cubicBezTo>
                <a:cubicBezTo>
                  <a:pt x="79" y="183"/>
                  <a:pt x="79" y="184"/>
                  <a:pt x="80" y="184"/>
                </a:cubicBezTo>
                <a:cubicBezTo>
                  <a:pt x="80" y="184"/>
                  <a:pt x="80" y="184"/>
                  <a:pt x="80" y="185"/>
                </a:cubicBezTo>
                <a:cubicBezTo>
                  <a:pt x="80" y="186"/>
                  <a:pt x="80" y="187"/>
                  <a:pt x="81" y="188"/>
                </a:cubicBezTo>
                <a:cubicBezTo>
                  <a:pt x="81" y="189"/>
                  <a:pt x="81" y="190"/>
                  <a:pt x="82" y="191"/>
                </a:cubicBezTo>
                <a:cubicBezTo>
                  <a:pt x="83" y="192"/>
                  <a:pt x="83" y="194"/>
                  <a:pt x="84" y="194"/>
                </a:cubicBezTo>
                <a:cubicBezTo>
                  <a:pt x="84" y="195"/>
                  <a:pt x="85" y="196"/>
                  <a:pt x="85" y="196"/>
                </a:cubicBezTo>
                <a:cubicBezTo>
                  <a:pt x="86" y="197"/>
                  <a:pt x="87" y="197"/>
                  <a:pt x="87" y="197"/>
                </a:cubicBezTo>
                <a:cubicBezTo>
                  <a:pt x="87" y="198"/>
                  <a:pt x="88" y="199"/>
                  <a:pt x="88" y="199"/>
                </a:cubicBezTo>
                <a:cubicBezTo>
                  <a:pt x="88" y="199"/>
                  <a:pt x="89" y="199"/>
                  <a:pt x="89" y="200"/>
                </a:cubicBezTo>
                <a:cubicBezTo>
                  <a:pt x="89" y="200"/>
                  <a:pt x="90" y="200"/>
                  <a:pt x="90" y="201"/>
                </a:cubicBezTo>
                <a:cubicBezTo>
                  <a:pt x="90" y="202"/>
                  <a:pt x="90" y="205"/>
                  <a:pt x="90" y="205"/>
                </a:cubicBezTo>
                <a:cubicBezTo>
                  <a:pt x="90" y="205"/>
                  <a:pt x="88" y="205"/>
                  <a:pt x="88" y="206"/>
                </a:cubicBezTo>
                <a:cubicBezTo>
                  <a:pt x="88" y="206"/>
                  <a:pt x="88" y="207"/>
                  <a:pt x="88" y="208"/>
                </a:cubicBezTo>
                <a:cubicBezTo>
                  <a:pt x="89" y="208"/>
                  <a:pt x="90" y="210"/>
                  <a:pt x="91" y="210"/>
                </a:cubicBezTo>
                <a:cubicBezTo>
                  <a:pt x="91" y="211"/>
                  <a:pt x="92" y="211"/>
                  <a:pt x="92" y="212"/>
                </a:cubicBezTo>
                <a:cubicBezTo>
                  <a:pt x="92" y="212"/>
                  <a:pt x="93" y="213"/>
                  <a:pt x="93" y="213"/>
                </a:cubicBezTo>
                <a:cubicBezTo>
                  <a:pt x="93" y="213"/>
                  <a:pt x="94" y="213"/>
                  <a:pt x="95" y="212"/>
                </a:cubicBezTo>
                <a:cubicBezTo>
                  <a:pt x="96" y="212"/>
                  <a:pt x="96" y="212"/>
                  <a:pt x="97" y="212"/>
                </a:cubicBezTo>
                <a:cubicBezTo>
                  <a:pt x="98" y="213"/>
                  <a:pt x="99" y="214"/>
                  <a:pt x="100" y="214"/>
                </a:cubicBezTo>
                <a:cubicBezTo>
                  <a:pt x="100" y="215"/>
                  <a:pt x="101" y="216"/>
                  <a:pt x="102" y="217"/>
                </a:cubicBezTo>
                <a:cubicBezTo>
                  <a:pt x="102" y="218"/>
                  <a:pt x="102" y="219"/>
                  <a:pt x="103" y="220"/>
                </a:cubicBezTo>
                <a:cubicBezTo>
                  <a:pt x="103" y="221"/>
                  <a:pt x="103" y="221"/>
                  <a:pt x="103" y="222"/>
                </a:cubicBezTo>
                <a:cubicBezTo>
                  <a:pt x="103" y="222"/>
                  <a:pt x="102" y="223"/>
                  <a:pt x="102" y="223"/>
                </a:cubicBezTo>
                <a:cubicBezTo>
                  <a:pt x="102" y="223"/>
                  <a:pt x="104" y="224"/>
                  <a:pt x="104" y="225"/>
                </a:cubicBezTo>
                <a:cubicBezTo>
                  <a:pt x="104" y="226"/>
                  <a:pt x="105" y="226"/>
                  <a:pt x="105" y="227"/>
                </a:cubicBezTo>
                <a:cubicBezTo>
                  <a:pt x="105" y="228"/>
                  <a:pt x="104" y="228"/>
                  <a:pt x="105" y="229"/>
                </a:cubicBezTo>
                <a:cubicBezTo>
                  <a:pt x="105" y="230"/>
                  <a:pt x="106" y="230"/>
                  <a:pt x="106" y="231"/>
                </a:cubicBezTo>
                <a:cubicBezTo>
                  <a:pt x="107" y="232"/>
                  <a:pt x="108" y="232"/>
                  <a:pt x="109" y="233"/>
                </a:cubicBezTo>
                <a:cubicBezTo>
                  <a:pt x="110" y="234"/>
                  <a:pt x="111" y="234"/>
                  <a:pt x="111" y="234"/>
                </a:cubicBezTo>
                <a:cubicBezTo>
                  <a:pt x="111" y="233"/>
                  <a:pt x="111" y="231"/>
                  <a:pt x="111" y="230"/>
                </a:cubicBezTo>
                <a:cubicBezTo>
                  <a:pt x="112" y="229"/>
                  <a:pt x="113" y="229"/>
                  <a:pt x="114" y="228"/>
                </a:cubicBezTo>
                <a:cubicBezTo>
                  <a:pt x="115" y="228"/>
                  <a:pt x="115" y="227"/>
                  <a:pt x="117" y="228"/>
                </a:cubicBezTo>
                <a:cubicBezTo>
                  <a:pt x="119" y="229"/>
                  <a:pt x="121" y="229"/>
                  <a:pt x="123" y="229"/>
                </a:cubicBezTo>
                <a:cubicBezTo>
                  <a:pt x="124" y="230"/>
                  <a:pt x="126" y="230"/>
                  <a:pt x="126" y="230"/>
                </a:cubicBezTo>
                <a:cubicBezTo>
                  <a:pt x="126" y="230"/>
                  <a:pt x="126" y="229"/>
                  <a:pt x="127" y="228"/>
                </a:cubicBezTo>
                <a:cubicBezTo>
                  <a:pt x="127" y="227"/>
                  <a:pt x="127" y="224"/>
                  <a:pt x="128" y="224"/>
                </a:cubicBezTo>
                <a:cubicBezTo>
                  <a:pt x="128" y="224"/>
                  <a:pt x="129" y="224"/>
                  <a:pt x="129" y="224"/>
                </a:cubicBezTo>
                <a:cubicBezTo>
                  <a:pt x="130" y="224"/>
                  <a:pt x="136" y="226"/>
                  <a:pt x="137" y="226"/>
                </a:cubicBezTo>
                <a:cubicBezTo>
                  <a:pt x="137" y="226"/>
                  <a:pt x="141" y="225"/>
                  <a:pt x="141" y="225"/>
                </a:cubicBezTo>
                <a:cubicBezTo>
                  <a:pt x="142" y="225"/>
                  <a:pt x="144" y="225"/>
                  <a:pt x="144" y="225"/>
                </a:cubicBezTo>
                <a:cubicBezTo>
                  <a:pt x="144" y="225"/>
                  <a:pt x="145" y="227"/>
                  <a:pt x="145" y="227"/>
                </a:cubicBezTo>
                <a:cubicBezTo>
                  <a:pt x="145" y="227"/>
                  <a:pt x="146" y="227"/>
                  <a:pt x="147" y="226"/>
                </a:cubicBezTo>
                <a:cubicBezTo>
                  <a:pt x="148" y="226"/>
                  <a:pt x="149" y="225"/>
                  <a:pt x="151" y="225"/>
                </a:cubicBezTo>
                <a:cubicBezTo>
                  <a:pt x="152" y="224"/>
                  <a:pt x="154" y="225"/>
                  <a:pt x="155" y="225"/>
                </a:cubicBezTo>
                <a:cubicBezTo>
                  <a:pt x="155" y="225"/>
                  <a:pt x="157" y="225"/>
                  <a:pt x="157" y="225"/>
                </a:cubicBezTo>
                <a:cubicBezTo>
                  <a:pt x="158" y="225"/>
                  <a:pt x="157" y="225"/>
                  <a:pt x="157" y="224"/>
                </a:cubicBezTo>
                <a:cubicBezTo>
                  <a:pt x="157" y="223"/>
                  <a:pt x="156" y="222"/>
                  <a:pt x="156" y="222"/>
                </a:cubicBezTo>
                <a:cubicBezTo>
                  <a:pt x="157" y="221"/>
                  <a:pt x="157" y="220"/>
                  <a:pt x="157" y="219"/>
                </a:cubicBezTo>
                <a:cubicBezTo>
                  <a:pt x="157" y="218"/>
                  <a:pt x="157" y="218"/>
                  <a:pt x="158" y="217"/>
                </a:cubicBezTo>
                <a:cubicBezTo>
                  <a:pt x="159" y="217"/>
                  <a:pt x="159" y="217"/>
                  <a:pt x="160" y="217"/>
                </a:cubicBezTo>
                <a:cubicBezTo>
                  <a:pt x="160" y="216"/>
                  <a:pt x="161" y="214"/>
                  <a:pt x="161" y="215"/>
                </a:cubicBezTo>
                <a:cubicBezTo>
                  <a:pt x="162" y="215"/>
                  <a:pt x="170" y="228"/>
                  <a:pt x="170" y="228"/>
                </a:cubicBezTo>
                <a:cubicBezTo>
                  <a:pt x="172" y="229"/>
                  <a:pt x="172" y="229"/>
                  <a:pt x="172" y="229"/>
                </a:cubicBezTo>
                <a:cubicBezTo>
                  <a:pt x="172" y="203"/>
                  <a:pt x="172" y="203"/>
                  <a:pt x="172" y="203"/>
                </a:cubicBezTo>
                <a:cubicBezTo>
                  <a:pt x="414" y="203"/>
                  <a:pt x="414" y="203"/>
                  <a:pt x="414" y="203"/>
                </a:cubicBezTo>
                <a:cubicBezTo>
                  <a:pt x="414" y="0"/>
                  <a:pt x="414" y="0"/>
                  <a:pt x="414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5" name="Freeform 33">
            <a:extLst>
              <a:ext uri="{FF2B5EF4-FFF2-40B4-BE49-F238E27FC236}">
                <a16:creationId xmlns:a16="http://schemas.microsoft.com/office/drawing/2014/main" id="{D1588096-DDFF-4504-AF4E-C6255DFFB75B}"/>
              </a:ext>
            </a:extLst>
          </p:cNvPr>
          <p:cNvSpPr>
            <a:spLocks/>
          </p:cNvSpPr>
          <p:nvPr/>
        </p:nvSpPr>
        <p:spPr bwMode="auto">
          <a:xfrm>
            <a:off x="7957208" y="2883773"/>
            <a:ext cx="915321" cy="804623"/>
          </a:xfrm>
          <a:custGeom>
            <a:avLst/>
            <a:gdLst>
              <a:gd name="T0" fmla="*/ 223 w 231"/>
              <a:gd name="T1" fmla="*/ 157 h 203"/>
              <a:gd name="T2" fmla="*/ 224 w 231"/>
              <a:gd name="T3" fmla="*/ 160 h 203"/>
              <a:gd name="T4" fmla="*/ 220 w 231"/>
              <a:gd name="T5" fmla="*/ 157 h 203"/>
              <a:gd name="T6" fmla="*/ 218 w 231"/>
              <a:gd name="T7" fmla="*/ 149 h 203"/>
              <a:gd name="T8" fmla="*/ 217 w 231"/>
              <a:gd name="T9" fmla="*/ 146 h 203"/>
              <a:gd name="T10" fmla="*/ 218 w 231"/>
              <a:gd name="T11" fmla="*/ 141 h 203"/>
              <a:gd name="T12" fmla="*/ 216 w 231"/>
              <a:gd name="T13" fmla="*/ 135 h 203"/>
              <a:gd name="T14" fmla="*/ 216 w 231"/>
              <a:gd name="T15" fmla="*/ 131 h 203"/>
              <a:gd name="T16" fmla="*/ 211 w 231"/>
              <a:gd name="T17" fmla="*/ 125 h 203"/>
              <a:gd name="T18" fmla="*/ 202 w 231"/>
              <a:gd name="T19" fmla="*/ 122 h 203"/>
              <a:gd name="T20" fmla="*/ 202 w 231"/>
              <a:gd name="T21" fmla="*/ 119 h 203"/>
              <a:gd name="T22" fmla="*/ 187 w 231"/>
              <a:gd name="T23" fmla="*/ 103 h 203"/>
              <a:gd name="T24" fmla="*/ 190 w 231"/>
              <a:gd name="T25" fmla="*/ 95 h 203"/>
              <a:gd name="T26" fmla="*/ 192 w 231"/>
              <a:gd name="T27" fmla="*/ 85 h 203"/>
              <a:gd name="T28" fmla="*/ 190 w 231"/>
              <a:gd name="T29" fmla="*/ 75 h 203"/>
              <a:gd name="T30" fmla="*/ 179 w 231"/>
              <a:gd name="T31" fmla="*/ 78 h 203"/>
              <a:gd name="T32" fmla="*/ 175 w 231"/>
              <a:gd name="T33" fmla="*/ 71 h 203"/>
              <a:gd name="T34" fmla="*/ 174 w 231"/>
              <a:gd name="T35" fmla="*/ 61 h 203"/>
              <a:gd name="T36" fmla="*/ 161 w 231"/>
              <a:gd name="T37" fmla="*/ 48 h 203"/>
              <a:gd name="T38" fmla="*/ 154 w 231"/>
              <a:gd name="T39" fmla="*/ 42 h 203"/>
              <a:gd name="T40" fmla="*/ 150 w 231"/>
              <a:gd name="T41" fmla="*/ 35 h 203"/>
              <a:gd name="T42" fmla="*/ 149 w 231"/>
              <a:gd name="T43" fmla="*/ 28 h 203"/>
              <a:gd name="T44" fmla="*/ 147 w 231"/>
              <a:gd name="T45" fmla="*/ 20 h 203"/>
              <a:gd name="T46" fmla="*/ 150 w 231"/>
              <a:gd name="T47" fmla="*/ 11 h 203"/>
              <a:gd name="T48" fmla="*/ 146 w 231"/>
              <a:gd name="T49" fmla="*/ 8 h 203"/>
              <a:gd name="T50" fmla="*/ 144 w 231"/>
              <a:gd name="T51" fmla="*/ 4 h 203"/>
              <a:gd name="T52" fmla="*/ 139 w 231"/>
              <a:gd name="T53" fmla="*/ 0 h 203"/>
              <a:gd name="T54" fmla="*/ 0 w 231"/>
              <a:gd name="T55" fmla="*/ 3 h 203"/>
              <a:gd name="T56" fmla="*/ 4 w 231"/>
              <a:gd name="T57" fmla="*/ 3 h 203"/>
              <a:gd name="T58" fmla="*/ 5 w 231"/>
              <a:gd name="T59" fmla="*/ 12 h 203"/>
              <a:gd name="T60" fmla="*/ 10 w 231"/>
              <a:gd name="T61" fmla="*/ 17 h 203"/>
              <a:gd name="T62" fmla="*/ 13 w 231"/>
              <a:gd name="T63" fmla="*/ 23 h 203"/>
              <a:gd name="T64" fmla="*/ 15 w 231"/>
              <a:gd name="T65" fmla="*/ 27 h 203"/>
              <a:gd name="T66" fmla="*/ 21 w 231"/>
              <a:gd name="T67" fmla="*/ 32 h 203"/>
              <a:gd name="T68" fmla="*/ 26 w 231"/>
              <a:gd name="T69" fmla="*/ 33 h 203"/>
              <a:gd name="T70" fmla="*/ 29 w 231"/>
              <a:gd name="T71" fmla="*/ 35 h 203"/>
              <a:gd name="T72" fmla="*/ 30 w 231"/>
              <a:gd name="T73" fmla="*/ 38 h 203"/>
              <a:gd name="T74" fmla="*/ 28 w 231"/>
              <a:gd name="T75" fmla="*/ 40 h 203"/>
              <a:gd name="T76" fmla="*/ 26 w 231"/>
              <a:gd name="T77" fmla="*/ 43 h 203"/>
              <a:gd name="T78" fmla="*/ 24 w 231"/>
              <a:gd name="T79" fmla="*/ 46 h 203"/>
              <a:gd name="T80" fmla="*/ 28 w 231"/>
              <a:gd name="T81" fmla="*/ 55 h 203"/>
              <a:gd name="T82" fmla="*/ 30 w 231"/>
              <a:gd name="T83" fmla="*/ 57 h 203"/>
              <a:gd name="T84" fmla="*/ 38 w 231"/>
              <a:gd name="T85" fmla="*/ 65 h 203"/>
              <a:gd name="T86" fmla="*/ 40 w 231"/>
              <a:gd name="T87" fmla="*/ 182 h 203"/>
              <a:gd name="T88" fmla="*/ 197 w 231"/>
              <a:gd name="T89" fmla="*/ 186 h 203"/>
              <a:gd name="T90" fmla="*/ 190 w 231"/>
              <a:gd name="T91" fmla="*/ 197 h 203"/>
              <a:gd name="T92" fmla="*/ 209 w 231"/>
              <a:gd name="T93" fmla="*/ 203 h 203"/>
              <a:gd name="T94" fmla="*/ 210 w 231"/>
              <a:gd name="T95" fmla="*/ 201 h 203"/>
              <a:gd name="T96" fmla="*/ 211 w 231"/>
              <a:gd name="T97" fmla="*/ 199 h 203"/>
              <a:gd name="T98" fmla="*/ 212 w 231"/>
              <a:gd name="T99" fmla="*/ 194 h 203"/>
              <a:gd name="T100" fmla="*/ 211 w 231"/>
              <a:gd name="T101" fmla="*/ 192 h 203"/>
              <a:gd name="T102" fmla="*/ 214 w 231"/>
              <a:gd name="T103" fmla="*/ 191 h 203"/>
              <a:gd name="T104" fmla="*/ 214 w 231"/>
              <a:gd name="T105" fmla="*/ 188 h 203"/>
              <a:gd name="T106" fmla="*/ 215 w 231"/>
              <a:gd name="T107" fmla="*/ 180 h 203"/>
              <a:gd name="T108" fmla="*/ 217 w 231"/>
              <a:gd name="T109" fmla="*/ 179 h 203"/>
              <a:gd name="T110" fmla="*/ 217 w 231"/>
              <a:gd name="T111" fmla="*/ 182 h 203"/>
              <a:gd name="T112" fmla="*/ 219 w 231"/>
              <a:gd name="T113" fmla="*/ 182 h 203"/>
              <a:gd name="T114" fmla="*/ 224 w 231"/>
              <a:gd name="T115" fmla="*/ 177 h 203"/>
              <a:gd name="T116" fmla="*/ 228 w 231"/>
              <a:gd name="T117" fmla="*/ 175 h 203"/>
              <a:gd name="T118" fmla="*/ 227 w 231"/>
              <a:gd name="T119" fmla="*/ 168 h 203"/>
              <a:gd name="T120" fmla="*/ 229 w 231"/>
              <a:gd name="T121" fmla="*/ 161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1" h="203">
                <a:moveTo>
                  <a:pt x="226" y="160"/>
                </a:moveTo>
                <a:cubicBezTo>
                  <a:pt x="226" y="159"/>
                  <a:pt x="225" y="157"/>
                  <a:pt x="225" y="157"/>
                </a:cubicBezTo>
                <a:cubicBezTo>
                  <a:pt x="223" y="157"/>
                  <a:pt x="223" y="157"/>
                  <a:pt x="223" y="157"/>
                </a:cubicBezTo>
                <a:cubicBezTo>
                  <a:pt x="223" y="157"/>
                  <a:pt x="224" y="158"/>
                  <a:pt x="224" y="158"/>
                </a:cubicBezTo>
                <a:cubicBezTo>
                  <a:pt x="224" y="158"/>
                  <a:pt x="225" y="159"/>
                  <a:pt x="225" y="159"/>
                </a:cubicBezTo>
                <a:cubicBezTo>
                  <a:pt x="225" y="159"/>
                  <a:pt x="224" y="160"/>
                  <a:pt x="224" y="160"/>
                </a:cubicBezTo>
                <a:cubicBezTo>
                  <a:pt x="224" y="160"/>
                  <a:pt x="223" y="160"/>
                  <a:pt x="223" y="160"/>
                </a:cubicBezTo>
                <a:cubicBezTo>
                  <a:pt x="223" y="160"/>
                  <a:pt x="221" y="159"/>
                  <a:pt x="221" y="159"/>
                </a:cubicBezTo>
                <a:cubicBezTo>
                  <a:pt x="221" y="159"/>
                  <a:pt x="220" y="157"/>
                  <a:pt x="220" y="157"/>
                </a:cubicBezTo>
                <a:cubicBezTo>
                  <a:pt x="220" y="156"/>
                  <a:pt x="220" y="155"/>
                  <a:pt x="220" y="155"/>
                </a:cubicBezTo>
                <a:cubicBezTo>
                  <a:pt x="218" y="151"/>
                  <a:pt x="218" y="151"/>
                  <a:pt x="218" y="151"/>
                </a:cubicBezTo>
                <a:cubicBezTo>
                  <a:pt x="218" y="151"/>
                  <a:pt x="218" y="149"/>
                  <a:pt x="218" y="149"/>
                </a:cubicBezTo>
                <a:cubicBezTo>
                  <a:pt x="218" y="149"/>
                  <a:pt x="216" y="149"/>
                  <a:pt x="216" y="148"/>
                </a:cubicBezTo>
                <a:cubicBezTo>
                  <a:pt x="216" y="148"/>
                  <a:pt x="216" y="147"/>
                  <a:pt x="216" y="147"/>
                </a:cubicBezTo>
                <a:cubicBezTo>
                  <a:pt x="217" y="146"/>
                  <a:pt x="217" y="146"/>
                  <a:pt x="217" y="146"/>
                </a:cubicBezTo>
                <a:cubicBezTo>
                  <a:pt x="217" y="146"/>
                  <a:pt x="218" y="145"/>
                  <a:pt x="218" y="145"/>
                </a:cubicBezTo>
                <a:cubicBezTo>
                  <a:pt x="218" y="145"/>
                  <a:pt x="219" y="144"/>
                  <a:pt x="219" y="143"/>
                </a:cubicBezTo>
                <a:cubicBezTo>
                  <a:pt x="219" y="143"/>
                  <a:pt x="218" y="141"/>
                  <a:pt x="218" y="141"/>
                </a:cubicBezTo>
                <a:cubicBezTo>
                  <a:pt x="218" y="141"/>
                  <a:pt x="217" y="138"/>
                  <a:pt x="216" y="138"/>
                </a:cubicBezTo>
                <a:cubicBezTo>
                  <a:pt x="216" y="138"/>
                  <a:pt x="216" y="136"/>
                  <a:pt x="216" y="136"/>
                </a:cubicBezTo>
                <a:cubicBezTo>
                  <a:pt x="216" y="136"/>
                  <a:pt x="216" y="135"/>
                  <a:pt x="216" y="135"/>
                </a:cubicBezTo>
                <a:cubicBezTo>
                  <a:pt x="217" y="135"/>
                  <a:pt x="217" y="135"/>
                  <a:pt x="217" y="135"/>
                </a:cubicBezTo>
                <a:cubicBezTo>
                  <a:pt x="217" y="135"/>
                  <a:pt x="217" y="133"/>
                  <a:pt x="217" y="133"/>
                </a:cubicBezTo>
                <a:cubicBezTo>
                  <a:pt x="217" y="132"/>
                  <a:pt x="216" y="131"/>
                  <a:pt x="216" y="131"/>
                </a:cubicBezTo>
                <a:cubicBezTo>
                  <a:pt x="216" y="130"/>
                  <a:pt x="213" y="128"/>
                  <a:pt x="213" y="128"/>
                </a:cubicBezTo>
                <a:cubicBezTo>
                  <a:pt x="212" y="128"/>
                  <a:pt x="210" y="128"/>
                  <a:pt x="210" y="128"/>
                </a:cubicBezTo>
                <a:cubicBezTo>
                  <a:pt x="210" y="127"/>
                  <a:pt x="211" y="125"/>
                  <a:pt x="211" y="125"/>
                </a:cubicBezTo>
                <a:cubicBezTo>
                  <a:pt x="205" y="121"/>
                  <a:pt x="205" y="121"/>
                  <a:pt x="205" y="121"/>
                </a:cubicBezTo>
                <a:cubicBezTo>
                  <a:pt x="205" y="121"/>
                  <a:pt x="204" y="121"/>
                  <a:pt x="204" y="121"/>
                </a:cubicBezTo>
                <a:cubicBezTo>
                  <a:pt x="204" y="122"/>
                  <a:pt x="202" y="122"/>
                  <a:pt x="202" y="122"/>
                </a:cubicBezTo>
                <a:cubicBezTo>
                  <a:pt x="202" y="122"/>
                  <a:pt x="200" y="122"/>
                  <a:pt x="200" y="121"/>
                </a:cubicBezTo>
                <a:cubicBezTo>
                  <a:pt x="200" y="121"/>
                  <a:pt x="200" y="119"/>
                  <a:pt x="200" y="119"/>
                </a:cubicBezTo>
                <a:cubicBezTo>
                  <a:pt x="202" y="119"/>
                  <a:pt x="202" y="119"/>
                  <a:pt x="202" y="119"/>
                </a:cubicBezTo>
                <a:cubicBezTo>
                  <a:pt x="198" y="117"/>
                  <a:pt x="198" y="117"/>
                  <a:pt x="198" y="117"/>
                </a:cubicBezTo>
                <a:cubicBezTo>
                  <a:pt x="187" y="108"/>
                  <a:pt x="187" y="108"/>
                  <a:pt x="187" y="108"/>
                </a:cubicBezTo>
                <a:cubicBezTo>
                  <a:pt x="187" y="108"/>
                  <a:pt x="187" y="103"/>
                  <a:pt x="187" y="103"/>
                </a:cubicBezTo>
                <a:cubicBezTo>
                  <a:pt x="187" y="103"/>
                  <a:pt x="187" y="101"/>
                  <a:pt x="187" y="101"/>
                </a:cubicBezTo>
                <a:cubicBezTo>
                  <a:pt x="187" y="100"/>
                  <a:pt x="189" y="97"/>
                  <a:pt x="189" y="97"/>
                </a:cubicBezTo>
                <a:cubicBezTo>
                  <a:pt x="189" y="97"/>
                  <a:pt x="190" y="95"/>
                  <a:pt x="190" y="95"/>
                </a:cubicBezTo>
                <a:cubicBezTo>
                  <a:pt x="190" y="95"/>
                  <a:pt x="191" y="93"/>
                  <a:pt x="191" y="93"/>
                </a:cubicBezTo>
                <a:cubicBezTo>
                  <a:pt x="191" y="93"/>
                  <a:pt x="192" y="89"/>
                  <a:pt x="192" y="89"/>
                </a:cubicBezTo>
                <a:cubicBezTo>
                  <a:pt x="192" y="89"/>
                  <a:pt x="192" y="86"/>
                  <a:pt x="192" y="85"/>
                </a:cubicBezTo>
                <a:cubicBezTo>
                  <a:pt x="192" y="85"/>
                  <a:pt x="194" y="83"/>
                  <a:pt x="194" y="83"/>
                </a:cubicBezTo>
                <a:cubicBezTo>
                  <a:pt x="194" y="82"/>
                  <a:pt x="195" y="79"/>
                  <a:pt x="195" y="79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84" y="74"/>
                  <a:pt x="184" y="74"/>
                  <a:pt x="184" y="74"/>
                </a:cubicBezTo>
                <a:cubicBezTo>
                  <a:pt x="184" y="74"/>
                  <a:pt x="181" y="77"/>
                  <a:pt x="181" y="78"/>
                </a:cubicBezTo>
                <a:cubicBezTo>
                  <a:pt x="181" y="78"/>
                  <a:pt x="179" y="78"/>
                  <a:pt x="179" y="78"/>
                </a:cubicBezTo>
                <a:cubicBezTo>
                  <a:pt x="179" y="78"/>
                  <a:pt x="177" y="78"/>
                  <a:pt x="177" y="78"/>
                </a:cubicBezTo>
                <a:cubicBezTo>
                  <a:pt x="177" y="78"/>
                  <a:pt x="176" y="73"/>
                  <a:pt x="176" y="73"/>
                </a:cubicBezTo>
                <a:cubicBezTo>
                  <a:pt x="176" y="73"/>
                  <a:pt x="175" y="72"/>
                  <a:pt x="175" y="71"/>
                </a:cubicBezTo>
                <a:cubicBezTo>
                  <a:pt x="175" y="71"/>
                  <a:pt x="175" y="70"/>
                  <a:pt x="175" y="70"/>
                </a:cubicBezTo>
                <a:cubicBezTo>
                  <a:pt x="176" y="68"/>
                  <a:pt x="176" y="68"/>
                  <a:pt x="176" y="68"/>
                </a:cubicBezTo>
                <a:cubicBezTo>
                  <a:pt x="174" y="61"/>
                  <a:pt x="174" y="61"/>
                  <a:pt x="174" y="61"/>
                </a:cubicBezTo>
                <a:cubicBezTo>
                  <a:pt x="166" y="54"/>
                  <a:pt x="166" y="54"/>
                  <a:pt x="166" y="54"/>
                </a:cubicBezTo>
                <a:cubicBezTo>
                  <a:pt x="164" y="53"/>
                  <a:pt x="164" y="53"/>
                  <a:pt x="164" y="53"/>
                </a:cubicBezTo>
                <a:cubicBezTo>
                  <a:pt x="164" y="53"/>
                  <a:pt x="161" y="48"/>
                  <a:pt x="161" y="48"/>
                </a:cubicBezTo>
                <a:cubicBezTo>
                  <a:pt x="161" y="48"/>
                  <a:pt x="159" y="48"/>
                  <a:pt x="159" y="48"/>
                </a:cubicBezTo>
                <a:cubicBezTo>
                  <a:pt x="159" y="48"/>
                  <a:pt x="159" y="46"/>
                  <a:pt x="159" y="46"/>
                </a:cubicBezTo>
                <a:cubicBezTo>
                  <a:pt x="154" y="42"/>
                  <a:pt x="154" y="42"/>
                  <a:pt x="154" y="42"/>
                </a:cubicBezTo>
                <a:cubicBezTo>
                  <a:pt x="152" y="39"/>
                  <a:pt x="152" y="39"/>
                  <a:pt x="152" y="39"/>
                </a:cubicBezTo>
                <a:cubicBezTo>
                  <a:pt x="152" y="37"/>
                  <a:pt x="152" y="37"/>
                  <a:pt x="152" y="37"/>
                </a:cubicBezTo>
                <a:cubicBezTo>
                  <a:pt x="150" y="35"/>
                  <a:pt x="150" y="35"/>
                  <a:pt x="150" y="35"/>
                </a:cubicBezTo>
                <a:cubicBezTo>
                  <a:pt x="150" y="35"/>
                  <a:pt x="150" y="33"/>
                  <a:pt x="150" y="33"/>
                </a:cubicBezTo>
                <a:cubicBezTo>
                  <a:pt x="150" y="33"/>
                  <a:pt x="150" y="31"/>
                  <a:pt x="150" y="31"/>
                </a:cubicBezTo>
                <a:cubicBezTo>
                  <a:pt x="149" y="28"/>
                  <a:pt x="149" y="28"/>
                  <a:pt x="149" y="28"/>
                </a:cubicBezTo>
                <a:cubicBezTo>
                  <a:pt x="149" y="28"/>
                  <a:pt x="148" y="26"/>
                  <a:pt x="148" y="26"/>
                </a:cubicBezTo>
                <a:cubicBezTo>
                  <a:pt x="148" y="26"/>
                  <a:pt x="148" y="25"/>
                  <a:pt x="148" y="25"/>
                </a:cubicBezTo>
                <a:cubicBezTo>
                  <a:pt x="148" y="25"/>
                  <a:pt x="147" y="20"/>
                  <a:pt x="147" y="20"/>
                </a:cubicBezTo>
                <a:cubicBezTo>
                  <a:pt x="147" y="20"/>
                  <a:pt x="147" y="16"/>
                  <a:pt x="147" y="16"/>
                </a:cubicBezTo>
                <a:cubicBezTo>
                  <a:pt x="147" y="16"/>
                  <a:pt x="148" y="14"/>
                  <a:pt x="148" y="14"/>
                </a:cubicBezTo>
                <a:cubicBezTo>
                  <a:pt x="148" y="14"/>
                  <a:pt x="150" y="11"/>
                  <a:pt x="150" y="11"/>
                </a:cubicBezTo>
                <a:cubicBezTo>
                  <a:pt x="150" y="11"/>
                  <a:pt x="150" y="10"/>
                  <a:pt x="150" y="10"/>
                </a:cubicBezTo>
                <a:cubicBezTo>
                  <a:pt x="150" y="10"/>
                  <a:pt x="148" y="9"/>
                  <a:pt x="148" y="9"/>
                </a:cubicBezTo>
                <a:cubicBezTo>
                  <a:pt x="147" y="9"/>
                  <a:pt x="147" y="9"/>
                  <a:pt x="146" y="8"/>
                </a:cubicBezTo>
                <a:cubicBezTo>
                  <a:pt x="146" y="8"/>
                  <a:pt x="146" y="7"/>
                  <a:pt x="146" y="7"/>
                </a:cubicBezTo>
                <a:cubicBezTo>
                  <a:pt x="146" y="7"/>
                  <a:pt x="145" y="6"/>
                  <a:pt x="145" y="6"/>
                </a:cubicBezTo>
                <a:cubicBezTo>
                  <a:pt x="144" y="6"/>
                  <a:pt x="144" y="4"/>
                  <a:pt x="144" y="4"/>
                </a:cubicBezTo>
                <a:cubicBezTo>
                  <a:pt x="144" y="4"/>
                  <a:pt x="143" y="3"/>
                  <a:pt x="143" y="3"/>
                </a:cubicBezTo>
                <a:cubicBezTo>
                  <a:pt x="143" y="3"/>
                  <a:pt x="141" y="2"/>
                  <a:pt x="141" y="2"/>
                </a:cubicBezTo>
                <a:cubicBezTo>
                  <a:pt x="140" y="2"/>
                  <a:pt x="139" y="0"/>
                  <a:pt x="139" y="0"/>
                </a:cubicBezTo>
                <a:cubicBezTo>
                  <a:pt x="40" y="1"/>
                  <a:pt x="40" y="1"/>
                  <a:pt x="40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3"/>
                  <a:pt x="0" y="3"/>
                </a:cubicBezTo>
                <a:cubicBezTo>
                  <a:pt x="0" y="4"/>
                  <a:pt x="2" y="4"/>
                  <a:pt x="2" y="3"/>
                </a:cubicBezTo>
                <a:cubicBezTo>
                  <a:pt x="3" y="3"/>
                  <a:pt x="3" y="2"/>
                  <a:pt x="3" y="2"/>
                </a:cubicBezTo>
                <a:cubicBezTo>
                  <a:pt x="3" y="2"/>
                  <a:pt x="4" y="3"/>
                  <a:pt x="4" y="3"/>
                </a:cubicBezTo>
                <a:cubicBezTo>
                  <a:pt x="4" y="4"/>
                  <a:pt x="2" y="5"/>
                  <a:pt x="2" y="5"/>
                </a:cubicBezTo>
                <a:cubicBezTo>
                  <a:pt x="2" y="6"/>
                  <a:pt x="3" y="8"/>
                  <a:pt x="4" y="9"/>
                </a:cubicBezTo>
                <a:cubicBezTo>
                  <a:pt x="4" y="9"/>
                  <a:pt x="5" y="11"/>
                  <a:pt x="5" y="12"/>
                </a:cubicBezTo>
                <a:cubicBezTo>
                  <a:pt x="5" y="12"/>
                  <a:pt x="4" y="14"/>
                  <a:pt x="4" y="14"/>
                </a:cubicBezTo>
                <a:cubicBezTo>
                  <a:pt x="4" y="14"/>
                  <a:pt x="6" y="14"/>
                  <a:pt x="7" y="15"/>
                </a:cubicBezTo>
                <a:cubicBezTo>
                  <a:pt x="8" y="15"/>
                  <a:pt x="10" y="16"/>
                  <a:pt x="10" y="17"/>
                </a:cubicBezTo>
                <a:cubicBezTo>
                  <a:pt x="10" y="17"/>
                  <a:pt x="10" y="19"/>
                  <a:pt x="10" y="19"/>
                </a:cubicBezTo>
                <a:cubicBezTo>
                  <a:pt x="10" y="20"/>
                  <a:pt x="11" y="21"/>
                  <a:pt x="12" y="21"/>
                </a:cubicBezTo>
                <a:cubicBezTo>
                  <a:pt x="12" y="21"/>
                  <a:pt x="13" y="22"/>
                  <a:pt x="13" y="23"/>
                </a:cubicBezTo>
                <a:cubicBezTo>
                  <a:pt x="13" y="23"/>
                  <a:pt x="12" y="24"/>
                  <a:pt x="12" y="25"/>
                </a:cubicBezTo>
                <a:cubicBezTo>
                  <a:pt x="12" y="25"/>
                  <a:pt x="13" y="26"/>
                  <a:pt x="13" y="26"/>
                </a:cubicBezTo>
                <a:cubicBezTo>
                  <a:pt x="13" y="26"/>
                  <a:pt x="15" y="27"/>
                  <a:pt x="15" y="27"/>
                </a:cubicBezTo>
                <a:cubicBezTo>
                  <a:pt x="16" y="28"/>
                  <a:pt x="16" y="28"/>
                  <a:pt x="17" y="28"/>
                </a:cubicBezTo>
                <a:cubicBezTo>
                  <a:pt x="18" y="29"/>
                  <a:pt x="18" y="29"/>
                  <a:pt x="19" y="30"/>
                </a:cubicBezTo>
                <a:cubicBezTo>
                  <a:pt x="19" y="31"/>
                  <a:pt x="20" y="31"/>
                  <a:pt x="21" y="32"/>
                </a:cubicBezTo>
                <a:cubicBezTo>
                  <a:pt x="21" y="32"/>
                  <a:pt x="22" y="33"/>
                  <a:pt x="23" y="34"/>
                </a:cubicBezTo>
                <a:cubicBezTo>
                  <a:pt x="24" y="34"/>
                  <a:pt x="25" y="34"/>
                  <a:pt x="25" y="34"/>
                </a:cubicBezTo>
                <a:cubicBezTo>
                  <a:pt x="26" y="34"/>
                  <a:pt x="26" y="33"/>
                  <a:pt x="26" y="33"/>
                </a:cubicBezTo>
                <a:cubicBezTo>
                  <a:pt x="26" y="32"/>
                  <a:pt x="27" y="32"/>
                  <a:pt x="27" y="32"/>
                </a:cubicBezTo>
                <a:cubicBezTo>
                  <a:pt x="28" y="32"/>
                  <a:pt x="28" y="32"/>
                  <a:pt x="29" y="33"/>
                </a:cubicBezTo>
                <a:cubicBezTo>
                  <a:pt x="29" y="33"/>
                  <a:pt x="29" y="34"/>
                  <a:pt x="29" y="35"/>
                </a:cubicBezTo>
                <a:cubicBezTo>
                  <a:pt x="30" y="35"/>
                  <a:pt x="30" y="35"/>
                  <a:pt x="31" y="35"/>
                </a:cubicBezTo>
                <a:cubicBezTo>
                  <a:pt x="31" y="36"/>
                  <a:pt x="31" y="36"/>
                  <a:pt x="31" y="37"/>
                </a:cubicBezTo>
                <a:cubicBezTo>
                  <a:pt x="31" y="37"/>
                  <a:pt x="31" y="38"/>
                  <a:pt x="30" y="38"/>
                </a:cubicBezTo>
                <a:cubicBezTo>
                  <a:pt x="30" y="38"/>
                  <a:pt x="30" y="37"/>
                  <a:pt x="29" y="38"/>
                </a:cubicBezTo>
                <a:cubicBezTo>
                  <a:pt x="28" y="39"/>
                  <a:pt x="30" y="39"/>
                  <a:pt x="30" y="40"/>
                </a:cubicBezTo>
                <a:cubicBezTo>
                  <a:pt x="30" y="40"/>
                  <a:pt x="29" y="40"/>
                  <a:pt x="28" y="40"/>
                </a:cubicBezTo>
                <a:cubicBezTo>
                  <a:pt x="28" y="40"/>
                  <a:pt x="28" y="41"/>
                  <a:pt x="28" y="42"/>
                </a:cubicBezTo>
                <a:cubicBezTo>
                  <a:pt x="27" y="42"/>
                  <a:pt x="27" y="42"/>
                  <a:pt x="26" y="42"/>
                </a:cubicBezTo>
                <a:cubicBezTo>
                  <a:pt x="26" y="43"/>
                  <a:pt x="26" y="43"/>
                  <a:pt x="26" y="43"/>
                </a:cubicBezTo>
                <a:cubicBezTo>
                  <a:pt x="25" y="44"/>
                  <a:pt x="25" y="44"/>
                  <a:pt x="25" y="45"/>
                </a:cubicBezTo>
                <a:cubicBezTo>
                  <a:pt x="25" y="45"/>
                  <a:pt x="25" y="46"/>
                  <a:pt x="25" y="46"/>
                </a:cubicBezTo>
                <a:cubicBezTo>
                  <a:pt x="25" y="46"/>
                  <a:pt x="24" y="46"/>
                  <a:pt x="24" y="46"/>
                </a:cubicBezTo>
                <a:cubicBezTo>
                  <a:pt x="22" y="47"/>
                  <a:pt x="24" y="50"/>
                  <a:pt x="25" y="51"/>
                </a:cubicBezTo>
                <a:cubicBezTo>
                  <a:pt x="25" y="51"/>
                  <a:pt x="26" y="52"/>
                  <a:pt x="26" y="53"/>
                </a:cubicBezTo>
                <a:cubicBezTo>
                  <a:pt x="27" y="53"/>
                  <a:pt x="27" y="54"/>
                  <a:pt x="28" y="55"/>
                </a:cubicBezTo>
                <a:cubicBezTo>
                  <a:pt x="28" y="55"/>
                  <a:pt x="28" y="55"/>
                  <a:pt x="29" y="55"/>
                </a:cubicBezTo>
                <a:cubicBezTo>
                  <a:pt x="29" y="55"/>
                  <a:pt x="30" y="55"/>
                  <a:pt x="30" y="55"/>
                </a:cubicBezTo>
                <a:cubicBezTo>
                  <a:pt x="30" y="56"/>
                  <a:pt x="30" y="56"/>
                  <a:pt x="30" y="57"/>
                </a:cubicBezTo>
                <a:cubicBezTo>
                  <a:pt x="29" y="59"/>
                  <a:pt x="31" y="60"/>
                  <a:pt x="32" y="61"/>
                </a:cubicBezTo>
                <a:cubicBezTo>
                  <a:pt x="33" y="62"/>
                  <a:pt x="33" y="63"/>
                  <a:pt x="34" y="64"/>
                </a:cubicBezTo>
                <a:cubicBezTo>
                  <a:pt x="36" y="64"/>
                  <a:pt x="37" y="65"/>
                  <a:pt x="38" y="65"/>
                </a:cubicBezTo>
                <a:cubicBezTo>
                  <a:pt x="39" y="65"/>
                  <a:pt x="40" y="65"/>
                  <a:pt x="40" y="65"/>
                </a:cubicBezTo>
                <a:cubicBezTo>
                  <a:pt x="41" y="67"/>
                  <a:pt x="41" y="67"/>
                  <a:pt x="41" y="67"/>
                </a:cubicBezTo>
                <a:cubicBezTo>
                  <a:pt x="40" y="182"/>
                  <a:pt x="40" y="182"/>
                  <a:pt x="40" y="182"/>
                </a:cubicBezTo>
                <a:cubicBezTo>
                  <a:pt x="194" y="182"/>
                  <a:pt x="194" y="182"/>
                  <a:pt x="194" y="182"/>
                </a:cubicBezTo>
                <a:cubicBezTo>
                  <a:pt x="194" y="184"/>
                  <a:pt x="194" y="184"/>
                  <a:pt x="194" y="184"/>
                </a:cubicBezTo>
                <a:cubicBezTo>
                  <a:pt x="197" y="186"/>
                  <a:pt x="197" y="186"/>
                  <a:pt x="197" y="186"/>
                </a:cubicBezTo>
                <a:cubicBezTo>
                  <a:pt x="197" y="191"/>
                  <a:pt x="197" y="191"/>
                  <a:pt x="197" y="191"/>
                </a:cubicBezTo>
                <a:cubicBezTo>
                  <a:pt x="197" y="191"/>
                  <a:pt x="193" y="194"/>
                  <a:pt x="193" y="194"/>
                </a:cubicBezTo>
                <a:cubicBezTo>
                  <a:pt x="193" y="194"/>
                  <a:pt x="190" y="197"/>
                  <a:pt x="190" y="197"/>
                </a:cubicBezTo>
                <a:cubicBezTo>
                  <a:pt x="190" y="198"/>
                  <a:pt x="187" y="202"/>
                  <a:pt x="187" y="202"/>
                </a:cubicBezTo>
                <a:cubicBezTo>
                  <a:pt x="187" y="203"/>
                  <a:pt x="187" y="203"/>
                  <a:pt x="187" y="203"/>
                </a:cubicBezTo>
                <a:cubicBezTo>
                  <a:pt x="209" y="203"/>
                  <a:pt x="209" y="203"/>
                  <a:pt x="209" y="203"/>
                </a:cubicBezTo>
                <a:cubicBezTo>
                  <a:pt x="209" y="203"/>
                  <a:pt x="209" y="202"/>
                  <a:pt x="209" y="202"/>
                </a:cubicBezTo>
                <a:cubicBezTo>
                  <a:pt x="209" y="202"/>
                  <a:pt x="209" y="202"/>
                  <a:pt x="209" y="202"/>
                </a:cubicBezTo>
                <a:cubicBezTo>
                  <a:pt x="210" y="202"/>
                  <a:pt x="210" y="201"/>
                  <a:pt x="210" y="201"/>
                </a:cubicBezTo>
                <a:cubicBezTo>
                  <a:pt x="210" y="200"/>
                  <a:pt x="210" y="200"/>
                  <a:pt x="210" y="200"/>
                </a:cubicBezTo>
                <a:cubicBezTo>
                  <a:pt x="210" y="200"/>
                  <a:pt x="211" y="200"/>
                  <a:pt x="211" y="200"/>
                </a:cubicBezTo>
                <a:cubicBezTo>
                  <a:pt x="211" y="200"/>
                  <a:pt x="211" y="199"/>
                  <a:pt x="211" y="199"/>
                </a:cubicBezTo>
                <a:cubicBezTo>
                  <a:pt x="212" y="198"/>
                  <a:pt x="212" y="198"/>
                  <a:pt x="213" y="198"/>
                </a:cubicBezTo>
                <a:cubicBezTo>
                  <a:pt x="213" y="197"/>
                  <a:pt x="213" y="196"/>
                  <a:pt x="213" y="196"/>
                </a:cubicBezTo>
                <a:cubicBezTo>
                  <a:pt x="213" y="195"/>
                  <a:pt x="212" y="195"/>
                  <a:pt x="212" y="194"/>
                </a:cubicBezTo>
                <a:cubicBezTo>
                  <a:pt x="212" y="194"/>
                  <a:pt x="211" y="194"/>
                  <a:pt x="211" y="193"/>
                </a:cubicBezTo>
                <a:cubicBezTo>
                  <a:pt x="210" y="193"/>
                  <a:pt x="210" y="192"/>
                  <a:pt x="210" y="192"/>
                </a:cubicBezTo>
                <a:cubicBezTo>
                  <a:pt x="210" y="192"/>
                  <a:pt x="211" y="192"/>
                  <a:pt x="211" y="192"/>
                </a:cubicBezTo>
                <a:cubicBezTo>
                  <a:pt x="212" y="192"/>
                  <a:pt x="213" y="192"/>
                  <a:pt x="214" y="192"/>
                </a:cubicBezTo>
                <a:cubicBezTo>
                  <a:pt x="214" y="192"/>
                  <a:pt x="215" y="192"/>
                  <a:pt x="215" y="192"/>
                </a:cubicBezTo>
                <a:cubicBezTo>
                  <a:pt x="215" y="192"/>
                  <a:pt x="214" y="191"/>
                  <a:pt x="214" y="191"/>
                </a:cubicBezTo>
                <a:cubicBezTo>
                  <a:pt x="213" y="190"/>
                  <a:pt x="213" y="190"/>
                  <a:pt x="213" y="189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13" y="188"/>
                  <a:pt x="213" y="188"/>
                  <a:pt x="214" y="188"/>
                </a:cubicBezTo>
                <a:cubicBezTo>
                  <a:pt x="215" y="188"/>
                  <a:pt x="215" y="188"/>
                  <a:pt x="216" y="188"/>
                </a:cubicBezTo>
                <a:cubicBezTo>
                  <a:pt x="216" y="186"/>
                  <a:pt x="216" y="184"/>
                  <a:pt x="215" y="182"/>
                </a:cubicBezTo>
                <a:cubicBezTo>
                  <a:pt x="215" y="182"/>
                  <a:pt x="214" y="181"/>
                  <a:pt x="215" y="180"/>
                </a:cubicBezTo>
                <a:cubicBezTo>
                  <a:pt x="215" y="180"/>
                  <a:pt x="215" y="180"/>
                  <a:pt x="215" y="179"/>
                </a:cubicBezTo>
                <a:cubicBezTo>
                  <a:pt x="215" y="179"/>
                  <a:pt x="215" y="179"/>
                  <a:pt x="215" y="178"/>
                </a:cubicBezTo>
                <a:cubicBezTo>
                  <a:pt x="216" y="178"/>
                  <a:pt x="217" y="178"/>
                  <a:pt x="217" y="179"/>
                </a:cubicBezTo>
                <a:cubicBezTo>
                  <a:pt x="217" y="179"/>
                  <a:pt x="217" y="180"/>
                  <a:pt x="217" y="181"/>
                </a:cubicBezTo>
                <a:cubicBezTo>
                  <a:pt x="217" y="181"/>
                  <a:pt x="216" y="182"/>
                  <a:pt x="216" y="182"/>
                </a:cubicBezTo>
                <a:cubicBezTo>
                  <a:pt x="216" y="182"/>
                  <a:pt x="217" y="182"/>
                  <a:pt x="217" y="182"/>
                </a:cubicBezTo>
                <a:cubicBezTo>
                  <a:pt x="217" y="183"/>
                  <a:pt x="217" y="183"/>
                  <a:pt x="217" y="183"/>
                </a:cubicBezTo>
                <a:cubicBezTo>
                  <a:pt x="218" y="184"/>
                  <a:pt x="218" y="183"/>
                  <a:pt x="218" y="183"/>
                </a:cubicBezTo>
                <a:cubicBezTo>
                  <a:pt x="219" y="183"/>
                  <a:pt x="219" y="182"/>
                  <a:pt x="219" y="182"/>
                </a:cubicBezTo>
                <a:cubicBezTo>
                  <a:pt x="220" y="178"/>
                  <a:pt x="220" y="178"/>
                  <a:pt x="220" y="178"/>
                </a:cubicBezTo>
                <a:cubicBezTo>
                  <a:pt x="220" y="178"/>
                  <a:pt x="222" y="176"/>
                  <a:pt x="222" y="176"/>
                </a:cubicBezTo>
                <a:cubicBezTo>
                  <a:pt x="222" y="176"/>
                  <a:pt x="224" y="177"/>
                  <a:pt x="224" y="177"/>
                </a:cubicBezTo>
                <a:cubicBezTo>
                  <a:pt x="224" y="177"/>
                  <a:pt x="225" y="178"/>
                  <a:pt x="225" y="178"/>
                </a:cubicBezTo>
                <a:cubicBezTo>
                  <a:pt x="225" y="178"/>
                  <a:pt x="226" y="179"/>
                  <a:pt x="226" y="179"/>
                </a:cubicBezTo>
                <a:cubicBezTo>
                  <a:pt x="226" y="179"/>
                  <a:pt x="228" y="175"/>
                  <a:pt x="228" y="175"/>
                </a:cubicBezTo>
                <a:cubicBezTo>
                  <a:pt x="228" y="175"/>
                  <a:pt x="227" y="171"/>
                  <a:pt x="227" y="171"/>
                </a:cubicBezTo>
                <a:cubicBezTo>
                  <a:pt x="227" y="171"/>
                  <a:pt x="230" y="170"/>
                  <a:pt x="230" y="170"/>
                </a:cubicBezTo>
                <a:cubicBezTo>
                  <a:pt x="230" y="170"/>
                  <a:pt x="227" y="168"/>
                  <a:pt x="227" y="168"/>
                </a:cubicBezTo>
                <a:cubicBezTo>
                  <a:pt x="227" y="168"/>
                  <a:pt x="229" y="165"/>
                  <a:pt x="229" y="165"/>
                </a:cubicBezTo>
                <a:cubicBezTo>
                  <a:pt x="229" y="165"/>
                  <a:pt x="231" y="163"/>
                  <a:pt x="231" y="163"/>
                </a:cubicBezTo>
                <a:cubicBezTo>
                  <a:pt x="229" y="161"/>
                  <a:pt x="229" y="161"/>
                  <a:pt x="229" y="161"/>
                </a:cubicBezTo>
                <a:cubicBezTo>
                  <a:pt x="227" y="161"/>
                  <a:pt x="227" y="161"/>
                  <a:pt x="227" y="161"/>
                </a:cubicBezTo>
                <a:cubicBezTo>
                  <a:pt x="227" y="161"/>
                  <a:pt x="226" y="160"/>
                  <a:pt x="226" y="16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6" name="Freeform 34">
            <a:extLst>
              <a:ext uri="{FF2B5EF4-FFF2-40B4-BE49-F238E27FC236}">
                <a16:creationId xmlns:a16="http://schemas.microsoft.com/office/drawing/2014/main" id="{17A7A509-75DA-4459-A4D8-8B5425B92694}"/>
              </a:ext>
            </a:extLst>
          </p:cNvPr>
          <p:cNvSpPr>
            <a:spLocks/>
          </p:cNvSpPr>
          <p:nvPr/>
        </p:nvSpPr>
        <p:spPr bwMode="auto">
          <a:xfrm>
            <a:off x="8523913" y="3858574"/>
            <a:ext cx="484096" cy="781493"/>
          </a:xfrm>
          <a:custGeom>
            <a:avLst/>
            <a:gdLst>
              <a:gd name="T0" fmla="*/ 47 w 122"/>
              <a:gd name="T1" fmla="*/ 1 h 197"/>
              <a:gd name="T2" fmla="*/ 41 w 122"/>
              <a:gd name="T3" fmla="*/ 6 h 197"/>
              <a:gd name="T4" fmla="*/ 39 w 122"/>
              <a:gd name="T5" fmla="*/ 10 h 197"/>
              <a:gd name="T6" fmla="*/ 40 w 122"/>
              <a:gd name="T7" fmla="*/ 13 h 197"/>
              <a:gd name="T8" fmla="*/ 37 w 122"/>
              <a:gd name="T9" fmla="*/ 13 h 197"/>
              <a:gd name="T10" fmla="*/ 36 w 122"/>
              <a:gd name="T11" fmla="*/ 20 h 197"/>
              <a:gd name="T12" fmla="*/ 34 w 122"/>
              <a:gd name="T13" fmla="*/ 28 h 197"/>
              <a:gd name="T14" fmla="*/ 29 w 122"/>
              <a:gd name="T15" fmla="*/ 29 h 197"/>
              <a:gd name="T16" fmla="*/ 24 w 122"/>
              <a:gd name="T17" fmla="*/ 32 h 197"/>
              <a:gd name="T18" fmla="*/ 24 w 122"/>
              <a:gd name="T19" fmla="*/ 35 h 197"/>
              <a:gd name="T20" fmla="*/ 23 w 122"/>
              <a:gd name="T21" fmla="*/ 41 h 197"/>
              <a:gd name="T22" fmla="*/ 19 w 122"/>
              <a:gd name="T23" fmla="*/ 41 h 197"/>
              <a:gd name="T24" fmla="*/ 21 w 122"/>
              <a:gd name="T25" fmla="*/ 44 h 197"/>
              <a:gd name="T26" fmla="*/ 20 w 122"/>
              <a:gd name="T27" fmla="*/ 49 h 197"/>
              <a:gd name="T28" fmla="*/ 20 w 122"/>
              <a:gd name="T29" fmla="*/ 51 h 197"/>
              <a:gd name="T30" fmla="*/ 20 w 122"/>
              <a:gd name="T31" fmla="*/ 54 h 197"/>
              <a:gd name="T32" fmla="*/ 16 w 122"/>
              <a:gd name="T33" fmla="*/ 53 h 197"/>
              <a:gd name="T34" fmla="*/ 14 w 122"/>
              <a:gd name="T35" fmla="*/ 59 h 197"/>
              <a:gd name="T36" fmla="*/ 14 w 122"/>
              <a:gd name="T37" fmla="*/ 64 h 197"/>
              <a:gd name="T38" fmla="*/ 16 w 122"/>
              <a:gd name="T39" fmla="*/ 67 h 197"/>
              <a:gd name="T40" fmla="*/ 19 w 122"/>
              <a:gd name="T41" fmla="*/ 65 h 197"/>
              <a:gd name="T42" fmla="*/ 18 w 122"/>
              <a:gd name="T43" fmla="*/ 71 h 197"/>
              <a:gd name="T44" fmla="*/ 19 w 122"/>
              <a:gd name="T45" fmla="*/ 76 h 197"/>
              <a:gd name="T46" fmla="*/ 16 w 122"/>
              <a:gd name="T47" fmla="*/ 80 h 197"/>
              <a:gd name="T48" fmla="*/ 16 w 122"/>
              <a:gd name="T49" fmla="*/ 87 h 197"/>
              <a:gd name="T50" fmla="*/ 19 w 122"/>
              <a:gd name="T51" fmla="*/ 86 h 197"/>
              <a:gd name="T52" fmla="*/ 16 w 122"/>
              <a:gd name="T53" fmla="*/ 93 h 197"/>
              <a:gd name="T54" fmla="*/ 17 w 122"/>
              <a:gd name="T55" fmla="*/ 100 h 197"/>
              <a:gd name="T56" fmla="*/ 20 w 122"/>
              <a:gd name="T57" fmla="*/ 102 h 197"/>
              <a:gd name="T58" fmla="*/ 18 w 122"/>
              <a:gd name="T59" fmla="*/ 102 h 197"/>
              <a:gd name="T60" fmla="*/ 23 w 122"/>
              <a:gd name="T61" fmla="*/ 106 h 197"/>
              <a:gd name="T62" fmla="*/ 23 w 122"/>
              <a:gd name="T63" fmla="*/ 112 h 197"/>
              <a:gd name="T64" fmla="*/ 19 w 122"/>
              <a:gd name="T65" fmla="*/ 115 h 197"/>
              <a:gd name="T66" fmla="*/ 20 w 122"/>
              <a:gd name="T67" fmla="*/ 118 h 197"/>
              <a:gd name="T68" fmla="*/ 21 w 122"/>
              <a:gd name="T69" fmla="*/ 119 h 197"/>
              <a:gd name="T70" fmla="*/ 16 w 122"/>
              <a:gd name="T71" fmla="*/ 121 h 197"/>
              <a:gd name="T72" fmla="*/ 14 w 122"/>
              <a:gd name="T73" fmla="*/ 128 h 197"/>
              <a:gd name="T74" fmla="*/ 10 w 122"/>
              <a:gd name="T75" fmla="*/ 131 h 197"/>
              <a:gd name="T76" fmla="*/ 10 w 122"/>
              <a:gd name="T77" fmla="*/ 134 h 197"/>
              <a:gd name="T78" fmla="*/ 5 w 122"/>
              <a:gd name="T79" fmla="*/ 139 h 197"/>
              <a:gd name="T80" fmla="*/ 5 w 122"/>
              <a:gd name="T81" fmla="*/ 142 h 197"/>
              <a:gd name="T82" fmla="*/ 5 w 122"/>
              <a:gd name="T83" fmla="*/ 149 h 197"/>
              <a:gd name="T84" fmla="*/ 4 w 122"/>
              <a:gd name="T85" fmla="*/ 153 h 197"/>
              <a:gd name="T86" fmla="*/ 1 w 122"/>
              <a:gd name="T87" fmla="*/ 157 h 197"/>
              <a:gd name="T88" fmla="*/ 0 w 122"/>
              <a:gd name="T89" fmla="*/ 164 h 197"/>
              <a:gd name="T90" fmla="*/ 67 w 122"/>
              <a:gd name="T91" fmla="*/ 186 h 197"/>
              <a:gd name="T92" fmla="*/ 75 w 122"/>
              <a:gd name="T93" fmla="*/ 197 h 197"/>
              <a:gd name="T94" fmla="*/ 79 w 122"/>
              <a:gd name="T95" fmla="*/ 190 h 197"/>
              <a:gd name="T96" fmla="*/ 86 w 122"/>
              <a:gd name="T97" fmla="*/ 191 h 197"/>
              <a:gd name="T98" fmla="*/ 98 w 122"/>
              <a:gd name="T99" fmla="*/ 190 h 197"/>
              <a:gd name="T100" fmla="*/ 104 w 122"/>
              <a:gd name="T101" fmla="*/ 190 h 197"/>
              <a:gd name="T102" fmla="*/ 106 w 122"/>
              <a:gd name="T103" fmla="*/ 186 h 197"/>
              <a:gd name="T104" fmla="*/ 110 w 122"/>
              <a:gd name="T105" fmla="*/ 191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2" h="197">
                <a:moveTo>
                  <a:pt x="122" y="4"/>
                </a:moveTo>
                <a:cubicBezTo>
                  <a:pt x="120" y="3"/>
                  <a:pt x="120" y="3"/>
                  <a:pt x="120" y="3"/>
                </a:cubicBezTo>
                <a:cubicBezTo>
                  <a:pt x="119" y="0"/>
                  <a:pt x="119" y="0"/>
                  <a:pt x="119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6" y="0"/>
                  <a:pt x="47" y="0"/>
                  <a:pt x="47" y="1"/>
                </a:cubicBezTo>
                <a:cubicBezTo>
                  <a:pt x="48" y="2"/>
                  <a:pt x="48" y="2"/>
                  <a:pt x="47" y="3"/>
                </a:cubicBezTo>
                <a:cubicBezTo>
                  <a:pt x="47" y="4"/>
                  <a:pt x="47" y="4"/>
                  <a:pt x="47" y="5"/>
                </a:cubicBezTo>
                <a:cubicBezTo>
                  <a:pt x="46" y="5"/>
                  <a:pt x="46" y="5"/>
                  <a:pt x="46" y="5"/>
                </a:cubicBezTo>
                <a:cubicBezTo>
                  <a:pt x="45" y="6"/>
                  <a:pt x="44" y="6"/>
                  <a:pt x="43" y="6"/>
                </a:cubicBezTo>
                <a:cubicBezTo>
                  <a:pt x="42" y="6"/>
                  <a:pt x="42" y="6"/>
                  <a:pt x="41" y="6"/>
                </a:cubicBezTo>
                <a:cubicBezTo>
                  <a:pt x="41" y="5"/>
                  <a:pt x="41" y="5"/>
                  <a:pt x="41" y="4"/>
                </a:cubicBezTo>
                <a:cubicBezTo>
                  <a:pt x="40" y="4"/>
                  <a:pt x="40" y="5"/>
                  <a:pt x="40" y="5"/>
                </a:cubicBezTo>
                <a:cubicBezTo>
                  <a:pt x="40" y="5"/>
                  <a:pt x="40" y="6"/>
                  <a:pt x="40" y="6"/>
                </a:cubicBezTo>
                <a:cubicBezTo>
                  <a:pt x="40" y="7"/>
                  <a:pt x="41" y="8"/>
                  <a:pt x="41" y="10"/>
                </a:cubicBezTo>
                <a:cubicBezTo>
                  <a:pt x="40" y="11"/>
                  <a:pt x="39" y="11"/>
                  <a:pt x="39" y="10"/>
                </a:cubicBezTo>
                <a:cubicBezTo>
                  <a:pt x="38" y="10"/>
                  <a:pt x="38" y="9"/>
                  <a:pt x="38" y="9"/>
                </a:cubicBezTo>
                <a:cubicBezTo>
                  <a:pt x="38" y="9"/>
                  <a:pt x="38" y="8"/>
                  <a:pt x="38" y="7"/>
                </a:cubicBezTo>
                <a:cubicBezTo>
                  <a:pt x="37" y="8"/>
                  <a:pt x="37" y="8"/>
                  <a:pt x="37" y="9"/>
                </a:cubicBezTo>
                <a:cubicBezTo>
                  <a:pt x="37" y="9"/>
                  <a:pt x="37" y="10"/>
                  <a:pt x="37" y="11"/>
                </a:cubicBezTo>
                <a:cubicBezTo>
                  <a:pt x="38" y="12"/>
                  <a:pt x="39" y="12"/>
                  <a:pt x="40" y="13"/>
                </a:cubicBezTo>
                <a:cubicBezTo>
                  <a:pt x="40" y="13"/>
                  <a:pt x="40" y="14"/>
                  <a:pt x="40" y="14"/>
                </a:cubicBezTo>
                <a:cubicBezTo>
                  <a:pt x="40" y="14"/>
                  <a:pt x="40" y="14"/>
                  <a:pt x="39" y="15"/>
                </a:cubicBezTo>
                <a:cubicBezTo>
                  <a:pt x="39" y="15"/>
                  <a:pt x="39" y="15"/>
                  <a:pt x="38" y="15"/>
                </a:cubicBezTo>
                <a:cubicBezTo>
                  <a:pt x="38" y="15"/>
                  <a:pt x="37" y="15"/>
                  <a:pt x="37" y="14"/>
                </a:cubicBezTo>
                <a:cubicBezTo>
                  <a:pt x="37" y="14"/>
                  <a:pt x="37" y="13"/>
                  <a:pt x="37" y="13"/>
                </a:cubicBezTo>
                <a:cubicBezTo>
                  <a:pt x="36" y="13"/>
                  <a:pt x="36" y="14"/>
                  <a:pt x="36" y="14"/>
                </a:cubicBezTo>
                <a:cubicBezTo>
                  <a:pt x="36" y="15"/>
                  <a:pt x="36" y="15"/>
                  <a:pt x="37" y="16"/>
                </a:cubicBezTo>
                <a:cubicBezTo>
                  <a:pt x="37" y="17"/>
                  <a:pt x="37" y="17"/>
                  <a:pt x="37" y="18"/>
                </a:cubicBezTo>
                <a:cubicBezTo>
                  <a:pt x="37" y="18"/>
                  <a:pt x="37" y="19"/>
                  <a:pt x="37" y="19"/>
                </a:cubicBezTo>
                <a:cubicBezTo>
                  <a:pt x="37" y="19"/>
                  <a:pt x="37" y="20"/>
                  <a:pt x="36" y="20"/>
                </a:cubicBezTo>
                <a:cubicBezTo>
                  <a:pt x="36" y="21"/>
                  <a:pt x="36" y="22"/>
                  <a:pt x="36" y="23"/>
                </a:cubicBezTo>
                <a:cubicBezTo>
                  <a:pt x="37" y="24"/>
                  <a:pt x="36" y="24"/>
                  <a:pt x="35" y="25"/>
                </a:cubicBezTo>
                <a:cubicBezTo>
                  <a:pt x="35" y="25"/>
                  <a:pt x="34" y="26"/>
                  <a:pt x="34" y="26"/>
                </a:cubicBezTo>
                <a:cubicBezTo>
                  <a:pt x="34" y="26"/>
                  <a:pt x="34" y="27"/>
                  <a:pt x="34" y="27"/>
                </a:cubicBezTo>
                <a:cubicBezTo>
                  <a:pt x="34" y="27"/>
                  <a:pt x="34" y="28"/>
                  <a:pt x="34" y="28"/>
                </a:cubicBezTo>
                <a:cubicBezTo>
                  <a:pt x="33" y="29"/>
                  <a:pt x="33" y="28"/>
                  <a:pt x="33" y="28"/>
                </a:cubicBezTo>
                <a:cubicBezTo>
                  <a:pt x="32" y="27"/>
                  <a:pt x="33" y="26"/>
                  <a:pt x="32" y="26"/>
                </a:cubicBezTo>
                <a:cubicBezTo>
                  <a:pt x="32" y="26"/>
                  <a:pt x="30" y="26"/>
                  <a:pt x="30" y="27"/>
                </a:cubicBezTo>
                <a:cubicBezTo>
                  <a:pt x="30" y="28"/>
                  <a:pt x="31" y="28"/>
                  <a:pt x="30" y="29"/>
                </a:cubicBezTo>
                <a:cubicBezTo>
                  <a:pt x="30" y="29"/>
                  <a:pt x="29" y="29"/>
                  <a:pt x="29" y="29"/>
                </a:cubicBezTo>
                <a:cubicBezTo>
                  <a:pt x="29" y="29"/>
                  <a:pt x="28" y="30"/>
                  <a:pt x="28" y="30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33"/>
                  <a:pt x="27" y="32"/>
                  <a:pt x="26" y="32"/>
                </a:cubicBezTo>
                <a:cubicBezTo>
                  <a:pt x="25" y="32"/>
                  <a:pt x="25" y="31"/>
                  <a:pt x="24" y="31"/>
                </a:cubicBezTo>
                <a:cubicBezTo>
                  <a:pt x="24" y="32"/>
                  <a:pt x="24" y="32"/>
                  <a:pt x="24" y="32"/>
                </a:cubicBezTo>
                <a:cubicBezTo>
                  <a:pt x="24" y="33"/>
                  <a:pt x="26" y="34"/>
                  <a:pt x="26" y="34"/>
                </a:cubicBezTo>
                <a:cubicBezTo>
                  <a:pt x="27" y="34"/>
                  <a:pt x="28" y="34"/>
                  <a:pt x="28" y="34"/>
                </a:cubicBezTo>
                <a:cubicBezTo>
                  <a:pt x="28" y="35"/>
                  <a:pt x="28" y="35"/>
                  <a:pt x="27" y="35"/>
                </a:cubicBezTo>
                <a:cubicBezTo>
                  <a:pt x="27" y="35"/>
                  <a:pt x="26" y="35"/>
                  <a:pt x="26" y="35"/>
                </a:cubicBezTo>
                <a:cubicBezTo>
                  <a:pt x="25" y="35"/>
                  <a:pt x="25" y="35"/>
                  <a:pt x="24" y="35"/>
                </a:cubicBezTo>
                <a:cubicBezTo>
                  <a:pt x="24" y="35"/>
                  <a:pt x="23" y="36"/>
                  <a:pt x="24" y="36"/>
                </a:cubicBezTo>
                <a:cubicBezTo>
                  <a:pt x="24" y="37"/>
                  <a:pt x="25" y="37"/>
                  <a:pt x="26" y="38"/>
                </a:cubicBezTo>
                <a:cubicBezTo>
                  <a:pt x="26" y="38"/>
                  <a:pt x="26" y="40"/>
                  <a:pt x="26" y="40"/>
                </a:cubicBezTo>
                <a:cubicBezTo>
                  <a:pt x="25" y="41"/>
                  <a:pt x="24" y="40"/>
                  <a:pt x="23" y="41"/>
                </a:cubicBezTo>
                <a:cubicBezTo>
                  <a:pt x="23" y="41"/>
                  <a:pt x="22" y="41"/>
                  <a:pt x="23" y="41"/>
                </a:cubicBezTo>
                <a:cubicBezTo>
                  <a:pt x="23" y="42"/>
                  <a:pt x="23" y="42"/>
                  <a:pt x="23" y="42"/>
                </a:cubicBezTo>
                <a:cubicBezTo>
                  <a:pt x="23" y="43"/>
                  <a:pt x="23" y="43"/>
                  <a:pt x="22" y="42"/>
                </a:cubicBezTo>
                <a:cubicBezTo>
                  <a:pt x="22" y="42"/>
                  <a:pt x="22" y="42"/>
                  <a:pt x="22" y="42"/>
                </a:cubicBezTo>
                <a:cubicBezTo>
                  <a:pt x="22" y="42"/>
                  <a:pt x="22" y="42"/>
                  <a:pt x="22" y="42"/>
                </a:cubicBezTo>
                <a:cubicBezTo>
                  <a:pt x="21" y="42"/>
                  <a:pt x="20" y="41"/>
                  <a:pt x="19" y="41"/>
                </a:cubicBezTo>
                <a:cubicBezTo>
                  <a:pt x="19" y="42"/>
                  <a:pt x="19" y="42"/>
                  <a:pt x="19" y="42"/>
                </a:cubicBezTo>
                <a:cubicBezTo>
                  <a:pt x="19" y="43"/>
                  <a:pt x="19" y="43"/>
                  <a:pt x="19" y="43"/>
                </a:cubicBezTo>
                <a:cubicBezTo>
                  <a:pt x="19" y="43"/>
                  <a:pt x="19" y="43"/>
                  <a:pt x="20" y="44"/>
                </a:cubicBezTo>
                <a:cubicBezTo>
                  <a:pt x="20" y="44"/>
                  <a:pt x="20" y="44"/>
                  <a:pt x="20" y="44"/>
                </a:cubicBezTo>
                <a:cubicBezTo>
                  <a:pt x="21" y="44"/>
                  <a:pt x="21" y="44"/>
                  <a:pt x="21" y="44"/>
                </a:cubicBezTo>
                <a:cubicBezTo>
                  <a:pt x="21" y="44"/>
                  <a:pt x="21" y="44"/>
                  <a:pt x="21" y="45"/>
                </a:cubicBezTo>
                <a:cubicBezTo>
                  <a:pt x="21" y="45"/>
                  <a:pt x="21" y="45"/>
                  <a:pt x="21" y="46"/>
                </a:cubicBezTo>
                <a:cubicBezTo>
                  <a:pt x="21" y="46"/>
                  <a:pt x="20" y="46"/>
                  <a:pt x="20" y="47"/>
                </a:cubicBezTo>
                <a:cubicBezTo>
                  <a:pt x="20" y="47"/>
                  <a:pt x="20" y="47"/>
                  <a:pt x="20" y="48"/>
                </a:cubicBezTo>
                <a:cubicBezTo>
                  <a:pt x="20" y="48"/>
                  <a:pt x="20" y="48"/>
                  <a:pt x="20" y="49"/>
                </a:cubicBezTo>
                <a:cubicBezTo>
                  <a:pt x="20" y="49"/>
                  <a:pt x="21" y="49"/>
                  <a:pt x="21" y="49"/>
                </a:cubicBezTo>
                <a:cubicBezTo>
                  <a:pt x="21" y="50"/>
                  <a:pt x="21" y="50"/>
                  <a:pt x="22" y="50"/>
                </a:cubicBezTo>
                <a:cubicBezTo>
                  <a:pt x="22" y="51"/>
                  <a:pt x="22" y="51"/>
                  <a:pt x="22" y="51"/>
                </a:cubicBezTo>
                <a:cubicBezTo>
                  <a:pt x="21" y="51"/>
                  <a:pt x="21" y="51"/>
                  <a:pt x="21" y="51"/>
                </a:cubicBezTo>
                <a:cubicBezTo>
                  <a:pt x="20" y="51"/>
                  <a:pt x="20" y="51"/>
                  <a:pt x="20" y="51"/>
                </a:cubicBezTo>
                <a:cubicBezTo>
                  <a:pt x="19" y="50"/>
                  <a:pt x="18" y="51"/>
                  <a:pt x="17" y="51"/>
                </a:cubicBezTo>
                <a:cubicBezTo>
                  <a:pt x="17" y="51"/>
                  <a:pt x="17" y="52"/>
                  <a:pt x="17" y="52"/>
                </a:cubicBezTo>
                <a:cubicBezTo>
                  <a:pt x="17" y="52"/>
                  <a:pt x="17" y="53"/>
                  <a:pt x="17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19" y="53"/>
                  <a:pt x="19" y="53"/>
                  <a:pt x="20" y="54"/>
                </a:cubicBezTo>
                <a:cubicBezTo>
                  <a:pt x="20" y="54"/>
                  <a:pt x="21" y="54"/>
                  <a:pt x="21" y="55"/>
                </a:cubicBezTo>
                <a:cubicBezTo>
                  <a:pt x="21" y="55"/>
                  <a:pt x="20" y="56"/>
                  <a:pt x="19" y="55"/>
                </a:cubicBezTo>
                <a:cubicBezTo>
                  <a:pt x="19" y="55"/>
                  <a:pt x="19" y="55"/>
                  <a:pt x="18" y="55"/>
                </a:cubicBezTo>
                <a:cubicBezTo>
                  <a:pt x="18" y="55"/>
                  <a:pt x="18" y="55"/>
                  <a:pt x="17" y="54"/>
                </a:cubicBezTo>
                <a:cubicBezTo>
                  <a:pt x="17" y="54"/>
                  <a:pt x="17" y="53"/>
                  <a:pt x="16" y="53"/>
                </a:cubicBezTo>
                <a:cubicBezTo>
                  <a:pt x="15" y="53"/>
                  <a:pt x="14" y="55"/>
                  <a:pt x="15" y="55"/>
                </a:cubicBezTo>
                <a:cubicBezTo>
                  <a:pt x="15" y="56"/>
                  <a:pt x="16" y="56"/>
                  <a:pt x="16" y="57"/>
                </a:cubicBezTo>
                <a:cubicBezTo>
                  <a:pt x="16" y="57"/>
                  <a:pt x="17" y="57"/>
                  <a:pt x="17" y="58"/>
                </a:cubicBezTo>
                <a:cubicBezTo>
                  <a:pt x="17" y="58"/>
                  <a:pt x="16" y="58"/>
                  <a:pt x="16" y="59"/>
                </a:cubicBezTo>
                <a:cubicBezTo>
                  <a:pt x="15" y="59"/>
                  <a:pt x="15" y="59"/>
                  <a:pt x="14" y="59"/>
                </a:cubicBezTo>
                <a:cubicBezTo>
                  <a:pt x="14" y="60"/>
                  <a:pt x="14" y="60"/>
                  <a:pt x="14" y="61"/>
                </a:cubicBezTo>
                <a:cubicBezTo>
                  <a:pt x="14" y="61"/>
                  <a:pt x="15" y="61"/>
                  <a:pt x="15" y="61"/>
                </a:cubicBezTo>
                <a:cubicBezTo>
                  <a:pt x="15" y="62"/>
                  <a:pt x="15" y="62"/>
                  <a:pt x="15" y="62"/>
                </a:cubicBezTo>
                <a:cubicBezTo>
                  <a:pt x="16" y="63"/>
                  <a:pt x="15" y="63"/>
                  <a:pt x="15" y="63"/>
                </a:cubicBezTo>
                <a:cubicBezTo>
                  <a:pt x="14" y="63"/>
                  <a:pt x="13" y="64"/>
                  <a:pt x="14" y="64"/>
                </a:cubicBezTo>
                <a:cubicBezTo>
                  <a:pt x="14" y="65"/>
                  <a:pt x="15" y="64"/>
                  <a:pt x="16" y="64"/>
                </a:cubicBezTo>
                <a:cubicBezTo>
                  <a:pt x="16" y="64"/>
                  <a:pt x="17" y="64"/>
                  <a:pt x="17" y="64"/>
                </a:cubicBezTo>
                <a:cubicBezTo>
                  <a:pt x="17" y="65"/>
                  <a:pt x="16" y="65"/>
                  <a:pt x="16" y="65"/>
                </a:cubicBezTo>
                <a:cubicBezTo>
                  <a:pt x="16" y="66"/>
                  <a:pt x="15" y="66"/>
                  <a:pt x="15" y="66"/>
                </a:cubicBezTo>
                <a:cubicBezTo>
                  <a:pt x="15" y="67"/>
                  <a:pt x="16" y="67"/>
                  <a:pt x="16" y="67"/>
                </a:cubicBezTo>
                <a:cubicBezTo>
                  <a:pt x="17" y="67"/>
                  <a:pt x="17" y="67"/>
                  <a:pt x="17" y="67"/>
                </a:cubicBezTo>
                <a:cubicBezTo>
                  <a:pt x="17" y="66"/>
                  <a:pt x="18" y="66"/>
                  <a:pt x="18" y="66"/>
                </a:cubicBezTo>
                <a:cubicBezTo>
                  <a:pt x="18" y="65"/>
                  <a:pt x="18" y="65"/>
                  <a:pt x="18" y="65"/>
                </a:cubicBezTo>
                <a:cubicBezTo>
                  <a:pt x="18" y="64"/>
                  <a:pt x="19" y="64"/>
                  <a:pt x="19" y="64"/>
                </a:cubicBezTo>
                <a:cubicBezTo>
                  <a:pt x="19" y="64"/>
                  <a:pt x="19" y="65"/>
                  <a:pt x="19" y="65"/>
                </a:cubicBezTo>
                <a:cubicBezTo>
                  <a:pt x="19" y="66"/>
                  <a:pt x="18" y="67"/>
                  <a:pt x="17" y="68"/>
                </a:cubicBezTo>
                <a:cubicBezTo>
                  <a:pt x="17" y="68"/>
                  <a:pt x="17" y="68"/>
                  <a:pt x="17" y="69"/>
                </a:cubicBezTo>
                <a:cubicBezTo>
                  <a:pt x="17" y="70"/>
                  <a:pt x="17" y="71"/>
                  <a:pt x="17" y="72"/>
                </a:cubicBezTo>
                <a:cubicBezTo>
                  <a:pt x="17" y="72"/>
                  <a:pt x="18" y="72"/>
                  <a:pt x="18" y="72"/>
                </a:cubicBezTo>
                <a:cubicBezTo>
                  <a:pt x="18" y="72"/>
                  <a:pt x="18" y="71"/>
                  <a:pt x="18" y="71"/>
                </a:cubicBezTo>
                <a:cubicBezTo>
                  <a:pt x="19" y="71"/>
                  <a:pt x="19" y="71"/>
                  <a:pt x="19" y="71"/>
                </a:cubicBezTo>
                <a:cubicBezTo>
                  <a:pt x="20" y="72"/>
                  <a:pt x="20" y="72"/>
                  <a:pt x="20" y="72"/>
                </a:cubicBezTo>
                <a:cubicBezTo>
                  <a:pt x="20" y="73"/>
                  <a:pt x="19" y="73"/>
                  <a:pt x="19" y="73"/>
                </a:cubicBezTo>
                <a:cubicBezTo>
                  <a:pt x="18" y="74"/>
                  <a:pt x="18" y="74"/>
                  <a:pt x="18" y="75"/>
                </a:cubicBezTo>
                <a:cubicBezTo>
                  <a:pt x="19" y="75"/>
                  <a:pt x="19" y="76"/>
                  <a:pt x="19" y="76"/>
                </a:cubicBezTo>
                <a:cubicBezTo>
                  <a:pt x="19" y="76"/>
                  <a:pt x="19" y="77"/>
                  <a:pt x="19" y="77"/>
                </a:cubicBezTo>
                <a:cubicBezTo>
                  <a:pt x="18" y="77"/>
                  <a:pt x="17" y="77"/>
                  <a:pt x="17" y="77"/>
                </a:cubicBezTo>
                <a:cubicBezTo>
                  <a:pt x="16" y="77"/>
                  <a:pt x="15" y="78"/>
                  <a:pt x="15" y="78"/>
                </a:cubicBezTo>
                <a:cubicBezTo>
                  <a:pt x="15" y="78"/>
                  <a:pt x="15" y="79"/>
                  <a:pt x="15" y="79"/>
                </a:cubicBezTo>
                <a:cubicBezTo>
                  <a:pt x="16" y="79"/>
                  <a:pt x="16" y="79"/>
                  <a:pt x="16" y="80"/>
                </a:cubicBezTo>
                <a:cubicBezTo>
                  <a:pt x="16" y="80"/>
                  <a:pt x="17" y="80"/>
                  <a:pt x="17" y="80"/>
                </a:cubicBezTo>
                <a:cubicBezTo>
                  <a:pt x="18" y="81"/>
                  <a:pt x="17" y="82"/>
                  <a:pt x="16" y="82"/>
                </a:cubicBezTo>
                <a:cubicBezTo>
                  <a:pt x="15" y="84"/>
                  <a:pt x="15" y="84"/>
                  <a:pt x="15" y="84"/>
                </a:cubicBezTo>
                <a:cubicBezTo>
                  <a:pt x="15" y="84"/>
                  <a:pt x="14" y="85"/>
                  <a:pt x="14" y="85"/>
                </a:cubicBezTo>
                <a:cubicBezTo>
                  <a:pt x="14" y="86"/>
                  <a:pt x="15" y="87"/>
                  <a:pt x="16" y="87"/>
                </a:cubicBezTo>
                <a:cubicBezTo>
                  <a:pt x="17" y="86"/>
                  <a:pt x="17" y="86"/>
                  <a:pt x="17" y="85"/>
                </a:cubicBezTo>
                <a:cubicBezTo>
                  <a:pt x="17" y="85"/>
                  <a:pt x="17" y="85"/>
                  <a:pt x="17" y="84"/>
                </a:cubicBezTo>
                <a:cubicBezTo>
                  <a:pt x="17" y="84"/>
                  <a:pt x="17" y="83"/>
                  <a:pt x="17" y="83"/>
                </a:cubicBezTo>
                <a:cubicBezTo>
                  <a:pt x="18" y="83"/>
                  <a:pt x="18" y="84"/>
                  <a:pt x="18" y="84"/>
                </a:cubicBezTo>
                <a:cubicBezTo>
                  <a:pt x="19" y="85"/>
                  <a:pt x="19" y="85"/>
                  <a:pt x="19" y="86"/>
                </a:cubicBezTo>
                <a:cubicBezTo>
                  <a:pt x="20" y="88"/>
                  <a:pt x="18" y="89"/>
                  <a:pt x="17" y="89"/>
                </a:cubicBezTo>
                <a:cubicBezTo>
                  <a:pt x="17" y="90"/>
                  <a:pt x="16" y="90"/>
                  <a:pt x="16" y="90"/>
                </a:cubicBezTo>
                <a:cubicBezTo>
                  <a:pt x="16" y="90"/>
                  <a:pt x="16" y="91"/>
                  <a:pt x="16" y="91"/>
                </a:cubicBezTo>
                <a:cubicBezTo>
                  <a:pt x="16" y="91"/>
                  <a:pt x="16" y="92"/>
                  <a:pt x="16" y="92"/>
                </a:cubicBezTo>
                <a:cubicBezTo>
                  <a:pt x="16" y="92"/>
                  <a:pt x="16" y="93"/>
                  <a:pt x="16" y="93"/>
                </a:cubicBezTo>
                <a:cubicBezTo>
                  <a:pt x="17" y="94"/>
                  <a:pt x="18" y="94"/>
                  <a:pt x="19" y="94"/>
                </a:cubicBezTo>
                <a:cubicBezTo>
                  <a:pt x="20" y="94"/>
                  <a:pt x="20" y="94"/>
                  <a:pt x="19" y="95"/>
                </a:cubicBezTo>
                <a:cubicBezTo>
                  <a:pt x="19" y="95"/>
                  <a:pt x="18" y="96"/>
                  <a:pt x="18" y="96"/>
                </a:cubicBezTo>
                <a:cubicBezTo>
                  <a:pt x="18" y="97"/>
                  <a:pt x="17" y="98"/>
                  <a:pt x="17" y="99"/>
                </a:cubicBezTo>
                <a:cubicBezTo>
                  <a:pt x="17" y="99"/>
                  <a:pt x="17" y="100"/>
                  <a:pt x="17" y="100"/>
                </a:cubicBezTo>
                <a:cubicBezTo>
                  <a:pt x="18" y="100"/>
                  <a:pt x="19" y="99"/>
                  <a:pt x="19" y="99"/>
                </a:cubicBezTo>
                <a:cubicBezTo>
                  <a:pt x="20" y="98"/>
                  <a:pt x="20" y="98"/>
                  <a:pt x="21" y="98"/>
                </a:cubicBezTo>
                <a:cubicBezTo>
                  <a:pt x="22" y="98"/>
                  <a:pt x="22" y="98"/>
                  <a:pt x="21" y="99"/>
                </a:cubicBezTo>
                <a:cubicBezTo>
                  <a:pt x="21" y="100"/>
                  <a:pt x="20" y="100"/>
                  <a:pt x="19" y="101"/>
                </a:cubicBezTo>
                <a:cubicBezTo>
                  <a:pt x="19" y="101"/>
                  <a:pt x="20" y="101"/>
                  <a:pt x="20" y="102"/>
                </a:cubicBezTo>
                <a:cubicBezTo>
                  <a:pt x="20" y="102"/>
                  <a:pt x="20" y="102"/>
                  <a:pt x="20" y="102"/>
                </a:cubicBezTo>
                <a:cubicBezTo>
                  <a:pt x="21" y="102"/>
                  <a:pt x="22" y="103"/>
                  <a:pt x="22" y="104"/>
                </a:cubicBezTo>
                <a:cubicBezTo>
                  <a:pt x="22" y="104"/>
                  <a:pt x="20" y="103"/>
                  <a:pt x="20" y="103"/>
                </a:cubicBezTo>
                <a:cubicBezTo>
                  <a:pt x="19" y="103"/>
                  <a:pt x="19" y="102"/>
                  <a:pt x="19" y="102"/>
                </a:cubicBezTo>
                <a:cubicBezTo>
                  <a:pt x="18" y="101"/>
                  <a:pt x="18" y="102"/>
                  <a:pt x="18" y="102"/>
                </a:cubicBezTo>
                <a:cubicBezTo>
                  <a:pt x="18" y="103"/>
                  <a:pt x="18" y="103"/>
                  <a:pt x="18" y="104"/>
                </a:cubicBezTo>
                <a:cubicBezTo>
                  <a:pt x="18" y="104"/>
                  <a:pt x="18" y="105"/>
                  <a:pt x="18" y="105"/>
                </a:cubicBezTo>
                <a:cubicBezTo>
                  <a:pt x="19" y="105"/>
                  <a:pt x="19" y="106"/>
                  <a:pt x="20" y="106"/>
                </a:cubicBezTo>
                <a:cubicBezTo>
                  <a:pt x="20" y="106"/>
                  <a:pt x="21" y="106"/>
                  <a:pt x="21" y="106"/>
                </a:cubicBezTo>
                <a:cubicBezTo>
                  <a:pt x="22" y="106"/>
                  <a:pt x="22" y="106"/>
                  <a:pt x="23" y="106"/>
                </a:cubicBezTo>
                <a:cubicBezTo>
                  <a:pt x="23" y="107"/>
                  <a:pt x="22" y="108"/>
                  <a:pt x="22" y="109"/>
                </a:cubicBezTo>
                <a:cubicBezTo>
                  <a:pt x="22" y="110"/>
                  <a:pt x="24" y="110"/>
                  <a:pt x="24" y="110"/>
                </a:cubicBezTo>
                <a:cubicBezTo>
                  <a:pt x="25" y="110"/>
                  <a:pt x="25" y="109"/>
                  <a:pt x="26" y="109"/>
                </a:cubicBezTo>
                <a:cubicBezTo>
                  <a:pt x="26" y="110"/>
                  <a:pt x="26" y="111"/>
                  <a:pt x="25" y="111"/>
                </a:cubicBezTo>
                <a:cubicBezTo>
                  <a:pt x="25" y="111"/>
                  <a:pt x="23" y="112"/>
                  <a:pt x="23" y="112"/>
                </a:cubicBezTo>
                <a:cubicBezTo>
                  <a:pt x="22" y="112"/>
                  <a:pt x="22" y="113"/>
                  <a:pt x="22" y="114"/>
                </a:cubicBezTo>
                <a:cubicBezTo>
                  <a:pt x="22" y="114"/>
                  <a:pt x="23" y="116"/>
                  <a:pt x="22" y="116"/>
                </a:cubicBezTo>
                <a:cubicBezTo>
                  <a:pt x="21" y="116"/>
                  <a:pt x="21" y="115"/>
                  <a:pt x="21" y="115"/>
                </a:cubicBezTo>
                <a:cubicBezTo>
                  <a:pt x="21" y="115"/>
                  <a:pt x="21" y="115"/>
                  <a:pt x="21" y="114"/>
                </a:cubicBezTo>
                <a:cubicBezTo>
                  <a:pt x="20" y="114"/>
                  <a:pt x="19" y="114"/>
                  <a:pt x="19" y="115"/>
                </a:cubicBezTo>
                <a:cubicBezTo>
                  <a:pt x="18" y="115"/>
                  <a:pt x="18" y="115"/>
                  <a:pt x="17" y="115"/>
                </a:cubicBezTo>
                <a:cubicBezTo>
                  <a:pt x="16" y="115"/>
                  <a:pt x="16" y="116"/>
                  <a:pt x="16" y="116"/>
                </a:cubicBezTo>
                <a:cubicBezTo>
                  <a:pt x="16" y="117"/>
                  <a:pt x="16" y="118"/>
                  <a:pt x="17" y="118"/>
                </a:cubicBezTo>
                <a:cubicBezTo>
                  <a:pt x="17" y="119"/>
                  <a:pt x="18" y="119"/>
                  <a:pt x="19" y="119"/>
                </a:cubicBezTo>
                <a:cubicBezTo>
                  <a:pt x="19" y="118"/>
                  <a:pt x="20" y="118"/>
                  <a:pt x="20" y="118"/>
                </a:cubicBezTo>
                <a:cubicBezTo>
                  <a:pt x="20" y="118"/>
                  <a:pt x="20" y="117"/>
                  <a:pt x="20" y="117"/>
                </a:cubicBezTo>
                <a:cubicBezTo>
                  <a:pt x="20" y="117"/>
                  <a:pt x="20" y="117"/>
                  <a:pt x="20" y="116"/>
                </a:cubicBezTo>
                <a:cubicBezTo>
                  <a:pt x="20" y="116"/>
                  <a:pt x="21" y="117"/>
                  <a:pt x="21" y="117"/>
                </a:cubicBezTo>
                <a:cubicBezTo>
                  <a:pt x="21" y="118"/>
                  <a:pt x="21" y="118"/>
                  <a:pt x="21" y="119"/>
                </a:cubicBezTo>
                <a:cubicBezTo>
                  <a:pt x="21" y="119"/>
                  <a:pt x="21" y="119"/>
                  <a:pt x="21" y="119"/>
                </a:cubicBezTo>
                <a:cubicBezTo>
                  <a:pt x="20" y="119"/>
                  <a:pt x="20" y="120"/>
                  <a:pt x="20" y="120"/>
                </a:cubicBezTo>
                <a:cubicBezTo>
                  <a:pt x="20" y="120"/>
                  <a:pt x="19" y="121"/>
                  <a:pt x="19" y="121"/>
                </a:cubicBezTo>
                <a:cubicBezTo>
                  <a:pt x="19" y="122"/>
                  <a:pt x="18" y="121"/>
                  <a:pt x="18" y="121"/>
                </a:cubicBezTo>
                <a:cubicBezTo>
                  <a:pt x="17" y="121"/>
                  <a:pt x="17" y="121"/>
                  <a:pt x="17" y="120"/>
                </a:cubicBezTo>
                <a:cubicBezTo>
                  <a:pt x="17" y="120"/>
                  <a:pt x="16" y="120"/>
                  <a:pt x="16" y="121"/>
                </a:cubicBezTo>
                <a:cubicBezTo>
                  <a:pt x="16" y="121"/>
                  <a:pt x="17" y="121"/>
                  <a:pt x="18" y="122"/>
                </a:cubicBezTo>
                <a:cubicBezTo>
                  <a:pt x="18" y="122"/>
                  <a:pt x="18" y="122"/>
                  <a:pt x="18" y="123"/>
                </a:cubicBezTo>
                <a:cubicBezTo>
                  <a:pt x="19" y="124"/>
                  <a:pt x="18" y="124"/>
                  <a:pt x="17" y="124"/>
                </a:cubicBezTo>
                <a:cubicBezTo>
                  <a:pt x="16" y="125"/>
                  <a:pt x="15" y="126"/>
                  <a:pt x="15" y="127"/>
                </a:cubicBezTo>
                <a:cubicBezTo>
                  <a:pt x="15" y="127"/>
                  <a:pt x="15" y="127"/>
                  <a:pt x="14" y="128"/>
                </a:cubicBezTo>
                <a:cubicBezTo>
                  <a:pt x="14" y="128"/>
                  <a:pt x="13" y="128"/>
                  <a:pt x="13" y="129"/>
                </a:cubicBezTo>
                <a:cubicBezTo>
                  <a:pt x="13" y="129"/>
                  <a:pt x="13" y="130"/>
                  <a:pt x="13" y="131"/>
                </a:cubicBezTo>
                <a:cubicBezTo>
                  <a:pt x="12" y="131"/>
                  <a:pt x="12" y="131"/>
                  <a:pt x="12" y="131"/>
                </a:cubicBezTo>
                <a:cubicBezTo>
                  <a:pt x="11" y="131"/>
                  <a:pt x="12" y="130"/>
                  <a:pt x="11" y="130"/>
                </a:cubicBezTo>
                <a:cubicBezTo>
                  <a:pt x="11" y="129"/>
                  <a:pt x="10" y="130"/>
                  <a:pt x="10" y="131"/>
                </a:cubicBezTo>
                <a:cubicBezTo>
                  <a:pt x="10" y="131"/>
                  <a:pt x="9" y="132"/>
                  <a:pt x="10" y="133"/>
                </a:cubicBezTo>
                <a:cubicBezTo>
                  <a:pt x="10" y="133"/>
                  <a:pt x="11" y="133"/>
                  <a:pt x="11" y="133"/>
                </a:cubicBezTo>
                <a:cubicBezTo>
                  <a:pt x="11" y="133"/>
                  <a:pt x="12" y="133"/>
                  <a:pt x="12" y="133"/>
                </a:cubicBezTo>
                <a:cubicBezTo>
                  <a:pt x="12" y="134"/>
                  <a:pt x="11" y="134"/>
                  <a:pt x="11" y="134"/>
                </a:cubicBezTo>
                <a:cubicBezTo>
                  <a:pt x="11" y="134"/>
                  <a:pt x="10" y="134"/>
                  <a:pt x="10" y="134"/>
                </a:cubicBezTo>
                <a:cubicBezTo>
                  <a:pt x="10" y="134"/>
                  <a:pt x="10" y="134"/>
                  <a:pt x="9" y="134"/>
                </a:cubicBezTo>
                <a:cubicBezTo>
                  <a:pt x="9" y="135"/>
                  <a:pt x="9" y="135"/>
                  <a:pt x="9" y="135"/>
                </a:cubicBezTo>
                <a:cubicBezTo>
                  <a:pt x="8" y="137"/>
                  <a:pt x="8" y="139"/>
                  <a:pt x="8" y="140"/>
                </a:cubicBezTo>
                <a:cubicBezTo>
                  <a:pt x="7" y="140"/>
                  <a:pt x="7" y="139"/>
                  <a:pt x="7" y="139"/>
                </a:cubicBezTo>
                <a:cubicBezTo>
                  <a:pt x="6" y="139"/>
                  <a:pt x="5" y="139"/>
                  <a:pt x="5" y="139"/>
                </a:cubicBezTo>
                <a:cubicBezTo>
                  <a:pt x="4" y="139"/>
                  <a:pt x="4" y="139"/>
                  <a:pt x="4" y="139"/>
                </a:cubicBezTo>
                <a:cubicBezTo>
                  <a:pt x="5" y="140"/>
                  <a:pt x="5" y="140"/>
                  <a:pt x="6" y="140"/>
                </a:cubicBezTo>
                <a:cubicBezTo>
                  <a:pt x="6" y="140"/>
                  <a:pt x="7" y="140"/>
                  <a:pt x="7" y="141"/>
                </a:cubicBezTo>
                <a:cubicBezTo>
                  <a:pt x="7" y="141"/>
                  <a:pt x="7" y="141"/>
                  <a:pt x="7" y="141"/>
                </a:cubicBezTo>
                <a:cubicBezTo>
                  <a:pt x="6" y="142"/>
                  <a:pt x="6" y="142"/>
                  <a:pt x="5" y="142"/>
                </a:cubicBezTo>
                <a:cubicBezTo>
                  <a:pt x="5" y="143"/>
                  <a:pt x="3" y="143"/>
                  <a:pt x="4" y="144"/>
                </a:cubicBezTo>
                <a:cubicBezTo>
                  <a:pt x="4" y="144"/>
                  <a:pt x="4" y="144"/>
                  <a:pt x="4" y="145"/>
                </a:cubicBezTo>
                <a:cubicBezTo>
                  <a:pt x="4" y="145"/>
                  <a:pt x="4" y="145"/>
                  <a:pt x="4" y="146"/>
                </a:cubicBezTo>
                <a:cubicBezTo>
                  <a:pt x="5" y="146"/>
                  <a:pt x="5" y="147"/>
                  <a:pt x="5" y="148"/>
                </a:cubicBezTo>
                <a:cubicBezTo>
                  <a:pt x="5" y="148"/>
                  <a:pt x="5" y="149"/>
                  <a:pt x="5" y="149"/>
                </a:cubicBezTo>
                <a:cubicBezTo>
                  <a:pt x="4" y="150"/>
                  <a:pt x="4" y="149"/>
                  <a:pt x="3" y="148"/>
                </a:cubicBezTo>
                <a:cubicBezTo>
                  <a:pt x="3" y="148"/>
                  <a:pt x="4" y="147"/>
                  <a:pt x="3" y="147"/>
                </a:cubicBezTo>
                <a:cubicBezTo>
                  <a:pt x="3" y="147"/>
                  <a:pt x="2" y="147"/>
                  <a:pt x="2" y="147"/>
                </a:cubicBezTo>
                <a:cubicBezTo>
                  <a:pt x="2" y="148"/>
                  <a:pt x="2" y="149"/>
                  <a:pt x="3" y="150"/>
                </a:cubicBezTo>
                <a:cubicBezTo>
                  <a:pt x="3" y="151"/>
                  <a:pt x="4" y="153"/>
                  <a:pt x="4" y="153"/>
                </a:cubicBezTo>
                <a:cubicBezTo>
                  <a:pt x="4" y="153"/>
                  <a:pt x="3" y="153"/>
                  <a:pt x="2" y="153"/>
                </a:cubicBezTo>
                <a:cubicBezTo>
                  <a:pt x="1" y="154"/>
                  <a:pt x="0" y="154"/>
                  <a:pt x="0" y="154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5"/>
                  <a:pt x="0" y="155"/>
                  <a:pt x="1" y="156"/>
                </a:cubicBezTo>
                <a:cubicBezTo>
                  <a:pt x="1" y="156"/>
                  <a:pt x="1" y="157"/>
                  <a:pt x="1" y="157"/>
                </a:cubicBezTo>
                <a:cubicBezTo>
                  <a:pt x="1" y="157"/>
                  <a:pt x="0" y="158"/>
                  <a:pt x="0" y="159"/>
                </a:cubicBezTo>
                <a:cubicBezTo>
                  <a:pt x="0" y="159"/>
                  <a:pt x="0" y="160"/>
                  <a:pt x="0" y="160"/>
                </a:cubicBezTo>
                <a:cubicBezTo>
                  <a:pt x="0" y="160"/>
                  <a:pt x="2" y="161"/>
                  <a:pt x="2" y="162"/>
                </a:cubicBezTo>
                <a:cubicBezTo>
                  <a:pt x="2" y="162"/>
                  <a:pt x="1" y="163"/>
                  <a:pt x="1" y="163"/>
                </a:cubicBezTo>
                <a:cubicBezTo>
                  <a:pt x="1" y="163"/>
                  <a:pt x="0" y="164"/>
                  <a:pt x="0" y="164"/>
                </a:cubicBezTo>
                <a:cubicBezTo>
                  <a:pt x="65" y="164"/>
                  <a:pt x="65" y="164"/>
                  <a:pt x="65" y="164"/>
                </a:cubicBezTo>
                <a:cubicBezTo>
                  <a:pt x="65" y="164"/>
                  <a:pt x="65" y="167"/>
                  <a:pt x="65" y="167"/>
                </a:cubicBezTo>
                <a:cubicBezTo>
                  <a:pt x="65" y="167"/>
                  <a:pt x="62" y="177"/>
                  <a:pt x="62" y="177"/>
                </a:cubicBezTo>
                <a:cubicBezTo>
                  <a:pt x="62" y="178"/>
                  <a:pt x="62" y="178"/>
                  <a:pt x="62" y="178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67" y="186"/>
                  <a:pt x="69" y="195"/>
                  <a:pt x="69" y="195"/>
                </a:cubicBezTo>
                <a:cubicBezTo>
                  <a:pt x="70" y="195"/>
                  <a:pt x="72" y="197"/>
                  <a:pt x="72" y="197"/>
                </a:cubicBezTo>
                <a:cubicBezTo>
                  <a:pt x="74" y="197"/>
                  <a:pt x="74" y="197"/>
                  <a:pt x="74" y="197"/>
                </a:cubicBezTo>
                <a:cubicBezTo>
                  <a:pt x="74" y="197"/>
                  <a:pt x="74" y="197"/>
                  <a:pt x="74" y="197"/>
                </a:cubicBezTo>
                <a:cubicBezTo>
                  <a:pt x="75" y="197"/>
                  <a:pt x="75" y="197"/>
                  <a:pt x="75" y="197"/>
                </a:cubicBezTo>
                <a:cubicBezTo>
                  <a:pt x="76" y="197"/>
                  <a:pt x="76" y="196"/>
                  <a:pt x="76" y="196"/>
                </a:cubicBezTo>
                <a:cubicBezTo>
                  <a:pt x="77" y="196"/>
                  <a:pt x="77" y="195"/>
                  <a:pt x="77" y="195"/>
                </a:cubicBezTo>
                <a:cubicBezTo>
                  <a:pt x="78" y="195"/>
                  <a:pt x="78" y="194"/>
                  <a:pt x="78" y="194"/>
                </a:cubicBezTo>
                <a:cubicBezTo>
                  <a:pt x="79" y="193"/>
                  <a:pt x="79" y="192"/>
                  <a:pt x="79" y="190"/>
                </a:cubicBezTo>
                <a:cubicBezTo>
                  <a:pt x="79" y="190"/>
                  <a:pt x="79" y="190"/>
                  <a:pt x="79" y="190"/>
                </a:cubicBezTo>
                <a:cubicBezTo>
                  <a:pt x="80" y="190"/>
                  <a:pt x="81" y="190"/>
                  <a:pt x="81" y="191"/>
                </a:cubicBezTo>
                <a:cubicBezTo>
                  <a:pt x="82" y="191"/>
                  <a:pt x="82" y="191"/>
                  <a:pt x="81" y="192"/>
                </a:cubicBezTo>
                <a:cubicBezTo>
                  <a:pt x="81" y="192"/>
                  <a:pt x="81" y="192"/>
                  <a:pt x="81" y="193"/>
                </a:cubicBezTo>
                <a:cubicBezTo>
                  <a:pt x="82" y="192"/>
                  <a:pt x="82" y="192"/>
                  <a:pt x="83" y="192"/>
                </a:cubicBezTo>
                <a:cubicBezTo>
                  <a:pt x="84" y="192"/>
                  <a:pt x="85" y="191"/>
                  <a:pt x="86" y="191"/>
                </a:cubicBezTo>
                <a:cubicBezTo>
                  <a:pt x="87" y="191"/>
                  <a:pt x="88" y="190"/>
                  <a:pt x="89" y="190"/>
                </a:cubicBezTo>
                <a:cubicBezTo>
                  <a:pt x="89" y="190"/>
                  <a:pt x="90" y="189"/>
                  <a:pt x="91" y="189"/>
                </a:cubicBezTo>
                <a:cubicBezTo>
                  <a:pt x="92" y="189"/>
                  <a:pt x="94" y="189"/>
                  <a:pt x="95" y="189"/>
                </a:cubicBezTo>
                <a:cubicBezTo>
                  <a:pt x="96" y="189"/>
                  <a:pt x="97" y="189"/>
                  <a:pt x="97" y="189"/>
                </a:cubicBezTo>
                <a:cubicBezTo>
                  <a:pt x="98" y="189"/>
                  <a:pt x="98" y="190"/>
                  <a:pt x="98" y="190"/>
                </a:cubicBezTo>
                <a:cubicBezTo>
                  <a:pt x="99" y="190"/>
                  <a:pt x="99" y="190"/>
                  <a:pt x="99" y="190"/>
                </a:cubicBezTo>
                <a:cubicBezTo>
                  <a:pt x="99" y="190"/>
                  <a:pt x="100" y="190"/>
                  <a:pt x="100" y="190"/>
                </a:cubicBezTo>
                <a:cubicBezTo>
                  <a:pt x="100" y="190"/>
                  <a:pt x="100" y="190"/>
                  <a:pt x="100" y="189"/>
                </a:cubicBezTo>
                <a:cubicBezTo>
                  <a:pt x="101" y="189"/>
                  <a:pt x="102" y="189"/>
                  <a:pt x="103" y="189"/>
                </a:cubicBezTo>
                <a:cubicBezTo>
                  <a:pt x="103" y="190"/>
                  <a:pt x="104" y="190"/>
                  <a:pt x="104" y="190"/>
                </a:cubicBezTo>
                <a:cubicBezTo>
                  <a:pt x="105" y="190"/>
                  <a:pt x="105" y="190"/>
                  <a:pt x="105" y="189"/>
                </a:cubicBezTo>
                <a:cubicBezTo>
                  <a:pt x="106" y="189"/>
                  <a:pt x="105" y="189"/>
                  <a:pt x="105" y="188"/>
                </a:cubicBezTo>
                <a:cubicBezTo>
                  <a:pt x="104" y="188"/>
                  <a:pt x="104" y="188"/>
                  <a:pt x="104" y="187"/>
                </a:cubicBezTo>
                <a:cubicBezTo>
                  <a:pt x="104" y="187"/>
                  <a:pt x="104" y="186"/>
                  <a:pt x="105" y="186"/>
                </a:cubicBezTo>
                <a:cubicBezTo>
                  <a:pt x="105" y="185"/>
                  <a:pt x="106" y="186"/>
                  <a:pt x="106" y="186"/>
                </a:cubicBezTo>
                <a:cubicBezTo>
                  <a:pt x="106" y="186"/>
                  <a:pt x="106" y="187"/>
                  <a:pt x="106" y="188"/>
                </a:cubicBezTo>
                <a:cubicBezTo>
                  <a:pt x="106" y="188"/>
                  <a:pt x="106" y="189"/>
                  <a:pt x="107" y="189"/>
                </a:cubicBezTo>
                <a:cubicBezTo>
                  <a:pt x="107" y="190"/>
                  <a:pt x="107" y="190"/>
                  <a:pt x="107" y="190"/>
                </a:cubicBezTo>
                <a:cubicBezTo>
                  <a:pt x="107" y="191"/>
                  <a:pt x="108" y="191"/>
                  <a:pt x="108" y="191"/>
                </a:cubicBezTo>
                <a:cubicBezTo>
                  <a:pt x="109" y="191"/>
                  <a:pt x="109" y="191"/>
                  <a:pt x="110" y="191"/>
                </a:cubicBezTo>
                <a:cubicBezTo>
                  <a:pt x="110" y="191"/>
                  <a:pt x="111" y="190"/>
                  <a:pt x="111" y="190"/>
                </a:cubicBezTo>
                <a:cubicBezTo>
                  <a:pt x="111" y="190"/>
                  <a:pt x="112" y="190"/>
                  <a:pt x="112" y="189"/>
                </a:cubicBezTo>
                <a:cubicBezTo>
                  <a:pt x="109" y="126"/>
                  <a:pt x="109" y="126"/>
                  <a:pt x="109" y="126"/>
                </a:cubicBezTo>
                <a:lnTo>
                  <a:pt x="122" y="4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7" name="Freeform 35">
            <a:extLst>
              <a:ext uri="{FF2B5EF4-FFF2-40B4-BE49-F238E27FC236}">
                <a16:creationId xmlns:a16="http://schemas.microsoft.com/office/drawing/2014/main" id="{6B9F62BD-C416-4D67-B90F-86C23CB9BECC}"/>
              </a:ext>
            </a:extLst>
          </p:cNvPr>
          <p:cNvSpPr>
            <a:spLocks/>
          </p:cNvSpPr>
          <p:nvPr/>
        </p:nvSpPr>
        <p:spPr bwMode="auto">
          <a:xfrm>
            <a:off x="7760595" y="1178697"/>
            <a:ext cx="1044193" cy="1174717"/>
          </a:xfrm>
          <a:custGeom>
            <a:avLst/>
            <a:gdLst>
              <a:gd name="T0" fmla="*/ 15 w 264"/>
              <a:gd name="T1" fmla="*/ 190 h 296"/>
              <a:gd name="T2" fmla="*/ 15 w 264"/>
              <a:gd name="T3" fmla="*/ 197 h 296"/>
              <a:gd name="T4" fmla="*/ 25 w 264"/>
              <a:gd name="T5" fmla="*/ 206 h 296"/>
              <a:gd name="T6" fmla="*/ 207 w 264"/>
              <a:gd name="T7" fmla="*/ 295 h 296"/>
              <a:gd name="T8" fmla="*/ 206 w 264"/>
              <a:gd name="T9" fmla="*/ 284 h 296"/>
              <a:gd name="T10" fmla="*/ 200 w 264"/>
              <a:gd name="T11" fmla="*/ 272 h 296"/>
              <a:gd name="T12" fmla="*/ 188 w 264"/>
              <a:gd name="T13" fmla="*/ 264 h 296"/>
              <a:gd name="T14" fmla="*/ 181 w 264"/>
              <a:gd name="T15" fmla="*/ 253 h 296"/>
              <a:gd name="T16" fmla="*/ 169 w 264"/>
              <a:gd name="T17" fmla="*/ 246 h 296"/>
              <a:gd name="T18" fmla="*/ 160 w 264"/>
              <a:gd name="T19" fmla="*/ 243 h 296"/>
              <a:gd name="T20" fmla="*/ 153 w 264"/>
              <a:gd name="T21" fmla="*/ 231 h 296"/>
              <a:gd name="T22" fmla="*/ 153 w 264"/>
              <a:gd name="T23" fmla="*/ 220 h 296"/>
              <a:gd name="T24" fmla="*/ 154 w 264"/>
              <a:gd name="T25" fmla="*/ 213 h 296"/>
              <a:gd name="T26" fmla="*/ 158 w 264"/>
              <a:gd name="T27" fmla="*/ 203 h 296"/>
              <a:gd name="T28" fmla="*/ 150 w 264"/>
              <a:gd name="T29" fmla="*/ 195 h 296"/>
              <a:gd name="T30" fmla="*/ 153 w 264"/>
              <a:gd name="T31" fmla="*/ 186 h 296"/>
              <a:gd name="T32" fmla="*/ 160 w 264"/>
              <a:gd name="T33" fmla="*/ 177 h 296"/>
              <a:gd name="T34" fmla="*/ 166 w 264"/>
              <a:gd name="T35" fmla="*/ 173 h 296"/>
              <a:gd name="T36" fmla="*/ 170 w 264"/>
              <a:gd name="T37" fmla="*/ 169 h 296"/>
              <a:gd name="T38" fmla="*/ 174 w 264"/>
              <a:gd name="T39" fmla="*/ 139 h 296"/>
              <a:gd name="T40" fmla="*/ 181 w 264"/>
              <a:gd name="T41" fmla="*/ 132 h 296"/>
              <a:gd name="T42" fmla="*/ 196 w 264"/>
              <a:gd name="T43" fmla="*/ 120 h 296"/>
              <a:gd name="T44" fmla="*/ 235 w 264"/>
              <a:gd name="T45" fmla="*/ 86 h 296"/>
              <a:gd name="T46" fmla="*/ 264 w 264"/>
              <a:gd name="T47" fmla="*/ 72 h 296"/>
              <a:gd name="T48" fmla="*/ 258 w 264"/>
              <a:gd name="T49" fmla="*/ 72 h 296"/>
              <a:gd name="T50" fmla="*/ 249 w 264"/>
              <a:gd name="T51" fmla="*/ 71 h 296"/>
              <a:gd name="T52" fmla="*/ 247 w 264"/>
              <a:gd name="T53" fmla="*/ 68 h 296"/>
              <a:gd name="T54" fmla="*/ 230 w 264"/>
              <a:gd name="T55" fmla="*/ 67 h 296"/>
              <a:gd name="T56" fmla="*/ 223 w 264"/>
              <a:gd name="T57" fmla="*/ 68 h 296"/>
              <a:gd name="T58" fmla="*/ 222 w 264"/>
              <a:gd name="T59" fmla="*/ 65 h 296"/>
              <a:gd name="T60" fmla="*/ 220 w 264"/>
              <a:gd name="T61" fmla="*/ 64 h 296"/>
              <a:gd name="T62" fmla="*/ 209 w 264"/>
              <a:gd name="T63" fmla="*/ 65 h 296"/>
              <a:gd name="T64" fmla="*/ 195 w 264"/>
              <a:gd name="T65" fmla="*/ 70 h 296"/>
              <a:gd name="T66" fmla="*/ 192 w 264"/>
              <a:gd name="T67" fmla="*/ 67 h 296"/>
              <a:gd name="T68" fmla="*/ 190 w 264"/>
              <a:gd name="T69" fmla="*/ 62 h 296"/>
              <a:gd name="T70" fmla="*/ 181 w 264"/>
              <a:gd name="T71" fmla="*/ 61 h 296"/>
              <a:gd name="T72" fmla="*/ 180 w 264"/>
              <a:gd name="T73" fmla="*/ 56 h 296"/>
              <a:gd name="T74" fmla="*/ 169 w 264"/>
              <a:gd name="T75" fmla="*/ 56 h 296"/>
              <a:gd name="T76" fmla="*/ 167 w 264"/>
              <a:gd name="T77" fmla="*/ 61 h 296"/>
              <a:gd name="T78" fmla="*/ 164 w 264"/>
              <a:gd name="T79" fmla="*/ 51 h 296"/>
              <a:gd name="T80" fmla="*/ 155 w 264"/>
              <a:gd name="T81" fmla="*/ 48 h 296"/>
              <a:gd name="T82" fmla="*/ 158 w 264"/>
              <a:gd name="T83" fmla="*/ 45 h 296"/>
              <a:gd name="T84" fmla="*/ 147 w 264"/>
              <a:gd name="T85" fmla="*/ 40 h 296"/>
              <a:gd name="T86" fmla="*/ 137 w 264"/>
              <a:gd name="T87" fmla="*/ 40 h 296"/>
              <a:gd name="T88" fmla="*/ 118 w 264"/>
              <a:gd name="T89" fmla="*/ 46 h 296"/>
              <a:gd name="T90" fmla="*/ 102 w 264"/>
              <a:gd name="T91" fmla="*/ 37 h 296"/>
              <a:gd name="T92" fmla="*/ 96 w 264"/>
              <a:gd name="T93" fmla="*/ 37 h 296"/>
              <a:gd name="T94" fmla="*/ 87 w 264"/>
              <a:gd name="T95" fmla="*/ 24 h 296"/>
              <a:gd name="T96" fmla="*/ 77 w 264"/>
              <a:gd name="T97" fmla="*/ 1 h 296"/>
              <a:gd name="T98" fmla="*/ 71 w 264"/>
              <a:gd name="T99" fmla="*/ 20 h 296"/>
              <a:gd name="T100" fmla="*/ 1 w 264"/>
              <a:gd name="T101" fmla="*/ 28 h 296"/>
              <a:gd name="T102" fmla="*/ 3 w 264"/>
              <a:gd name="T103" fmla="*/ 41 h 296"/>
              <a:gd name="T104" fmla="*/ 2 w 264"/>
              <a:gd name="T105" fmla="*/ 47 h 296"/>
              <a:gd name="T106" fmla="*/ 2 w 264"/>
              <a:gd name="T107" fmla="*/ 53 h 296"/>
              <a:gd name="T108" fmla="*/ 3 w 264"/>
              <a:gd name="T109" fmla="*/ 67 h 296"/>
              <a:gd name="T110" fmla="*/ 11 w 264"/>
              <a:gd name="T111" fmla="*/ 89 h 296"/>
              <a:gd name="T112" fmla="*/ 13 w 264"/>
              <a:gd name="T113" fmla="*/ 110 h 296"/>
              <a:gd name="T114" fmla="*/ 16 w 264"/>
              <a:gd name="T115" fmla="*/ 129 h 296"/>
              <a:gd name="T116" fmla="*/ 15 w 264"/>
              <a:gd name="T117" fmla="*/ 143 h 296"/>
              <a:gd name="T118" fmla="*/ 20 w 264"/>
              <a:gd name="T119" fmla="*/ 154 h 296"/>
              <a:gd name="T120" fmla="*/ 22 w 264"/>
              <a:gd name="T121" fmla="*/ 182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4" h="296">
                <a:moveTo>
                  <a:pt x="22" y="182"/>
                </a:moveTo>
                <a:cubicBezTo>
                  <a:pt x="22" y="182"/>
                  <a:pt x="19" y="187"/>
                  <a:pt x="19" y="187"/>
                </a:cubicBezTo>
                <a:cubicBezTo>
                  <a:pt x="19" y="187"/>
                  <a:pt x="15" y="190"/>
                  <a:pt x="15" y="190"/>
                </a:cubicBezTo>
                <a:cubicBezTo>
                  <a:pt x="14" y="191"/>
                  <a:pt x="13" y="191"/>
                  <a:pt x="13" y="191"/>
                </a:cubicBezTo>
                <a:cubicBezTo>
                  <a:pt x="13" y="191"/>
                  <a:pt x="13" y="193"/>
                  <a:pt x="13" y="193"/>
                </a:cubicBezTo>
                <a:cubicBezTo>
                  <a:pt x="13" y="193"/>
                  <a:pt x="14" y="197"/>
                  <a:pt x="15" y="197"/>
                </a:cubicBezTo>
                <a:cubicBezTo>
                  <a:pt x="15" y="198"/>
                  <a:pt x="18" y="203"/>
                  <a:pt x="18" y="203"/>
                </a:cubicBezTo>
                <a:cubicBezTo>
                  <a:pt x="18" y="203"/>
                  <a:pt x="22" y="204"/>
                  <a:pt x="22" y="204"/>
                </a:cubicBezTo>
                <a:cubicBezTo>
                  <a:pt x="22" y="204"/>
                  <a:pt x="25" y="205"/>
                  <a:pt x="25" y="206"/>
                </a:cubicBezTo>
                <a:cubicBezTo>
                  <a:pt x="26" y="206"/>
                  <a:pt x="26" y="208"/>
                  <a:pt x="26" y="208"/>
                </a:cubicBezTo>
                <a:cubicBezTo>
                  <a:pt x="26" y="296"/>
                  <a:pt x="26" y="296"/>
                  <a:pt x="26" y="296"/>
                </a:cubicBezTo>
                <a:cubicBezTo>
                  <a:pt x="207" y="295"/>
                  <a:pt x="207" y="295"/>
                  <a:pt x="207" y="295"/>
                </a:cubicBezTo>
                <a:cubicBezTo>
                  <a:pt x="207" y="295"/>
                  <a:pt x="206" y="292"/>
                  <a:pt x="206" y="291"/>
                </a:cubicBezTo>
                <a:cubicBezTo>
                  <a:pt x="206" y="291"/>
                  <a:pt x="205" y="289"/>
                  <a:pt x="205" y="288"/>
                </a:cubicBezTo>
                <a:cubicBezTo>
                  <a:pt x="205" y="287"/>
                  <a:pt x="206" y="285"/>
                  <a:pt x="206" y="284"/>
                </a:cubicBezTo>
                <a:cubicBezTo>
                  <a:pt x="206" y="283"/>
                  <a:pt x="205" y="280"/>
                  <a:pt x="205" y="279"/>
                </a:cubicBezTo>
                <a:cubicBezTo>
                  <a:pt x="204" y="279"/>
                  <a:pt x="202" y="275"/>
                  <a:pt x="201" y="275"/>
                </a:cubicBezTo>
                <a:cubicBezTo>
                  <a:pt x="201" y="274"/>
                  <a:pt x="201" y="273"/>
                  <a:pt x="200" y="272"/>
                </a:cubicBezTo>
                <a:cubicBezTo>
                  <a:pt x="199" y="272"/>
                  <a:pt x="196" y="271"/>
                  <a:pt x="195" y="271"/>
                </a:cubicBezTo>
                <a:cubicBezTo>
                  <a:pt x="194" y="270"/>
                  <a:pt x="194" y="269"/>
                  <a:pt x="193" y="268"/>
                </a:cubicBezTo>
                <a:cubicBezTo>
                  <a:pt x="192" y="268"/>
                  <a:pt x="189" y="265"/>
                  <a:pt x="188" y="264"/>
                </a:cubicBezTo>
                <a:cubicBezTo>
                  <a:pt x="187" y="264"/>
                  <a:pt x="186" y="263"/>
                  <a:pt x="185" y="262"/>
                </a:cubicBezTo>
                <a:cubicBezTo>
                  <a:pt x="184" y="262"/>
                  <a:pt x="184" y="262"/>
                  <a:pt x="184" y="260"/>
                </a:cubicBezTo>
                <a:cubicBezTo>
                  <a:pt x="184" y="259"/>
                  <a:pt x="182" y="254"/>
                  <a:pt x="181" y="253"/>
                </a:cubicBezTo>
                <a:cubicBezTo>
                  <a:pt x="179" y="252"/>
                  <a:pt x="178" y="253"/>
                  <a:pt x="177" y="252"/>
                </a:cubicBezTo>
                <a:cubicBezTo>
                  <a:pt x="176" y="251"/>
                  <a:pt x="173" y="250"/>
                  <a:pt x="172" y="250"/>
                </a:cubicBezTo>
                <a:cubicBezTo>
                  <a:pt x="171" y="249"/>
                  <a:pt x="170" y="247"/>
                  <a:pt x="169" y="246"/>
                </a:cubicBezTo>
                <a:cubicBezTo>
                  <a:pt x="169" y="246"/>
                  <a:pt x="169" y="245"/>
                  <a:pt x="167" y="244"/>
                </a:cubicBezTo>
                <a:cubicBezTo>
                  <a:pt x="166" y="244"/>
                  <a:pt x="164" y="244"/>
                  <a:pt x="162" y="244"/>
                </a:cubicBezTo>
                <a:cubicBezTo>
                  <a:pt x="161" y="244"/>
                  <a:pt x="160" y="244"/>
                  <a:pt x="160" y="243"/>
                </a:cubicBezTo>
                <a:cubicBezTo>
                  <a:pt x="160" y="242"/>
                  <a:pt x="158" y="240"/>
                  <a:pt x="157" y="239"/>
                </a:cubicBezTo>
                <a:cubicBezTo>
                  <a:pt x="156" y="238"/>
                  <a:pt x="153" y="236"/>
                  <a:pt x="153" y="236"/>
                </a:cubicBezTo>
                <a:cubicBezTo>
                  <a:pt x="152" y="235"/>
                  <a:pt x="153" y="232"/>
                  <a:pt x="153" y="231"/>
                </a:cubicBezTo>
                <a:cubicBezTo>
                  <a:pt x="153" y="231"/>
                  <a:pt x="154" y="227"/>
                  <a:pt x="154" y="226"/>
                </a:cubicBezTo>
                <a:cubicBezTo>
                  <a:pt x="154" y="225"/>
                  <a:pt x="154" y="223"/>
                  <a:pt x="154" y="222"/>
                </a:cubicBezTo>
                <a:cubicBezTo>
                  <a:pt x="153" y="221"/>
                  <a:pt x="153" y="221"/>
                  <a:pt x="153" y="220"/>
                </a:cubicBezTo>
                <a:cubicBezTo>
                  <a:pt x="153" y="220"/>
                  <a:pt x="153" y="219"/>
                  <a:pt x="153" y="218"/>
                </a:cubicBezTo>
                <a:cubicBezTo>
                  <a:pt x="154" y="218"/>
                  <a:pt x="154" y="217"/>
                  <a:pt x="154" y="216"/>
                </a:cubicBezTo>
                <a:cubicBezTo>
                  <a:pt x="154" y="215"/>
                  <a:pt x="154" y="214"/>
                  <a:pt x="154" y="213"/>
                </a:cubicBezTo>
                <a:cubicBezTo>
                  <a:pt x="154" y="212"/>
                  <a:pt x="153" y="210"/>
                  <a:pt x="154" y="209"/>
                </a:cubicBezTo>
                <a:cubicBezTo>
                  <a:pt x="154" y="208"/>
                  <a:pt x="156" y="206"/>
                  <a:pt x="156" y="205"/>
                </a:cubicBezTo>
                <a:cubicBezTo>
                  <a:pt x="157" y="204"/>
                  <a:pt x="158" y="204"/>
                  <a:pt x="158" y="203"/>
                </a:cubicBezTo>
                <a:cubicBezTo>
                  <a:pt x="158" y="202"/>
                  <a:pt x="156" y="199"/>
                  <a:pt x="155" y="198"/>
                </a:cubicBezTo>
                <a:cubicBezTo>
                  <a:pt x="155" y="197"/>
                  <a:pt x="155" y="196"/>
                  <a:pt x="154" y="195"/>
                </a:cubicBezTo>
                <a:cubicBezTo>
                  <a:pt x="153" y="195"/>
                  <a:pt x="150" y="195"/>
                  <a:pt x="150" y="195"/>
                </a:cubicBezTo>
                <a:cubicBezTo>
                  <a:pt x="149" y="194"/>
                  <a:pt x="149" y="193"/>
                  <a:pt x="149" y="192"/>
                </a:cubicBezTo>
                <a:cubicBezTo>
                  <a:pt x="150" y="191"/>
                  <a:pt x="149" y="189"/>
                  <a:pt x="150" y="188"/>
                </a:cubicBezTo>
                <a:cubicBezTo>
                  <a:pt x="150" y="188"/>
                  <a:pt x="152" y="187"/>
                  <a:pt x="153" y="186"/>
                </a:cubicBezTo>
                <a:cubicBezTo>
                  <a:pt x="153" y="185"/>
                  <a:pt x="154" y="183"/>
                  <a:pt x="154" y="182"/>
                </a:cubicBezTo>
                <a:cubicBezTo>
                  <a:pt x="155" y="181"/>
                  <a:pt x="155" y="180"/>
                  <a:pt x="156" y="179"/>
                </a:cubicBezTo>
                <a:cubicBezTo>
                  <a:pt x="157" y="178"/>
                  <a:pt x="159" y="177"/>
                  <a:pt x="160" y="177"/>
                </a:cubicBezTo>
                <a:cubicBezTo>
                  <a:pt x="161" y="176"/>
                  <a:pt x="161" y="175"/>
                  <a:pt x="162" y="175"/>
                </a:cubicBezTo>
                <a:cubicBezTo>
                  <a:pt x="162" y="174"/>
                  <a:pt x="163" y="175"/>
                  <a:pt x="164" y="175"/>
                </a:cubicBezTo>
                <a:cubicBezTo>
                  <a:pt x="164" y="175"/>
                  <a:pt x="165" y="173"/>
                  <a:pt x="166" y="173"/>
                </a:cubicBezTo>
                <a:cubicBezTo>
                  <a:pt x="166" y="172"/>
                  <a:pt x="168" y="173"/>
                  <a:pt x="168" y="173"/>
                </a:cubicBezTo>
                <a:cubicBezTo>
                  <a:pt x="168" y="172"/>
                  <a:pt x="169" y="171"/>
                  <a:pt x="169" y="171"/>
                </a:cubicBezTo>
                <a:cubicBezTo>
                  <a:pt x="169" y="170"/>
                  <a:pt x="170" y="169"/>
                  <a:pt x="170" y="169"/>
                </a:cubicBezTo>
                <a:cubicBezTo>
                  <a:pt x="170" y="169"/>
                  <a:pt x="170" y="140"/>
                  <a:pt x="170" y="140"/>
                </a:cubicBezTo>
                <a:cubicBezTo>
                  <a:pt x="170" y="140"/>
                  <a:pt x="173" y="141"/>
                  <a:pt x="173" y="141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4" y="138"/>
                  <a:pt x="176" y="136"/>
                  <a:pt x="176" y="136"/>
                </a:cubicBezTo>
                <a:cubicBezTo>
                  <a:pt x="177" y="136"/>
                  <a:pt x="180" y="132"/>
                  <a:pt x="181" y="132"/>
                </a:cubicBezTo>
                <a:cubicBezTo>
                  <a:pt x="181" y="131"/>
                  <a:pt x="185" y="129"/>
                  <a:pt x="185" y="128"/>
                </a:cubicBezTo>
                <a:cubicBezTo>
                  <a:pt x="186" y="128"/>
                  <a:pt x="187" y="127"/>
                  <a:pt x="187" y="127"/>
                </a:cubicBezTo>
                <a:cubicBezTo>
                  <a:pt x="188" y="126"/>
                  <a:pt x="195" y="120"/>
                  <a:pt x="196" y="120"/>
                </a:cubicBezTo>
                <a:cubicBezTo>
                  <a:pt x="196" y="120"/>
                  <a:pt x="214" y="100"/>
                  <a:pt x="215" y="100"/>
                </a:cubicBezTo>
                <a:cubicBezTo>
                  <a:pt x="216" y="99"/>
                  <a:pt x="220" y="95"/>
                  <a:pt x="222" y="94"/>
                </a:cubicBezTo>
                <a:cubicBezTo>
                  <a:pt x="223" y="92"/>
                  <a:pt x="232" y="87"/>
                  <a:pt x="235" y="86"/>
                </a:cubicBezTo>
                <a:cubicBezTo>
                  <a:pt x="239" y="85"/>
                  <a:pt x="247" y="82"/>
                  <a:pt x="251" y="81"/>
                </a:cubicBezTo>
                <a:cubicBezTo>
                  <a:pt x="254" y="81"/>
                  <a:pt x="257" y="78"/>
                  <a:pt x="258" y="77"/>
                </a:cubicBezTo>
                <a:cubicBezTo>
                  <a:pt x="260" y="76"/>
                  <a:pt x="264" y="72"/>
                  <a:pt x="264" y="72"/>
                </a:cubicBezTo>
                <a:cubicBezTo>
                  <a:pt x="262" y="72"/>
                  <a:pt x="262" y="72"/>
                  <a:pt x="262" y="72"/>
                </a:cubicBezTo>
                <a:cubicBezTo>
                  <a:pt x="260" y="72"/>
                  <a:pt x="260" y="72"/>
                  <a:pt x="260" y="72"/>
                </a:cubicBezTo>
                <a:cubicBezTo>
                  <a:pt x="258" y="72"/>
                  <a:pt x="258" y="72"/>
                  <a:pt x="258" y="72"/>
                </a:cubicBezTo>
                <a:cubicBezTo>
                  <a:pt x="258" y="72"/>
                  <a:pt x="255" y="72"/>
                  <a:pt x="255" y="73"/>
                </a:cubicBezTo>
                <a:cubicBezTo>
                  <a:pt x="255" y="73"/>
                  <a:pt x="253" y="73"/>
                  <a:pt x="253" y="73"/>
                </a:cubicBezTo>
                <a:cubicBezTo>
                  <a:pt x="253" y="73"/>
                  <a:pt x="249" y="71"/>
                  <a:pt x="249" y="71"/>
                </a:cubicBezTo>
                <a:cubicBezTo>
                  <a:pt x="249" y="71"/>
                  <a:pt x="249" y="69"/>
                  <a:pt x="249" y="69"/>
                </a:cubicBezTo>
                <a:cubicBezTo>
                  <a:pt x="249" y="69"/>
                  <a:pt x="248" y="68"/>
                  <a:pt x="248" y="68"/>
                </a:cubicBezTo>
                <a:cubicBezTo>
                  <a:pt x="248" y="68"/>
                  <a:pt x="247" y="68"/>
                  <a:pt x="247" y="68"/>
                </a:cubicBezTo>
                <a:cubicBezTo>
                  <a:pt x="247" y="68"/>
                  <a:pt x="246" y="67"/>
                  <a:pt x="246" y="67"/>
                </a:cubicBezTo>
                <a:cubicBezTo>
                  <a:pt x="245" y="67"/>
                  <a:pt x="245" y="67"/>
                  <a:pt x="245" y="67"/>
                </a:cubicBezTo>
                <a:cubicBezTo>
                  <a:pt x="230" y="67"/>
                  <a:pt x="230" y="67"/>
                  <a:pt x="230" y="67"/>
                </a:cubicBezTo>
                <a:cubicBezTo>
                  <a:pt x="229" y="66"/>
                  <a:pt x="229" y="66"/>
                  <a:pt x="229" y="66"/>
                </a:cubicBezTo>
                <a:cubicBezTo>
                  <a:pt x="225" y="68"/>
                  <a:pt x="225" y="68"/>
                  <a:pt x="225" y="68"/>
                </a:cubicBezTo>
                <a:cubicBezTo>
                  <a:pt x="223" y="68"/>
                  <a:pt x="223" y="68"/>
                  <a:pt x="223" y="68"/>
                </a:cubicBezTo>
                <a:cubicBezTo>
                  <a:pt x="223" y="68"/>
                  <a:pt x="223" y="67"/>
                  <a:pt x="223" y="67"/>
                </a:cubicBezTo>
                <a:cubicBezTo>
                  <a:pt x="223" y="67"/>
                  <a:pt x="222" y="66"/>
                  <a:pt x="222" y="66"/>
                </a:cubicBezTo>
                <a:cubicBezTo>
                  <a:pt x="222" y="65"/>
                  <a:pt x="222" y="65"/>
                  <a:pt x="222" y="65"/>
                </a:cubicBezTo>
                <a:cubicBezTo>
                  <a:pt x="222" y="64"/>
                  <a:pt x="222" y="64"/>
                  <a:pt x="222" y="64"/>
                </a:cubicBezTo>
                <a:cubicBezTo>
                  <a:pt x="222" y="64"/>
                  <a:pt x="222" y="64"/>
                  <a:pt x="222" y="64"/>
                </a:cubicBezTo>
                <a:cubicBezTo>
                  <a:pt x="220" y="64"/>
                  <a:pt x="220" y="64"/>
                  <a:pt x="220" y="64"/>
                </a:cubicBezTo>
                <a:cubicBezTo>
                  <a:pt x="220" y="60"/>
                  <a:pt x="220" y="60"/>
                  <a:pt x="220" y="60"/>
                </a:cubicBezTo>
                <a:cubicBezTo>
                  <a:pt x="218" y="60"/>
                  <a:pt x="218" y="60"/>
                  <a:pt x="218" y="60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6" y="68"/>
                  <a:pt x="206" y="68"/>
                  <a:pt x="206" y="68"/>
                </a:cubicBezTo>
                <a:cubicBezTo>
                  <a:pt x="198" y="70"/>
                  <a:pt x="198" y="70"/>
                  <a:pt x="198" y="70"/>
                </a:cubicBezTo>
                <a:cubicBezTo>
                  <a:pt x="195" y="70"/>
                  <a:pt x="195" y="70"/>
                  <a:pt x="195" y="70"/>
                </a:cubicBezTo>
                <a:cubicBezTo>
                  <a:pt x="195" y="67"/>
                  <a:pt x="195" y="67"/>
                  <a:pt x="195" y="67"/>
                </a:cubicBezTo>
                <a:cubicBezTo>
                  <a:pt x="194" y="67"/>
                  <a:pt x="194" y="67"/>
                  <a:pt x="194" y="67"/>
                </a:cubicBezTo>
                <a:cubicBezTo>
                  <a:pt x="192" y="67"/>
                  <a:pt x="192" y="67"/>
                  <a:pt x="192" y="67"/>
                </a:cubicBezTo>
                <a:cubicBezTo>
                  <a:pt x="191" y="66"/>
                  <a:pt x="191" y="66"/>
                  <a:pt x="191" y="66"/>
                </a:cubicBezTo>
                <a:cubicBezTo>
                  <a:pt x="190" y="66"/>
                  <a:pt x="190" y="66"/>
                  <a:pt x="190" y="66"/>
                </a:cubicBezTo>
                <a:cubicBezTo>
                  <a:pt x="190" y="62"/>
                  <a:pt x="190" y="62"/>
                  <a:pt x="190" y="62"/>
                </a:cubicBezTo>
                <a:cubicBezTo>
                  <a:pt x="185" y="62"/>
                  <a:pt x="185" y="62"/>
                  <a:pt x="185" y="62"/>
                </a:cubicBezTo>
                <a:cubicBezTo>
                  <a:pt x="184" y="60"/>
                  <a:pt x="184" y="60"/>
                  <a:pt x="184" y="60"/>
                </a:cubicBezTo>
                <a:cubicBezTo>
                  <a:pt x="181" y="61"/>
                  <a:pt x="181" y="61"/>
                  <a:pt x="181" y="61"/>
                </a:cubicBezTo>
                <a:cubicBezTo>
                  <a:pt x="181" y="59"/>
                  <a:pt x="181" y="59"/>
                  <a:pt x="181" y="59"/>
                </a:cubicBezTo>
                <a:cubicBezTo>
                  <a:pt x="180" y="59"/>
                  <a:pt x="180" y="59"/>
                  <a:pt x="180" y="59"/>
                </a:cubicBezTo>
                <a:cubicBezTo>
                  <a:pt x="180" y="56"/>
                  <a:pt x="180" y="56"/>
                  <a:pt x="180" y="56"/>
                </a:cubicBezTo>
                <a:cubicBezTo>
                  <a:pt x="178" y="54"/>
                  <a:pt x="178" y="54"/>
                  <a:pt x="178" y="54"/>
                </a:cubicBezTo>
                <a:cubicBezTo>
                  <a:pt x="171" y="54"/>
                  <a:pt x="171" y="54"/>
                  <a:pt x="171" y="54"/>
                </a:cubicBezTo>
                <a:cubicBezTo>
                  <a:pt x="169" y="56"/>
                  <a:pt x="169" y="56"/>
                  <a:pt x="169" y="56"/>
                </a:cubicBezTo>
                <a:cubicBezTo>
                  <a:pt x="169" y="56"/>
                  <a:pt x="170" y="57"/>
                  <a:pt x="170" y="58"/>
                </a:cubicBezTo>
                <a:cubicBezTo>
                  <a:pt x="170" y="58"/>
                  <a:pt x="171" y="60"/>
                  <a:pt x="171" y="60"/>
                </a:cubicBezTo>
                <a:cubicBezTo>
                  <a:pt x="167" y="61"/>
                  <a:pt x="167" y="61"/>
                  <a:pt x="167" y="61"/>
                </a:cubicBezTo>
                <a:cubicBezTo>
                  <a:pt x="164" y="55"/>
                  <a:pt x="164" y="55"/>
                  <a:pt x="164" y="55"/>
                </a:cubicBezTo>
                <a:cubicBezTo>
                  <a:pt x="164" y="55"/>
                  <a:pt x="164" y="53"/>
                  <a:pt x="164" y="52"/>
                </a:cubicBezTo>
                <a:cubicBezTo>
                  <a:pt x="164" y="52"/>
                  <a:pt x="164" y="51"/>
                  <a:pt x="164" y="51"/>
                </a:cubicBezTo>
                <a:cubicBezTo>
                  <a:pt x="164" y="51"/>
                  <a:pt x="163" y="50"/>
                  <a:pt x="163" y="50"/>
                </a:cubicBezTo>
                <a:cubicBezTo>
                  <a:pt x="163" y="49"/>
                  <a:pt x="157" y="50"/>
                  <a:pt x="157" y="50"/>
                </a:cubicBezTo>
                <a:cubicBezTo>
                  <a:pt x="157" y="50"/>
                  <a:pt x="155" y="49"/>
                  <a:pt x="155" y="48"/>
                </a:cubicBezTo>
                <a:cubicBezTo>
                  <a:pt x="155" y="48"/>
                  <a:pt x="156" y="47"/>
                  <a:pt x="156" y="47"/>
                </a:cubicBezTo>
                <a:cubicBezTo>
                  <a:pt x="159" y="47"/>
                  <a:pt x="159" y="47"/>
                  <a:pt x="159" y="47"/>
                </a:cubicBezTo>
                <a:cubicBezTo>
                  <a:pt x="158" y="45"/>
                  <a:pt x="158" y="45"/>
                  <a:pt x="158" y="45"/>
                </a:cubicBezTo>
                <a:cubicBezTo>
                  <a:pt x="155" y="45"/>
                  <a:pt x="155" y="45"/>
                  <a:pt x="155" y="45"/>
                </a:cubicBezTo>
                <a:cubicBezTo>
                  <a:pt x="147" y="41"/>
                  <a:pt x="147" y="41"/>
                  <a:pt x="147" y="41"/>
                </a:cubicBezTo>
                <a:cubicBezTo>
                  <a:pt x="147" y="40"/>
                  <a:pt x="147" y="40"/>
                  <a:pt x="14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38" y="39"/>
                  <a:pt x="138" y="39"/>
                  <a:pt x="138" y="39"/>
                </a:cubicBezTo>
                <a:cubicBezTo>
                  <a:pt x="137" y="40"/>
                  <a:pt x="137" y="40"/>
                  <a:pt x="137" y="40"/>
                </a:cubicBezTo>
                <a:cubicBezTo>
                  <a:pt x="130" y="42"/>
                  <a:pt x="130" y="42"/>
                  <a:pt x="130" y="42"/>
                </a:cubicBezTo>
                <a:cubicBezTo>
                  <a:pt x="130" y="44"/>
                  <a:pt x="130" y="44"/>
                  <a:pt x="130" y="44"/>
                </a:cubicBezTo>
                <a:cubicBezTo>
                  <a:pt x="118" y="46"/>
                  <a:pt x="118" y="46"/>
                  <a:pt x="118" y="46"/>
                </a:cubicBezTo>
                <a:cubicBezTo>
                  <a:pt x="117" y="40"/>
                  <a:pt x="117" y="40"/>
                  <a:pt x="117" y="40"/>
                </a:cubicBezTo>
                <a:cubicBezTo>
                  <a:pt x="103" y="39"/>
                  <a:pt x="103" y="39"/>
                  <a:pt x="103" y="39"/>
                </a:cubicBezTo>
                <a:cubicBezTo>
                  <a:pt x="102" y="37"/>
                  <a:pt x="102" y="37"/>
                  <a:pt x="102" y="37"/>
                </a:cubicBezTo>
                <a:cubicBezTo>
                  <a:pt x="100" y="36"/>
                  <a:pt x="100" y="36"/>
                  <a:pt x="100" y="36"/>
                </a:cubicBezTo>
                <a:cubicBezTo>
                  <a:pt x="100" y="36"/>
                  <a:pt x="98" y="36"/>
                  <a:pt x="98" y="36"/>
                </a:cubicBezTo>
                <a:cubicBezTo>
                  <a:pt x="98" y="36"/>
                  <a:pt x="96" y="37"/>
                  <a:pt x="96" y="37"/>
                </a:cubicBezTo>
                <a:cubicBezTo>
                  <a:pt x="91" y="36"/>
                  <a:pt x="91" y="36"/>
                  <a:pt x="91" y="36"/>
                </a:cubicBezTo>
                <a:cubicBezTo>
                  <a:pt x="87" y="32"/>
                  <a:pt x="87" y="32"/>
                  <a:pt x="87" y="32"/>
                </a:cubicBezTo>
                <a:cubicBezTo>
                  <a:pt x="87" y="24"/>
                  <a:pt x="87" y="24"/>
                  <a:pt x="87" y="24"/>
                </a:cubicBezTo>
                <a:cubicBezTo>
                  <a:pt x="83" y="4"/>
                  <a:pt x="83" y="4"/>
                  <a:pt x="83" y="4"/>
                </a:cubicBezTo>
                <a:cubicBezTo>
                  <a:pt x="78" y="1"/>
                  <a:pt x="78" y="1"/>
                  <a:pt x="78" y="1"/>
                </a:cubicBezTo>
                <a:cubicBezTo>
                  <a:pt x="78" y="1"/>
                  <a:pt x="77" y="1"/>
                  <a:pt x="77" y="1"/>
                </a:cubicBezTo>
                <a:cubicBezTo>
                  <a:pt x="74" y="2"/>
                  <a:pt x="74" y="2"/>
                  <a:pt x="74" y="2"/>
                </a:cubicBezTo>
                <a:cubicBezTo>
                  <a:pt x="71" y="0"/>
                  <a:pt x="71" y="0"/>
                  <a:pt x="71" y="0"/>
                </a:cubicBezTo>
                <a:cubicBezTo>
                  <a:pt x="71" y="20"/>
                  <a:pt x="71" y="20"/>
                  <a:pt x="7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20"/>
                  <a:pt x="0" y="23"/>
                  <a:pt x="0" y="24"/>
                </a:cubicBezTo>
                <a:cubicBezTo>
                  <a:pt x="0" y="26"/>
                  <a:pt x="1" y="27"/>
                  <a:pt x="1" y="28"/>
                </a:cubicBezTo>
                <a:cubicBezTo>
                  <a:pt x="1" y="29"/>
                  <a:pt x="3" y="34"/>
                  <a:pt x="3" y="34"/>
                </a:cubicBezTo>
                <a:cubicBezTo>
                  <a:pt x="3" y="35"/>
                  <a:pt x="4" y="36"/>
                  <a:pt x="3" y="38"/>
                </a:cubicBezTo>
                <a:cubicBezTo>
                  <a:pt x="3" y="40"/>
                  <a:pt x="3" y="40"/>
                  <a:pt x="3" y="41"/>
                </a:cubicBezTo>
                <a:cubicBezTo>
                  <a:pt x="2" y="41"/>
                  <a:pt x="2" y="43"/>
                  <a:pt x="2" y="44"/>
                </a:cubicBezTo>
                <a:cubicBezTo>
                  <a:pt x="2" y="45"/>
                  <a:pt x="2" y="44"/>
                  <a:pt x="3" y="45"/>
                </a:cubicBezTo>
                <a:cubicBezTo>
                  <a:pt x="3" y="45"/>
                  <a:pt x="3" y="46"/>
                  <a:pt x="2" y="47"/>
                </a:cubicBezTo>
                <a:cubicBezTo>
                  <a:pt x="2" y="47"/>
                  <a:pt x="2" y="48"/>
                  <a:pt x="2" y="48"/>
                </a:cubicBezTo>
                <a:cubicBezTo>
                  <a:pt x="2" y="48"/>
                  <a:pt x="3" y="49"/>
                  <a:pt x="3" y="50"/>
                </a:cubicBezTo>
                <a:cubicBezTo>
                  <a:pt x="3" y="50"/>
                  <a:pt x="2" y="52"/>
                  <a:pt x="2" y="53"/>
                </a:cubicBezTo>
                <a:cubicBezTo>
                  <a:pt x="2" y="54"/>
                  <a:pt x="3" y="55"/>
                  <a:pt x="3" y="56"/>
                </a:cubicBezTo>
                <a:cubicBezTo>
                  <a:pt x="3" y="57"/>
                  <a:pt x="3" y="58"/>
                  <a:pt x="3" y="60"/>
                </a:cubicBezTo>
                <a:cubicBezTo>
                  <a:pt x="3" y="61"/>
                  <a:pt x="3" y="65"/>
                  <a:pt x="3" y="67"/>
                </a:cubicBezTo>
                <a:cubicBezTo>
                  <a:pt x="3" y="69"/>
                  <a:pt x="4" y="70"/>
                  <a:pt x="5" y="72"/>
                </a:cubicBezTo>
                <a:cubicBezTo>
                  <a:pt x="5" y="73"/>
                  <a:pt x="7" y="80"/>
                  <a:pt x="8" y="82"/>
                </a:cubicBezTo>
                <a:cubicBezTo>
                  <a:pt x="8" y="84"/>
                  <a:pt x="11" y="87"/>
                  <a:pt x="11" y="89"/>
                </a:cubicBezTo>
                <a:cubicBezTo>
                  <a:pt x="12" y="91"/>
                  <a:pt x="12" y="94"/>
                  <a:pt x="12" y="95"/>
                </a:cubicBezTo>
                <a:cubicBezTo>
                  <a:pt x="13" y="97"/>
                  <a:pt x="13" y="103"/>
                  <a:pt x="13" y="104"/>
                </a:cubicBezTo>
                <a:cubicBezTo>
                  <a:pt x="13" y="106"/>
                  <a:pt x="13" y="109"/>
                  <a:pt x="13" y="110"/>
                </a:cubicBezTo>
                <a:cubicBezTo>
                  <a:pt x="13" y="112"/>
                  <a:pt x="13" y="120"/>
                  <a:pt x="13" y="122"/>
                </a:cubicBezTo>
                <a:cubicBezTo>
                  <a:pt x="14" y="124"/>
                  <a:pt x="14" y="125"/>
                  <a:pt x="15" y="126"/>
                </a:cubicBezTo>
                <a:cubicBezTo>
                  <a:pt x="15" y="127"/>
                  <a:pt x="16" y="128"/>
                  <a:pt x="16" y="129"/>
                </a:cubicBezTo>
                <a:cubicBezTo>
                  <a:pt x="16" y="130"/>
                  <a:pt x="16" y="131"/>
                  <a:pt x="16" y="131"/>
                </a:cubicBezTo>
                <a:cubicBezTo>
                  <a:pt x="16" y="132"/>
                  <a:pt x="15" y="138"/>
                  <a:pt x="15" y="139"/>
                </a:cubicBezTo>
                <a:cubicBezTo>
                  <a:pt x="15" y="141"/>
                  <a:pt x="15" y="142"/>
                  <a:pt x="15" y="143"/>
                </a:cubicBezTo>
                <a:cubicBezTo>
                  <a:pt x="15" y="144"/>
                  <a:pt x="16" y="146"/>
                  <a:pt x="16" y="147"/>
                </a:cubicBezTo>
                <a:cubicBezTo>
                  <a:pt x="16" y="148"/>
                  <a:pt x="17" y="150"/>
                  <a:pt x="17" y="151"/>
                </a:cubicBezTo>
                <a:cubicBezTo>
                  <a:pt x="18" y="152"/>
                  <a:pt x="19" y="154"/>
                  <a:pt x="20" y="154"/>
                </a:cubicBezTo>
                <a:cubicBezTo>
                  <a:pt x="20" y="155"/>
                  <a:pt x="21" y="159"/>
                  <a:pt x="22" y="159"/>
                </a:cubicBezTo>
                <a:cubicBezTo>
                  <a:pt x="22" y="160"/>
                  <a:pt x="22" y="176"/>
                  <a:pt x="22" y="176"/>
                </a:cubicBezTo>
                <a:cubicBezTo>
                  <a:pt x="22" y="176"/>
                  <a:pt x="23" y="182"/>
                  <a:pt x="22" y="182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8" name="Freeform 36">
            <a:extLst>
              <a:ext uri="{FF2B5EF4-FFF2-40B4-BE49-F238E27FC236}">
                <a16:creationId xmlns:a16="http://schemas.microsoft.com/office/drawing/2014/main" id="{649D0748-6B6B-4D6D-BF58-DA3E6DFE9E2E}"/>
              </a:ext>
            </a:extLst>
          </p:cNvPr>
          <p:cNvSpPr>
            <a:spLocks noEditPoints="1"/>
          </p:cNvSpPr>
          <p:nvPr/>
        </p:nvSpPr>
        <p:spPr bwMode="auto">
          <a:xfrm>
            <a:off x="8690786" y="1436441"/>
            <a:ext cx="1093759" cy="1249067"/>
          </a:xfrm>
          <a:custGeom>
            <a:avLst/>
            <a:gdLst>
              <a:gd name="T0" fmla="*/ 63 w 276"/>
              <a:gd name="T1" fmla="*/ 5 h 315"/>
              <a:gd name="T2" fmla="*/ 45 w 276"/>
              <a:gd name="T3" fmla="*/ 17 h 315"/>
              <a:gd name="T4" fmla="*/ 129 w 276"/>
              <a:gd name="T5" fmla="*/ 83 h 315"/>
              <a:gd name="T6" fmla="*/ 167 w 276"/>
              <a:gd name="T7" fmla="*/ 123 h 315"/>
              <a:gd name="T8" fmla="*/ 154 w 276"/>
              <a:gd name="T9" fmla="*/ 155 h 315"/>
              <a:gd name="T10" fmla="*/ 208 w 276"/>
              <a:gd name="T11" fmla="*/ 121 h 315"/>
              <a:gd name="T12" fmla="*/ 208 w 276"/>
              <a:gd name="T13" fmla="*/ 122 h 315"/>
              <a:gd name="T14" fmla="*/ 239 w 276"/>
              <a:gd name="T15" fmla="*/ 111 h 315"/>
              <a:gd name="T16" fmla="*/ 232 w 276"/>
              <a:gd name="T17" fmla="*/ 107 h 315"/>
              <a:gd name="T18" fmla="*/ 7 w 276"/>
              <a:gd name="T19" fmla="*/ 84 h 315"/>
              <a:gd name="T20" fmla="*/ 72 w 276"/>
              <a:gd name="T21" fmla="*/ 111 h 315"/>
              <a:gd name="T22" fmla="*/ 90 w 276"/>
              <a:gd name="T23" fmla="*/ 126 h 315"/>
              <a:gd name="T24" fmla="*/ 95 w 276"/>
              <a:gd name="T25" fmla="*/ 139 h 315"/>
              <a:gd name="T26" fmla="*/ 110 w 276"/>
              <a:gd name="T27" fmla="*/ 130 h 315"/>
              <a:gd name="T28" fmla="*/ 118 w 276"/>
              <a:gd name="T29" fmla="*/ 116 h 315"/>
              <a:gd name="T30" fmla="*/ 124 w 276"/>
              <a:gd name="T31" fmla="*/ 121 h 315"/>
              <a:gd name="T32" fmla="*/ 128 w 276"/>
              <a:gd name="T33" fmla="*/ 126 h 315"/>
              <a:gd name="T34" fmla="*/ 145 w 276"/>
              <a:gd name="T35" fmla="*/ 112 h 315"/>
              <a:gd name="T36" fmla="*/ 169 w 276"/>
              <a:gd name="T37" fmla="*/ 105 h 315"/>
              <a:gd name="T38" fmla="*/ 192 w 276"/>
              <a:gd name="T39" fmla="*/ 114 h 315"/>
              <a:gd name="T40" fmla="*/ 204 w 276"/>
              <a:gd name="T41" fmla="*/ 109 h 315"/>
              <a:gd name="T42" fmla="*/ 222 w 276"/>
              <a:gd name="T43" fmla="*/ 108 h 315"/>
              <a:gd name="T44" fmla="*/ 214 w 276"/>
              <a:gd name="T45" fmla="*/ 97 h 315"/>
              <a:gd name="T46" fmla="*/ 212 w 276"/>
              <a:gd name="T47" fmla="*/ 88 h 315"/>
              <a:gd name="T48" fmla="*/ 211 w 276"/>
              <a:gd name="T49" fmla="*/ 85 h 315"/>
              <a:gd name="T50" fmla="*/ 194 w 276"/>
              <a:gd name="T51" fmla="*/ 86 h 315"/>
              <a:gd name="T52" fmla="*/ 186 w 276"/>
              <a:gd name="T53" fmla="*/ 71 h 315"/>
              <a:gd name="T54" fmla="*/ 140 w 276"/>
              <a:gd name="T55" fmla="*/ 80 h 315"/>
              <a:gd name="T56" fmla="*/ 119 w 276"/>
              <a:gd name="T57" fmla="*/ 84 h 315"/>
              <a:gd name="T58" fmla="*/ 98 w 276"/>
              <a:gd name="T59" fmla="*/ 72 h 315"/>
              <a:gd name="T60" fmla="*/ 82 w 276"/>
              <a:gd name="T61" fmla="*/ 64 h 315"/>
              <a:gd name="T62" fmla="*/ 67 w 276"/>
              <a:gd name="T63" fmla="*/ 69 h 315"/>
              <a:gd name="T64" fmla="*/ 91 w 276"/>
              <a:gd name="T65" fmla="*/ 39 h 315"/>
              <a:gd name="T66" fmla="*/ 63 w 276"/>
              <a:gd name="T67" fmla="*/ 46 h 315"/>
              <a:gd name="T68" fmla="*/ 45 w 276"/>
              <a:gd name="T69" fmla="*/ 60 h 315"/>
              <a:gd name="T70" fmla="*/ 0 w 276"/>
              <a:gd name="T71" fmla="*/ 80 h 315"/>
              <a:gd name="T72" fmla="*/ 254 w 276"/>
              <a:gd name="T73" fmla="*/ 286 h 315"/>
              <a:gd name="T74" fmla="*/ 267 w 276"/>
              <a:gd name="T75" fmla="*/ 270 h 315"/>
              <a:gd name="T76" fmla="*/ 272 w 276"/>
              <a:gd name="T77" fmla="*/ 238 h 315"/>
              <a:gd name="T78" fmla="*/ 265 w 276"/>
              <a:gd name="T79" fmla="*/ 207 h 315"/>
              <a:gd name="T80" fmla="*/ 245 w 276"/>
              <a:gd name="T81" fmla="*/ 211 h 315"/>
              <a:gd name="T82" fmla="*/ 236 w 276"/>
              <a:gd name="T83" fmla="*/ 223 h 315"/>
              <a:gd name="T84" fmla="*/ 225 w 276"/>
              <a:gd name="T85" fmla="*/ 212 h 315"/>
              <a:gd name="T86" fmla="*/ 239 w 276"/>
              <a:gd name="T87" fmla="*/ 194 h 315"/>
              <a:gd name="T88" fmla="*/ 247 w 276"/>
              <a:gd name="T89" fmla="*/ 171 h 315"/>
              <a:gd name="T90" fmla="*/ 244 w 276"/>
              <a:gd name="T91" fmla="*/ 155 h 315"/>
              <a:gd name="T92" fmla="*/ 242 w 276"/>
              <a:gd name="T93" fmla="*/ 143 h 315"/>
              <a:gd name="T94" fmla="*/ 212 w 276"/>
              <a:gd name="T95" fmla="*/ 127 h 315"/>
              <a:gd name="T96" fmla="*/ 197 w 276"/>
              <a:gd name="T97" fmla="*/ 121 h 315"/>
              <a:gd name="T98" fmla="*/ 185 w 276"/>
              <a:gd name="T99" fmla="*/ 128 h 315"/>
              <a:gd name="T100" fmla="*/ 183 w 276"/>
              <a:gd name="T101" fmla="*/ 141 h 315"/>
              <a:gd name="T102" fmla="*/ 173 w 276"/>
              <a:gd name="T103" fmla="*/ 158 h 315"/>
              <a:gd name="T104" fmla="*/ 169 w 276"/>
              <a:gd name="T105" fmla="*/ 166 h 315"/>
              <a:gd name="T106" fmla="*/ 165 w 276"/>
              <a:gd name="T107" fmla="*/ 167 h 315"/>
              <a:gd name="T108" fmla="*/ 166 w 276"/>
              <a:gd name="T109" fmla="*/ 153 h 315"/>
              <a:gd name="T110" fmla="*/ 157 w 276"/>
              <a:gd name="T111" fmla="*/ 160 h 315"/>
              <a:gd name="T112" fmla="*/ 145 w 276"/>
              <a:gd name="T113" fmla="*/ 173 h 315"/>
              <a:gd name="T114" fmla="*/ 142 w 276"/>
              <a:gd name="T115" fmla="*/ 193 h 315"/>
              <a:gd name="T116" fmla="*/ 137 w 276"/>
              <a:gd name="T117" fmla="*/ 211 h 315"/>
              <a:gd name="T118" fmla="*/ 142 w 276"/>
              <a:gd name="T119" fmla="*/ 245 h 315"/>
              <a:gd name="T120" fmla="*/ 141 w 276"/>
              <a:gd name="T121" fmla="*/ 286 h 315"/>
              <a:gd name="T122" fmla="*/ 125 w 276"/>
              <a:gd name="T123" fmla="*/ 312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6" h="315">
                <a:moveTo>
                  <a:pt x="41" y="15"/>
                </a:moveTo>
                <a:cubicBezTo>
                  <a:pt x="42" y="14"/>
                  <a:pt x="43" y="13"/>
                  <a:pt x="43" y="12"/>
                </a:cubicBezTo>
                <a:cubicBezTo>
                  <a:pt x="44" y="10"/>
                  <a:pt x="46" y="9"/>
                  <a:pt x="47" y="9"/>
                </a:cubicBezTo>
                <a:cubicBezTo>
                  <a:pt x="49" y="8"/>
                  <a:pt x="50" y="7"/>
                  <a:pt x="52" y="7"/>
                </a:cubicBezTo>
                <a:cubicBezTo>
                  <a:pt x="54" y="6"/>
                  <a:pt x="55" y="5"/>
                  <a:pt x="57" y="4"/>
                </a:cubicBezTo>
                <a:cubicBezTo>
                  <a:pt x="57" y="4"/>
                  <a:pt x="58" y="3"/>
                  <a:pt x="59" y="3"/>
                </a:cubicBezTo>
                <a:cubicBezTo>
                  <a:pt x="59" y="2"/>
                  <a:pt x="60" y="1"/>
                  <a:pt x="61" y="1"/>
                </a:cubicBezTo>
                <a:cubicBezTo>
                  <a:pt x="62" y="1"/>
                  <a:pt x="62" y="1"/>
                  <a:pt x="63" y="0"/>
                </a:cubicBezTo>
                <a:cubicBezTo>
                  <a:pt x="64" y="0"/>
                  <a:pt x="64" y="0"/>
                  <a:pt x="65" y="0"/>
                </a:cubicBezTo>
                <a:cubicBezTo>
                  <a:pt x="65" y="0"/>
                  <a:pt x="66" y="0"/>
                  <a:pt x="66" y="0"/>
                </a:cubicBezTo>
                <a:cubicBezTo>
                  <a:pt x="66" y="1"/>
                  <a:pt x="64" y="2"/>
                  <a:pt x="63" y="2"/>
                </a:cubicBezTo>
                <a:cubicBezTo>
                  <a:pt x="63" y="2"/>
                  <a:pt x="62" y="3"/>
                  <a:pt x="62" y="3"/>
                </a:cubicBezTo>
                <a:cubicBezTo>
                  <a:pt x="62" y="4"/>
                  <a:pt x="63" y="4"/>
                  <a:pt x="63" y="5"/>
                </a:cubicBezTo>
                <a:cubicBezTo>
                  <a:pt x="63" y="5"/>
                  <a:pt x="63" y="6"/>
                  <a:pt x="62" y="6"/>
                </a:cubicBezTo>
                <a:cubicBezTo>
                  <a:pt x="62" y="6"/>
                  <a:pt x="61" y="7"/>
                  <a:pt x="61" y="7"/>
                </a:cubicBezTo>
                <a:cubicBezTo>
                  <a:pt x="60" y="8"/>
                  <a:pt x="59" y="8"/>
                  <a:pt x="59" y="8"/>
                </a:cubicBezTo>
                <a:cubicBezTo>
                  <a:pt x="58" y="8"/>
                  <a:pt x="58" y="8"/>
                  <a:pt x="57" y="8"/>
                </a:cubicBezTo>
                <a:cubicBezTo>
                  <a:pt x="57" y="8"/>
                  <a:pt x="56" y="9"/>
                  <a:pt x="56" y="9"/>
                </a:cubicBezTo>
                <a:cubicBezTo>
                  <a:pt x="55" y="9"/>
                  <a:pt x="54" y="9"/>
                  <a:pt x="53" y="10"/>
                </a:cubicBezTo>
                <a:cubicBezTo>
                  <a:pt x="52" y="10"/>
                  <a:pt x="52" y="11"/>
                  <a:pt x="51" y="11"/>
                </a:cubicBezTo>
                <a:cubicBezTo>
                  <a:pt x="51" y="12"/>
                  <a:pt x="51" y="12"/>
                  <a:pt x="51" y="12"/>
                </a:cubicBezTo>
                <a:cubicBezTo>
                  <a:pt x="51" y="12"/>
                  <a:pt x="51" y="12"/>
                  <a:pt x="51" y="12"/>
                </a:cubicBezTo>
                <a:cubicBezTo>
                  <a:pt x="52" y="13"/>
                  <a:pt x="51" y="14"/>
                  <a:pt x="51" y="14"/>
                </a:cubicBezTo>
                <a:cubicBezTo>
                  <a:pt x="50" y="14"/>
                  <a:pt x="48" y="15"/>
                  <a:pt x="47" y="15"/>
                </a:cubicBezTo>
                <a:cubicBezTo>
                  <a:pt x="47" y="15"/>
                  <a:pt x="46" y="16"/>
                  <a:pt x="46" y="16"/>
                </a:cubicBezTo>
                <a:cubicBezTo>
                  <a:pt x="46" y="16"/>
                  <a:pt x="46" y="16"/>
                  <a:pt x="45" y="17"/>
                </a:cubicBezTo>
                <a:cubicBezTo>
                  <a:pt x="45" y="17"/>
                  <a:pt x="44" y="17"/>
                  <a:pt x="44" y="17"/>
                </a:cubicBezTo>
                <a:cubicBezTo>
                  <a:pt x="44" y="17"/>
                  <a:pt x="44" y="17"/>
                  <a:pt x="43" y="16"/>
                </a:cubicBezTo>
                <a:cubicBezTo>
                  <a:pt x="43" y="16"/>
                  <a:pt x="42" y="16"/>
                  <a:pt x="41" y="16"/>
                </a:cubicBezTo>
                <a:cubicBezTo>
                  <a:pt x="41" y="16"/>
                  <a:pt x="41" y="16"/>
                  <a:pt x="41" y="15"/>
                </a:cubicBezTo>
                <a:close/>
                <a:moveTo>
                  <a:pt x="129" y="84"/>
                </a:moveTo>
                <a:cubicBezTo>
                  <a:pt x="129" y="84"/>
                  <a:pt x="129" y="85"/>
                  <a:pt x="129" y="85"/>
                </a:cubicBezTo>
                <a:cubicBezTo>
                  <a:pt x="130" y="85"/>
                  <a:pt x="130" y="85"/>
                  <a:pt x="130" y="84"/>
                </a:cubicBezTo>
                <a:cubicBezTo>
                  <a:pt x="130" y="84"/>
                  <a:pt x="130" y="84"/>
                  <a:pt x="130" y="83"/>
                </a:cubicBezTo>
                <a:cubicBezTo>
                  <a:pt x="130" y="83"/>
                  <a:pt x="130" y="83"/>
                  <a:pt x="130" y="82"/>
                </a:cubicBezTo>
                <a:cubicBezTo>
                  <a:pt x="130" y="81"/>
                  <a:pt x="130" y="81"/>
                  <a:pt x="129" y="81"/>
                </a:cubicBezTo>
                <a:cubicBezTo>
                  <a:pt x="129" y="82"/>
                  <a:pt x="128" y="81"/>
                  <a:pt x="128" y="82"/>
                </a:cubicBezTo>
                <a:cubicBezTo>
                  <a:pt x="128" y="82"/>
                  <a:pt x="128" y="82"/>
                  <a:pt x="128" y="82"/>
                </a:cubicBezTo>
                <a:cubicBezTo>
                  <a:pt x="128" y="82"/>
                  <a:pt x="129" y="83"/>
                  <a:pt x="129" y="83"/>
                </a:cubicBezTo>
                <a:cubicBezTo>
                  <a:pt x="129" y="83"/>
                  <a:pt x="129" y="83"/>
                  <a:pt x="129" y="83"/>
                </a:cubicBezTo>
                <a:cubicBezTo>
                  <a:pt x="129" y="83"/>
                  <a:pt x="129" y="83"/>
                  <a:pt x="129" y="84"/>
                </a:cubicBezTo>
                <a:cubicBezTo>
                  <a:pt x="129" y="84"/>
                  <a:pt x="129" y="84"/>
                  <a:pt x="129" y="84"/>
                </a:cubicBezTo>
                <a:close/>
                <a:moveTo>
                  <a:pt x="166" y="130"/>
                </a:moveTo>
                <a:cubicBezTo>
                  <a:pt x="167" y="130"/>
                  <a:pt x="167" y="130"/>
                  <a:pt x="168" y="130"/>
                </a:cubicBezTo>
                <a:cubicBezTo>
                  <a:pt x="168" y="129"/>
                  <a:pt x="168" y="129"/>
                  <a:pt x="169" y="129"/>
                </a:cubicBezTo>
                <a:cubicBezTo>
                  <a:pt x="169" y="129"/>
                  <a:pt x="170" y="129"/>
                  <a:pt x="170" y="129"/>
                </a:cubicBezTo>
                <a:cubicBezTo>
                  <a:pt x="170" y="128"/>
                  <a:pt x="170" y="128"/>
                  <a:pt x="170" y="128"/>
                </a:cubicBezTo>
                <a:cubicBezTo>
                  <a:pt x="170" y="127"/>
                  <a:pt x="170" y="126"/>
                  <a:pt x="170" y="126"/>
                </a:cubicBezTo>
                <a:cubicBezTo>
                  <a:pt x="170" y="125"/>
                  <a:pt x="170" y="125"/>
                  <a:pt x="170" y="125"/>
                </a:cubicBezTo>
                <a:cubicBezTo>
                  <a:pt x="170" y="124"/>
                  <a:pt x="170" y="123"/>
                  <a:pt x="169" y="122"/>
                </a:cubicBezTo>
                <a:cubicBezTo>
                  <a:pt x="169" y="122"/>
                  <a:pt x="168" y="121"/>
                  <a:pt x="168" y="121"/>
                </a:cubicBezTo>
                <a:cubicBezTo>
                  <a:pt x="167" y="122"/>
                  <a:pt x="167" y="122"/>
                  <a:pt x="167" y="123"/>
                </a:cubicBezTo>
                <a:cubicBezTo>
                  <a:pt x="167" y="123"/>
                  <a:pt x="167" y="124"/>
                  <a:pt x="167" y="124"/>
                </a:cubicBezTo>
                <a:cubicBezTo>
                  <a:pt x="167" y="125"/>
                  <a:pt x="167" y="125"/>
                  <a:pt x="167" y="126"/>
                </a:cubicBezTo>
                <a:cubicBezTo>
                  <a:pt x="166" y="126"/>
                  <a:pt x="166" y="127"/>
                  <a:pt x="166" y="127"/>
                </a:cubicBezTo>
                <a:cubicBezTo>
                  <a:pt x="165" y="128"/>
                  <a:pt x="166" y="128"/>
                  <a:pt x="166" y="129"/>
                </a:cubicBezTo>
                <a:cubicBezTo>
                  <a:pt x="166" y="129"/>
                  <a:pt x="166" y="129"/>
                  <a:pt x="166" y="130"/>
                </a:cubicBezTo>
                <a:close/>
                <a:moveTo>
                  <a:pt x="151" y="154"/>
                </a:moveTo>
                <a:cubicBezTo>
                  <a:pt x="151" y="154"/>
                  <a:pt x="151" y="154"/>
                  <a:pt x="151" y="154"/>
                </a:cubicBezTo>
                <a:cubicBezTo>
                  <a:pt x="151" y="154"/>
                  <a:pt x="151" y="154"/>
                  <a:pt x="151" y="154"/>
                </a:cubicBezTo>
                <a:cubicBezTo>
                  <a:pt x="152" y="154"/>
                  <a:pt x="151" y="155"/>
                  <a:pt x="152" y="155"/>
                </a:cubicBezTo>
                <a:cubicBezTo>
                  <a:pt x="152" y="155"/>
                  <a:pt x="152" y="155"/>
                  <a:pt x="152" y="155"/>
                </a:cubicBezTo>
                <a:cubicBezTo>
                  <a:pt x="153" y="155"/>
                  <a:pt x="153" y="155"/>
                  <a:pt x="153" y="155"/>
                </a:cubicBezTo>
                <a:cubicBezTo>
                  <a:pt x="153" y="155"/>
                  <a:pt x="153" y="155"/>
                  <a:pt x="153" y="155"/>
                </a:cubicBezTo>
                <a:cubicBezTo>
                  <a:pt x="154" y="155"/>
                  <a:pt x="154" y="155"/>
                  <a:pt x="154" y="155"/>
                </a:cubicBez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4" y="153"/>
                  <a:pt x="154" y="152"/>
                </a:cubicBezTo>
                <a:cubicBezTo>
                  <a:pt x="154" y="152"/>
                  <a:pt x="154" y="152"/>
                  <a:pt x="153" y="152"/>
                </a:cubicBezTo>
                <a:cubicBezTo>
                  <a:pt x="153" y="151"/>
                  <a:pt x="153" y="151"/>
                  <a:pt x="152" y="151"/>
                </a:cubicBezTo>
                <a:cubicBezTo>
                  <a:pt x="152" y="151"/>
                  <a:pt x="152" y="151"/>
                  <a:pt x="152" y="151"/>
                </a:cubicBezTo>
                <a:cubicBezTo>
                  <a:pt x="152" y="151"/>
                  <a:pt x="152" y="151"/>
                  <a:pt x="152" y="151"/>
                </a:cubicBezTo>
                <a:cubicBezTo>
                  <a:pt x="152" y="151"/>
                  <a:pt x="152" y="151"/>
                  <a:pt x="152" y="151"/>
                </a:cubicBezTo>
                <a:cubicBezTo>
                  <a:pt x="152" y="151"/>
                  <a:pt x="152" y="151"/>
                  <a:pt x="151" y="151"/>
                </a:cubicBezTo>
                <a:cubicBezTo>
                  <a:pt x="151" y="151"/>
                  <a:pt x="151" y="151"/>
                  <a:pt x="151" y="151"/>
                </a:cubicBezTo>
                <a:cubicBezTo>
                  <a:pt x="150" y="151"/>
                  <a:pt x="150" y="152"/>
                  <a:pt x="150" y="152"/>
                </a:cubicBezTo>
                <a:cubicBezTo>
                  <a:pt x="150" y="152"/>
                  <a:pt x="150" y="153"/>
                  <a:pt x="151" y="153"/>
                </a:cubicBezTo>
                <a:cubicBezTo>
                  <a:pt x="151" y="153"/>
                  <a:pt x="151" y="153"/>
                  <a:pt x="151" y="154"/>
                </a:cubicBezTo>
                <a:close/>
                <a:moveTo>
                  <a:pt x="208" y="121"/>
                </a:moveTo>
                <a:cubicBezTo>
                  <a:pt x="208" y="121"/>
                  <a:pt x="208" y="120"/>
                  <a:pt x="208" y="120"/>
                </a:cubicBezTo>
                <a:cubicBezTo>
                  <a:pt x="207" y="120"/>
                  <a:pt x="207" y="120"/>
                  <a:pt x="207" y="119"/>
                </a:cubicBezTo>
                <a:cubicBezTo>
                  <a:pt x="207" y="119"/>
                  <a:pt x="207" y="119"/>
                  <a:pt x="206" y="119"/>
                </a:cubicBezTo>
                <a:cubicBezTo>
                  <a:pt x="206" y="119"/>
                  <a:pt x="206" y="119"/>
                  <a:pt x="205" y="119"/>
                </a:cubicBezTo>
                <a:cubicBezTo>
                  <a:pt x="205" y="119"/>
                  <a:pt x="204" y="119"/>
                  <a:pt x="203" y="119"/>
                </a:cubicBezTo>
                <a:cubicBezTo>
                  <a:pt x="203" y="119"/>
                  <a:pt x="203" y="118"/>
                  <a:pt x="203" y="118"/>
                </a:cubicBezTo>
                <a:cubicBezTo>
                  <a:pt x="202" y="118"/>
                  <a:pt x="202" y="118"/>
                  <a:pt x="202" y="118"/>
                </a:cubicBezTo>
                <a:cubicBezTo>
                  <a:pt x="201" y="118"/>
                  <a:pt x="202" y="119"/>
                  <a:pt x="203" y="120"/>
                </a:cubicBezTo>
                <a:cubicBezTo>
                  <a:pt x="203" y="120"/>
                  <a:pt x="203" y="120"/>
                  <a:pt x="204" y="121"/>
                </a:cubicBezTo>
                <a:cubicBezTo>
                  <a:pt x="204" y="121"/>
                  <a:pt x="204" y="122"/>
                  <a:pt x="204" y="122"/>
                </a:cubicBezTo>
                <a:cubicBezTo>
                  <a:pt x="204" y="123"/>
                  <a:pt x="205" y="123"/>
                  <a:pt x="205" y="123"/>
                </a:cubicBezTo>
                <a:cubicBezTo>
                  <a:pt x="206" y="122"/>
                  <a:pt x="206" y="122"/>
                  <a:pt x="206" y="122"/>
                </a:cubicBezTo>
                <a:cubicBezTo>
                  <a:pt x="207" y="122"/>
                  <a:pt x="207" y="122"/>
                  <a:pt x="208" y="122"/>
                </a:cubicBezTo>
                <a:cubicBezTo>
                  <a:pt x="208" y="121"/>
                  <a:pt x="208" y="121"/>
                  <a:pt x="208" y="121"/>
                </a:cubicBezTo>
                <a:close/>
                <a:moveTo>
                  <a:pt x="229" y="112"/>
                </a:moveTo>
                <a:cubicBezTo>
                  <a:pt x="229" y="112"/>
                  <a:pt x="229" y="112"/>
                  <a:pt x="230" y="112"/>
                </a:cubicBezTo>
                <a:cubicBezTo>
                  <a:pt x="230" y="112"/>
                  <a:pt x="230" y="112"/>
                  <a:pt x="230" y="112"/>
                </a:cubicBezTo>
                <a:cubicBezTo>
                  <a:pt x="230" y="113"/>
                  <a:pt x="231" y="113"/>
                  <a:pt x="231" y="113"/>
                </a:cubicBezTo>
                <a:cubicBezTo>
                  <a:pt x="232" y="112"/>
                  <a:pt x="232" y="112"/>
                  <a:pt x="232" y="112"/>
                </a:cubicBezTo>
                <a:cubicBezTo>
                  <a:pt x="233" y="112"/>
                  <a:pt x="233" y="112"/>
                  <a:pt x="233" y="112"/>
                </a:cubicBezTo>
                <a:cubicBezTo>
                  <a:pt x="234" y="112"/>
                  <a:pt x="234" y="112"/>
                  <a:pt x="234" y="112"/>
                </a:cubicBezTo>
                <a:cubicBezTo>
                  <a:pt x="235" y="112"/>
                  <a:pt x="235" y="112"/>
                  <a:pt x="235" y="112"/>
                </a:cubicBezTo>
                <a:cubicBezTo>
                  <a:pt x="236" y="113"/>
                  <a:pt x="236" y="113"/>
                  <a:pt x="236" y="113"/>
                </a:cubicBezTo>
                <a:cubicBezTo>
                  <a:pt x="236" y="113"/>
                  <a:pt x="237" y="113"/>
                  <a:pt x="237" y="112"/>
                </a:cubicBezTo>
                <a:cubicBezTo>
                  <a:pt x="238" y="112"/>
                  <a:pt x="238" y="112"/>
                  <a:pt x="238" y="112"/>
                </a:cubicBezTo>
                <a:cubicBezTo>
                  <a:pt x="238" y="111"/>
                  <a:pt x="239" y="111"/>
                  <a:pt x="239" y="111"/>
                </a:cubicBezTo>
                <a:cubicBezTo>
                  <a:pt x="240" y="110"/>
                  <a:pt x="239" y="110"/>
                  <a:pt x="238" y="109"/>
                </a:cubicBezTo>
                <a:cubicBezTo>
                  <a:pt x="238" y="109"/>
                  <a:pt x="238" y="109"/>
                  <a:pt x="238" y="108"/>
                </a:cubicBezTo>
                <a:cubicBezTo>
                  <a:pt x="238" y="108"/>
                  <a:pt x="237" y="108"/>
                  <a:pt x="237" y="107"/>
                </a:cubicBezTo>
                <a:cubicBezTo>
                  <a:pt x="237" y="107"/>
                  <a:pt x="236" y="107"/>
                  <a:pt x="236" y="106"/>
                </a:cubicBezTo>
                <a:cubicBezTo>
                  <a:pt x="236" y="106"/>
                  <a:pt x="236" y="106"/>
                  <a:pt x="236" y="105"/>
                </a:cubicBezTo>
                <a:cubicBezTo>
                  <a:pt x="236" y="105"/>
                  <a:pt x="236" y="105"/>
                  <a:pt x="235" y="105"/>
                </a:cubicBezTo>
                <a:cubicBezTo>
                  <a:pt x="235" y="105"/>
                  <a:pt x="235" y="105"/>
                  <a:pt x="234" y="105"/>
                </a:cubicBezTo>
                <a:cubicBezTo>
                  <a:pt x="233" y="105"/>
                  <a:pt x="233" y="104"/>
                  <a:pt x="232" y="105"/>
                </a:cubicBezTo>
                <a:cubicBezTo>
                  <a:pt x="232" y="105"/>
                  <a:pt x="231" y="105"/>
                  <a:pt x="231" y="105"/>
                </a:cubicBezTo>
                <a:cubicBezTo>
                  <a:pt x="231" y="105"/>
                  <a:pt x="231" y="105"/>
                  <a:pt x="231" y="105"/>
                </a:cubicBezTo>
                <a:cubicBezTo>
                  <a:pt x="232" y="106"/>
                  <a:pt x="232" y="106"/>
                  <a:pt x="233" y="106"/>
                </a:cubicBezTo>
                <a:cubicBezTo>
                  <a:pt x="233" y="106"/>
                  <a:pt x="234" y="106"/>
                  <a:pt x="233" y="107"/>
                </a:cubicBezTo>
                <a:cubicBezTo>
                  <a:pt x="233" y="107"/>
                  <a:pt x="232" y="107"/>
                  <a:pt x="232" y="107"/>
                </a:cubicBezTo>
                <a:cubicBezTo>
                  <a:pt x="231" y="107"/>
                  <a:pt x="231" y="107"/>
                  <a:pt x="231" y="108"/>
                </a:cubicBezTo>
                <a:cubicBezTo>
                  <a:pt x="231" y="108"/>
                  <a:pt x="230" y="108"/>
                  <a:pt x="230" y="109"/>
                </a:cubicBezTo>
                <a:cubicBezTo>
                  <a:pt x="230" y="109"/>
                  <a:pt x="229" y="109"/>
                  <a:pt x="229" y="109"/>
                </a:cubicBezTo>
                <a:cubicBezTo>
                  <a:pt x="229" y="110"/>
                  <a:pt x="228" y="110"/>
                  <a:pt x="228" y="110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6" y="109"/>
                  <a:pt x="227" y="110"/>
                  <a:pt x="227" y="110"/>
                </a:cubicBezTo>
                <a:cubicBezTo>
                  <a:pt x="227" y="111"/>
                  <a:pt x="227" y="111"/>
                  <a:pt x="227" y="111"/>
                </a:cubicBezTo>
                <a:cubicBezTo>
                  <a:pt x="227" y="111"/>
                  <a:pt x="227" y="111"/>
                  <a:pt x="227" y="111"/>
                </a:cubicBezTo>
                <a:cubicBezTo>
                  <a:pt x="227" y="111"/>
                  <a:pt x="227" y="112"/>
                  <a:pt x="227" y="112"/>
                </a:cubicBezTo>
                <a:cubicBezTo>
                  <a:pt x="228" y="112"/>
                  <a:pt x="228" y="112"/>
                  <a:pt x="229" y="112"/>
                </a:cubicBezTo>
                <a:close/>
                <a:moveTo>
                  <a:pt x="3" y="82"/>
                </a:moveTo>
                <a:cubicBezTo>
                  <a:pt x="3" y="82"/>
                  <a:pt x="3" y="83"/>
                  <a:pt x="3" y="83"/>
                </a:cubicBezTo>
                <a:cubicBezTo>
                  <a:pt x="3" y="83"/>
                  <a:pt x="7" y="84"/>
                  <a:pt x="7" y="84"/>
                </a:cubicBezTo>
                <a:cubicBezTo>
                  <a:pt x="10" y="91"/>
                  <a:pt x="10" y="91"/>
                  <a:pt x="10" y="91"/>
                </a:cubicBezTo>
                <a:cubicBezTo>
                  <a:pt x="42" y="101"/>
                  <a:pt x="42" y="101"/>
                  <a:pt x="42" y="101"/>
                </a:cubicBezTo>
                <a:cubicBezTo>
                  <a:pt x="46" y="102"/>
                  <a:pt x="46" y="102"/>
                  <a:pt x="46" y="102"/>
                </a:cubicBezTo>
                <a:cubicBezTo>
                  <a:pt x="55" y="108"/>
                  <a:pt x="55" y="108"/>
                  <a:pt x="55" y="108"/>
                </a:cubicBezTo>
                <a:cubicBezTo>
                  <a:pt x="58" y="108"/>
                  <a:pt x="58" y="108"/>
                  <a:pt x="58" y="108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1" y="109"/>
                  <a:pt x="62" y="108"/>
                  <a:pt x="62" y="108"/>
                </a:cubicBezTo>
                <a:cubicBezTo>
                  <a:pt x="63" y="108"/>
                  <a:pt x="65" y="108"/>
                  <a:pt x="65" y="108"/>
                </a:cubicBezTo>
                <a:cubicBezTo>
                  <a:pt x="65" y="108"/>
                  <a:pt x="67" y="109"/>
                  <a:pt x="67" y="109"/>
                </a:cubicBezTo>
                <a:cubicBezTo>
                  <a:pt x="68" y="109"/>
                  <a:pt x="68" y="109"/>
                  <a:pt x="68" y="109"/>
                </a:cubicBezTo>
                <a:cubicBezTo>
                  <a:pt x="68" y="109"/>
                  <a:pt x="69" y="110"/>
                  <a:pt x="69" y="110"/>
                </a:cubicBezTo>
                <a:cubicBezTo>
                  <a:pt x="69" y="110"/>
                  <a:pt x="70" y="109"/>
                  <a:pt x="70" y="110"/>
                </a:cubicBezTo>
                <a:cubicBezTo>
                  <a:pt x="70" y="110"/>
                  <a:pt x="72" y="111"/>
                  <a:pt x="72" y="111"/>
                </a:cubicBezTo>
                <a:cubicBezTo>
                  <a:pt x="72" y="111"/>
                  <a:pt x="75" y="111"/>
                  <a:pt x="76" y="111"/>
                </a:cubicBezTo>
                <a:cubicBezTo>
                  <a:pt x="77" y="111"/>
                  <a:pt x="78" y="112"/>
                  <a:pt x="79" y="112"/>
                </a:cubicBezTo>
                <a:cubicBezTo>
                  <a:pt x="79" y="112"/>
                  <a:pt x="80" y="113"/>
                  <a:pt x="80" y="113"/>
                </a:cubicBezTo>
                <a:cubicBezTo>
                  <a:pt x="80" y="114"/>
                  <a:pt x="80" y="115"/>
                  <a:pt x="80" y="116"/>
                </a:cubicBezTo>
                <a:cubicBezTo>
                  <a:pt x="80" y="116"/>
                  <a:pt x="79" y="117"/>
                  <a:pt x="79" y="117"/>
                </a:cubicBezTo>
                <a:cubicBezTo>
                  <a:pt x="79" y="117"/>
                  <a:pt x="79" y="118"/>
                  <a:pt x="79" y="118"/>
                </a:cubicBezTo>
                <a:cubicBezTo>
                  <a:pt x="79" y="119"/>
                  <a:pt x="80" y="119"/>
                  <a:pt x="81" y="119"/>
                </a:cubicBezTo>
                <a:cubicBezTo>
                  <a:pt x="81" y="120"/>
                  <a:pt x="83" y="119"/>
                  <a:pt x="83" y="119"/>
                </a:cubicBezTo>
                <a:cubicBezTo>
                  <a:pt x="84" y="119"/>
                  <a:pt x="84" y="119"/>
                  <a:pt x="84" y="120"/>
                </a:cubicBezTo>
                <a:cubicBezTo>
                  <a:pt x="84" y="120"/>
                  <a:pt x="85" y="121"/>
                  <a:pt x="85" y="121"/>
                </a:cubicBezTo>
                <a:cubicBezTo>
                  <a:pt x="85" y="121"/>
                  <a:pt x="88" y="121"/>
                  <a:pt x="88" y="121"/>
                </a:cubicBezTo>
                <a:cubicBezTo>
                  <a:pt x="88" y="121"/>
                  <a:pt x="91" y="124"/>
                  <a:pt x="91" y="124"/>
                </a:cubicBezTo>
                <a:cubicBezTo>
                  <a:pt x="91" y="125"/>
                  <a:pt x="90" y="125"/>
                  <a:pt x="90" y="126"/>
                </a:cubicBezTo>
                <a:cubicBezTo>
                  <a:pt x="90" y="126"/>
                  <a:pt x="89" y="127"/>
                  <a:pt x="90" y="127"/>
                </a:cubicBezTo>
                <a:cubicBezTo>
                  <a:pt x="90" y="127"/>
                  <a:pt x="90" y="128"/>
                  <a:pt x="90" y="129"/>
                </a:cubicBezTo>
                <a:cubicBezTo>
                  <a:pt x="91" y="129"/>
                  <a:pt x="91" y="130"/>
                  <a:pt x="91" y="130"/>
                </a:cubicBezTo>
                <a:cubicBezTo>
                  <a:pt x="90" y="130"/>
                  <a:pt x="89" y="131"/>
                  <a:pt x="89" y="131"/>
                </a:cubicBezTo>
                <a:cubicBezTo>
                  <a:pt x="89" y="131"/>
                  <a:pt x="89" y="131"/>
                  <a:pt x="89" y="132"/>
                </a:cubicBezTo>
                <a:cubicBezTo>
                  <a:pt x="89" y="132"/>
                  <a:pt x="90" y="133"/>
                  <a:pt x="90" y="133"/>
                </a:cubicBezTo>
                <a:cubicBezTo>
                  <a:pt x="90" y="133"/>
                  <a:pt x="89" y="135"/>
                  <a:pt x="89" y="135"/>
                </a:cubicBezTo>
                <a:cubicBezTo>
                  <a:pt x="89" y="135"/>
                  <a:pt x="88" y="137"/>
                  <a:pt x="88" y="137"/>
                </a:cubicBezTo>
                <a:cubicBezTo>
                  <a:pt x="88" y="138"/>
                  <a:pt x="87" y="139"/>
                  <a:pt x="87" y="140"/>
                </a:cubicBezTo>
                <a:cubicBezTo>
                  <a:pt x="87" y="140"/>
                  <a:pt x="87" y="140"/>
                  <a:pt x="88" y="140"/>
                </a:cubicBezTo>
                <a:cubicBezTo>
                  <a:pt x="88" y="141"/>
                  <a:pt x="91" y="141"/>
                  <a:pt x="91" y="141"/>
                </a:cubicBezTo>
                <a:cubicBezTo>
                  <a:pt x="91" y="141"/>
                  <a:pt x="93" y="139"/>
                  <a:pt x="93" y="139"/>
                </a:cubicBezTo>
                <a:cubicBezTo>
                  <a:pt x="93" y="139"/>
                  <a:pt x="95" y="139"/>
                  <a:pt x="95" y="139"/>
                </a:cubicBezTo>
                <a:cubicBezTo>
                  <a:pt x="95" y="140"/>
                  <a:pt x="95" y="140"/>
                  <a:pt x="95" y="141"/>
                </a:cubicBezTo>
                <a:cubicBezTo>
                  <a:pt x="95" y="141"/>
                  <a:pt x="93" y="146"/>
                  <a:pt x="93" y="147"/>
                </a:cubicBezTo>
                <a:cubicBezTo>
                  <a:pt x="93" y="147"/>
                  <a:pt x="92" y="149"/>
                  <a:pt x="92" y="149"/>
                </a:cubicBezTo>
                <a:cubicBezTo>
                  <a:pt x="92" y="149"/>
                  <a:pt x="93" y="151"/>
                  <a:pt x="94" y="151"/>
                </a:cubicBezTo>
                <a:cubicBezTo>
                  <a:pt x="94" y="151"/>
                  <a:pt x="95" y="152"/>
                  <a:pt x="95" y="152"/>
                </a:cubicBezTo>
                <a:cubicBezTo>
                  <a:pt x="95" y="152"/>
                  <a:pt x="96" y="153"/>
                  <a:pt x="97" y="153"/>
                </a:cubicBezTo>
                <a:cubicBezTo>
                  <a:pt x="97" y="153"/>
                  <a:pt x="97" y="152"/>
                  <a:pt x="98" y="151"/>
                </a:cubicBezTo>
                <a:cubicBezTo>
                  <a:pt x="98" y="150"/>
                  <a:pt x="99" y="149"/>
                  <a:pt x="100" y="148"/>
                </a:cubicBezTo>
                <a:cubicBezTo>
                  <a:pt x="102" y="145"/>
                  <a:pt x="103" y="143"/>
                  <a:pt x="105" y="141"/>
                </a:cubicBezTo>
                <a:cubicBezTo>
                  <a:pt x="106" y="140"/>
                  <a:pt x="106" y="139"/>
                  <a:pt x="107" y="138"/>
                </a:cubicBezTo>
                <a:cubicBezTo>
                  <a:pt x="107" y="137"/>
                  <a:pt x="108" y="136"/>
                  <a:pt x="108" y="135"/>
                </a:cubicBezTo>
                <a:cubicBezTo>
                  <a:pt x="108" y="134"/>
                  <a:pt x="109" y="133"/>
                  <a:pt x="109" y="132"/>
                </a:cubicBezTo>
                <a:cubicBezTo>
                  <a:pt x="109" y="132"/>
                  <a:pt x="110" y="131"/>
                  <a:pt x="110" y="130"/>
                </a:cubicBezTo>
                <a:cubicBezTo>
                  <a:pt x="110" y="130"/>
                  <a:pt x="110" y="129"/>
                  <a:pt x="111" y="128"/>
                </a:cubicBezTo>
                <a:cubicBezTo>
                  <a:pt x="111" y="127"/>
                  <a:pt x="111" y="127"/>
                  <a:pt x="112" y="126"/>
                </a:cubicBezTo>
                <a:cubicBezTo>
                  <a:pt x="112" y="126"/>
                  <a:pt x="112" y="126"/>
                  <a:pt x="112" y="126"/>
                </a:cubicBezTo>
                <a:cubicBezTo>
                  <a:pt x="113" y="126"/>
                  <a:pt x="113" y="126"/>
                  <a:pt x="113" y="126"/>
                </a:cubicBezTo>
                <a:cubicBezTo>
                  <a:pt x="114" y="126"/>
                  <a:pt x="114" y="125"/>
                  <a:pt x="114" y="125"/>
                </a:cubicBezTo>
                <a:cubicBezTo>
                  <a:pt x="114" y="125"/>
                  <a:pt x="115" y="124"/>
                  <a:pt x="115" y="124"/>
                </a:cubicBezTo>
                <a:cubicBezTo>
                  <a:pt x="115" y="124"/>
                  <a:pt x="115" y="123"/>
                  <a:pt x="115" y="123"/>
                </a:cubicBezTo>
                <a:cubicBezTo>
                  <a:pt x="115" y="123"/>
                  <a:pt x="115" y="123"/>
                  <a:pt x="116" y="122"/>
                </a:cubicBezTo>
                <a:cubicBezTo>
                  <a:pt x="116" y="122"/>
                  <a:pt x="116" y="122"/>
                  <a:pt x="116" y="122"/>
                </a:cubicBezTo>
                <a:cubicBezTo>
                  <a:pt x="116" y="121"/>
                  <a:pt x="115" y="120"/>
                  <a:pt x="116" y="120"/>
                </a:cubicBezTo>
                <a:cubicBezTo>
                  <a:pt x="116" y="119"/>
                  <a:pt x="116" y="119"/>
                  <a:pt x="117" y="119"/>
                </a:cubicBezTo>
                <a:cubicBezTo>
                  <a:pt x="117" y="118"/>
                  <a:pt x="117" y="118"/>
                  <a:pt x="117" y="117"/>
                </a:cubicBezTo>
                <a:cubicBezTo>
                  <a:pt x="117" y="117"/>
                  <a:pt x="117" y="116"/>
                  <a:pt x="118" y="116"/>
                </a:cubicBezTo>
                <a:cubicBezTo>
                  <a:pt x="118" y="116"/>
                  <a:pt x="118" y="115"/>
                  <a:pt x="118" y="114"/>
                </a:cubicBezTo>
                <a:cubicBezTo>
                  <a:pt x="119" y="114"/>
                  <a:pt x="120" y="115"/>
                  <a:pt x="120" y="116"/>
                </a:cubicBezTo>
                <a:cubicBezTo>
                  <a:pt x="120" y="116"/>
                  <a:pt x="119" y="116"/>
                  <a:pt x="119" y="116"/>
                </a:cubicBezTo>
                <a:cubicBezTo>
                  <a:pt x="119" y="116"/>
                  <a:pt x="119" y="117"/>
                  <a:pt x="119" y="117"/>
                </a:cubicBezTo>
                <a:cubicBezTo>
                  <a:pt x="118" y="117"/>
                  <a:pt x="118" y="118"/>
                  <a:pt x="118" y="118"/>
                </a:cubicBezTo>
                <a:cubicBezTo>
                  <a:pt x="118" y="119"/>
                  <a:pt x="118" y="120"/>
                  <a:pt x="118" y="120"/>
                </a:cubicBezTo>
                <a:cubicBezTo>
                  <a:pt x="118" y="121"/>
                  <a:pt x="118" y="122"/>
                  <a:pt x="118" y="122"/>
                </a:cubicBezTo>
                <a:cubicBezTo>
                  <a:pt x="118" y="123"/>
                  <a:pt x="119" y="123"/>
                  <a:pt x="119" y="123"/>
                </a:cubicBezTo>
                <a:cubicBezTo>
                  <a:pt x="119" y="123"/>
                  <a:pt x="119" y="123"/>
                  <a:pt x="119" y="123"/>
                </a:cubicBezTo>
                <a:cubicBezTo>
                  <a:pt x="119" y="124"/>
                  <a:pt x="119" y="124"/>
                  <a:pt x="120" y="124"/>
                </a:cubicBezTo>
                <a:cubicBezTo>
                  <a:pt x="121" y="124"/>
                  <a:pt x="121" y="124"/>
                  <a:pt x="122" y="123"/>
                </a:cubicBezTo>
                <a:cubicBezTo>
                  <a:pt x="122" y="123"/>
                  <a:pt x="123" y="123"/>
                  <a:pt x="123" y="123"/>
                </a:cubicBezTo>
                <a:cubicBezTo>
                  <a:pt x="124" y="122"/>
                  <a:pt x="124" y="122"/>
                  <a:pt x="124" y="121"/>
                </a:cubicBezTo>
                <a:cubicBezTo>
                  <a:pt x="124" y="120"/>
                  <a:pt x="124" y="120"/>
                  <a:pt x="124" y="119"/>
                </a:cubicBezTo>
                <a:cubicBezTo>
                  <a:pt x="125" y="119"/>
                  <a:pt x="125" y="118"/>
                  <a:pt x="125" y="117"/>
                </a:cubicBezTo>
                <a:cubicBezTo>
                  <a:pt x="125" y="117"/>
                  <a:pt x="125" y="116"/>
                  <a:pt x="126" y="116"/>
                </a:cubicBezTo>
                <a:cubicBezTo>
                  <a:pt x="126" y="116"/>
                  <a:pt x="126" y="117"/>
                  <a:pt x="127" y="117"/>
                </a:cubicBezTo>
                <a:cubicBezTo>
                  <a:pt x="127" y="117"/>
                  <a:pt x="127" y="117"/>
                  <a:pt x="127" y="117"/>
                </a:cubicBezTo>
                <a:cubicBezTo>
                  <a:pt x="128" y="117"/>
                  <a:pt x="129" y="117"/>
                  <a:pt x="130" y="117"/>
                </a:cubicBezTo>
                <a:cubicBezTo>
                  <a:pt x="130" y="117"/>
                  <a:pt x="131" y="117"/>
                  <a:pt x="131" y="116"/>
                </a:cubicBezTo>
                <a:cubicBezTo>
                  <a:pt x="132" y="116"/>
                  <a:pt x="132" y="115"/>
                  <a:pt x="133" y="115"/>
                </a:cubicBezTo>
                <a:cubicBezTo>
                  <a:pt x="134" y="114"/>
                  <a:pt x="134" y="115"/>
                  <a:pt x="134" y="116"/>
                </a:cubicBezTo>
                <a:cubicBezTo>
                  <a:pt x="134" y="117"/>
                  <a:pt x="133" y="117"/>
                  <a:pt x="133" y="118"/>
                </a:cubicBezTo>
                <a:cubicBezTo>
                  <a:pt x="132" y="119"/>
                  <a:pt x="132" y="120"/>
                  <a:pt x="131" y="121"/>
                </a:cubicBezTo>
                <a:cubicBezTo>
                  <a:pt x="130" y="122"/>
                  <a:pt x="129" y="123"/>
                  <a:pt x="129" y="123"/>
                </a:cubicBezTo>
                <a:cubicBezTo>
                  <a:pt x="128" y="124"/>
                  <a:pt x="128" y="125"/>
                  <a:pt x="128" y="126"/>
                </a:cubicBezTo>
                <a:cubicBezTo>
                  <a:pt x="128" y="126"/>
                  <a:pt x="129" y="126"/>
                  <a:pt x="129" y="127"/>
                </a:cubicBezTo>
                <a:cubicBezTo>
                  <a:pt x="129" y="127"/>
                  <a:pt x="130" y="127"/>
                  <a:pt x="130" y="128"/>
                </a:cubicBezTo>
                <a:cubicBezTo>
                  <a:pt x="130" y="128"/>
                  <a:pt x="131" y="129"/>
                  <a:pt x="131" y="128"/>
                </a:cubicBezTo>
                <a:cubicBezTo>
                  <a:pt x="131" y="128"/>
                  <a:pt x="131" y="127"/>
                  <a:pt x="131" y="127"/>
                </a:cubicBezTo>
                <a:cubicBezTo>
                  <a:pt x="131" y="127"/>
                  <a:pt x="131" y="127"/>
                  <a:pt x="131" y="126"/>
                </a:cubicBezTo>
                <a:cubicBezTo>
                  <a:pt x="131" y="126"/>
                  <a:pt x="131" y="126"/>
                  <a:pt x="132" y="125"/>
                </a:cubicBezTo>
                <a:cubicBezTo>
                  <a:pt x="132" y="125"/>
                  <a:pt x="132" y="124"/>
                  <a:pt x="133" y="123"/>
                </a:cubicBezTo>
                <a:cubicBezTo>
                  <a:pt x="133" y="123"/>
                  <a:pt x="134" y="122"/>
                  <a:pt x="135" y="122"/>
                </a:cubicBezTo>
                <a:cubicBezTo>
                  <a:pt x="136" y="121"/>
                  <a:pt x="137" y="121"/>
                  <a:pt x="138" y="120"/>
                </a:cubicBezTo>
                <a:cubicBezTo>
                  <a:pt x="139" y="120"/>
                  <a:pt x="140" y="120"/>
                  <a:pt x="140" y="119"/>
                </a:cubicBezTo>
                <a:cubicBezTo>
                  <a:pt x="140" y="119"/>
                  <a:pt x="140" y="118"/>
                  <a:pt x="140" y="118"/>
                </a:cubicBezTo>
                <a:cubicBezTo>
                  <a:pt x="140" y="116"/>
                  <a:pt x="141" y="115"/>
                  <a:pt x="142" y="114"/>
                </a:cubicBezTo>
                <a:cubicBezTo>
                  <a:pt x="142" y="113"/>
                  <a:pt x="144" y="112"/>
                  <a:pt x="145" y="112"/>
                </a:cubicBezTo>
                <a:cubicBezTo>
                  <a:pt x="146" y="111"/>
                  <a:pt x="146" y="111"/>
                  <a:pt x="147" y="111"/>
                </a:cubicBezTo>
                <a:cubicBezTo>
                  <a:pt x="147" y="111"/>
                  <a:pt x="148" y="111"/>
                  <a:pt x="149" y="111"/>
                </a:cubicBezTo>
                <a:cubicBezTo>
                  <a:pt x="149" y="111"/>
                  <a:pt x="150" y="111"/>
                  <a:pt x="150" y="111"/>
                </a:cubicBezTo>
                <a:cubicBezTo>
                  <a:pt x="151" y="111"/>
                  <a:pt x="151" y="111"/>
                  <a:pt x="152" y="112"/>
                </a:cubicBezTo>
                <a:cubicBezTo>
                  <a:pt x="152" y="112"/>
                  <a:pt x="153" y="113"/>
                  <a:pt x="154" y="113"/>
                </a:cubicBezTo>
                <a:cubicBezTo>
                  <a:pt x="155" y="112"/>
                  <a:pt x="155" y="112"/>
                  <a:pt x="155" y="111"/>
                </a:cubicBezTo>
                <a:cubicBezTo>
                  <a:pt x="156" y="111"/>
                  <a:pt x="157" y="110"/>
                  <a:pt x="157" y="110"/>
                </a:cubicBezTo>
                <a:cubicBezTo>
                  <a:pt x="164" y="110"/>
                  <a:pt x="164" y="110"/>
                  <a:pt x="164" y="110"/>
                </a:cubicBezTo>
                <a:cubicBezTo>
                  <a:pt x="165" y="110"/>
                  <a:pt x="165" y="110"/>
                  <a:pt x="165" y="110"/>
                </a:cubicBezTo>
                <a:cubicBezTo>
                  <a:pt x="166" y="110"/>
                  <a:pt x="166" y="109"/>
                  <a:pt x="166" y="108"/>
                </a:cubicBezTo>
                <a:cubicBezTo>
                  <a:pt x="167" y="107"/>
                  <a:pt x="167" y="107"/>
                  <a:pt x="168" y="106"/>
                </a:cubicBezTo>
                <a:cubicBezTo>
                  <a:pt x="168" y="106"/>
                  <a:pt x="169" y="105"/>
                  <a:pt x="169" y="105"/>
                </a:cubicBezTo>
                <a:cubicBezTo>
                  <a:pt x="169" y="105"/>
                  <a:pt x="169" y="105"/>
                  <a:pt x="169" y="105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1" y="104"/>
                  <a:pt x="171" y="104"/>
                  <a:pt x="171" y="104"/>
                </a:cubicBezTo>
                <a:cubicBezTo>
                  <a:pt x="173" y="104"/>
                  <a:pt x="174" y="105"/>
                  <a:pt x="175" y="105"/>
                </a:cubicBezTo>
                <a:cubicBezTo>
                  <a:pt x="176" y="105"/>
                  <a:pt x="177" y="106"/>
                  <a:pt x="178" y="106"/>
                </a:cubicBezTo>
                <a:cubicBezTo>
                  <a:pt x="178" y="106"/>
                  <a:pt x="179" y="106"/>
                  <a:pt x="180" y="106"/>
                </a:cubicBezTo>
                <a:cubicBezTo>
                  <a:pt x="180" y="107"/>
                  <a:pt x="181" y="107"/>
                  <a:pt x="181" y="107"/>
                </a:cubicBezTo>
                <a:cubicBezTo>
                  <a:pt x="182" y="107"/>
                  <a:pt x="183" y="108"/>
                  <a:pt x="183" y="108"/>
                </a:cubicBezTo>
                <a:cubicBezTo>
                  <a:pt x="184" y="108"/>
                  <a:pt x="184" y="108"/>
                  <a:pt x="185" y="108"/>
                </a:cubicBezTo>
                <a:cubicBezTo>
                  <a:pt x="186" y="108"/>
                  <a:pt x="186" y="108"/>
                  <a:pt x="187" y="109"/>
                </a:cubicBezTo>
                <a:cubicBezTo>
                  <a:pt x="187" y="109"/>
                  <a:pt x="187" y="110"/>
                  <a:pt x="187" y="110"/>
                </a:cubicBezTo>
                <a:cubicBezTo>
                  <a:pt x="187" y="110"/>
                  <a:pt x="188" y="111"/>
                  <a:pt x="188" y="111"/>
                </a:cubicBezTo>
                <a:cubicBezTo>
                  <a:pt x="189" y="111"/>
                  <a:pt x="189" y="112"/>
                  <a:pt x="190" y="113"/>
                </a:cubicBezTo>
                <a:cubicBezTo>
                  <a:pt x="191" y="113"/>
                  <a:pt x="191" y="114"/>
                  <a:pt x="192" y="114"/>
                </a:cubicBezTo>
                <a:cubicBezTo>
                  <a:pt x="192" y="115"/>
                  <a:pt x="193" y="116"/>
                  <a:pt x="194" y="116"/>
                </a:cubicBezTo>
                <a:cubicBezTo>
                  <a:pt x="194" y="116"/>
                  <a:pt x="194" y="116"/>
                  <a:pt x="194" y="116"/>
                </a:cubicBezTo>
                <a:cubicBezTo>
                  <a:pt x="195" y="117"/>
                  <a:pt x="195" y="117"/>
                  <a:pt x="196" y="117"/>
                </a:cubicBezTo>
                <a:cubicBezTo>
                  <a:pt x="197" y="116"/>
                  <a:pt x="195" y="115"/>
                  <a:pt x="196" y="114"/>
                </a:cubicBezTo>
                <a:cubicBezTo>
                  <a:pt x="196" y="114"/>
                  <a:pt x="196" y="113"/>
                  <a:pt x="197" y="113"/>
                </a:cubicBezTo>
                <a:cubicBezTo>
                  <a:pt x="197" y="113"/>
                  <a:pt x="197" y="112"/>
                  <a:pt x="197" y="112"/>
                </a:cubicBezTo>
                <a:cubicBezTo>
                  <a:pt x="198" y="111"/>
                  <a:pt x="198" y="110"/>
                  <a:pt x="198" y="109"/>
                </a:cubicBezTo>
                <a:cubicBezTo>
                  <a:pt x="199" y="109"/>
                  <a:pt x="198" y="108"/>
                  <a:pt x="199" y="107"/>
                </a:cubicBezTo>
                <a:cubicBezTo>
                  <a:pt x="199" y="107"/>
                  <a:pt x="199" y="107"/>
                  <a:pt x="199" y="107"/>
                </a:cubicBezTo>
                <a:cubicBezTo>
                  <a:pt x="199" y="107"/>
                  <a:pt x="200" y="107"/>
                  <a:pt x="200" y="107"/>
                </a:cubicBezTo>
                <a:cubicBezTo>
                  <a:pt x="200" y="107"/>
                  <a:pt x="201" y="107"/>
                  <a:pt x="201" y="108"/>
                </a:cubicBezTo>
                <a:cubicBezTo>
                  <a:pt x="201" y="108"/>
                  <a:pt x="201" y="108"/>
                  <a:pt x="202" y="108"/>
                </a:cubicBezTo>
                <a:cubicBezTo>
                  <a:pt x="202" y="108"/>
                  <a:pt x="203" y="109"/>
                  <a:pt x="204" y="109"/>
                </a:cubicBezTo>
                <a:cubicBezTo>
                  <a:pt x="204" y="110"/>
                  <a:pt x="204" y="110"/>
                  <a:pt x="204" y="111"/>
                </a:cubicBezTo>
                <a:cubicBezTo>
                  <a:pt x="205" y="111"/>
                  <a:pt x="206" y="110"/>
                  <a:pt x="207" y="110"/>
                </a:cubicBezTo>
                <a:cubicBezTo>
                  <a:pt x="207" y="110"/>
                  <a:pt x="208" y="111"/>
                  <a:pt x="208" y="110"/>
                </a:cubicBezTo>
                <a:cubicBezTo>
                  <a:pt x="208" y="110"/>
                  <a:pt x="208" y="110"/>
                  <a:pt x="208" y="110"/>
                </a:cubicBezTo>
                <a:cubicBezTo>
                  <a:pt x="209" y="109"/>
                  <a:pt x="210" y="110"/>
                  <a:pt x="210" y="110"/>
                </a:cubicBezTo>
                <a:cubicBezTo>
                  <a:pt x="212" y="109"/>
                  <a:pt x="214" y="109"/>
                  <a:pt x="215" y="110"/>
                </a:cubicBezTo>
                <a:cubicBezTo>
                  <a:pt x="216" y="110"/>
                  <a:pt x="217" y="110"/>
                  <a:pt x="217" y="110"/>
                </a:cubicBezTo>
                <a:cubicBezTo>
                  <a:pt x="218" y="110"/>
                  <a:pt x="218" y="110"/>
                  <a:pt x="219" y="111"/>
                </a:cubicBezTo>
                <a:cubicBezTo>
                  <a:pt x="219" y="111"/>
                  <a:pt x="220" y="111"/>
                  <a:pt x="221" y="112"/>
                </a:cubicBezTo>
                <a:cubicBezTo>
                  <a:pt x="222" y="112"/>
                  <a:pt x="222" y="112"/>
                  <a:pt x="222" y="112"/>
                </a:cubicBezTo>
                <a:cubicBezTo>
                  <a:pt x="223" y="112"/>
                  <a:pt x="223" y="111"/>
                  <a:pt x="223" y="111"/>
                </a:cubicBezTo>
                <a:cubicBezTo>
                  <a:pt x="224" y="111"/>
                  <a:pt x="224" y="110"/>
                  <a:pt x="224" y="110"/>
                </a:cubicBezTo>
                <a:cubicBezTo>
                  <a:pt x="223" y="109"/>
                  <a:pt x="223" y="108"/>
                  <a:pt x="222" y="108"/>
                </a:cubicBezTo>
                <a:cubicBezTo>
                  <a:pt x="221" y="107"/>
                  <a:pt x="221" y="107"/>
                  <a:pt x="221" y="107"/>
                </a:cubicBezTo>
                <a:cubicBezTo>
                  <a:pt x="220" y="106"/>
                  <a:pt x="220" y="106"/>
                  <a:pt x="220" y="106"/>
                </a:cubicBezTo>
                <a:cubicBezTo>
                  <a:pt x="220" y="106"/>
                  <a:pt x="220" y="105"/>
                  <a:pt x="220" y="105"/>
                </a:cubicBezTo>
                <a:cubicBezTo>
                  <a:pt x="220" y="105"/>
                  <a:pt x="220" y="105"/>
                  <a:pt x="220" y="104"/>
                </a:cubicBezTo>
                <a:cubicBezTo>
                  <a:pt x="220" y="104"/>
                  <a:pt x="220" y="104"/>
                  <a:pt x="220" y="104"/>
                </a:cubicBezTo>
                <a:cubicBezTo>
                  <a:pt x="221" y="103"/>
                  <a:pt x="220" y="103"/>
                  <a:pt x="220" y="102"/>
                </a:cubicBezTo>
                <a:cubicBezTo>
                  <a:pt x="220" y="102"/>
                  <a:pt x="219" y="101"/>
                  <a:pt x="219" y="101"/>
                </a:cubicBezTo>
                <a:cubicBezTo>
                  <a:pt x="219" y="101"/>
                  <a:pt x="218" y="101"/>
                  <a:pt x="217" y="101"/>
                </a:cubicBezTo>
                <a:cubicBezTo>
                  <a:pt x="217" y="101"/>
                  <a:pt x="216" y="101"/>
                  <a:pt x="216" y="101"/>
                </a:cubicBezTo>
                <a:cubicBezTo>
                  <a:pt x="215" y="101"/>
                  <a:pt x="213" y="101"/>
                  <a:pt x="213" y="100"/>
                </a:cubicBezTo>
                <a:cubicBezTo>
                  <a:pt x="213" y="100"/>
                  <a:pt x="213" y="99"/>
                  <a:pt x="213" y="99"/>
                </a:cubicBezTo>
                <a:cubicBezTo>
                  <a:pt x="213" y="98"/>
                  <a:pt x="213" y="98"/>
                  <a:pt x="214" y="98"/>
                </a:cubicBezTo>
                <a:cubicBezTo>
                  <a:pt x="214" y="98"/>
                  <a:pt x="214" y="97"/>
                  <a:pt x="214" y="97"/>
                </a:cubicBezTo>
                <a:cubicBezTo>
                  <a:pt x="214" y="97"/>
                  <a:pt x="214" y="96"/>
                  <a:pt x="215" y="96"/>
                </a:cubicBezTo>
                <a:cubicBezTo>
                  <a:pt x="215" y="96"/>
                  <a:pt x="215" y="97"/>
                  <a:pt x="215" y="97"/>
                </a:cubicBezTo>
                <a:cubicBezTo>
                  <a:pt x="215" y="97"/>
                  <a:pt x="216" y="97"/>
                  <a:pt x="216" y="97"/>
                </a:cubicBezTo>
                <a:cubicBezTo>
                  <a:pt x="216" y="98"/>
                  <a:pt x="217" y="98"/>
                  <a:pt x="217" y="98"/>
                </a:cubicBezTo>
                <a:cubicBezTo>
                  <a:pt x="217" y="97"/>
                  <a:pt x="217" y="97"/>
                  <a:pt x="217" y="97"/>
                </a:cubicBezTo>
                <a:cubicBezTo>
                  <a:pt x="217" y="95"/>
                  <a:pt x="217" y="94"/>
                  <a:pt x="216" y="94"/>
                </a:cubicBezTo>
                <a:cubicBezTo>
                  <a:pt x="215" y="93"/>
                  <a:pt x="215" y="93"/>
                  <a:pt x="215" y="94"/>
                </a:cubicBezTo>
                <a:cubicBezTo>
                  <a:pt x="215" y="95"/>
                  <a:pt x="214" y="94"/>
                  <a:pt x="214" y="94"/>
                </a:cubicBezTo>
                <a:cubicBezTo>
                  <a:pt x="214" y="93"/>
                  <a:pt x="214" y="93"/>
                  <a:pt x="214" y="92"/>
                </a:cubicBezTo>
                <a:cubicBezTo>
                  <a:pt x="214" y="92"/>
                  <a:pt x="214" y="92"/>
                  <a:pt x="214" y="91"/>
                </a:cubicBezTo>
                <a:cubicBezTo>
                  <a:pt x="214" y="91"/>
                  <a:pt x="213" y="91"/>
                  <a:pt x="213" y="91"/>
                </a:cubicBezTo>
                <a:cubicBezTo>
                  <a:pt x="212" y="90"/>
                  <a:pt x="213" y="89"/>
                  <a:pt x="213" y="89"/>
                </a:cubicBezTo>
                <a:cubicBezTo>
                  <a:pt x="213" y="88"/>
                  <a:pt x="212" y="88"/>
                  <a:pt x="212" y="88"/>
                </a:cubicBezTo>
                <a:cubicBezTo>
                  <a:pt x="211" y="87"/>
                  <a:pt x="212" y="87"/>
                  <a:pt x="213" y="87"/>
                </a:cubicBezTo>
                <a:cubicBezTo>
                  <a:pt x="213" y="88"/>
                  <a:pt x="214" y="89"/>
                  <a:pt x="214" y="89"/>
                </a:cubicBezTo>
                <a:cubicBezTo>
                  <a:pt x="215" y="89"/>
                  <a:pt x="215" y="89"/>
                  <a:pt x="215" y="88"/>
                </a:cubicBezTo>
                <a:cubicBezTo>
                  <a:pt x="216" y="88"/>
                  <a:pt x="216" y="87"/>
                  <a:pt x="216" y="86"/>
                </a:cubicBezTo>
                <a:cubicBezTo>
                  <a:pt x="216" y="85"/>
                  <a:pt x="217" y="84"/>
                  <a:pt x="216" y="83"/>
                </a:cubicBezTo>
                <a:cubicBezTo>
                  <a:pt x="216" y="83"/>
                  <a:pt x="216" y="83"/>
                  <a:pt x="215" y="83"/>
                </a:cubicBezTo>
                <a:cubicBezTo>
                  <a:pt x="215" y="83"/>
                  <a:pt x="215" y="83"/>
                  <a:pt x="214" y="84"/>
                </a:cubicBezTo>
                <a:cubicBezTo>
                  <a:pt x="214" y="84"/>
                  <a:pt x="214" y="84"/>
                  <a:pt x="214" y="84"/>
                </a:cubicBezTo>
                <a:cubicBezTo>
                  <a:pt x="214" y="84"/>
                  <a:pt x="213" y="84"/>
                  <a:pt x="213" y="84"/>
                </a:cubicBezTo>
                <a:cubicBezTo>
                  <a:pt x="213" y="84"/>
                  <a:pt x="213" y="84"/>
                  <a:pt x="213" y="84"/>
                </a:cubicBezTo>
                <a:cubicBezTo>
                  <a:pt x="213" y="85"/>
                  <a:pt x="213" y="85"/>
                  <a:pt x="212" y="86"/>
                </a:cubicBezTo>
                <a:cubicBezTo>
                  <a:pt x="212" y="86"/>
                  <a:pt x="212" y="86"/>
                  <a:pt x="211" y="85"/>
                </a:cubicBezTo>
                <a:cubicBezTo>
                  <a:pt x="211" y="85"/>
                  <a:pt x="211" y="85"/>
                  <a:pt x="211" y="85"/>
                </a:cubicBezTo>
                <a:cubicBezTo>
                  <a:pt x="211" y="85"/>
                  <a:pt x="211" y="85"/>
                  <a:pt x="210" y="85"/>
                </a:cubicBezTo>
                <a:cubicBezTo>
                  <a:pt x="210" y="85"/>
                  <a:pt x="210" y="84"/>
                  <a:pt x="209" y="84"/>
                </a:cubicBezTo>
                <a:cubicBezTo>
                  <a:pt x="209" y="84"/>
                  <a:pt x="208" y="84"/>
                  <a:pt x="208" y="85"/>
                </a:cubicBezTo>
                <a:cubicBezTo>
                  <a:pt x="208" y="85"/>
                  <a:pt x="207" y="86"/>
                  <a:pt x="207" y="86"/>
                </a:cubicBezTo>
                <a:cubicBezTo>
                  <a:pt x="206" y="86"/>
                  <a:pt x="206" y="86"/>
                  <a:pt x="205" y="87"/>
                </a:cubicBezTo>
                <a:cubicBezTo>
                  <a:pt x="204" y="87"/>
                  <a:pt x="204" y="87"/>
                  <a:pt x="203" y="88"/>
                </a:cubicBezTo>
                <a:cubicBezTo>
                  <a:pt x="202" y="88"/>
                  <a:pt x="202" y="88"/>
                  <a:pt x="201" y="88"/>
                </a:cubicBezTo>
                <a:cubicBezTo>
                  <a:pt x="200" y="87"/>
                  <a:pt x="200" y="87"/>
                  <a:pt x="199" y="86"/>
                </a:cubicBezTo>
                <a:cubicBezTo>
                  <a:pt x="199" y="86"/>
                  <a:pt x="198" y="85"/>
                  <a:pt x="198" y="85"/>
                </a:cubicBezTo>
                <a:cubicBezTo>
                  <a:pt x="198" y="85"/>
                  <a:pt x="197" y="85"/>
                  <a:pt x="197" y="85"/>
                </a:cubicBezTo>
                <a:cubicBezTo>
                  <a:pt x="197" y="85"/>
                  <a:pt x="196" y="86"/>
                  <a:pt x="196" y="86"/>
                </a:cubicBezTo>
                <a:cubicBezTo>
                  <a:pt x="195" y="86"/>
                  <a:pt x="195" y="86"/>
                  <a:pt x="195" y="86"/>
                </a:cubicBezTo>
                <a:cubicBezTo>
                  <a:pt x="195" y="86"/>
                  <a:pt x="194" y="86"/>
                  <a:pt x="194" y="86"/>
                </a:cubicBezTo>
                <a:cubicBezTo>
                  <a:pt x="194" y="87"/>
                  <a:pt x="193" y="87"/>
                  <a:pt x="193" y="87"/>
                </a:cubicBezTo>
                <a:cubicBezTo>
                  <a:pt x="193" y="87"/>
                  <a:pt x="193" y="87"/>
                  <a:pt x="192" y="87"/>
                </a:cubicBezTo>
                <a:cubicBezTo>
                  <a:pt x="192" y="87"/>
                  <a:pt x="191" y="86"/>
                  <a:pt x="191" y="86"/>
                </a:cubicBezTo>
                <a:cubicBezTo>
                  <a:pt x="190" y="86"/>
                  <a:pt x="190" y="85"/>
                  <a:pt x="189" y="85"/>
                </a:cubicBezTo>
                <a:cubicBezTo>
                  <a:pt x="189" y="85"/>
                  <a:pt x="189" y="84"/>
                  <a:pt x="188" y="85"/>
                </a:cubicBezTo>
                <a:cubicBezTo>
                  <a:pt x="188" y="85"/>
                  <a:pt x="187" y="85"/>
                  <a:pt x="187" y="85"/>
                </a:cubicBezTo>
                <a:cubicBezTo>
                  <a:pt x="186" y="85"/>
                  <a:pt x="186" y="85"/>
                  <a:pt x="186" y="85"/>
                </a:cubicBezTo>
                <a:cubicBezTo>
                  <a:pt x="186" y="84"/>
                  <a:pt x="186" y="84"/>
                  <a:pt x="186" y="83"/>
                </a:cubicBezTo>
                <a:cubicBezTo>
                  <a:pt x="186" y="82"/>
                  <a:pt x="186" y="82"/>
                  <a:pt x="186" y="81"/>
                </a:cubicBezTo>
                <a:cubicBezTo>
                  <a:pt x="186" y="80"/>
                  <a:pt x="186" y="79"/>
                  <a:pt x="186" y="78"/>
                </a:cubicBezTo>
                <a:cubicBezTo>
                  <a:pt x="186" y="76"/>
                  <a:pt x="186" y="74"/>
                  <a:pt x="187" y="73"/>
                </a:cubicBezTo>
                <a:cubicBezTo>
                  <a:pt x="187" y="72"/>
                  <a:pt x="188" y="72"/>
                  <a:pt x="188" y="71"/>
                </a:cubicBezTo>
                <a:cubicBezTo>
                  <a:pt x="187" y="71"/>
                  <a:pt x="186" y="71"/>
                  <a:pt x="186" y="7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1" y="71"/>
                  <a:pt x="181" y="72"/>
                  <a:pt x="180" y="72"/>
                </a:cubicBezTo>
                <a:cubicBezTo>
                  <a:pt x="178" y="72"/>
                  <a:pt x="177" y="72"/>
                  <a:pt x="176" y="73"/>
                </a:cubicBezTo>
                <a:cubicBezTo>
                  <a:pt x="175" y="73"/>
                  <a:pt x="174" y="74"/>
                  <a:pt x="173" y="74"/>
                </a:cubicBezTo>
                <a:cubicBezTo>
                  <a:pt x="173" y="74"/>
                  <a:pt x="172" y="75"/>
                  <a:pt x="172" y="75"/>
                </a:cubicBezTo>
                <a:cubicBezTo>
                  <a:pt x="171" y="75"/>
                  <a:pt x="170" y="75"/>
                  <a:pt x="170" y="75"/>
                </a:cubicBezTo>
                <a:cubicBezTo>
                  <a:pt x="170" y="75"/>
                  <a:pt x="170" y="75"/>
                  <a:pt x="170" y="75"/>
                </a:cubicBezTo>
                <a:cubicBezTo>
                  <a:pt x="148" y="75"/>
                  <a:pt x="148" y="75"/>
                  <a:pt x="148" y="75"/>
                </a:cubicBezTo>
                <a:cubicBezTo>
                  <a:pt x="147" y="76"/>
                  <a:pt x="147" y="76"/>
                  <a:pt x="146" y="76"/>
                </a:cubicBezTo>
                <a:cubicBezTo>
                  <a:pt x="146" y="76"/>
                  <a:pt x="145" y="77"/>
                  <a:pt x="144" y="78"/>
                </a:cubicBezTo>
                <a:cubicBezTo>
                  <a:pt x="144" y="78"/>
                  <a:pt x="144" y="78"/>
                  <a:pt x="143" y="79"/>
                </a:cubicBezTo>
                <a:cubicBezTo>
                  <a:pt x="143" y="79"/>
                  <a:pt x="142" y="79"/>
                  <a:pt x="142" y="80"/>
                </a:cubicBezTo>
                <a:cubicBezTo>
                  <a:pt x="141" y="80"/>
                  <a:pt x="141" y="80"/>
                  <a:pt x="140" y="80"/>
                </a:cubicBezTo>
                <a:cubicBezTo>
                  <a:pt x="139" y="81"/>
                  <a:pt x="139" y="81"/>
                  <a:pt x="138" y="81"/>
                </a:cubicBezTo>
                <a:cubicBezTo>
                  <a:pt x="137" y="82"/>
                  <a:pt x="136" y="83"/>
                  <a:pt x="135" y="84"/>
                </a:cubicBezTo>
                <a:cubicBezTo>
                  <a:pt x="134" y="84"/>
                  <a:pt x="133" y="85"/>
                  <a:pt x="133" y="86"/>
                </a:cubicBezTo>
                <a:cubicBezTo>
                  <a:pt x="132" y="86"/>
                  <a:pt x="133" y="87"/>
                  <a:pt x="132" y="87"/>
                </a:cubicBezTo>
                <a:cubicBezTo>
                  <a:pt x="132" y="87"/>
                  <a:pt x="132" y="87"/>
                  <a:pt x="131" y="88"/>
                </a:cubicBezTo>
                <a:cubicBezTo>
                  <a:pt x="131" y="88"/>
                  <a:pt x="131" y="88"/>
                  <a:pt x="130" y="88"/>
                </a:cubicBezTo>
                <a:cubicBezTo>
                  <a:pt x="130" y="88"/>
                  <a:pt x="130" y="88"/>
                  <a:pt x="130" y="87"/>
                </a:cubicBezTo>
                <a:cubicBezTo>
                  <a:pt x="129" y="87"/>
                  <a:pt x="129" y="86"/>
                  <a:pt x="128" y="86"/>
                </a:cubicBezTo>
                <a:cubicBezTo>
                  <a:pt x="127" y="86"/>
                  <a:pt x="127" y="85"/>
                  <a:pt x="126" y="86"/>
                </a:cubicBezTo>
                <a:cubicBezTo>
                  <a:pt x="126" y="86"/>
                  <a:pt x="125" y="86"/>
                  <a:pt x="124" y="87"/>
                </a:cubicBezTo>
                <a:cubicBezTo>
                  <a:pt x="123" y="87"/>
                  <a:pt x="122" y="88"/>
                  <a:pt x="122" y="87"/>
                </a:cubicBezTo>
                <a:cubicBezTo>
                  <a:pt x="121" y="87"/>
                  <a:pt x="121" y="86"/>
                  <a:pt x="121" y="86"/>
                </a:cubicBezTo>
                <a:cubicBezTo>
                  <a:pt x="121" y="85"/>
                  <a:pt x="120" y="85"/>
                  <a:pt x="119" y="84"/>
                </a:cubicBezTo>
                <a:cubicBezTo>
                  <a:pt x="119" y="83"/>
                  <a:pt x="119" y="83"/>
                  <a:pt x="118" y="83"/>
                </a:cubicBezTo>
                <a:cubicBezTo>
                  <a:pt x="117" y="83"/>
                  <a:pt x="116" y="84"/>
                  <a:pt x="115" y="84"/>
                </a:cubicBezTo>
                <a:cubicBezTo>
                  <a:pt x="113" y="85"/>
                  <a:pt x="111" y="85"/>
                  <a:pt x="108" y="85"/>
                </a:cubicBezTo>
                <a:cubicBezTo>
                  <a:pt x="107" y="84"/>
                  <a:pt x="106" y="84"/>
                  <a:pt x="105" y="83"/>
                </a:cubicBezTo>
                <a:cubicBezTo>
                  <a:pt x="105" y="83"/>
                  <a:pt x="105" y="83"/>
                  <a:pt x="104" y="82"/>
                </a:cubicBezTo>
                <a:cubicBezTo>
                  <a:pt x="104" y="82"/>
                  <a:pt x="105" y="81"/>
                  <a:pt x="104" y="80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80"/>
                  <a:pt x="104" y="80"/>
                  <a:pt x="104" y="79"/>
                </a:cubicBezTo>
                <a:cubicBezTo>
                  <a:pt x="103" y="79"/>
                  <a:pt x="103" y="79"/>
                  <a:pt x="102" y="78"/>
                </a:cubicBezTo>
                <a:cubicBezTo>
                  <a:pt x="102" y="78"/>
                  <a:pt x="101" y="77"/>
                  <a:pt x="101" y="76"/>
                </a:cubicBezTo>
                <a:cubicBezTo>
                  <a:pt x="100" y="76"/>
                  <a:pt x="99" y="75"/>
                  <a:pt x="99" y="75"/>
                </a:cubicBezTo>
                <a:cubicBezTo>
                  <a:pt x="99" y="74"/>
                  <a:pt x="98" y="74"/>
                  <a:pt x="98" y="73"/>
                </a:cubicBezTo>
                <a:cubicBezTo>
                  <a:pt x="98" y="72"/>
                  <a:pt x="98" y="72"/>
                  <a:pt x="98" y="72"/>
                </a:cubicBezTo>
                <a:cubicBezTo>
                  <a:pt x="98" y="72"/>
                  <a:pt x="97" y="71"/>
                  <a:pt x="97" y="71"/>
                </a:cubicBezTo>
                <a:cubicBezTo>
                  <a:pt x="97" y="70"/>
                  <a:pt x="98" y="70"/>
                  <a:pt x="97" y="70"/>
                </a:cubicBezTo>
                <a:cubicBezTo>
                  <a:pt x="97" y="70"/>
                  <a:pt x="97" y="70"/>
                  <a:pt x="96" y="70"/>
                </a:cubicBezTo>
                <a:cubicBezTo>
                  <a:pt x="96" y="69"/>
                  <a:pt x="96" y="69"/>
                  <a:pt x="96" y="69"/>
                </a:cubicBezTo>
                <a:cubicBezTo>
                  <a:pt x="96" y="69"/>
                  <a:pt x="95" y="69"/>
                  <a:pt x="95" y="69"/>
                </a:cubicBezTo>
                <a:cubicBezTo>
                  <a:pt x="94" y="68"/>
                  <a:pt x="94" y="68"/>
                  <a:pt x="94" y="68"/>
                </a:cubicBezTo>
                <a:cubicBezTo>
                  <a:pt x="93" y="68"/>
                  <a:pt x="93" y="68"/>
                  <a:pt x="93" y="67"/>
                </a:cubicBezTo>
                <a:cubicBezTo>
                  <a:pt x="92" y="67"/>
                  <a:pt x="91" y="66"/>
                  <a:pt x="91" y="65"/>
                </a:cubicBezTo>
                <a:cubicBezTo>
                  <a:pt x="90" y="65"/>
                  <a:pt x="90" y="65"/>
                  <a:pt x="90" y="65"/>
                </a:cubicBezTo>
                <a:cubicBezTo>
                  <a:pt x="89" y="65"/>
                  <a:pt x="89" y="64"/>
                  <a:pt x="88" y="64"/>
                </a:cubicBezTo>
                <a:cubicBezTo>
                  <a:pt x="88" y="64"/>
                  <a:pt x="87" y="64"/>
                  <a:pt x="87" y="64"/>
                </a:cubicBezTo>
                <a:cubicBezTo>
                  <a:pt x="86" y="64"/>
                  <a:pt x="86" y="64"/>
                  <a:pt x="85" y="64"/>
                </a:cubicBezTo>
                <a:cubicBezTo>
                  <a:pt x="84" y="64"/>
                  <a:pt x="83" y="64"/>
                  <a:pt x="82" y="64"/>
                </a:cubicBezTo>
                <a:cubicBezTo>
                  <a:pt x="81" y="64"/>
                  <a:pt x="81" y="64"/>
                  <a:pt x="80" y="64"/>
                </a:cubicBezTo>
                <a:cubicBezTo>
                  <a:pt x="80" y="63"/>
                  <a:pt x="79" y="63"/>
                  <a:pt x="79" y="64"/>
                </a:cubicBezTo>
                <a:cubicBezTo>
                  <a:pt x="78" y="64"/>
                  <a:pt x="78" y="64"/>
                  <a:pt x="78" y="64"/>
                </a:cubicBezTo>
                <a:cubicBezTo>
                  <a:pt x="78" y="64"/>
                  <a:pt x="77" y="64"/>
                  <a:pt x="77" y="64"/>
                </a:cubicBezTo>
                <a:cubicBezTo>
                  <a:pt x="77" y="64"/>
                  <a:pt x="77" y="63"/>
                  <a:pt x="77" y="62"/>
                </a:cubicBezTo>
                <a:cubicBezTo>
                  <a:pt x="77" y="62"/>
                  <a:pt x="76" y="62"/>
                  <a:pt x="75" y="62"/>
                </a:cubicBezTo>
                <a:cubicBezTo>
                  <a:pt x="75" y="62"/>
                  <a:pt x="74" y="63"/>
                  <a:pt x="74" y="63"/>
                </a:cubicBezTo>
                <a:cubicBezTo>
                  <a:pt x="74" y="64"/>
                  <a:pt x="74" y="64"/>
                  <a:pt x="73" y="64"/>
                </a:cubicBezTo>
                <a:cubicBezTo>
                  <a:pt x="73" y="65"/>
                  <a:pt x="73" y="65"/>
                  <a:pt x="72" y="65"/>
                </a:cubicBezTo>
                <a:cubicBezTo>
                  <a:pt x="72" y="66"/>
                  <a:pt x="71" y="66"/>
                  <a:pt x="70" y="67"/>
                </a:cubicBezTo>
                <a:cubicBezTo>
                  <a:pt x="70" y="68"/>
                  <a:pt x="69" y="69"/>
                  <a:pt x="68" y="70"/>
                </a:cubicBezTo>
                <a:cubicBezTo>
                  <a:pt x="68" y="70"/>
                  <a:pt x="68" y="71"/>
                  <a:pt x="67" y="71"/>
                </a:cubicBezTo>
                <a:cubicBezTo>
                  <a:pt x="67" y="70"/>
                  <a:pt x="67" y="69"/>
                  <a:pt x="67" y="69"/>
                </a:cubicBezTo>
                <a:cubicBezTo>
                  <a:pt x="67" y="67"/>
                  <a:pt x="67" y="66"/>
                  <a:pt x="67" y="64"/>
                </a:cubicBezTo>
                <a:cubicBezTo>
                  <a:pt x="68" y="63"/>
                  <a:pt x="68" y="62"/>
                  <a:pt x="68" y="60"/>
                </a:cubicBezTo>
                <a:cubicBezTo>
                  <a:pt x="69" y="60"/>
                  <a:pt x="69" y="59"/>
                  <a:pt x="70" y="59"/>
                </a:cubicBezTo>
                <a:cubicBezTo>
                  <a:pt x="70" y="58"/>
                  <a:pt x="70" y="57"/>
                  <a:pt x="71" y="56"/>
                </a:cubicBezTo>
                <a:cubicBezTo>
                  <a:pt x="71" y="56"/>
                  <a:pt x="72" y="55"/>
                  <a:pt x="72" y="54"/>
                </a:cubicBezTo>
                <a:cubicBezTo>
                  <a:pt x="73" y="53"/>
                  <a:pt x="73" y="53"/>
                  <a:pt x="74" y="52"/>
                </a:cubicBezTo>
                <a:cubicBezTo>
                  <a:pt x="75" y="50"/>
                  <a:pt x="76" y="49"/>
                  <a:pt x="77" y="48"/>
                </a:cubicBezTo>
                <a:cubicBezTo>
                  <a:pt x="78" y="47"/>
                  <a:pt x="79" y="47"/>
                  <a:pt x="79" y="47"/>
                </a:cubicBezTo>
                <a:cubicBezTo>
                  <a:pt x="80" y="46"/>
                  <a:pt x="80" y="46"/>
                  <a:pt x="81" y="45"/>
                </a:cubicBezTo>
                <a:cubicBezTo>
                  <a:pt x="81" y="45"/>
                  <a:pt x="82" y="45"/>
                  <a:pt x="83" y="44"/>
                </a:cubicBezTo>
                <a:cubicBezTo>
                  <a:pt x="83" y="43"/>
                  <a:pt x="84" y="43"/>
                  <a:pt x="84" y="42"/>
                </a:cubicBezTo>
                <a:cubicBezTo>
                  <a:pt x="85" y="41"/>
                  <a:pt x="85" y="40"/>
                  <a:pt x="86" y="40"/>
                </a:cubicBezTo>
                <a:cubicBezTo>
                  <a:pt x="88" y="39"/>
                  <a:pt x="90" y="40"/>
                  <a:pt x="91" y="39"/>
                </a:cubicBezTo>
                <a:cubicBezTo>
                  <a:pt x="92" y="38"/>
                  <a:pt x="92" y="38"/>
                  <a:pt x="92" y="37"/>
                </a:cubicBezTo>
                <a:cubicBezTo>
                  <a:pt x="93" y="37"/>
                  <a:pt x="93" y="37"/>
                  <a:pt x="93" y="36"/>
                </a:cubicBezTo>
                <a:cubicBezTo>
                  <a:pt x="92" y="36"/>
                  <a:pt x="91" y="35"/>
                  <a:pt x="91" y="35"/>
                </a:cubicBezTo>
                <a:cubicBezTo>
                  <a:pt x="89" y="34"/>
                  <a:pt x="88" y="34"/>
                  <a:pt x="87" y="34"/>
                </a:cubicBezTo>
                <a:cubicBezTo>
                  <a:pt x="86" y="35"/>
                  <a:pt x="84" y="34"/>
                  <a:pt x="83" y="35"/>
                </a:cubicBezTo>
                <a:cubicBezTo>
                  <a:pt x="82" y="35"/>
                  <a:pt x="82" y="35"/>
                  <a:pt x="81" y="35"/>
                </a:cubicBezTo>
                <a:cubicBezTo>
                  <a:pt x="80" y="35"/>
                  <a:pt x="79" y="35"/>
                  <a:pt x="78" y="35"/>
                </a:cubicBezTo>
                <a:cubicBezTo>
                  <a:pt x="77" y="36"/>
                  <a:pt x="76" y="36"/>
                  <a:pt x="75" y="37"/>
                </a:cubicBezTo>
                <a:cubicBezTo>
                  <a:pt x="74" y="37"/>
                  <a:pt x="73" y="38"/>
                  <a:pt x="73" y="38"/>
                </a:cubicBezTo>
                <a:cubicBezTo>
                  <a:pt x="72" y="38"/>
                  <a:pt x="71" y="39"/>
                  <a:pt x="70" y="39"/>
                </a:cubicBezTo>
                <a:cubicBezTo>
                  <a:pt x="69" y="40"/>
                  <a:pt x="68" y="41"/>
                  <a:pt x="68" y="42"/>
                </a:cubicBezTo>
                <a:cubicBezTo>
                  <a:pt x="67" y="43"/>
                  <a:pt x="67" y="44"/>
                  <a:pt x="66" y="44"/>
                </a:cubicBezTo>
                <a:cubicBezTo>
                  <a:pt x="65" y="45"/>
                  <a:pt x="64" y="46"/>
                  <a:pt x="63" y="46"/>
                </a:cubicBezTo>
                <a:cubicBezTo>
                  <a:pt x="63" y="47"/>
                  <a:pt x="63" y="47"/>
                  <a:pt x="62" y="47"/>
                </a:cubicBezTo>
                <a:cubicBezTo>
                  <a:pt x="62" y="48"/>
                  <a:pt x="61" y="48"/>
                  <a:pt x="61" y="48"/>
                </a:cubicBezTo>
                <a:cubicBezTo>
                  <a:pt x="60" y="48"/>
                  <a:pt x="60" y="49"/>
                  <a:pt x="60" y="49"/>
                </a:cubicBezTo>
                <a:cubicBezTo>
                  <a:pt x="59" y="49"/>
                  <a:pt x="59" y="49"/>
                  <a:pt x="58" y="49"/>
                </a:cubicBezTo>
                <a:cubicBezTo>
                  <a:pt x="58" y="50"/>
                  <a:pt x="58" y="50"/>
                  <a:pt x="58" y="50"/>
                </a:cubicBezTo>
                <a:cubicBezTo>
                  <a:pt x="57" y="50"/>
                  <a:pt x="57" y="51"/>
                  <a:pt x="57" y="51"/>
                </a:cubicBezTo>
                <a:cubicBezTo>
                  <a:pt x="56" y="51"/>
                  <a:pt x="56" y="52"/>
                  <a:pt x="55" y="52"/>
                </a:cubicBezTo>
                <a:cubicBezTo>
                  <a:pt x="54" y="53"/>
                  <a:pt x="53" y="53"/>
                  <a:pt x="53" y="54"/>
                </a:cubicBezTo>
                <a:cubicBezTo>
                  <a:pt x="52" y="54"/>
                  <a:pt x="52" y="55"/>
                  <a:pt x="52" y="55"/>
                </a:cubicBezTo>
                <a:cubicBezTo>
                  <a:pt x="52" y="56"/>
                  <a:pt x="51" y="57"/>
                  <a:pt x="51" y="57"/>
                </a:cubicBezTo>
                <a:cubicBezTo>
                  <a:pt x="50" y="58"/>
                  <a:pt x="50" y="58"/>
                  <a:pt x="49" y="59"/>
                </a:cubicBezTo>
                <a:cubicBezTo>
                  <a:pt x="49" y="59"/>
                  <a:pt x="48" y="59"/>
                  <a:pt x="47" y="59"/>
                </a:cubicBezTo>
                <a:cubicBezTo>
                  <a:pt x="47" y="60"/>
                  <a:pt x="46" y="60"/>
                  <a:pt x="45" y="60"/>
                </a:cubicBezTo>
                <a:cubicBezTo>
                  <a:pt x="45" y="60"/>
                  <a:pt x="44" y="60"/>
                  <a:pt x="43" y="61"/>
                </a:cubicBezTo>
                <a:cubicBezTo>
                  <a:pt x="42" y="61"/>
                  <a:pt x="41" y="62"/>
                  <a:pt x="40" y="63"/>
                </a:cubicBezTo>
                <a:cubicBezTo>
                  <a:pt x="38" y="65"/>
                  <a:pt x="36" y="66"/>
                  <a:pt x="33" y="67"/>
                </a:cubicBezTo>
                <a:cubicBezTo>
                  <a:pt x="32" y="67"/>
                  <a:pt x="31" y="67"/>
                  <a:pt x="29" y="68"/>
                </a:cubicBezTo>
                <a:cubicBezTo>
                  <a:pt x="28" y="68"/>
                  <a:pt x="27" y="68"/>
                  <a:pt x="26" y="68"/>
                </a:cubicBezTo>
                <a:cubicBezTo>
                  <a:pt x="24" y="68"/>
                  <a:pt x="22" y="68"/>
                  <a:pt x="22" y="69"/>
                </a:cubicBezTo>
                <a:cubicBezTo>
                  <a:pt x="21" y="69"/>
                  <a:pt x="20" y="69"/>
                  <a:pt x="20" y="70"/>
                </a:cubicBezTo>
                <a:cubicBezTo>
                  <a:pt x="20" y="70"/>
                  <a:pt x="19" y="70"/>
                  <a:pt x="19" y="71"/>
                </a:cubicBezTo>
                <a:cubicBezTo>
                  <a:pt x="18" y="72"/>
                  <a:pt x="16" y="74"/>
                  <a:pt x="15" y="74"/>
                </a:cubicBezTo>
                <a:cubicBezTo>
                  <a:pt x="14" y="75"/>
                  <a:pt x="12" y="76"/>
                  <a:pt x="11" y="77"/>
                </a:cubicBezTo>
                <a:cubicBezTo>
                  <a:pt x="11" y="77"/>
                  <a:pt x="7" y="78"/>
                  <a:pt x="5" y="78"/>
                </a:cubicBezTo>
                <a:cubicBezTo>
                  <a:pt x="4" y="78"/>
                  <a:pt x="2" y="79"/>
                  <a:pt x="1" y="80"/>
                </a:cubicBezTo>
                <a:cubicBezTo>
                  <a:pt x="1" y="80"/>
                  <a:pt x="0" y="80"/>
                  <a:pt x="0" y="80"/>
                </a:cubicBezTo>
                <a:cubicBezTo>
                  <a:pt x="0" y="82"/>
                  <a:pt x="0" y="82"/>
                  <a:pt x="0" y="82"/>
                </a:cubicBezTo>
                <a:lnTo>
                  <a:pt x="3" y="82"/>
                </a:lnTo>
                <a:close/>
                <a:moveTo>
                  <a:pt x="240" y="313"/>
                </a:moveTo>
                <a:cubicBezTo>
                  <a:pt x="240" y="312"/>
                  <a:pt x="241" y="311"/>
                  <a:pt x="241" y="311"/>
                </a:cubicBezTo>
                <a:cubicBezTo>
                  <a:pt x="241" y="310"/>
                  <a:pt x="242" y="308"/>
                  <a:pt x="242" y="308"/>
                </a:cubicBezTo>
                <a:cubicBezTo>
                  <a:pt x="242" y="307"/>
                  <a:pt x="243" y="306"/>
                  <a:pt x="243" y="306"/>
                </a:cubicBezTo>
                <a:cubicBezTo>
                  <a:pt x="243" y="306"/>
                  <a:pt x="249" y="301"/>
                  <a:pt x="249" y="301"/>
                </a:cubicBezTo>
                <a:cubicBezTo>
                  <a:pt x="249" y="300"/>
                  <a:pt x="249" y="298"/>
                  <a:pt x="249" y="297"/>
                </a:cubicBezTo>
                <a:cubicBezTo>
                  <a:pt x="249" y="297"/>
                  <a:pt x="250" y="295"/>
                  <a:pt x="250" y="295"/>
                </a:cubicBezTo>
                <a:cubicBezTo>
                  <a:pt x="250" y="295"/>
                  <a:pt x="251" y="294"/>
                  <a:pt x="251" y="293"/>
                </a:cubicBezTo>
                <a:cubicBezTo>
                  <a:pt x="251" y="293"/>
                  <a:pt x="251" y="291"/>
                  <a:pt x="251" y="291"/>
                </a:cubicBezTo>
                <a:cubicBezTo>
                  <a:pt x="251" y="290"/>
                  <a:pt x="251" y="289"/>
                  <a:pt x="251" y="289"/>
                </a:cubicBezTo>
                <a:cubicBezTo>
                  <a:pt x="254" y="286"/>
                  <a:pt x="254" y="286"/>
                  <a:pt x="254" y="286"/>
                </a:cubicBezTo>
                <a:cubicBezTo>
                  <a:pt x="257" y="285"/>
                  <a:pt x="257" y="285"/>
                  <a:pt x="257" y="285"/>
                </a:cubicBezTo>
                <a:cubicBezTo>
                  <a:pt x="257" y="285"/>
                  <a:pt x="258" y="285"/>
                  <a:pt x="258" y="284"/>
                </a:cubicBezTo>
                <a:cubicBezTo>
                  <a:pt x="258" y="284"/>
                  <a:pt x="259" y="283"/>
                  <a:pt x="259" y="283"/>
                </a:cubicBezTo>
                <a:cubicBezTo>
                  <a:pt x="259" y="283"/>
                  <a:pt x="259" y="282"/>
                  <a:pt x="260" y="281"/>
                </a:cubicBezTo>
                <a:cubicBezTo>
                  <a:pt x="260" y="281"/>
                  <a:pt x="260" y="280"/>
                  <a:pt x="260" y="280"/>
                </a:cubicBezTo>
                <a:cubicBezTo>
                  <a:pt x="261" y="280"/>
                  <a:pt x="260" y="278"/>
                  <a:pt x="260" y="276"/>
                </a:cubicBezTo>
                <a:cubicBezTo>
                  <a:pt x="261" y="275"/>
                  <a:pt x="261" y="276"/>
                  <a:pt x="262" y="275"/>
                </a:cubicBezTo>
                <a:cubicBezTo>
                  <a:pt x="263" y="275"/>
                  <a:pt x="263" y="275"/>
                  <a:pt x="263" y="275"/>
                </a:cubicBezTo>
                <a:cubicBezTo>
                  <a:pt x="263" y="275"/>
                  <a:pt x="263" y="274"/>
                  <a:pt x="263" y="274"/>
                </a:cubicBezTo>
                <a:cubicBezTo>
                  <a:pt x="263" y="273"/>
                  <a:pt x="263" y="272"/>
                  <a:pt x="263" y="271"/>
                </a:cubicBezTo>
                <a:cubicBezTo>
                  <a:pt x="263" y="271"/>
                  <a:pt x="264" y="271"/>
                  <a:pt x="264" y="271"/>
                </a:cubicBezTo>
                <a:cubicBezTo>
                  <a:pt x="265" y="271"/>
                  <a:pt x="265" y="270"/>
                  <a:pt x="265" y="270"/>
                </a:cubicBezTo>
                <a:cubicBezTo>
                  <a:pt x="266" y="270"/>
                  <a:pt x="266" y="270"/>
                  <a:pt x="267" y="270"/>
                </a:cubicBezTo>
                <a:cubicBezTo>
                  <a:pt x="267" y="270"/>
                  <a:pt x="269" y="270"/>
                  <a:pt x="269" y="270"/>
                </a:cubicBezTo>
                <a:cubicBezTo>
                  <a:pt x="269" y="271"/>
                  <a:pt x="269" y="271"/>
                  <a:pt x="268" y="271"/>
                </a:cubicBezTo>
                <a:cubicBezTo>
                  <a:pt x="268" y="271"/>
                  <a:pt x="268" y="272"/>
                  <a:pt x="268" y="273"/>
                </a:cubicBezTo>
                <a:cubicBezTo>
                  <a:pt x="269" y="273"/>
                  <a:pt x="269" y="274"/>
                  <a:pt x="269" y="274"/>
                </a:cubicBezTo>
                <a:cubicBezTo>
                  <a:pt x="269" y="274"/>
                  <a:pt x="269" y="275"/>
                  <a:pt x="270" y="275"/>
                </a:cubicBezTo>
                <a:cubicBezTo>
                  <a:pt x="270" y="275"/>
                  <a:pt x="272" y="273"/>
                  <a:pt x="272" y="273"/>
                </a:cubicBezTo>
                <a:cubicBezTo>
                  <a:pt x="276" y="253"/>
                  <a:pt x="276" y="253"/>
                  <a:pt x="276" y="253"/>
                </a:cubicBezTo>
                <a:cubicBezTo>
                  <a:pt x="276" y="253"/>
                  <a:pt x="275" y="253"/>
                  <a:pt x="275" y="252"/>
                </a:cubicBezTo>
                <a:cubicBezTo>
                  <a:pt x="275" y="252"/>
                  <a:pt x="274" y="251"/>
                  <a:pt x="274" y="250"/>
                </a:cubicBezTo>
                <a:cubicBezTo>
                  <a:pt x="274" y="249"/>
                  <a:pt x="274" y="249"/>
                  <a:pt x="274" y="248"/>
                </a:cubicBezTo>
                <a:cubicBezTo>
                  <a:pt x="273" y="246"/>
                  <a:pt x="273" y="245"/>
                  <a:pt x="273" y="244"/>
                </a:cubicBezTo>
                <a:cubicBezTo>
                  <a:pt x="273" y="243"/>
                  <a:pt x="272" y="242"/>
                  <a:pt x="272" y="241"/>
                </a:cubicBezTo>
                <a:cubicBezTo>
                  <a:pt x="272" y="240"/>
                  <a:pt x="272" y="239"/>
                  <a:pt x="272" y="238"/>
                </a:cubicBezTo>
                <a:cubicBezTo>
                  <a:pt x="272" y="237"/>
                  <a:pt x="271" y="236"/>
                  <a:pt x="271" y="236"/>
                </a:cubicBezTo>
                <a:cubicBezTo>
                  <a:pt x="271" y="234"/>
                  <a:pt x="271" y="233"/>
                  <a:pt x="271" y="232"/>
                </a:cubicBezTo>
                <a:cubicBezTo>
                  <a:pt x="271" y="231"/>
                  <a:pt x="271" y="231"/>
                  <a:pt x="271" y="230"/>
                </a:cubicBezTo>
                <a:cubicBezTo>
                  <a:pt x="271" y="230"/>
                  <a:pt x="271" y="229"/>
                  <a:pt x="271" y="229"/>
                </a:cubicBezTo>
                <a:cubicBezTo>
                  <a:pt x="271" y="228"/>
                  <a:pt x="270" y="228"/>
                  <a:pt x="270" y="227"/>
                </a:cubicBezTo>
                <a:cubicBezTo>
                  <a:pt x="270" y="227"/>
                  <a:pt x="270" y="226"/>
                  <a:pt x="270" y="225"/>
                </a:cubicBezTo>
                <a:cubicBezTo>
                  <a:pt x="270" y="224"/>
                  <a:pt x="270" y="222"/>
                  <a:pt x="270" y="221"/>
                </a:cubicBezTo>
                <a:cubicBezTo>
                  <a:pt x="269" y="220"/>
                  <a:pt x="269" y="218"/>
                  <a:pt x="269" y="217"/>
                </a:cubicBezTo>
                <a:cubicBezTo>
                  <a:pt x="269" y="216"/>
                  <a:pt x="269" y="215"/>
                  <a:pt x="268" y="214"/>
                </a:cubicBezTo>
                <a:cubicBezTo>
                  <a:pt x="268" y="214"/>
                  <a:pt x="268" y="214"/>
                  <a:pt x="268" y="213"/>
                </a:cubicBezTo>
                <a:cubicBezTo>
                  <a:pt x="267" y="212"/>
                  <a:pt x="267" y="211"/>
                  <a:pt x="267" y="210"/>
                </a:cubicBezTo>
                <a:cubicBezTo>
                  <a:pt x="266" y="209"/>
                  <a:pt x="266" y="209"/>
                  <a:pt x="265" y="208"/>
                </a:cubicBezTo>
                <a:cubicBezTo>
                  <a:pt x="265" y="208"/>
                  <a:pt x="265" y="207"/>
                  <a:pt x="265" y="207"/>
                </a:cubicBezTo>
                <a:cubicBezTo>
                  <a:pt x="264" y="207"/>
                  <a:pt x="264" y="207"/>
                  <a:pt x="264" y="206"/>
                </a:cubicBezTo>
                <a:cubicBezTo>
                  <a:pt x="263" y="206"/>
                  <a:pt x="262" y="206"/>
                  <a:pt x="262" y="205"/>
                </a:cubicBezTo>
                <a:cubicBezTo>
                  <a:pt x="260" y="205"/>
                  <a:pt x="258" y="203"/>
                  <a:pt x="257" y="205"/>
                </a:cubicBezTo>
                <a:cubicBezTo>
                  <a:pt x="256" y="205"/>
                  <a:pt x="256" y="206"/>
                  <a:pt x="255" y="206"/>
                </a:cubicBezTo>
                <a:cubicBezTo>
                  <a:pt x="255" y="207"/>
                  <a:pt x="254" y="207"/>
                  <a:pt x="253" y="207"/>
                </a:cubicBezTo>
                <a:cubicBezTo>
                  <a:pt x="253" y="207"/>
                  <a:pt x="252" y="207"/>
                  <a:pt x="252" y="207"/>
                </a:cubicBezTo>
                <a:cubicBezTo>
                  <a:pt x="251" y="207"/>
                  <a:pt x="251" y="207"/>
                  <a:pt x="251" y="208"/>
                </a:cubicBezTo>
                <a:cubicBezTo>
                  <a:pt x="250" y="208"/>
                  <a:pt x="250" y="207"/>
                  <a:pt x="249" y="207"/>
                </a:cubicBezTo>
                <a:cubicBezTo>
                  <a:pt x="249" y="208"/>
                  <a:pt x="248" y="207"/>
                  <a:pt x="247" y="208"/>
                </a:cubicBezTo>
                <a:cubicBezTo>
                  <a:pt x="247" y="208"/>
                  <a:pt x="247" y="208"/>
                  <a:pt x="247" y="209"/>
                </a:cubicBezTo>
                <a:cubicBezTo>
                  <a:pt x="247" y="209"/>
                  <a:pt x="247" y="209"/>
                  <a:pt x="246" y="209"/>
                </a:cubicBezTo>
                <a:cubicBezTo>
                  <a:pt x="246" y="209"/>
                  <a:pt x="246" y="209"/>
                  <a:pt x="246" y="210"/>
                </a:cubicBezTo>
                <a:cubicBezTo>
                  <a:pt x="246" y="210"/>
                  <a:pt x="246" y="211"/>
                  <a:pt x="245" y="211"/>
                </a:cubicBezTo>
                <a:cubicBezTo>
                  <a:pt x="244" y="211"/>
                  <a:pt x="242" y="210"/>
                  <a:pt x="242" y="211"/>
                </a:cubicBezTo>
                <a:cubicBezTo>
                  <a:pt x="242" y="211"/>
                  <a:pt x="242" y="212"/>
                  <a:pt x="243" y="212"/>
                </a:cubicBezTo>
                <a:cubicBezTo>
                  <a:pt x="243" y="212"/>
                  <a:pt x="243" y="212"/>
                  <a:pt x="244" y="212"/>
                </a:cubicBezTo>
                <a:cubicBezTo>
                  <a:pt x="244" y="212"/>
                  <a:pt x="244" y="212"/>
                  <a:pt x="244" y="213"/>
                </a:cubicBezTo>
                <a:cubicBezTo>
                  <a:pt x="244" y="213"/>
                  <a:pt x="244" y="213"/>
                  <a:pt x="244" y="213"/>
                </a:cubicBezTo>
                <a:cubicBezTo>
                  <a:pt x="243" y="214"/>
                  <a:pt x="243" y="214"/>
                  <a:pt x="242" y="214"/>
                </a:cubicBezTo>
                <a:cubicBezTo>
                  <a:pt x="242" y="215"/>
                  <a:pt x="242" y="215"/>
                  <a:pt x="242" y="215"/>
                </a:cubicBezTo>
                <a:cubicBezTo>
                  <a:pt x="242" y="215"/>
                  <a:pt x="242" y="216"/>
                  <a:pt x="242" y="216"/>
                </a:cubicBezTo>
                <a:cubicBezTo>
                  <a:pt x="241" y="216"/>
                  <a:pt x="241" y="217"/>
                  <a:pt x="241" y="217"/>
                </a:cubicBezTo>
                <a:cubicBezTo>
                  <a:pt x="241" y="218"/>
                  <a:pt x="241" y="219"/>
                  <a:pt x="240" y="220"/>
                </a:cubicBezTo>
                <a:cubicBezTo>
                  <a:pt x="239" y="220"/>
                  <a:pt x="238" y="220"/>
                  <a:pt x="237" y="221"/>
                </a:cubicBezTo>
                <a:cubicBezTo>
                  <a:pt x="237" y="221"/>
                  <a:pt x="237" y="221"/>
                  <a:pt x="237" y="222"/>
                </a:cubicBezTo>
                <a:cubicBezTo>
                  <a:pt x="237" y="222"/>
                  <a:pt x="237" y="222"/>
                  <a:pt x="236" y="223"/>
                </a:cubicBezTo>
                <a:cubicBezTo>
                  <a:pt x="235" y="224"/>
                  <a:pt x="234" y="225"/>
                  <a:pt x="233" y="226"/>
                </a:cubicBezTo>
                <a:cubicBezTo>
                  <a:pt x="233" y="226"/>
                  <a:pt x="232" y="226"/>
                  <a:pt x="232" y="226"/>
                </a:cubicBezTo>
                <a:cubicBezTo>
                  <a:pt x="232" y="226"/>
                  <a:pt x="232" y="226"/>
                  <a:pt x="231" y="226"/>
                </a:cubicBezTo>
                <a:cubicBezTo>
                  <a:pt x="231" y="226"/>
                  <a:pt x="230" y="226"/>
                  <a:pt x="229" y="226"/>
                </a:cubicBezTo>
                <a:cubicBezTo>
                  <a:pt x="229" y="225"/>
                  <a:pt x="229" y="225"/>
                  <a:pt x="229" y="225"/>
                </a:cubicBezTo>
                <a:cubicBezTo>
                  <a:pt x="228" y="225"/>
                  <a:pt x="228" y="225"/>
                  <a:pt x="228" y="225"/>
                </a:cubicBezTo>
                <a:cubicBezTo>
                  <a:pt x="227" y="225"/>
                  <a:pt x="227" y="224"/>
                  <a:pt x="226" y="224"/>
                </a:cubicBezTo>
                <a:cubicBezTo>
                  <a:pt x="226" y="223"/>
                  <a:pt x="225" y="223"/>
                  <a:pt x="225" y="222"/>
                </a:cubicBezTo>
                <a:cubicBezTo>
                  <a:pt x="225" y="222"/>
                  <a:pt x="224" y="222"/>
                  <a:pt x="224" y="221"/>
                </a:cubicBezTo>
                <a:cubicBezTo>
                  <a:pt x="224" y="220"/>
                  <a:pt x="224" y="219"/>
                  <a:pt x="224" y="218"/>
                </a:cubicBezTo>
                <a:cubicBezTo>
                  <a:pt x="224" y="217"/>
                  <a:pt x="224" y="216"/>
                  <a:pt x="224" y="215"/>
                </a:cubicBezTo>
                <a:cubicBezTo>
                  <a:pt x="224" y="214"/>
                  <a:pt x="225" y="213"/>
                  <a:pt x="224" y="213"/>
                </a:cubicBezTo>
                <a:cubicBezTo>
                  <a:pt x="224" y="212"/>
                  <a:pt x="224" y="212"/>
                  <a:pt x="225" y="212"/>
                </a:cubicBezTo>
                <a:cubicBezTo>
                  <a:pt x="225" y="212"/>
                  <a:pt x="225" y="211"/>
                  <a:pt x="225" y="211"/>
                </a:cubicBezTo>
                <a:cubicBezTo>
                  <a:pt x="225" y="210"/>
                  <a:pt x="225" y="210"/>
                  <a:pt x="225" y="210"/>
                </a:cubicBezTo>
                <a:cubicBezTo>
                  <a:pt x="226" y="209"/>
                  <a:pt x="226" y="209"/>
                  <a:pt x="226" y="209"/>
                </a:cubicBezTo>
                <a:cubicBezTo>
                  <a:pt x="227" y="209"/>
                  <a:pt x="227" y="208"/>
                  <a:pt x="227" y="208"/>
                </a:cubicBezTo>
                <a:cubicBezTo>
                  <a:pt x="228" y="208"/>
                  <a:pt x="229" y="208"/>
                  <a:pt x="229" y="208"/>
                </a:cubicBezTo>
                <a:cubicBezTo>
                  <a:pt x="230" y="208"/>
                  <a:pt x="232" y="208"/>
                  <a:pt x="232" y="207"/>
                </a:cubicBezTo>
                <a:cubicBezTo>
                  <a:pt x="233" y="207"/>
                  <a:pt x="232" y="206"/>
                  <a:pt x="233" y="205"/>
                </a:cubicBezTo>
                <a:cubicBezTo>
                  <a:pt x="233" y="205"/>
                  <a:pt x="233" y="205"/>
                  <a:pt x="234" y="205"/>
                </a:cubicBezTo>
                <a:cubicBezTo>
                  <a:pt x="235" y="205"/>
                  <a:pt x="235" y="204"/>
                  <a:pt x="236" y="204"/>
                </a:cubicBezTo>
                <a:cubicBezTo>
                  <a:pt x="236" y="204"/>
                  <a:pt x="236" y="199"/>
                  <a:pt x="237" y="199"/>
                </a:cubicBezTo>
                <a:cubicBezTo>
                  <a:pt x="237" y="199"/>
                  <a:pt x="237" y="199"/>
                  <a:pt x="237" y="199"/>
                </a:cubicBezTo>
                <a:cubicBezTo>
                  <a:pt x="237" y="197"/>
                  <a:pt x="237" y="196"/>
                  <a:pt x="238" y="195"/>
                </a:cubicBezTo>
                <a:cubicBezTo>
                  <a:pt x="238" y="195"/>
                  <a:pt x="239" y="194"/>
                  <a:pt x="239" y="194"/>
                </a:cubicBezTo>
                <a:cubicBezTo>
                  <a:pt x="240" y="194"/>
                  <a:pt x="240" y="194"/>
                  <a:pt x="240" y="195"/>
                </a:cubicBezTo>
                <a:cubicBezTo>
                  <a:pt x="241" y="195"/>
                  <a:pt x="242" y="194"/>
                  <a:pt x="242" y="194"/>
                </a:cubicBezTo>
                <a:cubicBezTo>
                  <a:pt x="243" y="193"/>
                  <a:pt x="244" y="192"/>
                  <a:pt x="244" y="191"/>
                </a:cubicBezTo>
                <a:cubicBezTo>
                  <a:pt x="245" y="190"/>
                  <a:pt x="245" y="189"/>
                  <a:pt x="245" y="188"/>
                </a:cubicBezTo>
                <a:cubicBezTo>
                  <a:pt x="245" y="188"/>
                  <a:pt x="245" y="187"/>
                  <a:pt x="245" y="187"/>
                </a:cubicBezTo>
                <a:cubicBezTo>
                  <a:pt x="245" y="186"/>
                  <a:pt x="245" y="186"/>
                  <a:pt x="245" y="186"/>
                </a:cubicBezTo>
                <a:cubicBezTo>
                  <a:pt x="245" y="185"/>
                  <a:pt x="245" y="184"/>
                  <a:pt x="245" y="183"/>
                </a:cubicBezTo>
                <a:cubicBezTo>
                  <a:pt x="245" y="182"/>
                  <a:pt x="245" y="181"/>
                  <a:pt x="246" y="180"/>
                </a:cubicBezTo>
                <a:cubicBezTo>
                  <a:pt x="246" y="180"/>
                  <a:pt x="246" y="180"/>
                  <a:pt x="246" y="180"/>
                </a:cubicBezTo>
                <a:cubicBezTo>
                  <a:pt x="246" y="179"/>
                  <a:pt x="246" y="179"/>
                  <a:pt x="246" y="179"/>
                </a:cubicBezTo>
                <a:cubicBezTo>
                  <a:pt x="246" y="177"/>
                  <a:pt x="246" y="176"/>
                  <a:pt x="246" y="175"/>
                </a:cubicBezTo>
                <a:cubicBezTo>
                  <a:pt x="246" y="174"/>
                  <a:pt x="247" y="174"/>
                  <a:pt x="247" y="173"/>
                </a:cubicBezTo>
                <a:cubicBezTo>
                  <a:pt x="247" y="173"/>
                  <a:pt x="247" y="172"/>
                  <a:pt x="247" y="171"/>
                </a:cubicBezTo>
                <a:cubicBezTo>
                  <a:pt x="247" y="171"/>
                  <a:pt x="247" y="170"/>
                  <a:pt x="247" y="169"/>
                </a:cubicBezTo>
                <a:cubicBezTo>
                  <a:pt x="247" y="169"/>
                  <a:pt x="246" y="168"/>
                  <a:pt x="246" y="167"/>
                </a:cubicBezTo>
                <a:cubicBezTo>
                  <a:pt x="246" y="167"/>
                  <a:pt x="246" y="166"/>
                  <a:pt x="246" y="166"/>
                </a:cubicBezTo>
                <a:cubicBezTo>
                  <a:pt x="245" y="165"/>
                  <a:pt x="245" y="165"/>
                  <a:pt x="245" y="165"/>
                </a:cubicBezTo>
                <a:cubicBezTo>
                  <a:pt x="245" y="164"/>
                  <a:pt x="244" y="163"/>
                  <a:pt x="244" y="163"/>
                </a:cubicBezTo>
                <a:cubicBezTo>
                  <a:pt x="244" y="163"/>
                  <a:pt x="243" y="163"/>
                  <a:pt x="243" y="163"/>
                </a:cubicBezTo>
                <a:cubicBezTo>
                  <a:pt x="243" y="163"/>
                  <a:pt x="243" y="162"/>
                  <a:pt x="242" y="162"/>
                </a:cubicBezTo>
                <a:cubicBezTo>
                  <a:pt x="242" y="161"/>
                  <a:pt x="241" y="161"/>
                  <a:pt x="241" y="160"/>
                </a:cubicBezTo>
                <a:cubicBezTo>
                  <a:pt x="241" y="159"/>
                  <a:pt x="241" y="158"/>
                  <a:pt x="241" y="157"/>
                </a:cubicBezTo>
                <a:cubicBezTo>
                  <a:pt x="240" y="157"/>
                  <a:pt x="240" y="157"/>
                  <a:pt x="240" y="157"/>
                </a:cubicBezTo>
                <a:cubicBezTo>
                  <a:pt x="241" y="156"/>
                  <a:pt x="241" y="156"/>
                  <a:pt x="241" y="156"/>
                </a:cubicBezTo>
                <a:cubicBezTo>
                  <a:pt x="242" y="156"/>
                  <a:pt x="243" y="155"/>
                  <a:pt x="243" y="155"/>
                </a:cubicBezTo>
                <a:cubicBezTo>
                  <a:pt x="244" y="155"/>
                  <a:pt x="244" y="155"/>
                  <a:pt x="244" y="155"/>
                </a:cubicBezTo>
                <a:cubicBezTo>
                  <a:pt x="244" y="155"/>
                  <a:pt x="245" y="155"/>
                  <a:pt x="245" y="155"/>
                </a:cubicBezTo>
                <a:cubicBezTo>
                  <a:pt x="245" y="155"/>
                  <a:pt x="246" y="155"/>
                  <a:pt x="246" y="155"/>
                </a:cubicBezTo>
                <a:cubicBezTo>
                  <a:pt x="246" y="155"/>
                  <a:pt x="246" y="154"/>
                  <a:pt x="246" y="154"/>
                </a:cubicBezTo>
                <a:cubicBezTo>
                  <a:pt x="246" y="153"/>
                  <a:pt x="246" y="153"/>
                  <a:pt x="245" y="152"/>
                </a:cubicBezTo>
                <a:cubicBezTo>
                  <a:pt x="245" y="151"/>
                  <a:pt x="245" y="151"/>
                  <a:pt x="244" y="151"/>
                </a:cubicBezTo>
                <a:cubicBezTo>
                  <a:pt x="244" y="150"/>
                  <a:pt x="244" y="150"/>
                  <a:pt x="244" y="149"/>
                </a:cubicBezTo>
                <a:cubicBezTo>
                  <a:pt x="243" y="149"/>
                  <a:pt x="243" y="149"/>
                  <a:pt x="243" y="148"/>
                </a:cubicBezTo>
                <a:cubicBezTo>
                  <a:pt x="243" y="148"/>
                  <a:pt x="243" y="147"/>
                  <a:pt x="242" y="147"/>
                </a:cubicBezTo>
                <a:cubicBezTo>
                  <a:pt x="242" y="147"/>
                  <a:pt x="242" y="147"/>
                  <a:pt x="242" y="147"/>
                </a:cubicBezTo>
                <a:cubicBezTo>
                  <a:pt x="242" y="146"/>
                  <a:pt x="242" y="146"/>
                  <a:pt x="242" y="146"/>
                </a:cubicBezTo>
                <a:cubicBezTo>
                  <a:pt x="242" y="146"/>
                  <a:pt x="242" y="146"/>
                  <a:pt x="242" y="146"/>
                </a:cubicBezTo>
                <a:cubicBezTo>
                  <a:pt x="242" y="145"/>
                  <a:pt x="242" y="145"/>
                  <a:pt x="242" y="144"/>
                </a:cubicBezTo>
                <a:cubicBezTo>
                  <a:pt x="242" y="144"/>
                  <a:pt x="242" y="144"/>
                  <a:pt x="242" y="143"/>
                </a:cubicBezTo>
                <a:cubicBezTo>
                  <a:pt x="241" y="143"/>
                  <a:pt x="241" y="143"/>
                  <a:pt x="241" y="143"/>
                </a:cubicBezTo>
                <a:cubicBezTo>
                  <a:pt x="240" y="143"/>
                  <a:pt x="240" y="142"/>
                  <a:pt x="240" y="142"/>
                </a:cubicBezTo>
                <a:cubicBezTo>
                  <a:pt x="239" y="142"/>
                  <a:pt x="239" y="142"/>
                  <a:pt x="238" y="142"/>
                </a:cubicBezTo>
                <a:cubicBezTo>
                  <a:pt x="237" y="142"/>
                  <a:pt x="236" y="141"/>
                  <a:pt x="235" y="140"/>
                </a:cubicBezTo>
                <a:cubicBezTo>
                  <a:pt x="234" y="139"/>
                  <a:pt x="233" y="138"/>
                  <a:pt x="232" y="138"/>
                </a:cubicBezTo>
                <a:cubicBezTo>
                  <a:pt x="231" y="138"/>
                  <a:pt x="229" y="139"/>
                  <a:pt x="229" y="138"/>
                </a:cubicBezTo>
                <a:cubicBezTo>
                  <a:pt x="228" y="138"/>
                  <a:pt x="228" y="137"/>
                  <a:pt x="228" y="137"/>
                </a:cubicBezTo>
                <a:cubicBezTo>
                  <a:pt x="227" y="137"/>
                  <a:pt x="227" y="137"/>
                  <a:pt x="226" y="137"/>
                </a:cubicBezTo>
                <a:cubicBezTo>
                  <a:pt x="226" y="136"/>
                  <a:pt x="225" y="135"/>
                  <a:pt x="225" y="135"/>
                </a:cubicBezTo>
                <a:cubicBezTo>
                  <a:pt x="224" y="134"/>
                  <a:pt x="223" y="134"/>
                  <a:pt x="222" y="134"/>
                </a:cubicBezTo>
                <a:cubicBezTo>
                  <a:pt x="221" y="134"/>
                  <a:pt x="218" y="134"/>
                  <a:pt x="218" y="133"/>
                </a:cubicBezTo>
                <a:cubicBezTo>
                  <a:pt x="217" y="131"/>
                  <a:pt x="216" y="130"/>
                  <a:pt x="215" y="129"/>
                </a:cubicBezTo>
                <a:cubicBezTo>
                  <a:pt x="215" y="128"/>
                  <a:pt x="214" y="127"/>
                  <a:pt x="212" y="127"/>
                </a:cubicBezTo>
                <a:cubicBezTo>
                  <a:pt x="212" y="127"/>
                  <a:pt x="212" y="127"/>
                  <a:pt x="211" y="127"/>
                </a:cubicBezTo>
                <a:cubicBezTo>
                  <a:pt x="211" y="127"/>
                  <a:pt x="211" y="127"/>
                  <a:pt x="211" y="126"/>
                </a:cubicBezTo>
                <a:cubicBezTo>
                  <a:pt x="210" y="126"/>
                  <a:pt x="209" y="126"/>
                  <a:pt x="209" y="126"/>
                </a:cubicBezTo>
                <a:cubicBezTo>
                  <a:pt x="209" y="126"/>
                  <a:pt x="208" y="126"/>
                  <a:pt x="208" y="126"/>
                </a:cubicBezTo>
                <a:cubicBezTo>
                  <a:pt x="208" y="127"/>
                  <a:pt x="208" y="127"/>
                  <a:pt x="208" y="127"/>
                </a:cubicBezTo>
                <a:cubicBezTo>
                  <a:pt x="208" y="127"/>
                  <a:pt x="207" y="127"/>
                  <a:pt x="207" y="127"/>
                </a:cubicBezTo>
                <a:cubicBezTo>
                  <a:pt x="206" y="127"/>
                  <a:pt x="206" y="126"/>
                  <a:pt x="205" y="126"/>
                </a:cubicBezTo>
                <a:cubicBezTo>
                  <a:pt x="205" y="126"/>
                  <a:pt x="204" y="126"/>
                  <a:pt x="204" y="125"/>
                </a:cubicBezTo>
                <a:cubicBezTo>
                  <a:pt x="203" y="125"/>
                  <a:pt x="203" y="124"/>
                  <a:pt x="202" y="124"/>
                </a:cubicBezTo>
                <a:cubicBezTo>
                  <a:pt x="202" y="124"/>
                  <a:pt x="202" y="123"/>
                  <a:pt x="201" y="123"/>
                </a:cubicBezTo>
                <a:cubicBezTo>
                  <a:pt x="201" y="123"/>
                  <a:pt x="200" y="123"/>
                  <a:pt x="199" y="122"/>
                </a:cubicBezTo>
                <a:cubicBezTo>
                  <a:pt x="199" y="122"/>
                  <a:pt x="198" y="122"/>
                  <a:pt x="198" y="121"/>
                </a:cubicBezTo>
                <a:cubicBezTo>
                  <a:pt x="198" y="121"/>
                  <a:pt x="197" y="121"/>
                  <a:pt x="197" y="121"/>
                </a:cubicBezTo>
                <a:cubicBezTo>
                  <a:pt x="197" y="121"/>
                  <a:pt x="197" y="121"/>
                  <a:pt x="196" y="120"/>
                </a:cubicBezTo>
                <a:cubicBezTo>
                  <a:pt x="196" y="120"/>
                  <a:pt x="196" y="120"/>
                  <a:pt x="195" y="120"/>
                </a:cubicBezTo>
                <a:cubicBezTo>
                  <a:pt x="195" y="120"/>
                  <a:pt x="195" y="120"/>
                  <a:pt x="195" y="120"/>
                </a:cubicBezTo>
                <a:cubicBezTo>
                  <a:pt x="195" y="121"/>
                  <a:pt x="194" y="121"/>
                  <a:pt x="194" y="121"/>
                </a:cubicBezTo>
                <a:cubicBezTo>
                  <a:pt x="193" y="121"/>
                  <a:pt x="192" y="121"/>
                  <a:pt x="191" y="121"/>
                </a:cubicBezTo>
                <a:cubicBezTo>
                  <a:pt x="190" y="121"/>
                  <a:pt x="189" y="121"/>
                  <a:pt x="188" y="121"/>
                </a:cubicBezTo>
                <a:cubicBezTo>
                  <a:pt x="187" y="121"/>
                  <a:pt x="187" y="121"/>
                  <a:pt x="187" y="122"/>
                </a:cubicBezTo>
                <a:cubicBezTo>
                  <a:pt x="187" y="122"/>
                  <a:pt x="188" y="122"/>
                  <a:pt x="188" y="122"/>
                </a:cubicBezTo>
                <a:cubicBezTo>
                  <a:pt x="188" y="123"/>
                  <a:pt x="189" y="123"/>
                  <a:pt x="189" y="124"/>
                </a:cubicBezTo>
                <a:cubicBezTo>
                  <a:pt x="189" y="124"/>
                  <a:pt x="189" y="125"/>
                  <a:pt x="188" y="125"/>
                </a:cubicBezTo>
                <a:cubicBezTo>
                  <a:pt x="188" y="126"/>
                  <a:pt x="187" y="126"/>
                  <a:pt x="187" y="127"/>
                </a:cubicBezTo>
                <a:cubicBezTo>
                  <a:pt x="186" y="127"/>
                  <a:pt x="186" y="127"/>
                  <a:pt x="186" y="127"/>
                </a:cubicBezTo>
                <a:cubicBezTo>
                  <a:pt x="186" y="128"/>
                  <a:pt x="185" y="128"/>
                  <a:pt x="185" y="128"/>
                </a:cubicBezTo>
                <a:cubicBezTo>
                  <a:pt x="185" y="129"/>
                  <a:pt x="184" y="129"/>
                  <a:pt x="183" y="130"/>
                </a:cubicBezTo>
                <a:cubicBezTo>
                  <a:pt x="183" y="131"/>
                  <a:pt x="183" y="132"/>
                  <a:pt x="183" y="133"/>
                </a:cubicBezTo>
                <a:cubicBezTo>
                  <a:pt x="183" y="133"/>
                  <a:pt x="183" y="133"/>
                  <a:pt x="183" y="134"/>
                </a:cubicBezTo>
                <a:cubicBezTo>
                  <a:pt x="183" y="134"/>
                  <a:pt x="184" y="134"/>
                  <a:pt x="184" y="134"/>
                </a:cubicBezTo>
                <a:cubicBezTo>
                  <a:pt x="184" y="135"/>
                  <a:pt x="184" y="135"/>
                  <a:pt x="184" y="135"/>
                </a:cubicBezTo>
                <a:cubicBezTo>
                  <a:pt x="184" y="136"/>
                  <a:pt x="185" y="136"/>
                  <a:pt x="185" y="137"/>
                </a:cubicBezTo>
                <a:cubicBezTo>
                  <a:pt x="186" y="137"/>
                  <a:pt x="186" y="137"/>
                  <a:pt x="187" y="138"/>
                </a:cubicBezTo>
                <a:cubicBezTo>
                  <a:pt x="187" y="138"/>
                  <a:pt x="188" y="138"/>
                  <a:pt x="188" y="139"/>
                </a:cubicBezTo>
                <a:cubicBezTo>
                  <a:pt x="189" y="139"/>
                  <a:pt x="189" y="139"/>
                  <a:pt x="189" y="140"/>
                </a:cubicBezTo>
                <a:cubicBezTo>
                  <a:pt x="189" y="140"/>
                  <a:pt x="189" y="140"/>
                  <a:pt x="189" y="140"/>
                </a:cubicBezTo>
                <a:cubicBezTo>
                  <a:pt x="188" y="140"/>
                  <a:pt x="186" y="140"/>
                  <a:pt x="185" y="140"/>
                </a:cubicBezTo>
                <a:cubicBezTo>
                  <a:pt x="185" y="140"/>
                  <a:pt x="184" y="140"/>
                  <a:pt x="184" y="140"/>
                </a:cubicBezTo>
                <a:cubicBezTo>
                  <a:pt x="183" y="140"/>
                  <a:pt x="183" y="140"/>
                  <a:pt x="183" y="141"/>
                </a:cubicBezTo>
                <a:cubicBezTo>
                  <a:pt x="182" y="141"/>
                  <a:pt x="182" y="141"/>
                  <a:pt x="181" y="141"/>
                </a:cubicBezTo>
                <a:cubicBezTo>
                  <a:pt x="180" y="141"/>
                  <a:pt x="180" y="141"/>
                  <a:pt x="179" y="141"/>
                </a:cubicBezTo>
                <a:cubicBezTo>
                  <a:pt x="179" y="141"/>
                  <a:pt x="179" y="142"/>
                  <a:pt x="179" y="142"/>
                </a:cubicBezTo>
                <a:cubicBezTo>
                  <a:pt x="178" y="143"/>
                  <a:pt x="177" y="143"/>
                  <a:pt x="177" y="144"/>
                </a:cubicBezTo>
                <a:cubicBezTo>
                  <a:pt x="177" y="144"/>
                  <a:pt x="176" y="145"/>
                  <a:pt x="176" y="145"/>
                </a:cubicBezTo>
                <a:cubicBezTo>
                  <a:pt x="175" y="146"/>
                  <a:pt x="174" y="147"/>
                  <a:pt x="173" y="148"/>
                </a:cubicBezTo>
                <a:cubicBezTo>
                  <a:pt x="173" y="148"/>
                  <a:pt x="173" y="149"/>
                  <a:pt x="173" y="149"/>
                </a:cubicBezTo>
                <a:cubicBezTo>
                  <a:pt x="173" y="150"/>
                  <a:pt x="173" y="150"/>
                  <a:pt x="173" y="151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4" y="152"/>
                  <a:pt x="174" y="152"/>
                  <a:pt x="174" y="152"/>
                </a:cubicBezTo>
                <a:cubicBezTo>
                  <a:pt x="174" y="153"/>
                  <a:pt x="174" y="153"/>
                  <a:pt x="174" y="154"/>
                </a:cubicBezTo>
                <a:cubicBezTo>
                  <a:pt x="173" y="154"/>
                  <a:pt x="173" y="154"/>
                  <a:pt x="173" y="155"/>
                </a:cubicBezTo>
                <a:cubicBezTo>
                  <a:pt x="173" y="156"/>
                  <a:pt x="173" y="157"/>
                  <a:pt x="173" y="158"/>
                </a:cubicBezTo>
                <a:cubicBezTo>
                  <a:pt x="173" y="160"/>
                  <a:pt x="174" y="161"/>
                  <a:pt x="173" y="163"/>
                </a:cubicBezTo>
                <a:cubicBezTo>
                  <a:pt x="173" y="163"/>
                  <a:pt x="173" y="163"/>
                  <a:pt x="173" y="164"/>
                </a:cubicBezTo>
                <a:cubicBezTo>
                  <a:pt x="172" y="164"/>
                  <a:pt x="172" y="164"/>
                  <a:pt x="172" y="164"/>
                </a:cubicBezTo>
                <a:cubicBezTo>
                  <a:pt x="172" y="165"/>
                  <a:pt x="172" y="165"/>
                  <a:pt x="172" y="165"/>
                </a:cubicBezTo>
                <a:cubicBezTo>
                  <a:pt x="172" y="166"/>
                  <a:pt x="171" y="166"/>
                  <a:pt x="171" y="166"/>
                </a:cubicBezTo>
                <a:cubicBezTo>
                  <a:pt x="171" y="167"/>
                  <a:pt x="171" y="167"/>
                  <a:pt x="171" y="167"/>
                </a:cubicBezTo>
                <a:cubicBezTo>
                  <a:pt x="170" y="167"/>
                  <a:pt x="170" y="168"/>
                  <a:pt x="170" y="168"/>
                </a:cubicBezTo>
                <a:cubicBezTo>
                  <a:pt x="170" y="169"/>
                  <a:pt x="170" y="169"/>
                  <a:pt x="170" y="169"/>
                </a:cubicBezTo>
                <a:cubicBezTo>
                  <a:pt x="169" y="170"/>
                  <a:pt x="169" y="170"/>
                  <a:pt x="169" y="171"/>
                </a:cubicBezTo>
                <a:cubicBezTo>
                  <a:pt x="168" y="171"/>
                  <a:pt x="167" y="170"/>
                  <a:pt x="167" y="170"/>
                </a:cubicBezTo>
                <a:cubicBezTo>
                  <a:pt x="167" y="169"/>
                  <a:pt x="168" y="169"/>
                  <a:pt x="168" y="169"/>
                </a:cubicBezTo>
                <a:cubicBezTo>
                  <a:pt x="168" y="168"/>
                  <a:pt x="168" y="168"/>
                  <a:pt x="168" y="167"/>
                </a:cubicBezTo>
                <a:cubicBezTo>
                  <a:pt x="169" y="167"/>
                  <a:pt x="169" y="166"/>
                  <a:pt x="169" y="166"/>
                </a:cubicBezTo>
                <a:cubicBezTo>
                  <a:pt x="169" y="165"/>
                  <a:pt x="169" y="165"/>
                  <a:pt x="169" y="164"/>
                </a:cubicBezTo>
                <a:cubicBezTo>
                  <a:pt x="169" y="164"/>
                  <a:pt x="169" y="163"/>
                  <a:pt x="169" y="162"/>
                </a:cubicBezTo>
                <a:cubicBezTo>
                  <a:pt x="169" y="162"/>
                  <a:pt x="170" y="162"/>
                  <a:pt x="170" y="161"/>
                </a:cubicBezTo>
                <a:cubicBezTo>
                  <a:pt x="170" y="161"/>
                  <a:pt x="170" y="160"/>
                  <a:pt x="170" y="160"/>
                </a:cubicBezTo>
                <a:cubicBezTo>
                  <a:pt x="170" y="159"/>
                  <a:pt x="170" y="159"/>
                  <a:pt x="170" y="159"/>
                </a:cubicBezTo>
                <a:cubicBezTo>
                  <a:pt x="169" y="160"/>
                  <a:pt x="169" y="162"/>
                  <a:pt x="169" y="163"/>
                </a:cubicBezTo>
                <a:cubicBezTo>
                  <a:pt x="169" y="164"/>
                  <a:pt x="168" y="164"/>
                  <a:pt x="168" y="165"/>
                </a:cubicBezTo>
                <a:cubicBezTo>
                  <a:pt x="168" y="166"/>
                  <a:pt x="168" y="166"/>
                  <a:pt x="168" y="166"/>
                </a:cubicBezTo>
                <a:cubicBezTo>
                  <a:pt x="167" y="167"/>
                  <a:pt x="167" y="167"/>
                  <a:pt x="167" y="168"/>
                </a:cubicBezTo>
                <a:cubicBezTo>
                  <a:pt x="167" y="168"/>
                  <a:pt x="167" y="168"/>
                  <a:pt x="167" y="168"/>
                </a:cubicBezTo>
                <a:cubicBezTo>
                  <a:pt x="166" y="169"/>
                  <a:pt x="166" y="169"/>
                  <a:pt x="166" y="169"/>
                </a:cubicBezTo>
                <a:cubicBezTo>
                  <a:pt x="166" y="170"/>
                  <a:pt x="165" y="169"/>
                  <a:pt x="165" y="169"/>
                </a:cubicBezTo>
                <a:cubicBezTo>
                  <a:pt x="165" y="168"/>
                  <a:pt x="165" y="168"/>
                  <a:pt x="165" y="167"/>
                </a:cubicBezTo>
                <a:cubicBezTo>
                  <a:pt x="165" y="166"/>
                  <a:pt x="165" y="166"/>
                  <a:pt x="165" y="165"/>
                </a:cubicBezTo>
                <a:cubicBezTo>
                  <a:pt x="165" y="165"/>
                  <a:pt x="165" y="164"/>
                  <a:pt x="165" y="164"/>
                </a:cubicBezTo>
                <a:cubicBezTo>
                  <a:pt x="165" y="164"/>
                  <a:pt x="165" y="164"/>
                  <a:pt x="166" y="164"/>
                </a:cubicBezTo>
                <a:cubicBezTo>
                  <a:pt x="166" y="163"/>
                  <a:pt x="166" y="163"/>
                  <a:pt x="166" y="162"/>
                </a:cubicBezTo>
                <a:cubicBezTo>
                  <a:pt x="166" y="162"/>
                  <a:pt x="166" y="161"/>
                  <a:pt x="166" y="161"/>
                </a:cubicBezTo>
                <a:cubicBezTo>
                  <a:pt x="166" y="160"/>
                  <a:pt x="165" y="160"/>
                  <a:pt x="165" y="160"/>
                </a:cubicBezTo>
                <a:cubicBezTo>
                  <a:pt x="165" y="160"/>
                  <a:pt x="165" y="160"/>
                  <a:pt x="165" y="160"/>
                </a:cubicBezTo>
                <a:cubicBezTo>
                  <a:pt x="165" y="159"/>
                  <a:pt x="165" y="159"/>
                  <a:pt x="165" y="158"/>
                </a:cubicBezTo>
                <a:cubicBezTo>
                  <a:pt x="166" y="158"/>
                  <a:pt x="166" y="158"/>
                  <a:pt x="167" y="157"/>
                </a:cubicBezTo>
                <a:cubicBezTo>
                  <a:pt x="167" y="156"/>
                  <a:pt x="167" y="156"/>
                  <a:pt x="167" y="155"/>
                </a:cubicBezTo>
                <a:cubicBezTo>
                  <a:pt x="167" y="155"/>
                  <a:pt x="168" y="154"/>
                  <a:pt x="167" y="154"/>
                </a:cubicBezTo>
                <a:cubicBezTo>
                  <a:pt x="167" y="154"/>
                  <a:pt x="167" y="154"/>
                  <a:pt x="167" y="154"/>
                </a:cubicBezTo>
                <a:cubicBezTo>
                  <a:pt x="166" y="153"/>
                  <a:pt x="166" y="153"/>
                  <a:pt x="166" y="153"/>
                </a:cubicBezTo>
                <a:cubicBezTo>
                  <a:pt x="166" y="153"/>
                  <a:pt x="166" y="152"/>
                  <a:pt x="166" y="152"/>
                </a:cubicBezTo>
                <a:cubicBezTo>
                  <a:pt x="166" y="152"/>
                  <a:pt x="165" y="152"/>
                  <a:pt x="165" y="151"/>
                </a:cubicBezTo>
                <a:cubicBezTo>
                  <a:pt x="165" y="151"/>
                  <a:pt x="165" y="151"/>
                  <a:pt x="165" y="151"/>
                </a:cubicBezTo>
                <a:cubicBezTo>
                  <a:pt x="165" y="150"/>
                  <a:pt x="164" y="151"/>
                  <a:pt x="164" y="151"/>
                </a:cubicBezTo>
                <a:cubicBezTo>
                  <a:pt x="164" y="152"/>
                  <a:pt x="164" y="152"/>
                  <a:pt x="164" y="152"/>
                </a:cubicBezTo>
                <a:cubicBezTo>
                  <a:pt x="163" y="153"/>
                  <a:pt x="163" y="153"/>
                  <a:pt x="163" y="154"/>
                </a:cubicBezTo>
                <a:cubicBezTo>
                  <a:pt x="163" y="154"/>
                  <a:pt x="163" y="154"/>
                  <a:pt x="162" y="155"/>
                </a:cubicBezTo>
                <a:cubicBezTo>
                  <a:pt x="162" y="155"/>
                  <a:pt x="162" y="156"/>
                  <a:pt x="162" y="156"/>
                </a:cubicBezTo>
                <a:cubicBezTo>
                  <a:pt x="162" y="157"/>
                  <a:pt x="161" y="157"/>
                  <a:pt x="161" y="157"/>
                </a:cubicBezTo>
                <a:cubicBezTo>
                  <a:pt x="160" y="158"/>
                  <a:pt x="160" y="159"/>
                  <a:pt x="160" y="159"/>
                </a:cubicBezTo>
                <a:cubicBezTo>
                  <a:pt x="160" y="160"/>
                  <a:pt x="160" y="160"/>
                  <a:pt x="159" y="160"/>
                </a:cubicBezTo>
                <a:cubicBezTo>
                  <a:pt x="159" y="160"/>
                  <a:pt x="158" y="160"/>
                  <a:pt x="157" y="160"/>
                </a:cubicBezTo>
                <a:cubicBezTo>
                  <a:pt x="157" y="160"/>
                  <a:pt x="157" y="160"/>
                  <a:pt x="157" y="160"/>
                </a:cubicBezTo>
                <a:cubicBezTo>
                  <a:pt x="156" y="160"/>
                  <a:pt x="156" y="160"/>
                  <a:pt x="156" y="160"/>
                </a:cubicBezTo>
                <a:cubicBezTo>
                  <a:pt x="156" y="160"/>
                  <a:pt x="155" y="160"/>
                  <a:pt x="155" y="160"/>
                </a:cubicBezTo>
                <a:cubicBezTo>
                  <a:pt x="155" y="160"/>
                  <a:pt x="155" y="161"/>
                  <a:pt x="154" y="161"/>
                </a:cubicBezTo>
                <a:cubicBezTo>
                  <a:pt x="154" y="161"/>
                  <a:pt x="154" y="161"/>
                  <a:pt x="153" y="162"/>
                </a:cubicBezTo>
                <a:cubicBezTo>
                  <a:pt x="153" y="163"/>
                  <a:pt x="153" y="163"/>
                  <a:pt x="153" y="163"/>
                </a:cubicBezTo>
                <a:cubicBezTo>
                  <a:pt x="152" y="163"/>
                  <a:pt x="151" y="163"/>
                  <a:pt x="151" y="163"/>
                </a:cubicBezTo>
                <a:cubicBezTo>
                  <a:pt x="150" y="163"/>
                  <a:pt x="150" y="165"/>
                  <a:pt x="150" y="166"/>
                </a:cubicBezTo>
                <a:cubicBezTo>
                  <a:pt x="150" y="167"/>
                  <a:pt x="150" y="168"/>
                  <a:pt x="150" y="169"/>
                </a:cubicBezTo>
                <a:cubicBezTo>
                  <a:pt x="150" y="169"/>
                  <a:pt x="150" y="170"/>
                  <a:pt x="150" y="170"/>
                </a:cubicBezTo>
                <a:cubicBezTo>
                  <a:pt x="149" y="170"/>
                  <a:pt x="150" y="171"/>
                  <a:pt x="149" y="171"/>
                </a:cubicBezTo>
                <a:cubicBezTo>
                  <a:pt x="149" y="172"/>
                  <a:pt x="148" y="172"/>
                  <a:pt x="148" y="172"/>
                </a:cubicBezTo>
                <a:cubicBezTo>
                  <a:pt x="147" y="172"/>
                  <a:pt x="147" y="172"/>
                  <a:pt x="146" y="172"/>
                </a:cubicBezTo>
                <a:cubicBezTo>
                  <a:pt x="146" y="172"/>
                  <a:pt x="145" y="172"/>
                  <a:pt x="145" y="173"/>
                </a:cubicBezTo>
                <a:cubicBezTo>
                  <a:pt x="145" y="173"/>
                  <a:pt x="144" y="173"/>
                  <a:pt x="144" y="173"/>
                </a:cubicBezTo>
                <a:cubicBezTo>
                  <a:pt x="144" y="174"/>
                  <a:pt x="144" y="174"/>
                  <a:pt x="144" y="175"/>
                </a:cubicBezTo>
                <a:cubicBezTo>
                  <a:pt x="144" y="175"/>
                  <a:pt x="144" y="175"/>
                  <a:pt x="144" y="176"/>
                </a:cubicBezTo>
                <a:cubicBezTo>
                  <a:pt x="144" y="176"/>
                  <a:pt x="144" y="176"/>
                  <a:pt x="144" y="176"/>
                </a:cubicBezTo>
                <a:cubicBezTo>
                  <a:pt x="145" y="176"/>
                  <a:pt x="145" y="177"/>
                  <a:pt x="145" y="178"/>
                </a:cubicBezTo>
                <a:cubicBezTo>
                  <a:pt x="145" y="179"/>
                  <a:pt x="145" y="180"/>
                  <a:pt x="145" y="181"/>
                </a:cubicBezTo>
                <a:cubicBezTo>
                  <a:pt x="145" y="182"/>
                  <a:pt x="145" y="182"/>
                  <a:pt x="144" y="183"/>
                </a:cubicBezTo>
                <a:cubicBezTo>
                  <a:pt x="144" y="184"/>
                  <a:pt x="144" y="185"/>
                  <a:pt x="144" y="185"/>
                </a:cubicBezTo>
                <a:cubicBezTo>
                  <a:pt x="144" y="188"/>
                  <a:pt x="144" y="188"/>
                  <a:pt x="144" y="188"/>
                </a:cubicBezTo>
                <a:cubicBezTo>
                  <a:pt x="144" y="188"/>
                  <a:pt x="144" y="189"/>
                  <a:pt x="143" y="190"/>
                </a:cubicBezTo>
                <a:cubicBezTo>
                  <a:pt x="143" y="190"/>
                  <a:pt x="143" y="191"/>
                  <a:pt x="142" y="191"/>
                </a:cubicBezTo>
                <a:cubicBezTo>
                  <a:pt x="142" y="191"/>
                  <a:pt x="142" y="192"/>
                  <a:pt x="142" y="192"/>
                </a:cubicBezTo>
                <a:cubicBezTo>
                  <a:pt x="142" y="192"/>
                  <a:pt x="142" y="193"/>
                  <a:pt x="142" y="193"/>
                </a:cubicBezTo>
                <a:cubicBezTo>
                  <a:pt x="142" y="193"/>
                  <a:pt x="142" y="193"/>
                  <a:pt x="141" y="194"/>
                </a:cubicBezTo>
                <a:cubicBezTo>
                  <a:pt x="141" y="194"/>
                  <a:pt x="141" y="195"/>
                  <a:pt x="141" y="196"/>
                </a:cubicBezTo>
                <a:cubicBezTo>
                  <a:pt x="140" y="196"/>
                  <a:pt x="140" y="197"/>
                  <a:pt x="139" y="197"/>
                </a:cubicBezTo>
                <a:cubicBezTo>
                  <a:pt x="139" y="197"/>
                  <a:pt x="139" y="198"/>
                  <a:pt x="139" y="198"/>
                </a:cubicBezTo>
                <a:cubicBezTo>
                  <a:pt x="138" y="199"/>
                  <a:pt x="138" y="199"/>
                  <a:pt x="138" y="199"/>
                </a:cubicBezTo>
                <a:cubicBezTo>
                  <a:pt x="137" y="200"/>
                  <a:pt x="137" y="200"/>
                  <a:pt x="137" y="201"/>
                </a:cubicBezTo>
                <a:cubicBezTo>
                  <a:pt x="137" y="201"/>
                  <a:pt x="136" y="202"/>
                  <a:pt x="136" y="202"/>
                </a:cubicBezTo>
                <a:cubicBezTo>
                  <a:pt x="135" y="202"/>
                  <a:pt x="136" y="203"/>
                  <a:pt x="135" y="203"/>
                </a:cubicBezTo>
                <a:cubicBezTo>
                  <a:pt x="135" y="203"/>
                  <a:pt x="135" y="204"/>
                  <a:pt x="135" y="204"/>
                </a:cubicBezTo>
                <a:cubicBezTo>
                  <a:pt x="135" y="205"/>
                  <a:pt x="136" y="205"/>
                  <a:pt x="136" y="205"/>
                </a:cubicBezTo>
                <a:cubicBezTo>
                  <a:pt x="136" y="206"/>
                  <a:pt x="136" y="206"/>
                  <a:pt x="136" y="207"/>
                </a:cubicBezTo>
                <a:cubicBezTo>
                  <a:pt x="137" y="207"/>
                  <a:pt x="137" y="208"/>
                  <a:pt x="137" y="209"/>
                </a:cubicBezTo>
                <a:cubicBezTo>
                  <a:pt x="137" y="209"/>
                  <a:pt x="137" y="210"/>
                  <a:pt x="137" y="211"/>
                </a:cubicBezTo>
                <a:cubicBezTo>
                  <a:pt x="137" y="211"/>
                  <a:pt x="137" y="212"/>
                  <a:pt x="137" y="213"/>
                </a:cubicBezTo>
                <a:cubicBezTo>
                  <a:pt x="137" y="214"/>
                  <a:pt x="137" y="214"/>
                  <a:pt x="137" y="214"/>
                </a:cubicBezTo>
                <a:cubicBezTo>
                  <a:pt x="137" y="215"/>
                  <a:pt x="138" y="216"/>
                  <a:pt x="137" y="217"/>
                </a:cubicBezTo>
                <a:cubicBezTo>
                  <a:pt x="137" y="217"/>
                  <a:pt x="137" y="218"/>
                  <a:pt x="136" y="218"/>
                </a:cubicBezTo>
                <a:cubicBezTo>
                  <a:pt x="136" y="219"/>
                  <a:pt x="136" y="219"/>
                  <a:pt x="135" y="220"/>
                </a:cubicBezTo>
                <a:cubicBezTo>
                  <a:pt x="135" y="221"/>
                  <a:pt x="134" y="222"/>
                  <a:pt x="134" y="223"/>
                </a:cubicBezTo>
                <a:cubicBezTo>
                  <a:pt x="134" y="225"/>
                  <a:pt x="134" y="226"/>
                  <a:pt x="134" y="227"/>
                </a:cubicBezTo>
                <a:cubicBezTo>
                  <a:pt x="135" y="228"/>
                  <a:pt x="135" y="229"/>
                  <a:pt x="136" y="230"/>
                </a:cubicBezTo>
                <a:cubicBezTo>
                  <a:pt x="136" y="231"/>
                  <a:pt x="136" y="232"/>
                  <a:pt x="137" y="233"/>
                </a:cubicBezTo>
                <a:cubicBezTo>
                  <a:pt x="138" y="235"/>
                  <a:pt x="138" y="237"/>
                  <a:pt x="139" y="239"/>
                </a:cubicBezTo>
                <a:cubicBezTo>
                  <a:pt x="140" y="240"/>
                  <a:pt x="140" y="241"/>
                  <a:pt x="140" y="242"/>
                </a:cubicBezTo>
                <a:cubicBezTo>
                  <a:pt x="141" y="243"/>
                  <a:pt x="141" y="244"/>
                  <a:pt x="141" y="244"/>
                </a:cubicBezTo>
                <a:cubicBezTo>
                  <a:pt x="141" y="245"/>
                  <a:pt x="141" y="245"/>
                  <a:pt x="142" y="245"/>
                </a:cubicBezTo>
                <a:cubicBezTo>
                  <a:pt x="142" y="246"/>
                  <a:pt x="142" y="246"/>
                  <a:pt x="142" y="247"/>
                </a:cubicBezTo>
                <a:cubicBezTo>
                  <a:pt x="142" y="247"/>
                  <a:pt x="143" y="248"/>
                  <a:pt x="143" y="249"/>
                </a:cubicBezTo>
                <a:cubicBezTo>
                  <a:pt x="143" y="250"/>
                  <a:pt x="144" y="251"/>
                  <a:pt x="144" y="251"/>
                </a:cubicBezTo>
                <a:cubicBezTo>
                  <a:pt x="144" y="253"/>
                  <a:pt x="145" y="254"/>
                  <a:pt x="145" y="256"/>
                </a:cubicBezTo>
                <a:cubicBezTo>
                  <a:pt x="145" y="256"/>
                  <a:pt x="145" y="256"/>
                  <a:pt x="145" y="256"/>
                </a:cubicBezTo>
                <a:cubicBezTo>
                  <a:pt x="145" y="268"/>
                  <a:pt x="145" y="268"/>
                  <a:pt x="145" y="268"/>
                </a:cubicBezTo>
                <a:cubicBezTo>
                  <a:pt x="145" y="268"/>
                  <a:pt x="145" y="269"/>
                  <a:pt x="145" y="269"/>
                </a:cubicBezTo>
                <a:cubicBezTo>
                  <a:pt x="145" y="270"/>
                  <a:pt x="145" y="270"/>
                  <a:pt x="145" y="271"/>
                </a:cubicBezTo>
                <a:cubicBezTo>
                  <a:pt x="144" y="272"/>
                  <a:pt x="144" y="273"/>
                  <a:pt x="144" y="275"/>
                </a:cubicBezTo>
                <a:cubicBezTo>
                  <a:pt x="144" y="276"/>
                  <a:pt x="144" y="277"/>
                  <a:pt x="144" y="278"/>
                </a:cubicBezTo>
                <a:cubicBezTo>
                  <a:pt x="143" y="279"/>
                  <a:pt x="143" y="280"/>
                  <a:pt x="143" y="281"/>
                </a:cubicBezTo>
                <a:cubicBezTo>
                  <a:pt x="143" y="282"/>
                  <a:pt x="143" y="282"/>
                  <a:pt x="142" y="283"/>
                </a:cubicBezTo>
                <a:cubicBezTo>
                  <a:pt x="142" y="284"/>
                  <a:pt x="142" y="285"/>
                  <a:pt x="141" y="286"/>
                </a:cubicBezTo>
                <a:cubicBezTo>
                  <a:pt x="141" y="287"/>
                  <a:pt x="140" y="288"/>
                  <a:pt x="139" y="290"/>
                </a:cubicBezTo>
                <a:cubicBezTo>
                  <a:pt x="139" y="290"/>
                  <a:pt x="139" y="291"/>
                  <a:pt x="138" y="291"/>
                </a:cubicBezTo>
                <a:cubicBezTo>
                  <a:pt x="138" y="292"/>
                  <a:pt x="138" y="292"/>
                  <a:pt x="138" y="293"/>
                </a:cubicBezTo>
                <a:cubicBezTo>
                  <a:pt x="137" y="293"/>
                  <a:pt x="137" y="293"/>
                  <a:pt x="137" y="294"/>
                </a:cubicBezTo>
                <a:cubicBezTo>
                  <a:pt x="137" y="294"/>
                  <a:pt x="136" y="294"/>
                  <a:pt x="136" y="295"/>
                </a:cubicBezTo>
                <a:cubicBezTo>
                  <a:pt x="135" y="296"/>
                  <a:pt x="136" y="297"/>
                  <a:pt x="135" y="298"/>
                </a:cubicBezTo>
                <a:cubicBezTo>
                  <a:pt x="134" y="299"/>
                  <a:pt x="134" y="299"/>
                  <a:pt x="133" y="300"/>
                </a:cubicBezTo>
                <a:cubicBezTo>
                  <a:pt x="133" y="300"/>
                  <a:pt x="133" y="301"/>
                  <a:pt x="132" y="302"/>
                </a:cubicBezTo>
                <a:cubicBezTo>
                  <a:pt x="132" y="303"/>
                  <a:pt x="132" y="303"/>
                  <a:pt x="132" y="304"/>
                </a:cubicBezTo>
                <a:cubicBezTo>
                  <a:pt x="131" y="305"/>
                  <a:pt x="131" y="306"/>
                  <a:pt x="130" y="307"/>
                </a:cubicBezTo>
                <a:cubicBezTo>
                  <a:pt x="130" y="308"/>
                  <a:pt x="128" y="308"/>
                  <a:pt x="127" y="310"/>
                </a:cubicBezTo>
                <a:cubicBezTo>
                  <a:pt x="127" y="310"/>
                  <a:pt x="126" y="311"/>
                  <a:pt x="126" y="311"/>
                </a:cubicBezTo>
                <a:cubicBezTo>
                  <a:pt x="126" y="311"/>
                  <a:pt x="125" y="311"/>
                  <a:pt x="125" y="312"/>
                </a:cubicBezTo>
                <a:cubicBezTo>
                  <a:pt x="194" y="312"/>
                  <a:pt x="194" y="312"/>
                  <a:pt x="194" y="312"/>
                </a:cubicBezTo>
                <a:cubicBezTo>
                  <a:pt x="194" y="315"/>
                  <a:pt x="194" y="315"/>
                  <a:pt x="194" y="315"/>
                </a:cubicBezTo>
                <a:cubicBezTo>
                  <a:pt x="240" y="313"/>
                  <a:pt x="240" y="313"/>
                  <a:pt x="240" y="313"/>
                </a:cubicBezTo>
                <a:cubicBezTo>
                  <a:pt x="240" y="313"/>
                  <a:pt x="240" y="313"/>
                  <a:pt x="240" y="313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" name="Freeform 37">
            <a:extLst>
              <a:ext uri="{FF2B5EF4-FFF2-40B4-BE49-F238E27FC236}">
                <a16:creationId xmlns:a16="http://schemas.microsoft.com/office/drawing/2014/main" id="{5F38EB44-CE55-47C1-8DB3-88192E59A363}"/>
              </a:ext>
            </a:extLst>
          </p:cNvPr>
          <p:cNvSpPr>
            <a:spLocks noEditPoints="1"/>
          </p:cNvSpPr>
          <p:nvPr/>
        </p:nvSpPr>
        <p:spPr bwMode="auto">
          <a:xfrm>
            <a:off x="11000567" y="2467417"/>
            <a:ext cx="490705" cy="305657"/>
          </a:xfrm>
          <a:custGeom>
            <a:avLst/>
            <a:gdLst>
              <a:gd name="T0" fmla="*/ 94 w 124"/>
              <a:gd name="T1" fmla="*/ 71 h 77"/>
              <a:gd name="T2" fmla="*/ 100 w 124"/>
              <a:gd name="T3" fmla="*/ 66 h 77"/>
              <a:gd name="T4" fmla="*/ 103 w 124"/>
              <a:gd name="T5" fmla="*/ 68 h 77"/>
              <a:gd name="T6" fmla="*/ 106 w 124"/>
              <a:gd name="T7" fmla="*/ 70 h 77"/>
              <a:gd name="T8" fmla="*/ 100 w 124"/>
              <a:gd name="T9" fmla="*/ 71 h 77"/>
              <a:gd name="T10" fmla="*/ 95 w 124"/>
              <a:gd name="T11" fmla="*/ 74 h 77"/>
              <a:gd name="T12" fmla="*/ 120 w 124"/>
              <a:gd name="T13" fmla="*/ 76 h 77"/>
              <a:gd name="T14" fmla="*/ 121 w 124"/>
              <a:gd name="T15" fmla="*/ 75 h 77"/>
              <a:gd name="T16" fmla="*/ 118 w 124"/>
              <a:gd name="T17" fmla="*/ 74 h 77"/>
              <a:gd name="T18" fmla="*/ 124 w 124"/>
              <a:gd name="T19" fmla="*/ 47 h 77"/>
              <a:gd name="T20" fmla="*/ 122 w 124"/>
              <a:gd name="T21" fmla="*/ 43 h 77"/>
              <a:gd name="T22" fmla="*/ 120 w 124"/>
              <a:gd name="T23" fmla="*/ 40 h 77"/>
              <a:gd name="T24" fmla="*/ 118 w 124"/>
              <a:gd name="T25" fmla="*/ 38 h 77"/>
              <a:gd name="T26" fmla="*/ 117 w 124"/>
              <a:gd name="T27" fmla="*/ 39 h 77"/>
              <a:gd name="T28" fmla="*/ 119 w 124"/>
              <a:gd name="T29" fmla="*/ 45 h 77"/>
              <a:gd name="T30" fmla="*/ 121 w 124"/>
              <a:gd name="T31" fmla="*/ 46 h 77"/>
              <a:gd name="T32" fmla="*/ 121 w 124"/>
              <a:gd name="T33" fmla="*/ 51 h 77"/>
              <a:gd name="T34" fmla="*/ 117 w 124"/>
              <a:gd name="T35" fmla="*/ 53 h 77"/>
              <a:gd name="T36" fmla="*/ 113 w 124"/>
              <a:gd name="T37" fmla="*/ 54 h 77"/>
              <a:gd name="T38" fmla="*/ 108 w 124"/>
              <a:gd name="T39" fmla="*/ 53 h 77"/>
              <a:gd name="T40" fmla="*/ 103 w 124"/>
              <a:gd name="T41" fmla="*/ 50 h 77"/>
              <a:gd name="T42" fmla="*/ 102 w 124"/>
              <a:gd name="T43" fmla="*/ 44 h 77"/>
              <a:gd name="T44" fmla="*/ 99 w 124"/>
              <a:gd name="T45" fmla="*/ 43 h 77"/>
              <a:gd name="T46" fmla="*/ 100 w 124"/>
              <a:gd name="T47" fmla="*/ 40 h 77"/>
              <a:gd name="T48" fmla="*/ 96 w 124"/>
              <a:gd name="T49" fmla="*/ 31 h 77"/>
              <a:gd name="T50" fmla="*/ 92 w 124"/>
              <a:gd name="T51" fmla="*/ 29 h 77"/>
              <a:gd name="T52" fmla="*/ 86 w 124"/>
              <a:gd name="T53" fmla="*/ 26 h 77"/>
              <a:gd name="T54" fmla="*/ 89 w 124"/>
              <a:gd name="T55" fmla="*/ 22 h 77"/>
              <a:gd name="T56" fmla="*/ 96 w 124"/>
              <a:gd name="T57" fmla="*/ 15 h 77"/>
              <a:gd name="T58" fmla="*/ 99 w 124"/>
              <a:gd name="T59" fmla="*/ 13 h 77"/>
              <a:gd name="T60" fmla="*/ 98 w 124"/>
              <a:gd name="T61" fmla="*/ 10 h 77"/>
              <a:gd name="T62" fmla="*/ 94 w 124"/>
              <a:gd name="T63" fmla="*/ 7 h 77"/>
              <a:gd name="T64" fmla="*/ 86 w 124"/>
              <a:gd name="T65" fmla="*/ 1 h 77"/>
              <a:gd name="T66" fmla="*/ 80 w 124"/>
              <a:gd name="T67" fmla="*/ 6 h 77"/>
              <a:gd name="T68" fmla="*/ 9 w 124"/>
              <a:gd name="T69" fmla="*/ 6 h 77"/>
              <a:gd name="T70" fmla="*/ 24 w 124"/>
              <a:gd name="T71" fmla="*/ 41 h 77"/>
              <a:gd name="T72" fmla="*/ 74 w 124"/>
              <a:gd name="T73" fmla="*/ 40 h 77"/>
              <a:gd name="T74" fmla="*/ 79 w 124"/>
              <a:gd name="T75" fmla="*/ 54 h 77"/>
              <a:gd name="T76" fmla="*/ 81 w 124"/>
              <a:gd name="T77" fmla="*/ 56 h 77"/>
              <a:gd name="T78" fmla="*/ 85 w 124"/>
              <a:gd name="T79" fmla="*/ 64 h 77"/>
              <a:gd name="T80" fmla="*/ 89 w 124"/>
              <a:gd name="T81" fmla="*/ 63 h 77"/>
              <a:gd name="T82" fmla="*/ 90 w 124"/>
              <a:gd name="T83" fmla="*/ 59 h 77"/>
              <a:gd name="T84" fmla="*/ 95 w 124"/>
              <a:gd name="T85" fmla="*/ 58 h 77"/>
              <a:gd name="T86" fmla="*/ 97 w 124"/>
              <a:gd name="T87" fmla="*/ 54 h 77"/>
              <a:gd name="T88" fmla="*/ 101 w 124"/>
              <a:gd name="T89" fmla="*/ 54 h 77"/>
              <a:gd name="T90" fmla="*/ 100 w 124"/>
              <a:gd name="T91" fmla="*/ 60 h 77"/>
              <a:gd name="T92" fmla="*/ 100 w 124"/>
              <a:gd name="T93" fmla="*/ 63 h 77"/>
              <a:gd name="T94" fmla="*/ 104 w 124"/>
              <a:gd name="T95" fmla="*/ 62 h 77"/>
              <a:gd name="T96" fmla="*/ 107 w 124"/>
              <a:gd name="T97" fmla="*/ 60 h 77"/>
              <a:gd name="T98" fmla="*/ 110 w 124"/>
              <a:gd name="T99" fmla="*/ 59 h 77"/>
              <a:gd name="T100" fmla="*/ 113 w 124"/>
              <a:gd name="T101" fmla="*/ 58 h 77"/>
              <a:gd name="T102" fmla="*/ 117 w 124"/>
              <a:gd name="T103" fmla="*/ 58 h 77"/>
              <a:gd name="T104" fmla="*/ 123 w 124"/>
              <a:gd name="T105" fmla="*/ 57 h 77"/>
              <a:gd name="T106" fmla="*/ 124 w 124"/>
              <a:gd name="T107" fmla="*/ 5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4" h="77">
                <a:moveTo>
                  <a:pt x="95" y="74"/>
                </a:moveTo>
                <a:cubicBezTo>
                  <a:pt x="95" y="73"/>
                  <a:pt x="94" y="73"/>
                  <a:pt x="94" y="72"/>
                </a:cubicBezTo>
                <a:cubicBezTo>
                  <a:pt x="93" y="72"/>
                  <a:pt x="93" y="72"/>
                  <a:pt x="93" y="71"/>
                </a:cubicBezTo>
                <a:cubicBezTo>
                  <a:pt x="94" y="71"/>
                  <a:pt x="94" y="71"/>
                  <a:pt x="94" y="71"/>
                </a:cubicBezTo>
                <a:cubicBezTo>
                  <a:pt x="95" y="71"/>
                  <a:pt x="96" y="71"/>
                  <a:pt x="96" y="70"/>
                </a:cubicBezTo>
                <a:cubicBezTo>
                  <a:pt x="97" y="70"/>
                  <a:pt x="97" y="70"/>
                  <a:pt x="97" y="69"/>
                </a:cubicBezTo>
                <a:cubicBezTo>
                  <a:pt x="97" y="69"/>
                  <a:pt x="97" y="68"/>
                  <a:pt x="98" y="68"/>
                </a:cubicBezTo>
                <a:cubicBezTo>
                  <a:pt x="98" y="67"/>
                  <a:pt x="99" y="67"/>
                  <a:pt x="100" y="66"/>
                </a:cubicBezTo>
                <a:cubicBezTo>
                  <a:pt x="100" y="66"/>
                  <a:pt x="101" y="66"/>
                  <a:pt x="101" y="66"/>
                </a:cubicBezTo>
                <a:cubicBezTo>
                  <a:pt x="101" y="66"/>
                  <a:pt x="101" y="67"/>
                  <a:pt x="102" y="67"/>
                </a:cubicBezTo>
                <a:cubicBezTo>
                  <a:pt x="102" y="67"/>
                  <a:pt x="102" y="67"/>
                  <a:pt x="103" y="67"/>
                </a:cubicBezTo>
                <a:cubicBezTo>
                  <a:pt x="103" y="67"/>
                  <a:pt x="103" y="68"/>
                  <a:pt x="103" y="68"/>
                </a:cubicBezTo>
                <a:cubicBezTo>
                  <a:pt x="104" y="68"/>
                  <a:pt x="104" y="68"/>
                  <a:pt x="104" y="68"/>
                </a:cubicBezTo>
                <a:cubicBezTo>
                  <a:pt x="105" y="68"/>
                  <a:pt x="105" y="69"/>
                  <a:pt x="105" y="6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05" y="70"/>
                  <a:pt x="106" y="70"/>
                  <a:pt x="106" y="70"/>
                </a:cubicBezTo>
                <a:cubicBezTo>
                  <a:pt x="106" y="70"/>
                  <a:pt x="106" y="71"/>
                  <a:pt x="106" y="71"/>
                </a:cubicBezTo>
                <a:cubicBezTo>
                  <a:pt x="106" y="72"/>
                  <a:pt x="105" y="72"/>
                  <a:pt x="105" y="71"/>
                </a:cubicBezTo>
                <a:cubicBezTo>
                  <a:pt x="104" y="71"/>
                  <a:pt x="103" y="71"/>
                  <a:pt x="103" y="71"/>
                </a:cubicBezTo>
                <a:cubicBezTo>
                  <a:pt x="102" y="71"/>
                  <a:pt x="101" y="71"/>
                  <a:pt x="100" y="71"/>
                </a:cubicBezTo>
                <a:cubicBezTo>
                  <a:pt x="99" y="72"/>
                  <a:pt x="99" y="72"/>
                  <a:pt x="98" y="72"/>
                </a:cubicBezTo>
                <a:cubicBezTo>
                  <a:pt x="98" y="72"/>
                  <a:pt x="97" y="73"/>
                  <a:pt x="97" y="73"/>
                </a:cubicBezTo>
                <a:cubicBezTo>
                  <a:pt x="97" y="73"/>
                  <a:pt x="97" y="73"/>
                  <a:pt x="96" y="73"/>
                </a:cubicBezTo>
                <a:cubicBezTo>
                  <a:pt x="96" y="73"/>
                  <a:pt x="96" y="74"/>
                  <a:pt x="95" y="74"/>
                </a:cubicBezTo>
                <a:close/>
                <a:moveTo>
                  <a:pt x="118" y="76"/>
                </a:moveTo>
                <a:cubicBezTo>
                  <a:pt x="118" y="76"/>
                  <a:pt x="118" y="76"/>
                  <a:pt x="119" y="76"/>
                </a:cubicBezTo>
                <a:cubicBezTo>
                  <a:pt x="119" y="76"/>
                  <a:pt x="119" y="76"/>
                  <a:pt x="120" y="76"/>
                </a:cubicBezTo>
                <a:cubicBezTo>
                  <a:pt x="120" y="76"/>
                  <a:pt x="120" y="76"/>
                  <a:pt x="120" y="76"/>
                </a:cubicBezTo>
                <a:cubicBezTo>
                  <a:pt x="120" y="77"/>
                  <a:pt x="121" y="77"/>
                  <a:pt x="121" y="77"/>
                </a:cubicBezTo>
                <a:cubicBezTo>
                  <a:pt x="122" y="77"/>
                  <a:pt x="122" y="77"/>
                  <a:pt x="122" y="77"/>
                </a:cubicBezTo>
                <a:cubicBezTo>
                  <a:pt x="122" y="76"/>
                  <a:pt x="122" y="76"/>
                  <a:pt x="122" y="76"/>
                </a:cubicBezTo>
                <a:cubicBezTo>
                  <a:pt x="122" y="76"/>
                  <a:pt x="121" y="75"/>
                  <a:pt x="121" y="75"/>
                </a:cubicBezTo>
                <a:cubicBezTo>
                  <a:pt x="121" y="75"/>
                  <a:pt x="121" y="74"/>
                  <a:pt x="121" y="74"/>
                </a:cubicBezTo>
                <a:cubicBezTo>
                  <a:pt x="120" y="74"/>
                  <a:pt x="120" y="74"/>
                  <a:pt x="120" y="74"/>
                </a:cubicBezTo>
                <a:cubicBezTo>
                  <a:pt x="120" y="74"/>
                  <a:pt x="119" y="74"/>
                  <a:pt x="119" y="74"/>
                </a:cubicBezTo>
                <a:cubicBezTo>
                  <a:pt x="119" y="74"/>
                  <a:pt x="118" y="74"/>
                  <a:pt x="118" y="74"/>
                </a:cubicBezTo>
                <a:cubicBezTo>
                  <a:pt x="117" y="74"/>
                  <a:pt x="117" y="74"/>
                  <a:pt x="116" y="75"/>
                </a:cubicBezTo>
                <a:cubicBezTo>
                  <a:pt x="116" y="75"/>
                  <a:pt x="116" y="75"/>
                  <a:pt x="116" y="76"/>
                </a:cubicBezTo>
                <a:cubicBezTo>
                  <a:pt x="117" y="76"/>
                  <a:pt x="117" y="76"/>
                  <a:pt x="118" y="76"/>
                </a:cubicBezTo>
                <a:close/>
                <a:moveTo>
                  <a:pt x="124" y="47"/>
                </a:moveTo>
                <a:cubicBezTo>
                  <a:pt x="123" y="47"/>
                  <a:pt x="123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4"/>
                  <a:pt x="123" y="44"/>
                </a:cubicBezTo>
                <a:cubicBezTo>
                  <a:pt x="123" y="44"/>
                  <a:pt x="122" y="44"/>
                  <a:pt x="122" y="43"/>
                </a:cubicBezTo>
                <a:cubicBezTo>
                  <a:pt x="122" y="43"/>
                  <a:pt x="122" y="42"/>
                  <a:pt x="122" y="42"/>
                </a:cubicBezTo>
                <a:cubicBezTo>
                  <a:pt x="121" y="42"/>
                  <a:pt x="121" y="41"/>
                  <a:pt x="121" y="41"/>
                </a:cubicBezTo>
                <a:cubicBezTo>
                  <a:pt x="121" y="41"/>
                  <a:pt x="121" y="41"/>
                  <a:pt x="120" y="4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20" y="40"/>
                  <a:pt x="120" y="40"/>
                  <a:pt x="119" y="39"/>
                </a:cubicBezTo>
                <a:cubicBezTo>
                  <a:pt x="119" y="39"/>
                  <a:pt x="119" y="39"/>
                  <a:pt x="119" y="39"/>
                </a:cubicBezTo>
                <a:cubicBezTo>
                  <a:pt x="119" y="39"/>
                  <a:pt x="118" y="39"/>
                  <a:pt x="118" y="38"/>
                </a:cubicBezTo>
                <a:cubicBezTo>
                  <a:pt x="118" y="38"/>
                  <a:pt x="118" y="38"/>
                  <a:pt x="118" y="38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6" y="38"/>
                  <a:pt x="116" y="38"/>
                  <a:pt x="116" y="38"/>
                </a:cubicBezTo>
                <a:cubicBezTo>
                  <a:pt x="116" y="38"/>
                  <a:pt x="116" y="38"/>
                  <a:pt x="116" y="39"/>
                </a:cubicBezTo>
                <a:cubicBezTo>
                  <a:pt x="117" y="39"/>
                  <a:pt x="117" y="39"/>
                  <a:pt x="117" y="39"/>
                </a:cubicBezTo>
                <a:cubicBezTo>
                  <a:pt x="117" y="40"/>
                  <a:pt x="118" y="39"/>
                  <a:pt x="118" y="40"/>
                </a:cubicBezTo>
                <a:cubicBezTo>
                  <a:pt x="119" y="40"/>
                  <a:pt x="119" y="42"/>
                  <a:pt x="119" y="43"/>
                </a:cubicBezTo>
                <a:cubicBezTo>
                  <a:pt x="119" y="43"/>
                  <a:pt x="119" y="44"/>
                  <a:pt x="119" y="44"/>
                </a:cubicBezTo>
                <a:cubicBezTo>
                  <a:pt x="119" y="44"/>
                  <a:pt x="119" y="44"/>
                  <a:pt x="119" y="45"/>
                </a:cubicBezTo>
                <a:cubicBezTo>
                  <a:pt x="119" y="45"/>
                  <a:pt x="120" y="45"/>
                  <a:pt x="120" y="45"/>
                </a:cubicBezTo>
                <a:cubicBezTo>
                  <a:pt x="120" y="45"/>
                  <a:pt x="120" y="45"/>
                  <a:pt x="120" y="45"/>
                </a:cubicBezTo>
                <a:cubicBezTo>
                  <a:pt x="120" y="45"/>
                  <a:pt x="120" y="46"/>
                  <a:pt x="121" y="46"/>
                </a:cubicBezTo>
                <a:cubicBezTo>
                  <a:pt x="121" y="46"/>
                  <a:pt x="121" y="46"/>
                  <a:pt x="121" y="46"/>
                </a:cubicBezTo>
                <a:cubicBezTo>
                  <a:pt x="121" y="47"/>
                  <a:pt x="121" y="47"/>
                  <a:pt x="121" y="47"/>
                </a:cubicBezTo>
                <a:cubicBezTo>
                  <a:pt x="121" y="47"/>
                  <a:pt x="121" y="48"/>
                  <a:pt x="121" y="49"/>
                </a:cubicBezTo>
                <a:cubicBezTo>
                  <a:pt x="121" y="49"/>
                  <a:pt x="121" y="50"/>
                  <a:pt x="121" y="50"/>
                </a:cubicBezTo>
                <a:cubicBezTo>
                  <a:pt x="121" y="51"/>
                  <a:pt x="121" y="51"/>
                  <a:pt x="121" y="51"/>
                </a:cubicBezTo>
                <a:cubicBezTo>
                  <a:pt x="120" y="52"/>
                  <a:pt x="120" y="52"/>
                  <a:pt x="120" y="52"/>
                </a:cubicBezTo>
                <a:cubicBezTo>
                  <a:pt x="119" y="52"/>
                  <a:pt x="119" y="52"/>
                  <a:pt x="119" y="52"/>
                </a:cubicBezTo>
                <a:cubicBezTo>
                  <a:pt x="119" y="52"/>
                  <a:pt x="118" y="52"/>
                  <a:pt x="117" y="52"/>
                </a:cubicBezTo>
                <a:cubicBezTo>
                  <a:pt x="117" y="53"/>
                  <a:pt x="117" y="53"/>
                  <a:pt x="117" y="53"/>
                </a:cubicBezTo>
                <a:cubicBezTo>
                  <a:pt x="116" y="53"/>
                  <a:pt x="116" y="53"/>
                  <a:pt x="116" y="53"/>
                </a:cubicBezTo>
                <a:cubicBezTo>
                  <a:pt x="115" y="54"/>
                  <a:pt x="115" y="54"/>
                  <a:pt x="114" y="54"/>
                </a:cubicBezTo>
                <a:cubicBezTo>
                  <a:pt x="114" y="54"/>
                  <a:pt x="114" y="54"/>
                  <a:pt x="114" y="54"/>
                </a:cubicBezTo>
                <a:cubicBezTo>
                  <a:pt x="113" y="54"/>
                  <a:pt x="113" y="54"/>
                  <a:pt x="113" y="54"/>
                </a:cubicBezTo>
                <a:cubicBezTo>
                  <a:pt x="113" y="54"/>
                  <a:pt x="112" y="54"/>
                  <a:pt x="112" y="54"/>
                </a:cubicBezTo>
                <a:cubicBezTo>
                  <a:pt x="111" y="54"/>
                  <a:pt x="110" y="54"/>
                  <a:pt x="109" y="53"/>
                </a:cubicBezTo>
                <a:cubicBezTo>
                  <a:pt x="109" y="53"/>
                  <a:pt x="109" y="53"/>
                  <a:pt x="108" y="53"/>
                </a:cubicBezTo>
                <a:cubicBezTo>
                  <a:pt x="108" y="53"/>
                  <a:pt x="108" y="53"/>
                  <a:pt x="108" y="53"/>
                </a:cubicBezTo>
                <a:cubicBezTo>
                  <a:pt x="107" y="53"/>
                  <a:pt x="107" y="53"/>
                  <a:pt x="106" y="53"/>
                </a:cubicBezTo>
                <a:cubicBezTo>
                  <a:pt x="106" y="52"/>
                  <a:pt x="106" y="52"/>
                  <a:pt x="105" y="52"/>
                </a:cubicBezTo>
                <a:cubicBezTo>
                  <a:pt x="105" y="52"/>
                  <a:pt x="105" y="52"/>
                  <a:pt x="105" y="51"/>
                </a:cubicBezTo>
                <a:cubicBezTo>
                  <a:pt x="104" y="51"/>
                  <a:pt x="104" y="51"/>
                  <a:pt x="103" y="50"/>
                </a:cubicBezTo>
                <a:cubicBezTo>
                  <a:pt x="103" y="50"/>
                  <a:pt x="103" y="49"/>
                  <a:pt x="103" y="49"/>
                </a:cubicBezTo>
                <a:cubicBezTo>
                  <a:pt x="103" y="48"/>
                  <a:pt x="103" y="47"/>
                  <a:pt x="103" y="46"/>
                </a:cubicBezTo>
                <a:cubicBezTo>
                  <a:pt x="103" y="45"/>
                  <a:pt x="103" y="45"/>
                  <a:pt x="103" y="45"/>
                </a:cubicBezTo>
                <a:cubicBezTo>
                  <a:pt x="103" y="45"/>
                  <a:pt x="103" y="44"/>
                  <a:pt x="102" y="44"/>
                </a:cubicBezTo>
                <a:cubicBezTo>
                  <a:pt x="102" y="44"/>
                  <a:pt x="102" y="44"/>
                  <a:pt x="102" y="44"/>
                </a:cubicBezTo>
                <a:cubicBezTo>
                  <a:pt x="101" y="44"/>
                  <a:pt x="101" y="44"/>
                  <a:pt x="101" y="44"/>
                </a:cubicBezTo>
                <a:cubicBezTo>
                  <a:pt x="100" y="44"/>
                  <a:pt x="100" y="43"/>
                  <a:pt x="99" y="43"/>
                </a:cubicBezTo>
                <a:cubicBezTo>
                  <a:pt x="99" y="43"/>
                  <a:pt x="99" y="43"/>
                  <a:pt x="99" y="43"/>
                </a:cubicBezTo>
                <a:cubicBezTo>
                  <a:pt x="99" y="43"/>
                  <a:pt x="99" y="43"/>
                  <a:pt x="98" y="43"/>
                </a:cubicBezTo>
                <a:cubicBezTo>
                  <a:pt x="98" y="42"/>
                  <a:pt x="99" y="42"/>
                  <a:pt x="99" y="42"/>
                </a:cubicBezTo>
                <a:cubicBezTo>
                  <a:pt x="99" y="42"/>
                  <a:pt x="99" y="42"/>
                  <a:pt x="99" y="41"/>
                </a:cubicBezTo>
                <a:cubicBezTo>
                  <a:pt x="100" y="41"/>
                  <a:pt x="100" y="40"/>
                  <a:pt x="100" y="40"/>
                </a:cubicBezTo>
                <a:cubicBezTo>
                  <a:pt x="100" y="39"/>
                  <a:pt x="100" y="38"/>
                  <a:pt x="99" y="37"/>
                </a:cubicBezTo>
                <a:cubicBezTo>
                  <a:pt x="99" y="36"/>
                  <a:pt x="98" y="35"/>
                  <a:pt x="98" y="35"/>
                </a:cubicBezTo>
                <a:cubicBezTo>
                  <a:pt x="98" y="34"/>
                  <a:pt x="97" y="33"/>
                  <a:pt x="97" y="32"/>
                </a:cubicBezTo>
                <a:cubicBezTo>
                  <a:pt x="96" y="32"/>
                  <a:pt x="96" y="31"/>
                  <a:pt x="96" y="31"/>
                </a:cubicBezTo>
                <a:cubicBezTo>
                  <a:pt x="95" y="31"/>
                  <a:pt x="95" y="31"/>
                  <a:pt x="95" y="31"/>
                </a:cubicBezTo>
                <a:cubicBezTo>
                  <a:pt x="94" y="30"/>
                  <a:pt x="94" y="30"/>
                  <a:pt x="94" y="30"/>
                </a:cubicBezTo>
                <a:cubicBezTo>
                  <a:pt x="94" y="29"/>
                  <a:pt x="93" y="30"/>
                  <a:pt x="93" y="29"/>
                </a:cubicBezTo>
                <a:cubicBezTo>
                  <a:pt x="93" y="29"/>
                  <a:pt x="92" y="29"/>
                  <a:pt x="92" y="29"/>
                </a:cubicBezTo>
                <a:cubicBezTo>
                  <a:pt x="92" y="29"/>
                  <a:pt x="91" y="29"/>
                  <a:pt x="91" y="29"/>
                </a:cubicBezTo>
                <a:cubicBezTo>
                  <a:pt x="90" y="29"/>
                  <a:pt x="90" y="29"/>
                  <a:pt x="89" y="28"/>
                </a:cubicBezTo>
                <a:cubicBezTo>
                  <a:pt x="88" y="28"/>
                  <a:pt x="88" y="28"/>
                  <a:pt x="88" y="27"/>
                </a:cubicBezTo>
                <a:cubicBezTo>
                  <a:pt x="87" y="26"/>
                  <a:pt x="86" y="26"/>
                  <a:pt x="86" y="26"/>
                </a:cubicBezTo>
                <a:cubicBezTo>
                  <a:pt x="86" y="26"/>
                  <a:pt x="87" y="25"/>
                  <a:pt x="87" y="25"/>
                </a:cubicBezTo>
                <a:cubicBezTo>
                  <a:pt x="87" y="25"/>
                  <a:pt x="88" y="24"/>
                  <a:pt x="88" y="24"/>
                </a:cubicBezTo>
                <a:cubicBezTo>
                  <a:pt x="88" y="24"/>
                  <a:pt x="89" y="23"/>
                  <a:pt x="89" y="23"/>
                </a:cubicBezTo>
                <a:cubicBezTo>
                  <a:pt x="89" y="23"/>
                  <a:pt x="89" y="22"/>
                  <a:pt x="89" y="22"/>
                </a:cubicBezTo>
                <a:cubicBezTo>
                  <a:pt x="90" y="21"/>
                  <a:pt x="90" y="21"/>
                  <a:pt x="91" y="20"/>
                </a:cubicBezTo>
                <a:cubicBezTo>
                  <a:pt x="92" y="19"/>
                  <a:pt x="92" y="17"/>
                  <a:pt x="94" y="16"/>
                </a:cubicBezTo>
                <a:cubicBezTo>
                  <a:pt x="94" y="15"/>
                  <a:pt x="95" y="15"/>
                  <a:pt x="95" y="15"/>
                </a:cubicBezTo>
                <a:cubicBezTo>
                  <a:pt x="95" y="15"/>
                  <a:pt x="95" y="15"/>
                  <a:pt x="96" y="15"/>
                </a:cubicBezTo>
                <a:cubicBezTo>
                  <a:pt x="96" y="15"/>
                  <a:pt x="96" y="15"/>
                  <a:pt x="96" y="15"/>
                </a:cubicBezTo>
                <a:cubicBezTo>
                  <a:pt x="96" y="14"/>
                  <a:pt x="97" y="15"/>
                  <a:pt x="97" y="14"/>
                </a:cubicBezTo>
                <a:cubicBezTo>
                  <a:pt x="97" y="14"/>
                  <a:pt x="98" y="14"/>
                  <a:pt x="98" y="14"/>
                </a:cubicBezTo>
                <a:cubicBezTo>
                  <a:pt x="98" y="14"/>
                  <a:pt x="98" y="13"/>
                  <a:pt x="99" y="13"/>
                </a:cubicBezTo>
                <a:cubicBezTo>
                  <a:pt x="99" y="13"/>
                  <a:pt x="100" y="13"/>
                  <a:pt x="100" y="12"/>
                </a:cubicBezTo>
                <a:cubicBezTo>
                  <a:pt x="100" y="12"/>
                  <a:pt x="100" y="11"/>
                  <a:pt x="100" y="11"/>
                </a:cubicBezTo>
                <a:cubicBezTo>
                  <a:pt x="100" y="10"/>
                  <a:pt x="100" y="9"/>
                  <a:pt x="100" y="9"/>
                </a:cubicBezTo>
                <a:cubicBezTo>
                  <a:pt x="100" y="9"/>
                  <a:pt x="99" y="10"/>
                  <a:pt x="98" y="10"/>
                </a:cubicBezTo>
                <a:cubicBezTo>
                  <a:pt x="98" y="10"/>
                  <a:pt x="98" y="11"/>
                  <a:pt x="97" y="11"/>
                </a:cubicBezTo>
                <a:cubicBezTo>
                  <a:pt x="97" y="11"/>
                  <a:pt x="96" y="11"/>
                  <a:pt x="96" y="10"/>
                </a:cubicBezTo>
                <a:cubicBezTo>
                  <a:pt x="96" y="10"/>
                  <a:pt x="95" y="10"/>
                  <a:pt x="95" y="9"/>
                </a:cubicBezTo>
                <a:cubicBezTo>
                  <a:pt x="94" y="9"/>
                  <a:pt x="94" y="8"/>
                  <a:pt x="94" y="7"/>
                </a:cubicBezTo>
                <a:cubicBezTo>
                  <a:pt x="94" y="5"/>
                  <a:pt x="94" y="3"/>
                  <a:pt x="94" y="1"/>
                </a:cubicBezTo>
                <a:cubicBezTo>
                  <a:pt x="94" y="1"/>
                  <a:pt x="94" y="0"/>
                  <a:pt x="94" y="0"/>
                </a:cubicBezTo>
                <a:cubicBezTo>
                  <a:pt x="92" y="0"/>
                  <a:pt x="90" y="0"/>
                  <a:pt x="90" y="0"/>
                </a:cubicBezTo>
                <a:cubicBezTo>
                  <a:pt x="89" y="0"/>
                  <a:pt x="86" y="1"/>
                  <a:pt x="86" y="1"/>
                </a:cubicBezTo>
                <a:cubicBezTo>
                  <a:pt x="86" y="1"/>
                  <a:pt x="85" y="2"/>
                  <a:pt x="85" y="2"/>
                </a:cubicBezTo>
                <a:cubicBezTo>
                  <a:pt x="85" y="2"/>
                  <a:pt x="82" y="3"/>
                  <a:pt x="82" y="3"/>
                </a:cubicBezTo>
                <a:cubicBezTo>
                  <a:pt x="82" y="3"/>
                  <a:pt x="80" y="4"/>
                  <a:pt x="80" y="5"/>
                </a:cubicBezTo>
                <a:cubicBezTo>
                  <a:pt x="80" y="5"/>
                  <a:pt x="80" y="6"/>
                  <a:pt x="80" y="6"/>
                </a:cubicBezTo>
                <a:cubicBezTo>
                  <a:pt x="80" y="6"/>
                  <a:pt x="78" y="6"/>
                  <a:pt x="78" y="6"/>
                </a:cubicBezTo>
                <a:cubicBezTo>
                  <a:pt x="78" y="7"/>
                  <a:pt x="76" y="9"/>
                  <a:pt x="76" y="9"/>
                </a:cubicBezTo>
                <a:cubicBezTo>
                  <a:pt x="36" y="7"/>
                  <a:pt x="36" y="7"/>
                  <a:pt x="36" y="7"/>
                </a:cubicBezTo>
                <a:cubicBezTo>
                  <a:pt x="9" y="6"/>
                  <a:pt x="9" y="6"/>
                  <a:pt x="9" y="6"/>
                </a:cubicBezTo>
                <a:cubicBezTo>
                  <a:pt x="0" y="37"/>
                  <a:pt x="0" y="37"/>
                  <a:pt x="0" y="37"/>
                </a:cubicBezTo>
                <a:cubicBezTo>
                  <a:pt x="1" y="39"/>
                  <a:pt x="1" y="39"/>
                  <a:pt x="1" y="39"/>
                </a:cubicBezTo>
                <a:cubicBezTo>
                  <a:pt x="24" y="39"/>
                  <a:pt x="24" y="39"/>
                  <a:pt x="24" y="39"/>
                </a:cubicBezTo>
                <a:cubicBezTo>
                  <a:pt x="24" y="41"/>
                  <a:pt x="24" y="41"/>
                  <a:pt x="24" y="41"/>
                </a:cubicBezTo>
                <a:cubicBezTo>
                  <a:pt x="26" y="41"/>
                  <a:pt x="26" y="41"/>
                  <a:pt x="26" y="41"/>
                </a:cubicBezTo>
                <a:cubicBezTo>
                  <a:pt x="26" y="39"/>
                  <a:pt x="26" y="39"/>
                  <a:pt x="26" y="39"/>
                </a:cubicBezTo>
                <a:cubicBezTo>
                  <a:pt x="59" y="40"/>
                  <a:pt x="59" y="40"/>
                  <a:pt x="59" y="40"/>
                </a:cubicBezTo>
                <a:cubicBezTo>
                  <a:pt x="74" y="40"/>
                  <a:pt x="74" y="40"/>
                  <a:pt x="74" y="40"/>
                </a:cubicBezTo>
                <a:cubicBezTo>
                  <a:pt x="74" y="40"/>
                  <a:pt x="74" y="44"/>
                  <a:pt x="74" y="44"/>
                </a:cubicBezTo>
                <a:cubicBezTo>
                  <a:pt x="74" y="45"/>
                  <a:pt x="75" y="46"/>
                  <a:pt x="75" y="46"/>
                </a:cubicBezTo>
                <a:cubicBezTo>
                  <a:pt x="75" y="46"/>
                  <a:pt x="75" y="49"/>
                  <a:pt x="75" y="49"/>
                </a:cubicBezTo>
                <a:cubicBezTo>
                  <a:pt x="79" y="54"/>
                  <a:pt x="79" y="54"/>
                  <a:pt x="79" y="54"/>
                </a:cubicBezTo>
                <a:cubicBezTo>
                  <a:pt x="79" y="54"/>
                  <a:pt x="80" y="54"/>
                  <a:pt x="80" y="54"/>
                </a:cubicBezTo>
                <a:cubicBezTo>
                  <a:pt x="80" y="54"/>
                  <a:pt x="81" y="55"/>
                  <a:pt x="81" y="55"/>
                </a:cubicBezTo>
                <a:cubicBezTo>
                  <a:pt x="81" y="55"/>
                  <a:pt x="81" y="55"/>
                  <a:pt x="81" y="56"/>
                </a:cubicBezTo>
                <a:cubicBezTo>
                  <a:pt x="81" y="56"/>
                  <a:pt x="81" y="56"/>
                  <a:pt x="81" y="56"/>
                </a:cubicBezTo>
                <a:cubicBezTo>
                  <a:pt x="82" y="57"/>
                  <a:pt x="82" y="57"/>
                  <a:pt x="82" y="57"/>
                </a:cubicBezTo>
                <a:cubicBezTo>
                  <a:pt x="82" y="57"/>
                  <a:pt x="83" y="59"/>
                  <a:pt x="83" y="59"/>
                </a:cubicBezTo>
                <a:cubicBezTo>
                  <a:pt x="83" y="59"/>
                  <a:pt x="84" y="63"/>
                  <a:pt x="84" y="65"/>
                </a:cubicBezTo>
                <a:cubicBezTo>
                  <a:pt x="84" y="65"/>
                  <a:pt x="84" y="65"/>
                  <a:pt x="85" y="64"/>
                </a:cubicBezTo>
                <a:cubicBezTo>
                  <a:pt x="85" y="64"/>
                  <a:pt x="86" y="64"/>
                  <a:pt x="86" y="64"/>
                </a:cubicBezTo>
                <a:cubicBezTo>
                  <a:pt x="86" y="64"/>
                  <a:pt x="87" y="64"/>
                  <a:pt x="87" y="64"/>
                </a:cubicBezTo>
                <a:cubicBezTo>
                  <a:pt x="87" y="64"/>
                  <a:pt x="87" y="63"/>
                  <a:pt x="87" y="63"/>
                </a:cubicBezTo>
                <a:cubicBezTo>
                  <a:pt x="88" y="63"/>
                  <a:pt x="88" y="63"/>
                  <a:pt x="89" y="63"/>
                </a:cubicBezTo>
                <a:cubicBezTo>
                  <a:pt x="89" y="63"/>
                  <a:pt x="89" y="63"/>
                  <a:pt x="90" y="62"/>
                </a:cubicBezTo>
                <a:cubicBezTo>
                  <a:pt x="90" y="62"/>
                  <a:pt x="90" y="62"/>
                  <a:pt x="90" y="61"/>
                </a:cubicBezTo>
                <a:cubicBezTo>
                  <a:pt x="90" y="61"/>
                  <a:pt x="90" y="60"/>
                  <a:pt x="90" y="60"/>
                </a:cubicBezTo>
                <a:cubicBezTo>
                  <a:pt x="90" y="59"/>
                  <a:pt x="90" y="59"/>
                  <a:pt x="90" y="59"/>
                </a:cubicBezTo>
                <a:cubicBezTo>
                  <a:pt x="91" y="59"/>
                  <a:pt x="91" y="59"/>
                  <a:pt x="92" y="59"/>
                </a:cubicBezTo>
                <a:cubicBezTo>
                  <a:pt x="92" y="59"/>
                  <a:pt x="93" y="59"/>
                  <a:pt x="93" y="58"/>
                </a:cubicBezTo>
                <a:cubicBezTo>
                  <a:pt x="93" y="58"/>
                  <a:pt x="93" y="58"/>
                  <a:pt x="93" y="58"/>
                </a:cubicBezTo>
                <a:cubicBezTo>
                  <a:pt x="94" y="58"/>
                  <a:pt x="94" y="58"/>
                  <a:pt x="95" y="58"/>
                </a:cubicBezTo>
                <a:cubicBezTo>
                  <a:pt x="95" y="57"/>
                  <a:pt x="95" y="57"/>
                  <a:pt x="95" y="57"/>
                </a:cubicBezTo>
                <a:cubicBezTo>
                  <a:pt x="96" y="56"/>
                  <a:pt x="96" y="56"/>
                  <a:pt x="96" y="56"/>
                </a:cubicBezTo>
                <a:cubicBezTo>
                  <a:pt x="96" y="56"/>
                  <a:pt x="96" y="55"/>
                  <a:pt x="96" y="55"/>
                </a:cubicBezTo>
                <a:cubicBezTo>
                  <a:pt x="96" y="55"/>
                  <a:pt x="97" y="55"/>
                  <a:pt x="97" y="54"/>
                </a:cubicBezTo>
                <a:cubicBezTo>
                  <a:pt x="97" y="54"/>
                  <a:pt x="97" y="54"/>
                  <a:pt x="97" y="54"/>
                </a:cubicBezTo>
                <a:cubicBezTo>
                  <a:pt x="98" y="54"/>
                  <a:pt x="98" y="54"/>
                  <a:pt x="98" y="54"/>
                </a:cubicBezTo>
                <a:cubicBezTo>
                  <a:pt x="99" y="54"/>
                  <a:pt x="100" y="54"/>
                  <a:pt x="100" y="53"/>
                </a:cubicBezTo>
                <a:cubicBezTo>
                  <a:pt x="101" y="53"/>
                  <a:pt x="101" y="53"/>
                  <a:pt x="101" y="54"/>
                </a:cubicBezTo>
                <a:cubicBezTo>
                  <a:pt x="101" y="55"/>
                  <a:pt x="101" y="56"/>
                  <a:pt x="101" y="56"/>
                </a:cubicBezTo>
                <a:cubicBezTo>
                  <a:pt x="101" y="57"/>
                  <a:pt x="101" y="58"/>
                  <a:pt x="101" y="58"/>
                </a:cubicBezTo>
                <a:cubicBezTo>
                  <a:pt x="100" y="58"/>
                  <a:pt x="100" y="59"/>
                  <a:pt x="100" y="59"/>
                </a:cubicBezTo>
                <a:cubicBezTo>
                  <a:pt x="100" y="59"/>
                  <a:pt x="100" y="60"/>
                  <a:pt x="100" y="60"/>
                </a:cubicBezTo>
                <a:cubicBezTo>
                  <a:pt x="100" y="61"/>
                  <a:pt x="100" y="61"/>
                  <a:pt x="100" y="61"/>
                </a:cubicBezTo>
                <a:cubicBezTo>
                  <a:pt x="99" y="62"/>
                  <a:pt x="99" y="62"/>
                  <a:pt x="99" y="62"/>
                </a:cubicBezTo>
                <a:cubicBezTo>
                  <a:pt x="99" y="63"/>
                  <a:pt x="99" y="63"/>
                  <a:pt x="99" y="63"/>
                </a:cubicBezTo>
                <a:cubicBezTo>
                  <a:pt x="100" y="64"/>
                  <a:pt x="100" y="63"/>
                  <a:pt x="100" y="63"/>
                </a:cubicBezTo>
                <a:cubicBezTo>
                  <a:pt x="101" y="63"/>
                  <a:pt x="101" y="63"/>
                  <a:pt x="101" y="63"/>
                </a:cubicBezTo>
                <a:cubicBezTo>
                  <a:pt x="102" y="63"/>
                  <a:pt x="102" y="63"/>
                  <a:pt x="102" y="63"/>
                </a:cubicBezTo>
                <a:cubicBezTo>
                  <a:pt x="102" y="62"/>
                  <a:pt x="103" y="62"/>
                  <a:pt x="103" y="62"/>
                </a:cubicBezTo>
                <a:cubicBezTo>
                  <a:pt x="103" y="62"/>
                  <a:pt x="103" y="62"/>
                  <a:pt x="104" y="62"/>
                </a:cubicBezTo>
                <a:cubicBezTo>
                  <a:pt x="104" y="62"/>
                  <a:pt x="104" y="62"/>
                  <a:pt x="105" y="61"/>
                </a:cubicBezTo>
                <a:cubicBezTo>
                  <a:pt x="105" y="61"/>
                  <a:pt x="105" y="61"/>
                  <a:pt x="105" y="61"/>
                </a:cubicBezTo>
                <a:cubicBezTo>
                  <a:pt x="106" y="61"/>
                  <a:pt x="106" y="61"/>
                  <a:pt x="106" y="61"/>
                </a:cubicBezTo>
                <a:cubicBezTo>
                  <a:pt x="106" y="61"/>
                  <a:pt x="107" y="61"/>
                  <a:pt x="107" y="60"/>
                </a:cubicBezTo>
                <a:cubicBezTo>
                  <a:pt x="107" y="60"/>
                  <a:pt x="107" y="60"/>
                  <a:pt x="108" y="60"/>
                </a:cubicBezTo>
                <a:cubicBezTo>
                  <a:pt x="108" y="60"/>
                  <a:pt x="108" y="59"/>
                  <a:pt x="108" y="59"/>
                </a:cubicBezTo>
                <a:cubicBezTo>
                  <a:pt x="108" y="59"/>
                  <a:pt x="109" y="59"/>
                  <a:pt x="109" y="59"/>
                </a:cubicBezTo>
                <a:cubicBezTo>
                  <a:pt x="109" y="59"/>
                  <a:pt x="110" y="59"/>
                  <a:pt x="110" y="59"/>
                </a:cubicBezTo>
                <a:cubicBezTo>
                  <a:pt x="110" y="59"/>
                  <a:pt x="110" y="59"/>
                  <a:pt x="111" y="59"/>
                </a:cubicBezTo>
                <a:cubicBezTo>
                  <a:pt x="111" y="59"/>
                  <a:pt x="111" y="59"/>
                  <a:pt x="111" y="59"/>
                </a:cubicBezTo>
                <a:cubicBezTo>
                  <a:pt x="111" y="58"/>
                  <a:pt x="112" y="59"/>
                  <a:pt x="112" y="58"/>
                </a:cubicBezTo>
                <a:cubicBezTo>
                  <a:pt x="112" y="58"/>
                  <a:pt x="112" y="58"/>
                  <a:pt x="113" y="58"/>
                </a:cubicBezTo>
                <a:cubicBezTo>
                  <a:pt x="113" y="58"/>
                  <a:pt x="113" y="58"/>
                  <a:pt x="114" y="58"/>
                </a:cubicBezTo>
                <a:cubicBezTo>
                  <a:pt x="114" y="58"/>
                  <a:pt x="114" y="58"/>
                  <a:pt x="114" y="58"/>
                </a:cubicBezTo>
                <a:cubicBezTo>
                  <a:pt x="114" y="58"/>
                  <a:pt x="115" y="58"/>
                  <a:pt x="115" y="58"/>
                </a:cubicBezTo>
                <a:cubicBezTo>
                  <a:pt x="116" y="58"/>
                  <a:pt x="116" y="58"/>
                  <a:pt x="117" y="58"/>
                </a:cubicBezTo>
                <a:cubicBezTo>
                  <a:pt x="117" y="58"/>
                  <a:pt x="117" y="58"/>
                  <a:pt x="117" y="58"/>
                </a:cubicBezTo>
                <a:cubicBezTo>
                  <a:pt x="117" y="57"/>
                  <a:pt x="117" y="57"/>
                  <a:pt x="118" y="57"/>
                </a:cubicBezTo>
                <a:cubicBezTo>
                  <a:pt x="118" y="57"/>
                  <a:pt x="118" y="57"/>
                  <a:pt x="118" y="57"/>
                </a:cubicBezTo>
                <a:cubicBezTo>
                  <a:pt x="120" y="57"/>
                  <a:pt x="121" y="57"/>
                  <a:pt x="123" y="57"/>
                </a:cubicBezTo>
                <a:cubicBezTo>
                  <a:pt x="123" y="57"/>
                  <a:pt x="123" y="57"/>
                  <a:pt x="123" y="56"/>
                </a:cubicBezTo>
                <a:cubicBezTo>
                  <a:pt x="124" y="56"/>
                  <a:pt x="124" y="56"/>
                  <a:pt x="124" y="55"/>
                </a:cubicBezTo>
                <a:cubicBezTo>
                  <a:pt x="124" y="55"/>
                  <a:pt x="124" y="55"/>
                  <a:pt x="124" y="55"/>
                </a:cubicBezTo>
                <a:cubicBezTo>
                  <a:pt x="124" y="50"/>
                  <a:pt x="124" y="50"/>
                  <a:pt x="124" y="50"/>
                </a:cubicBezTo>
                <a:cubicBezTo>
                  <a:pt x="124" y="49"/>
                  <a:pt x="124" y="48"/>
                  <a:pt x="124" y="47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0" name="Freeform 38">
            <a:extLst>
              <a:ext uri="{FF2B5EF4-FFF2-40B4-BE49-F238E27FC236}">
                <a16:creationId xmlns:a16="http://schemas.microsoft.com/office/drawing/2014/main" id="{9C10A4A7-7773-47D5-A3D8-7629FDC1ED95}"/>
              </a:ext>
            </a:extLst>
          </p:cNvPr>
          <p:cNvSpPr>
            <a:spLocks noEditPoints="1"/>
          </p:cNvSpPr>
          <p:nvPr/>
        </p:nvSpPr>
        <p:spPr bwMode="auto">
          <a:xfrm>
            <a:off x="10184378" y="3042385"/>
            <a:ext cx="609664" cy="313919"/>
          </a:xfrm>
          <a:custGeom>
            <a:avLst/>
            <a:gdLst>
              <a:gd name="T0" fmla="*/ 151 w 154"/>
              <a:gd name="T1" fmla="*/ 62 h 79"/>
              <a:gd name="T2" fmla="*/ 148 w 154"/>
              <a:gd name="T3" fmla="*/ 67 h 79"/>
              <a:gd name="T4" fmla="*/ 145 w 154"/>
              <a:gd name="T5" fmla="*/ 71 h 79"/>
              <a:gd name="T6" fmla="*/ 141 w 154"/>
              <a:gd name="T7" fmla="*/ 76 h 79"/>
              <a:gd name="T8" fmla="*/ 127 w 154"/>
              <a:gd name="T9" fmla="*/ 75 h 79"/>
              <a:gd name="T10" fmla="*/ 123 w 154"/>
              <a:gd name="T11" fmla="*/ 69 h 79"/>
              <a:gd name="T12" fmla="*/ 127 w 154"/>
              <a:gd name="T13" fmla="*/ 57 h 79"/>
              <a:gd name="T14" fmla="*/ 123 w 154"/>
              <a:gd name="T15" fmla="*/ 66 h 79"/>
              <a:gd name="T16" fmla="*/ 118 w 154"/>
              <a:gd name="T17" fmla="*/ 66 h 79"/>
              <a:gd name="T18" fmla="*/ 111 w 154"/>
              <a:gd name="T19" fmla="*/ 59 h 79"/>
              <a:gd name="T20" fmla="*/ 113 w 154"/>
              <a:gd name="T21" fmla="*/ 52 h 79"/>
              <a:gd name="T22" fmla="*/ 116 w 154"/>
              <a:gd name="T23" fmla="*/ 50 h 79"/>
              <a:gd name="T24" fmla="*/ 121 w 154"/>
              <a:gd name="T25" fmla="*/ 49 h 79"/>
              <a:gd name="T26" fmla="*/ 114 w 154"/>
              <a:gd name="T27" fmla="*/ 46 h 79"/>
              <a:gd name="T28" fmla="*/ 111 w 154"/>
              <a:gd name="T29" fmla="*/ 41 h 79"/>
              <a:gd name="T30" fmla="*/ 116 w 154"/>
              <a:gd name="T31" fmla="*/ 38 h 79"/>
              <a:gd name="T32" fmla="*/ 115 w 154"/>
              <a:gd name="T33" fmla="*/ 32 h 79"/>
              <a:gd name="T34" fmla="*/ 113 w 154"/>
              <a:gd name="T35" fmla="*/ 30 h 79"/>
              <a:gd name="T36" fmla="*/ 113 w 154"/>
              <a:gd name="T37" fmla="*/ 22 h 79"/>
              <a:gd name="T38" fmla="*/ 117 w 154"/>
              <a:gd name="T39" fmla="*/ 17 h 79"/>
              <a:gd name="T40" fmla="*/ 123 w 154"/>
              <a:gd name="T41" fmla="*/ 16 h 79"/>
              <a:gd name="T42" fmla="*/ 123 w 154"/>
              <a:gd name="T43" fmla="*/ 10 h 79"/>
              <a:gd name="T44" fmla="*/ 122 w 154"/>
              <a:gd name="T45" fmla="*/ 7 h 79"/>
              <a:gd name="T46" fmla="*/ 117 w 154"/>
              <a:gd name="T47" fmla="*/ 11 h 79"/>
              <a:gd name="T48" fmla="*/ 112 w 154"/>
              <a:gd name="T49" fmla="*/ 18 h 79"/>
              <a:gd name="T50" fmla="*/ 108 w 154"/>
              <a:gd name="T51" fmla="*/ 16 h 79"/>
              <a:gd name="T52" fmla="*/ 106 w 154"/>
              <a:gd name="T53" fmla="*/ 23 h 79"/>
              <a:gd name="T54" fmla="*/ 102 w 154"/>
              <a:gd name="T55" fmla="*/ 23 h 79"/>
              <a:gd name="T56" fmla="*/ 106 w 154"/>
              <a:gd name="T57" fmla="*/ 31 h 79"/>
              <a:gd name="T58" fmla="*/ 102 w 154"/>
              <a:gd name="T59" fmla="*/ 35 h 79"/>
              <a:gd name="T60" fmla="*/ 102 w 154"/>
              <a:gd name="T61" fmla="*/ 43 h 79"/>
              <a:gd name="T62" fmla="*/ 103 w 154"/>
              <a:gd name="T63" fmla="*/ 52 h 79"/>
              <a:gd name="T64" fmla="*/ 107 w 154"/>
              <a:gd name="T65" fmla="*/ 62 h 79"/>
              <a:gd name="T66" fmla="*/ 99 w 154"/>
              <a:gd name="T67" fmla="*/ 55 h 79"/>
              <a:gd name="T68" fmla="*/ 109 w 154"/>
              <a:gd name="T69" fmla="*/ 69 h 79"/>
              <a:gd name="T70" fmla="*/ 105 w 154"/>
              <a:gd name="T71" fmla="*/ 70 h 79"/>
              <a:gd name="T72" fmla="*/ 98 w 154"/>
              <a:gd name="T73" fmla="*/ 65 h 79"/>
              <a:gd name="T74" fmla="*/ 92 w 154"/>
              <a:gd name="T75" fmla="*/ 63 h 79"/>
              <a:gd name="T76" fmla="*/ 86 w 154"/>
              <a:gd name="T77" fmla="*/ 60 h 79"/>
              <a:gd name="T78" fmla="*/ 82 w 154"/>
              <a:gd name="T79" fmla="*/ 50 h 79"/>
              <a:gd name="T80" fmla="*/ 86 w 154"/>
              <a:gd name="T81" fmla="*/ 39 h 79"/>
              <a:gd name="T82" fmla="*/ 78 w 154"/>
              <a:gd name="T83" fmla="*/ 33 h 79"/>
              <a:gd name="T84" fmla="*/ 70 w 154"/>
              <a:gd name="T85" fmla="*/ 22 h 79"/>
              <a:gd name="T86" fmla="*/ 59 w 154"/>
              <a:gd name="T87" fmla="*/ 11 h 79"/>
              <a:gd name="T88" fmla="*/ 57 w 154"/>
              <a:gd name="T89" fmla="*/ 5 h 79"/>
              <a:gd name="T90" fmla="*/ 44 w 154"/>
              <a:gd name="T91" fmla="*/ 1 h 79"/>
              <a:gd name="T92" fmla="*/ 36 w 154"/>
              <a:gd name="T93" fmla="*/ 6 h 79"/>
              <a:gd name="T94" fmla="*/ 28 w 154"/>
              <a:gd name="T95" fmla="*/ 7 h 79"/>
              <a:gd name="T96" fmla="*/ 23 w 154"/>
              <a:gd name="T97" fmla="*/ 7 h 79"/>
              <a:gd name="T98" fmla="*/ 14 w 154"/>
              <a:gd name="T99" fmla="*/ 11 h 79"/>
              <a:gd name="T100" fmla="*/ 5 w 154"/>
              <a:gd name="T101" fmla="*/ 19 h 79"/>
              <a:gd name="T102" fmla="*/ 109 w 154"/>
              <a:gd name="T103" fmla="*/ 39 h 79"/>
              <a:gd name="T104" fmla="*/ 110 w 154"/>
              <a:gd name="T105" fmla="*/ 3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4" h="79">
                <a:moveTo>
                  <a:pt x="154" y="56"/>
                </a:moveTo>
                <a:cubicBezTo>
                  <a:pt x="154" y="57"/>
                  <a:pt x="153" y="57"/>
                  <a:pt x="152" y="57"/>
                </a:cubicBezTo>
                <a:cubicBezTo>
                  <a:pt x="152" y="58"/>
                  <a:pt x="152" y="58"/>
                  <a:pt x="151" y="58"/>
                </a:cubicBezTo>
                <a:cubicBezTo>
                  <a:pt x="151" y="58"/>
                  <a:pt x="150" y="58"/>
                  <a:pt x="150" y="59"/>
                </a:cubicBezTo>
                <a:cubicBezTo>
                  <a:pt x="150" y="60"/>
                  <a:pt x="150" y="60"/>
                  <a:pt x="151" y="61"/>
                </a:cubicBezTo>
                <a:cubicBezTo>
                  <a:pt x="151" y="61"/>
                  <a:pt x="151" y="61"/>
                  <a:pt x="151" y="62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51" y="63"/>
                  <a:pt x="151" y="63"/>
                  <a:pt x="151" y="63"/>
                </a:cubicBezTo>
                <a:cubicBezTo>
                  <a:pt x="151" y="64"/>
                  <a:pt x="151" y="65"/>
                  <a:pt x="150" y="66"/>
                </a:cubicBezTo>
                <a:cubicBezTo>
                  <a:pt x="150" y="66"/>
                  <a:pt x="149" y="66"/>
                  <a:pt x="149" y="67"/>
                </a:cubicBezTo>
                <a:cubicBezTo>
                  <a:pt x="149" y="67"/>
                  <a:pt x="149" y="68"/>
                  <a:pt x="148" y="68"/>
                </a:cubicBezTo>
                <a:cubicBezTo>
                  <a:pt x="148" y="68"/>
                  <a:pt x="148" y="67"/>
                  <a:pt x="148" y="67"/>
                </a:cubicBezTo>
                <a:cubicBezTo>
                  <a:pt x="147" y="67"/>
                  <a:pt x="147" y="67"/>
                  <a:pt x="147" y="67"/>
                </a:cubicBezTo>
                <a:cubicBezTo>
                  <a:pt x="147" y="67"/>
                  <a:pt x="147" y="67"/>
                  <a:pt x="147" y="67"/>
                </a:cubicBezTo>
                <a:cubicBezTo>
                  <a:pt x="147" y="67"/>
                  <a:pt x="146" y="67"/>
                  <a:pt x="146" y="67"/>
                </a:cubicBezTo>
                <a:cubicBezTo>
                  <a:pt x="146" y="68"/>
                  <a:pt x="146" y="68"/>
                  <a:pt x="146" y="69"/>
                </a:cubicBezTo>
                <a:cubicBezTo>
                  <a:pt x="146" y="69"/>
                  <a:pt x="146" y="70"/>
                  <a:pt x="146" y="70"/>
                </a:cubicBezTo>
                <a:cubicBezTo>
                  <a:pt x="146" y="70"/>
                  <a:pt x="145" y="71"/>
                  <a:pt x="145" y="71"/>
                </a:cubicBezTo>
                <a:cubicBezTo>
                  <a:pt x="145" y="71"/>
                  <a:pt x="145" y="71"/>
                  <a:pt x="145" y="72"/>
                </a:cubicBezTo>
                <a:cubicBezTo>
                  <a:pt x="145" y="72"/>
                  <a:pt x="145" y="72"/>
                  <a:pt x="144" y="72"/>
                </a:cubicBezTo>
                <a:cubicBezTo>
                  <a:pt x="144" y="72"/>
                  <a:pt x="144" y="72"/>
                  <a:pt x="144" y="73"/>
                </a:cubicBezTo>
                <a:cubicBezTo>
                  <a:pt x="143" y="73"/>
                  <a:pt x="143" y="73"/>
                  <a:pt x="143" y="74"/>
                </a:cubicBezTo>
                <a:cubicBezTo>
                  <a:pt x="143" y="74"/>
                  <a:pt x="143" y="74"/>
                  <a:pt x="142" y="74"/>
                </a:cubicBezTo>
                <a:cubicBezTo>
                  <a:pt x="142" y="75"/>
                  <a:pt x="142" y="75"/>
                  <a:pt x="141" y="76"/>
                </a:cubicBezTo>
                <a:cubicBezTo>
                  <a:pt x="134" y="76"/>
                  <a:pt x="134" y="76"/>
                  <a:pt x="134" y="76"/>
                </a:cubicBezTo>
                <a:cubicBezTo>
                  <a:pt x="132" y="79"/>
                  <a:pt x="132" y="79"/>
                  <a:pt x="132" y="79"/>
                </a:cubicBezTo>
                <a:cubicBezTo>
                  <a:pt x="131" y="78"/>
                  <a:pt x="130" y="78"/>
                  <a:pt x="129" y="78"/>
                </a:cubicBezTo>
                <a:cubicBezTo>
                  <a:pt x="129" y="78"/>
                  <a:pt x="128" y="78"/>
                  <a:pt x="128" y="79"/>
                </a:cubicBezTo>
                <a:cubicBezTo>
                  <a:pt x="127" y="79"/>
                  <a:pt x="126" y="79"/>
                  <a:pt x="126" y="79"/>
                </a:cubicBezTo>
                <a:cubicBezTo>
                  <a:pt x="125" y="77"/>
                  <a:pt x="127" y="76"/>
                  <a:pt x="127" y="75"/>
                </a:cubicBezTo>
                <a:cubicBezTo>
                  <a:pt x="128" y="75"/>
                  <a:pt x="128" y="74"/>
                  <a:pt x="128" y="74"/>
                </a:cubicBezTo>
                <a:cubicBezTo>
                  <a:pt x="127" y="74"/>
                  <a:pt x="126" y="74"/>
                  <a:pt x="126" y="73"/>
                </a:cubicBezTo>
                <a:cubicBezTo>
                  <a:pt x="126" y="72"/>
                  <a:pt x="128" y="72"/>
                  <a:pt x="127" y="71"/>
                </a:cubicBezTo>
                <a:cubicBezTo>
                  <a:pt x="126" y="70"/>
                  <a:pt x="126" y="71"/>
                  <a:pt x="125" y="71"/>
                </a:cubicBezTo>
                <a:cubicBezTo>
                  <a:pt x="125" y="72"/>
                  <a:pt x="124" y="72"/>
                  <a:pt x="123" y="71"/>
                </a:cubicBezTo>
                <a:cubicBezTo>
                  <a:pt x="122" y="71"/>
                  <a:pt x="123" y="70"/>
                  <a:pt x="123" y="69"/>
                </a:cubicBezTo>
                <a:cubicBezTo>
                  <a:pt x="123" y="69"/>
                  <a:pt x="123" y="69"/>
                  <a:pt x="124" y="68"/>
                </a:cubicBezTo>
                <a:cubicBezTo>
                  <a:pt x="124" y="68"/>
                  <a:pt x="124" y="68"/>
                  <a:pt x="124" y="67"/>
                </a:cubicBezTo>
                <a:cubicBezTo>
                  <a:pt x="124" y="66"/>
                  <a:pt x="124" y="65"/>
                  <a:pt x="124" y="64"/>
                </a:cubicBezTo>
                <a:cubicBezTo>
                  <a:pt x="124" y="63"/>
                  <a:pt x="125" y="63"/>
                  <a:pt x="125" y="62"/>
                </a:cubicBezTo>
                <a:cubicBezTo>
                  <a:pt x="126" y="61"/>
                  <a:pt x="126" y="60"/>
                  <a:pt x="126" y="59"/>
                </a:cubicBezTo>
                <a:cubicBezTo>
                  <a:pt x="126" y="59"/>
                  <a:pt x="126" y="58"/>
                  <a:pt x="127" y="57"/>
                </a:cubicBezTo>
                <a:cubicBezTo>
                  <a:pt x="127" y="57"/>
                  <a:pt x="127" y="57"/>
                  <a:pt x="127" y="57"/>
                </a:cubicBezTo>
                <a:cubicBezTo>
                  <a:pt x="127" y="56"/>
                  <a:pt x="126" y="58"/>
                  <a:pt x="126" y="58"/>
                </a:cubicBezTo>
                <a:cubicBezTo>
                  <a:pt x="126" y="59"/>
                  <a:pt x="125" y="59"/>
                  <a:pt x="125" y="60"/>
                </a:cubicBezTo>
                <a:cubicBezTo>
                  <a:pt x="125" y="61"/>
                  <a:pt x="125" y="62"/>
                  <a:pt x="124" y="62"/>
                </a:cubicBezTo>
                <a:cubicBezTo>
                  <a:pt x="124" y="63"/>
                  <a:pt x="123" y="64"/>
                  <a:pt x="123" y="65"/>
                </a:cubicBezTo>
                <a:cubicBezTo>
                  <a:pt x="123" y="65"/>
                  <a:pt x="123" y="66"/>
                  <a:pt x="123" y="66"/>
                </a:cubicBezTo>
                <a:cubicBezTo>
                  <a:pt x="122" y="66"/>
                  <a:pt x="122" y="66"/>
                  <a:pt x="122" y="65"/>
                </a:cubicBezTo>
                <a:cubicBezTo>
                  <a:pt x="122" y="65"/>
                  <a:pt x="122" y="65"/>
                  <a:pt x="121" y="65"/>
                </a:cubicBezTo>
                <a:cubicBezTo>
                  <a:pt x="121" y="64"/>
                  <a:pt x="120" y="64"/>
                  <a:pt x="120" y="65"/>
                </a:cubicBezTo>
                <a:cubicBezTo>
                  <a:pt x="120" y="65"/>
                  <a:pt x="120" y="66"/>
                  <a:pt x="119" y="67"/>
                </a:cubicBezTo>
                <a:cubicBezTo>
                  <a:pt x="119" y="67"/>
                  <a:pt x="118" y="67"/>
                  <a:pt x="118" y="66"/>
                </a:cubicBezTo>
                <a:cubicBezTo>
                  <a:pt x="118" y="66"/>
                  <a:pt x="118" y="66"/>
                  <a:pt x="118" y="66"/>
                </a:cubicBezTo>
                <a:cubicBezTo>
                  <a:pt x="118" y="66"/>
                  <a:pt x="117" y="65"/>
                  <a:pt x="117" y="65"/>
                </a:cubicBezTo>
                <a:cubicBezTo>
                  <a:pt x="116" y="64"/>
                  <a:pt x="115" y="63"/>
                  <a:pt x="115" y="62"/>
                </a:cubicBezTo>
                <a:cubicBezTo>
                  <a:pt x="115" y="62"/>
                  <a:pt x="115" y="61"/>
                  <a:pt x="114" y="61"/>
                </a:cubicBezTo>
                <a:cubicBezTo>
                  <a:pt x="114" y="60"/>
                  <a:pt x="114" y="60"/>
                  <a:pt x="114" y="61"/>
                </a:cubicBezTo>
                <a:cubicBezTo>
                  <a:pt x="113" y="61"/>
                  <a:pt x="112" y="61"/>
                  <a:pt x="112" y="60"/>
                </a:cubicBezTo>
                <a:cubicBezTo>
                  <a:pt x="111" y="60"/>
                  <a:pt x="111" y="60"/>
                  <a:pt x="111" y="59"/>
                </a:cubicBezTo>
                <a:cubicBezTo>
                  <a:pt x="111" y="58"/>
                  <a:pt x="110" y="58"/>
                  <a:pt x="110" y="57"/>
                </a:cubicBezTo>
                <a:cubicBezTo>
                  <a:pt x="110" y="57"/>
                  <a:pt x="110" y="56"/>
                  <a:pt x="110" y="55"/>
                </a:cubicBezTo>
                <a:cubicBezTo>
                  <a:pt x="110" y="55"/>
                  <a:pt x="111" y="55"/>
                  <a:pt x="111" y="55"/>
                </a:cubicBezTo>
                <a:cubicBezTo>
                  <a:pt x="111" y="55"/>
                  <a:pt x="112" y="55"/>
                  <a:pt x="112" y="55"/>
                </a:cubicBezTo>
                <a:cubicBezTo>
                  <a:pt x="112" y="54"/>
                  <a:pt x="113" y="54"/>
                  <a:pt x="114" y="54"/>
                </a:cubicBezTo>
                <a:cubicBezTo>
                  <a:pt x="114" y="53"/>
                  <a:pt x="113" y="53"/>
                  <a:pt x="113" y="52"/>
                </a:cubicBezTo>
                <a:cubicBezTo>
                  <a:pt x="113" y="52"/>
                  <a:pt x="113" y="52"/>
                  <a:pt x="113" y="52"/>
                </a:cubicBezTo>
                <a:cubicBezTo>
                  <a:pt x="113" y="51"/>
                  <a:pt x="113" y="51"/>
                  <a:pt x="113" y="51"/>
                </a:cubicBezTo>
                <a:cubicBezTo>
                  <a:pt x="112" y="51"/>
                  <a:pt x="112" y="50"/>
                  <a:pt x="112" y="50"/>
                </a:cubicBezTo>
                <a:cubicBezTo>
                  <a:pt x="113" y="50"/>
                  <a:pt x="113" y="49"/>
                  <a:pt x="114" y="49"/>
                </a:cubicBezTo>
                <a:cubicBezTo>
                  <a:pt x="115" y="49"/>
                  <a:pt x="115" y="49"/>
                  <a:pt x="116" y="49"/>
                </a:cubicBezTo>
                <a:cubicBezTo>
                  <a:pt x="116" y="50"/>
                  <a:pt x="116" y="50"/>
                  <a:pt x="116" y="50"/>
                </a:cubicBezTo>
                <a:cubicBezTo>
                  <a:pt x="116" y="50"/>
                  <a:pt x="116" y="50"/>
                  <a:pt x="117" y="51"/>
                </a:cubicBezTo>
                <a:cubicBezTo>
                  <a:pt x="118" y="51"/>
                  <a:pt x="119" y="52"/>
                  <a:pt x="120" y="51"/>
                </a:cubicBezTo>
                <a:cubicBezTo>
                  <a:pt x="121" y="51"/>
                  <a:pt x="122" y="51"/>
                  <a:pt x="122" y="50"/>
                </a:cubicBezTo>
                <a:cubicBezTo>
                  <a:pt x="122" y="50"/>
                  <a:pt x="123" y="49"/>
                  <a:pt x="123" y="49"/>
                </a:cubicBezTo>
                <a:cubicBezTo>
                  <a:pt x="123" y="49"/>
                  <a:pt x="123" y="48"/>
                  <a:pt x="122" y="48"/>
                </a:cubicBezTo>
                <a:cubicBezTo>
                  <a:pt x="122" y="48"/>
                  <a:pt x="121" y="49"/>
                  <a:pt x="121" y="49"/>
                </a:cubicBezTo>
                <a:cubicBezTo>
                  <a:pt x="121" y="50"/>
                  <a:pt x="121" y="50"/>
                  <a:pt x="120" y="51"/>
                </a:cubicBezTo>
                <a:cubicBezTo>
                  <a:pt x="120" y="51"/>
                  <a:pt x="119" y="51"/>
                  <a:pt x="118" y="50"/>
                </a:cubicBezTo>
                <a:cubicBezTo>
                  <a:pt x="118" y="50"/>
                  <a:pt x="117" y="49"/>
                  <a:pt x="116" y="49"/>
                </a:cubicBezTo>
                <a:cubicBezTo>
                  <a:pt x="116" y="49"/>
                  <a:pt x="116" y="48"/>
                  <a:pt x="116" y="48"/>
                </a:cubicBezTo>
                <a:cubicBezTo>
                  <a:pt x="115" y="48"/>
                  <a:pt x="115" y="48"/>
                  <a:pt x="114" y="47"/>
                </a:cubicBezTo>
                <a:cubicBezTo>
                  <a:pt x="114" y="47"/>
                  <a:pt x="114" y="47"/>
                  <a:pt x="114" y="46"/>
                </a:cubicBezTo>
                <a:cubicBezTo>
                  <a:pt x="114" y="46"/>
                  <a:pt x="114" y="46"/>
                  <a:pt x="113" y="45"/>
                </a:cubicBezTo>
                <a:cubicBezTo>
                  <a:pt x="113" y="45"/>
                  <a:pt x="113" y="44"/>
                  <a:pt x="113" y="44"/>
                </a:cubicBezTo>
                <a:cubicBezTo>
                  <a:pt x="112" y="43"/>
                  <a:pt x="112" y="45"/>
                  <a:pt x="111" y="45"/>
                </a:cubicBezTo>
                <a:cubicBezTo>
                  <a:pt x="110" y="45"/>
                  <a:pt x="110" y="45"/>
                  <a:pt x="110" y="44"/>
                </a:cubicBezTo>
                <a:cubicBezTo>
                  <a:pt x="110" y="44"/>
                  <a:pt x="110" y="43"/>
                  <a:pt x="110" y="43"/>
                </a:cubicBezTo>
                <a:cubicBezTo>
                  <a:pt x="110" y="42"/>
                  <a:pt x="110" y="42"/>
                  <a:pt x="111" y="41"/>
                </a:cubicBezTo>
                <a:cubicBezTo>
                  <a:pt x="111" y="41"/>
                  <a:pt x="112" y="41"/>
                  <a:pt x="113" y="41"/>
                </a:cubicBezTo>
                <a:cubicBezTo>
                  <a:pt x="113" y="41"/>
                  <a:pt x="114" y="42"/>
                  <a:pt x="114" y="42"/>
                </a:cubicBezTo>
                <a:cubicBezTo>
                  <a:pt x="114" y="41"/>
                  <a:pt x="115" y="41"/>
                  <a:pt x="115" y="41"/>
                </a:cubicBezTo>
                <a:cubicBezTo>
                  <a:pt x="115" y="40"/>
                  <a:pt x="115" y="40"/>
                  <a:pt x="115" y="39"/>
                </a:cubicBezTo>
                <a:cubicBezTo>
                  <a:pt x="115" y="39"/>
                  <a:pt x="115" y="39"/>
                  <a:pt x="115" y="38"/>
                </a:cubicBezTo>
                <a:cubicBezTo>
                  <a:pt x="115" y="38"/>
                  <a:pt x="116" y="38"/>
                  <a:pt x="116" y="38"/>
                </a:cubicBezTo>
                <a:cubicBezTo>
                  <a:pt x="116" y="37"/>
                  <a:pt x="115" y="37"/>
                  <a:pt x="115" y="37"/>
                </a:cubicBezTo>
                <a:cubicBezTo>
                  <a:pt x="114" y="36"/>
                  <a:pt x="114" y="36"/>
                  <a:pt x="114" y="36"/>
                </a:cubicBezTo>
                <a:cubicBezTo>
                  <a:pt x="114" y="36"/>
                  <a:pt x="113" y="35"/>
                  <a:pt x="113" y="35"/>
                </a:cubicBezTo>
                <a:cubicBezTo>
                  <a:pt x="113" y="35"/>
                  <a:pt x="113" y="34"/>
                  <a:pt x="113" y="34"/>
                </a:cubicBezTo>
                <a:cubicBezTo>
                  <a:pt x="114" y="33"/>
                  <a:pt x="114" y="34"/>
                  <a:pt x="114" y="34"/>
                </a:cubicBezTo>
                <a:cubicBezTo>
                  <a:pt x="115" y="33"/>
                  <a:pt x="114" y="33"/>
                  <a:pt x="115" y="32"/>
                </a:cubicBezTo>
                <a:cubicBezTo>
                  <a:pt x="115" y="32"/>
                  <a:pt x="115" y="32"/>
                  <a:pt x="115" y="31"/>
                </a:cubicBezTo>
                <a:cubicBezTo>
                  <a:pt x="115" y="31"/>
                  <a:pt x="115" y="31"/>
                  <a:pt x="115" y="30"/>
                </a:cubicBezTo>
                <a:cubicBezTo>
                  <a:pt x="115" y="30"/>
                  <a:pt x="115" y="30"/>
                  <a:pt x="116" y="30"/>
                </a:cubicBezTo>
                <a:cubicBezTo>
                  <a:pt x="116" y="30"/>
                  <a:pt x="116" y="29"/>
                  <a:pt x="116" y="29"/>
                </a:cubicBezTo>
                <a:cubicBezTo>
                  <a:pt x="115" y="29"/>
                  <a:pt x="115" y="29"/>
                  <a:pt x="115" y="29"/>
                </a:cubicBezTo>
                <a:cubicBezTo>
                  <a:pt x="115" y="30"/>
                  <a:pt x="114" y="30"/>
                  <a:pt x="113" y="30"/>
                </a:cubicBezTo>
                <a:cubicBezTo>
                  <a:pt x="113" y="29"/>
                  <a:pt x="113" y="29"/>
                  <a:pt x="113" y="29"/>
                </a:cubicBezTo>
                <a:cubicBezTo>
                  <a:pt x="113" y="28"/>
                  <a:pt x="113" y="28"/>
                  <a:pt x="113" y="28"/>
                </a:cubicBezTo>
                <a:cubicBezTo>
                  <a:pt x="112" y="28"/>
                  <a:pt x="112" y="28"/>
                  <a:pt x="112" y="27"/>
                </a:cubicBezTo>
                <a:cubicBezTo>
                  <a:pt x="112" y="27"/>
                  <a:pt x="112" y="25"/>
                  <a:pt x="112" y="25"/>
                </a:cubicBezTo>
                <a:cubicBezTo>
                  <a:pt x="112" y="24"/>
                  <a:pt x="113" y="24"/>
                  <a:pt x="113" y="24"/>
                </a:cubicBezTo>
                <a:cubicBezTo>
                  <a:pt x="113" y="23"/>
                  <a:pt x="113" y="22"/>
                  <a:pt x="113" y="22"/>
                </a:cubicBezTo>
                <a:cubicBezTo>
                  <a:pt x="113" y="21"/>
                  <a:pt x="114" y="21"/>
                  <a:pt x="114" y="20"/>
                </a:cubicBezTo>
                <a:cubicBezTo>
                  <a:pt x="115" y="20"/>
                  <a:pt x="115" y="19"/>
                  <a:pt x="115" y="19"/>
                </a:cubicBezTo>
                <a:cubicBezTo>
                  <a:pt x="115" y="18"/>
                  <a:pt x="116" y="18"/>
                  <a:pt x="116" y="18"/>
                </a:cubicBezTo>
                <a:cubicBezTo>
                  <a:pt x="116" y="18"/>
                  <a:pt x="116" y="17"/>
                  <a:pt x="117" y="17"/>
                </a:cubicBezTo>
                <a:cubicBezTo>
                  <a:pt x="117" y="17"/>
                  <a:pt x="117" y="16"/>
                  <a:pt x="117" y="16"/>
                </a:cubicBezTo>
                <a:cubicBezTo>
                  <a:pt x="117" y="16"/>
                  <a:pt x="117" y="16"/>
                  <a:pt x="117" y="17"/>
                </a:cubicBezTo>
                <a:cubicBezTo>
                  <a:pt x="118" y="17"/>
                  <a:pt x="119" y="17"/>
                  <a:pt x="120" y="17"/>
                </a:cubicBezTo>
                <a:cubicBezTo>
                  <a:pt x="120" y="17"/>
                  <a:pt x="120" y="17"/>
                  <a:pt x="121" y="17"/>
                </a:cubicBezTo>
                <a:cubicBezTo>
                  <a:pt x="121" y="18"/>
                  <a:pt x="122" y="18"/>
                  <a:pt x="123" y="17"/>
                </a:cubicBezTo>
                <a:cubicBezTo>
                  <a:pt x="123" y="17"/>
                  <a:pt x="124" y="17"/>
                  <a:pt x="124" y="17"/>
                </a:cubicBezTo>
                <a:cubicBezTo>
                  <a:pt x="125" y="17"/>
                  <a:pt x="126" y="17"/>
                  <a:pt x="126" y="16"/>
                </a:cubicBezTo>
                <a:cubicBezTo>
                  <a:pt x="125" y="16"/>
                  <a:pt x="123" y="16"/>
                  <a:pt x="123" y="16"/>
                </a:cubicBezTo>
                <a:cubicBezTo>
                  <a:pt x="123" y="16"/>
                  <a:pt x="121" y="16"/>
                  <a:pt x="121" y="16"/>
                </a:cubicBezTo>
                <a:cubicBezTo>
                  <a:pt x="120" y="16"/>
                  <a:pt x="121" y="15"/>
                  <a:pt x="121" y="14"/>
                </a:cubicBezTo>
                <a:cubicBezTo>
                  <a:pt x="122" y="13"/>
                  <a:pt x="123" y="12"/>
                  <a:pt x="124" y="11"/>
                </a:cubicBezTo>
                <a:cubicBezTo>
                  <a:pt x="125" y="10"/>
                  <a:pt x="125" y="9"/>
                  <a:pt x="125" y="8"/>
                </a:cubicBezTo>
                <a:cubicBezTo>
                  <a:pt x="126" y="7"/>
                  <a:pt x="124" y="9"/>
                  <a:pt x="124" y="9"/>
                </a:cubicBezTo>
                <a:cubicBezTo>
                  <a:pt x="124" y="9"/>
                  <a:pt x="123" y="10"/>
                  <a:pt x="123" y="10"/>
                </a:cubicBezTo>
                <a:cubicBezTo>
                  <a:pt x="123" y="10"/>
                  <a:pt x="122" y="11"/>
                  <a:pt x="122" y="11"/>
                </a:cubicBezTo>
                <a:cubicBezTo>
                  <a:pt x="122" y="11"/>
                  <a:pt x="121" y="11"/>
                  <a:pt x="121" y="11"/>
                </a:cubicBezTo>
                <a:cubicBezTo>
                  <a:pt x="121" y="10"/>
                  <a:pt x="122" y="10"/>
                  <a:pt x="122" y="10"/>
                </a:cubicBezTo>
                <a:cubicBezTo>
                  <a:pt x="122" y="9"/>
                  <a:pt x="122" y="9"/>
                  <a:pt x="122" y="8"/>
                </a:cubicBezTo>
                <a:cubicBezTo>
                  <a:pt x="122" y="8"/>
                  <a:pt x="122" y="8"/>
                  <a:pt x="122" y="8"/>
                </a:cubicBezTo>
                <a:cubicBezTo>
                  <a:pt x="123" y="7"/>
                  <a:pt x="123" y="7"/>
                  <a:pt x="122" y="7"/>
                </a:cubicBezTo>
                <a:cubicBezTo>
                  <a:pt x="122" y="7"/>
                  <a:pt x="122" y="7"/>
                  <a:pt x="121" y="7"/>
                </a:cubicBezTo>
                <a:cubicBezTo>
                  <a:pt x="121" y="7"/>
                  <a:pt x="121" y="7"/>
                  <a:pt x="121" y="8"/>
                </a:cubicBezTo>
                <a:cubicBezTo>
                  <a:pt x="121" y="8"/>
                  <a:pt x="120" y="8"/>
                  <a:pt x="120" y="8"/>
                </a:cubicBezTo>
                <a:cubicBezTo>
                  <a:pt x="119" y="8"/>
                  <a:pt x="119" y="8"/>
                  <a:pt x="119" y="8"/>
                </a:cubicBezTo>
                <a:cubicBezTo>
                  <a:pt x="119" y="9"/>
                  <a:pt x="118" y="9"/>
                  <a:pt x="118" y="9"/>
                </a:cubicBezTo>
                <a:cubicBezTo>
                  <a:pt x="117" y="10"/>
                  <a:pt x="117" y="10"/>
                  <a:pt x="117" y="11"/>
                </a:cubicBezTo>
                <a:cubicBezTo>
                  <a:pt x="117" y="12"/>
                  <a:pt x="118" y="13"/>
                  <a:pt x="117" y="14"/>
                </a:cubicBezTo>
                <a:cubicBezTo>
                  <a:pt x="117" y="14"/>
                  <a:pt x="116" y="14"/>
                  <a:pt x="116" y="15"/>
                </a:cubicBezTo>
                <a:cubicBezTo>
                  <a:pt x="116" y="15"/>
                  <a:pt x="116" y="15"/>
                  <a:pt x="115" y="15"/>
                </a:cubicBezTo>
                <a:cubicBezTo>
                  <a:pt x="115" y="15"/>
                  <a:pt x="115" y="15"/>
                  <a:pt x="115" y="15"/>
                </a:cubicBezTo>
                <a:cubicBezTo>
                  <a:pt x="114" y="16"/>
                  <a:pt x="114" y="16"/>
                  <a:pt x="113" y="16"/>
                </a:cubicBezTo>
                <a:cubicBezTo>
                  <a:pt x="113" y="17"/>
                  <a:pt x="112" y="17"/>
                  <a:pt x="112" y="18"/>
                </a:cubicBezTo>
                <a:cubicBezTo>
                  <a:pt x="112" y="18"/>
                  <a:pt x="112" y="18"/>
                  <a:pt x="112" y="18"/>
                </a:cubicBezTo>
                <a:cubicBezTo>
                  <a:pt x="111" y="18"/>
                  <a:pt x="112" y="18"/>
                  <a:pt x="111" y="18"/>
                </a:cubicBezTo>
                <a:cubicBezTo>
                  <a:pt x="111" y="18"/>
                  <a:pt x="111" y="18"/>
                  <a:pt x="111" y="18"/>
                </a:cubicBezTo>
                <a:cubicBezTo>
                  <a:pt x="110" y="17"/>
                  <a:pt x="110" y="17"/>
                  <a:pt x="110" y="17"/>
                </a:cubicBezTo>
                <a:cubicBezTo>
                  <a:pt x="110" y="16"/>
                  <a:pt x="110" y="16"/>
                  <a:pt x="109" y="15"/>
                </a:cubicBezTo>
                <a:cubicBezTo>
                  <a:pt x="109" y="15"/>
                  <a:pt x="108" y="15"/>
                  <a:pt x="108" y="16"/>
                </a:cubicBezTo>
                <a:cubicBezTo>
                  <a:pt x="108" y="16"/>
                  <a:pt x="109" y="16"/>
                  <a:pt x="109" y="17"/>
                </a:cubicBezTo>
                <a:cubicBezTo>
                  <a:pt x="109" y="17"/>
                  <a:pt x="109" y="18"/>
                  <a:pt x="109" y="18"/>
                </a:cubicBezTo>
                <a:cubicBezTo>
                  <a:pt x="109" y="19"/>
                  <a:pt x="109" y="20"/>
                  <a:pt x="108" y="20"/>
                </a:cubicBezTo>
                <a:cubicBezTo>
                  <a:pt x="108" y="21"/>
                  <a:pt x="107" y="21"/>
                  <a:pt x="107" y="22"/>
                </a:cubicBezTo>
                <a:cubicBezTo>
                  <a:pt x="107" y="22"/>
                  <a:pt x="107" y="22"/>
                  <a:pt x="107" y="22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06" y="23"/>
                  <a:pt x="106" y="24"/>
                  <a:pt x="105" y="24"/>
                </a:cubicBezTo>
                <a:cubicBezTo>
                  <a:pt x="105" y="24"/>
                  <a:pt x="105" y="23"/>
                  <a:pt x="104" y="23"/>
                </a:cubicBezTo>
                <a:cubicBezTo>
                  <a:pt x="104" y="23"/>
                  <a:pt x="104" y="23"/>
                  <a:pt x="103" y="23"/>
                </a:cubicBezTo>
                <a:cubicBezTo>
                  <a:pt x="103" y="23"/>
                  <a:pt x="103" y="22"/>
                  <a:pt x="102" y="22"/>
                </a:cubicBezTo>
                <a:cubicBezTo>
                  <a:pt x="102" y="22"/>
                  <a:pt x="101" y="22"/>
                  <a:pt x="101" y="23"/>
                </a:cubicBezTo>
                <a:cubicBezTo>
                  <a:pt x="101" y="23"/>
                  <a:pt x="101" y="23"/>
                  <a:pt x="102" y="23"/>
                </a:cubicBezTo>
                <a:cubicBezTo>
                  <a:pt x="102" y="23"/>
                  <a:pt x="102" y="24"/>
                  <a:pt x="102" y="24"/>
                </a:cubicBezTo>
                <a:cubicBezTo>
                  <a:pt x="103" y="24"/>
                  <a:pt x="103" y="25"/>
                  <a:pt x="103" y="25"/>
                </a:cubicBezTo>
                <a:cubicBezTo>
                  <a:pt x="104" y="26"/>
                  <a:pt x="104" y="26"/>
                  <a:pt x="104" y="26"/>
                </a:cubicBezTo>
                <a:cubicBezTo>
                  <a:pt x="105" y="27"/>
                  <a:pt x="105" y="27"/>
                  <a:pt x="105" y="27"/>
                </a:cubicBezTo>
                <a:cubicBezTo>
                  <a:pt x="106" y="28"/>
                  <a:pt x="106" y="29"/>
                  <a:pt x="106" y="30"/>
                </a:cubicBezTo>
                <a:cubicBezTo>
                  <a:pt x="106" y="30"/>
                  <a:pt x="106" y="31"/>
                  <a:pt x="106" y="31"/>
                </a:cubicBezTo>
                <a:cubicBezTo>
                  <a:pt x="107" y="31"/>
                  <a:pt x="107" y="32"/>
                  <a:pt x="107" y="32"/>
                </a:cubicBezTo>
                <a:cubicBezTo>
                  <a:pt x="107" y="33"/>
                  <a:pt x="107" y="33"/>
                  <a:pt x="106" y="34"/>
                </a:cubicBezTo>
                <a:cubicBezTo>
                  <a:pt x="106" y="34"/>
                  <a:pt x="105" y="35"/>
                  <a:pt x="104" y="36"/>
                </a:cubicBezTo>
                <a:cubicBezTo>
                  <a:pt x="104" y="36"/>
                  <a:pt x="103" y="35"/>
                  <a:pt x="103" y="35"/>
                </a:cubicBezTo>
                <a:cubicBezTo>
                  <a:pt x="103" y="35"/>
                  <a:pt x="102" y="35"/>
                  <a:pt x="102" y="35"/>
                </a:cubicBezTo>
                <a:cubicBezTo>
                  <a:pt x="101" y="35"/>
                  <a:pt x="102" y="35"/>
                  <a:pt x="102" y="35"/>
                </a:cubicBezTo>
                <a:cubicBezTo>
                  <a:pt x="102" y="36"/>
                  <a:pt x="103" y="36"/>
                  <a:pt x="103" y="36"/>
                </a:cubicBezTo>
                <a:cubicBezTo>
                  <a:pt x="103" y="37"/>
                  <a:pt x="103" y="37"/>
                  <a:pt x="104" y="37"/>
                </a:cubicBezTo>
                <a:cubicBezTo>
                  <a:pt x="104" y="38"/>
                  <a:pt x="104" y="38"/>
                  <a:pt x="104" y="39"/>
                </a:cubicBezTo>
                <a:cubicBezTo>
                  <a:pt x="104" y="40"/>
                  <a:pt x="103" y="40"/>
                  <a:pt x="103" y="41"/>
                </a:cubicBezTo>
                <a:cubicBezTo>
                  <a:pt x="103" y="42"/>
                  <a:pt x="103" y="42"/>
                  <a:pt x="102" y="42"/>
                </a:cubicBezTo>
                <a:cubicBezTo>
                  <a:pt x="102" y="43"/>
                  <a:pt x="102" y="43"/>
                  <a:pt x="102" y="43"/>
                </a:cubicBezTo>
                <a:cubicBezTo>
                  <a:pt x="102" y="44"/>
                  <a:pt x="102" y="44"/>
                  <a:pt x="102" y="45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102" y="45"/>
                  <a:pt x="102" y="45"/>
                  <a:pt x="102" y="46"/>
                </a:cubicBezTo>
                <a:cubicBezTo>
                  <a:pt x="103" y="46"/>
                  <a:pt x="103" y="48"/>
                  <a:pt x="103" y="49"/>
                </a:cubicBezTo>
                <a:cubicBezTo>
                  <a:pt x="103" y="49"/>
                  <a:pt x="103" y="49"/>
                  <a:pt x="103" y="50"/>
                </a:cubicBezTo>
                <a:cubicBezTo>
                  <a:pt x="103" y="50"/>
                  <a:pt x="103" y="51"/>
                  <a:pt x="103" y="52"/>
                </a:cubicBezTo>
                <a:cubicBezTo>
                  <a:pt x="103" y="52"/>
                  <a:pt x="104" y="52"/>
                  <a:pt x="104" y="52"/>
                </a:cubicBezTo>
                <a:cubicBezTo>
                  <a:pt x="104" y="53"/>
                  <a:pt x="104" y="53"/>
                  <a:pt x="104" y="53"/>
                </a:cubicBezTo>
                <a:cubicBezTo>
                  <a:pt x="104" y="54"/>
                  <a:pt x="104" y="55"/>
                  <a:pt x="104" y="56"/>
                </a:cubicBezTo>
                <a:cubicBezTo>
                  <a:pt x="104" y="57"/>
                  <a:pt x="105" y="57"/>
                  <a:pt x="105" y="58"/>
                </a:cubicBezTo>
                <a:cubicBezTo>
                  <a:pt x="106" y="59"/>
                  <a:pt x="106" y="60"/>
                  <a:pt x="107" y="60"/>
                </a:cubicBezTo>
                <a:cubicBezTo>
                  <a:pt x="107" y="61"/>
                  <a:pt x="108" y="61"/>
                  <a:pt x="107" y="62"/>
                </a:cubicBezTo>
                <a:cubicBezTo>
                  <a:pt x="106" y="62"/>
                  <a:pt x="106" y="62"/>
                  <a:pt x="105" y="61"/>
                </a:cubicBezTo>
                <a:cubicBezTo>
                  <a:pt x="104" y="61"/>
                  <a:pt x="104" y="61"/>
                  <a:pt x="103" y="60"/>
                </a:cubicBezTo>
                <a:cubicBezTo>
                  <a:pt x="103" y="60"/>
                  <a:pt x="102" y="59"/>
                  <a:pt x="102" y="59"/>
                </a:cubicBezTo>
                <a:cubicBezTo>
                  <a:pt x="102" y="58"/>
                  <a:pt x="101" y="58"/>
                  <a:pt x="101" y="57"/>
                </a:cubicBezTo>
                <a:cubicBezTo>
                  <a:pt x="100" y="57"/>
                  <a:pt x="100" y="57"/>
                  <a:pt x="100" y="56"/>
                </a:cubicBezTo>
                <a:cubicBezTo>
                  <a:pt x="99" y="56"/>
                  <a:pt x="99" y="56"/>
                  <a:pt x="99" y="55"/>
                </a:cubicBezTo>
                <a:cubicBezTo>
                  <a:pt x="99" y="55"/>
                  <a:pt x="98" y="54"/>
                  <a:pt x="98" y="54"/>
                </a:cubicBezTo>
                <a:cubicBezTo>
                  <a:pt x="97" y="54"/>
                  <a:pt x="98" y="55"/>
                  <a:pt x="98" y="56"/>
                </a:cubicBezTo>
                <a:cubicBezTo>
                  <a:pt x="98" y="56"/>
                  <a:pt x="99" y="57"/>
                  <a:pt x="99" y="57"/>
                </a:cubicBezTo>
                <a:cubicBezTo>
                  <a:pt x="100" y="58"/>
                  <a:pt x="100" y="59"/>
                  <a:pt x="101" y="59"/>
                </a:cubicBezTo>
                <a:cubicBezTo>
                  <a:pt x="102" y="60"/>
                  <a:pt x="103" y="61"/>
                  <a:pt x="103" y="62"/>
                </a:cubicBezTo>
                <a:cubicBezTo>
                  <a:pt x="105" y="65"/>
                  <a:pt x="108" y="66"/>
                  <a:pt x="109" y="69"/>
                </a:cubicBezTo>
                <a:cubicBezTo>
                  <a:pt x="109" y="70"/>
                  <a:pt x="110" y="70"/>
                  <a:pt x="110" y="70"/>
                </a:cubicBezTo>
                <a:cubicBezTo>
                  <a:pt x="110" y="71"/>
                  <a:pt x="110" y="73"/>
                  <a:pt x="109" y="74"/>
                </a:cubicBezTo>
                <a:cubicBezTo>
                  <a:pt x="108" y="74"/>
                  <a:pt x="108" y="73"/>
                  <a:pt x="108" y="72"/>
                </a:cubicBezTo>
                <a:cubicBezTo>
                  <a:pt x="107" y="72"/>
                  <a:pt x="107" y="71"/>
                  <a:pt x="107" y="70"/>
                </a:cubicBezTo>
                <a:cubicBezTo>
                  <a:pt x="106" y="70"/>
                  <a:pt x="106" y="69"/>
                  <a:pt x="105" y="69"/>
                </a:cubicBezTo>
                <a:cubicBezTo>
                  <a:pt x="105" y="69"/>
                  <a:pt x="105" y="70"/>
                  <a:pt x="105" y="70"/>
                </a:cubicBezTo>
                <a:cubicBezTo>
                  <a:pt x="105" y="71"/>
                  <a:pt x="104" y="71"/>
                  <a:pt x="104" y="71"/>
                </a:cubicBezTo>
                <a:cubicBezTo>
                  <a:pt x="103" y="71"/>
                  <a:pt x="103" y="71"/>
                  <a:pt x="102" y="70"/>
                </a:cubicBezTo>
                <a:cubicBezTo>
                  <a:pt x="102" y="69"/>
                  <a:pt x="102" y="69"/>
                  <a:pt x="101" y="68"/>
                </a:cubicBezTo>
                <a:cubicBezTo>
                  <a:pt x="100" y="68"/>
                  <a:pt x="100" y="67"/>
                  <a:pt x="99" y="67"/>
                </a:cubicBezTo>
                <a:cubicBezTo>
                  <a:pt x="98" y="67"/>
                  <a:pt x="97" y="66"/>
                  <a:pt x="98" y="66"/>
                </a:cubicBezTo>
                <a:cubicBezTo>
                  <a:pt x="98" y="66"/>
                  <a:pt x="98" y="66"/>
                  <a:pt x="98" y="65"/>
                </a:cubicBezTo>
                <a:cubicBezTo>
                  <a:pt x="98" y="65"/>
                  <a:pt x="98" y="65"/>
                  <a:pt x="98" y="65"/>
                </a:cubicBezTo>
                <a:cubicBezTo>
                  <a:pt x="98" y="65"/>
                  <a:pt x="98" y="65"/>
                  <a:pt x="97" y="65"/>
                </a:cubicBezTo>
                <a:cubicBezTo>
                  <a:pt x="97" y="65"/>
                  <a:pt x="96" y="65"/>
                  <a:pt x="96" y="65"/>
                </a:cubicBezTo>
                <a:cubicBezTo>
                  <a:pt x="95" y="66"/>
                  <a:pt x="95" y="66"/>
                  <a:pt x="95" y="66"/>
                </a:cubicBezTo>
                <a:cubicBezTo>
                  <a:pt x="94" y="66"/>
                  <a:pt x="94" y="66"/>
                  <a:pt x="93" y="65"/>
                </a:cubicBezTo>
                <a:cubicBezTo>
                  <a:pt x="93" y="64"/>
                  <a:pt x="93" y="63"/>
                  <a:pt x="92" y="63"/>
                </a:cubicBezTo>
                <a:cubicBezTo>
                  <a:pt x="91" y="63"/>
                  <a:pt x="92" y="64"/>
                  <a:pt x="91" y="64"/>
                </a:cubicBezTo>
                <a:cubicBezTo>
                  <a:pt x="91" y="64"/>
                  <a:pt x="90" y="64"/>
                  <a:pt x="90" y="64"/>
                </a:cubicBezTo>
                <a:cubicBezTo>
                  <a:pt x="90" y="64"/>
                  <a:pt x="89" y="63"/>
                  <a:pt x="89" y="63"/>
                </a:cubicBezTo>
                <a:cubicBezTo>
                  <a:pt x="89" y="63"/>
                  <a:pt x="88" y="63"/>
                  <a:pt x="88" y="62"/>
                </a:cubicBezTo>
                <a:cubicBezTo>
                  <a:pt x="88" y="62"/>
                  <a:pt x="88" y="62"/>
                  <a:pt x="87" y="61"/>
                </a:cubicBezTo>
                <a:cubicBezTo>
                  <a:pt x="87" y="61"/>
                  <a:pt x="87" y="60"/>
                  <a:pt x="86" y="60"/>
                </a:cubicBezTo>
                <a:cubicBezTo>
                  <a:pt x="86" y="59"/>
                  <a:pt x="85" y="55"/>
                  <a:pt x="83" y="57"/>
                </a:cubicBezTo>
                <a:cubicBezTo>
                  <a:pt x="81" y="57"/>
                  <a:pt x="82" y="59"/>
                  <a:pt x="81" y="60"/>
                </a:cubicBezTo>
                <a:cubicBezTo>
                  <a:pt x="80" y="62"/>
                  <a:pt x="78" y="61"/>
                  <a:pt x="78" y="59"/>
                </a:cubicBezTo>
                <a:cubicBezTo>
                  <a:pt x="77" y="58"/>
                  <a:pt x="77" y="56"/>
                  <a:pt x="78" y="54"/>
                </a:cubicBezTo>
                <a:cubicBezTo>
                  <a:pt x="78" y="53"/>
                  <a:pt x="79" y="53"/>
                  <a:pt x="79" y="52"/>
                </a:cubicBezTo>
                <a:cubicBezTo>
                  <a:pt x="80" y="51"/>
                  <a:pt x="81" y="51"/>
                  <a:pt x="82" y="50"/>
                </a:cubicBezTo>
                <a:cubicBezTo>
                  <a:pt x="83" y="49"/>
                  <a:pt x="85" y="48"/>
                  <a:pt x="86" y="46"/>
                </a:cubicBezTo>
                <a:cubicBezTo>
                  <a:pt x="86" y="45"/>
                  <a:pt x="86" y="45"/>
                  <a:pt x="86" y="44"/>
                </a:cubicBezTo>
                <a:cubicBezTo>
                  <a:pt x="86" y="44"/>
                  <a:pt x="85" y="43"/>
                  <a:pt x="85" y="44"/>
                </a:cubicBezTo>
                <a:cubicBezTo>
                  <a:pt x="85" y="44"/>
                  <a:pt x="85" y="44"/>
                  <a:pt x="85" y="44"/>
                </a:cubicBezTo>
                <a:cubicBezTo>
                  <a:pt x="85" y="39"/>
                  <a:pt x="85" y="39"/>
                  <a:pt x="85" y="39"/>
                </a:cubicBezTo>
                <a:cubicBezTo>
                  <a:pt x="86" y="39"/>
                  <a:pt x="86" y="39"/>
                  <a:pt x="86" y="39"/>
                </a:cubicBezTo>
                <a:cubicBezTo>
                  <a:pt x="88" y="38"/>
                  <a:pt x="88" y="38"/>
                  <a:pt x="88" y="38"/>
                </a:cubicBezTo>
                <a:cubicBezTo>
                  <a:pt x="88" y="36"/>
                  <a:pt x="88" y="36"/>
                  <a:pt x="88" y="36"/>
                </a:cubicBezTo>
                <a:cubicBezTo>
                  <a:pt x="85" y="32"/>
                  <a:pt x="85" y="32"/>
                  <a:pt x="85" y="32"/>
                </a:cubicBezTo>
                <a:cubicBezTo>
                  <a:pt x="85" y="32"/>
                  <a:pt x="82" y="36"/>
                  <a:pt x="82" y="35"/>
                </a:cubicBezTo>
                <a:cubicBezTo>
                  <a:pt x="82" y="35"/>
                  <a:pt x="80" y="33"/>
                  <a:pt x="80" y="33"/>
                </a:cubicBezTo>
                <a:cubicBezTo>
                  <a:pt x="80" y="33"/>
                  <a:pt x="78" y="33"/>
                  <a:pt x="78" y="33"/>
                </a:cubicBezTo>
                <a:cubicBezTo>
                  <a:pt x="78" y="33"/>
                  <a:pt x="77" y="31"/>
                  <a:pt x="77" y="31"/>
                </a:cubicBezTo>
                <a:cubicBezTo>
                  <a:pt x="77" y="31"/>
                  <a:pt x="76" y="30"/>
                  <a:pt x="75" y="30"/>
                </a:cubicBezTo>
                <a:cubicBezTo>
                  <a:pt x="75" y="30"/>
                  <a:pt x="72" y="29"/>
                  <a:pt x="71" y="29"/>
                </a:cubicBezTo>
                <a:cubicBezTo>
                  <a:pt x="71" y="29"/>
                  <a:pt x="68" y="28"/>
                  <a:pt x="68" y="27"/>
                </a:cubicBezTo>
                <a:cubicBezTo>
                  <a:pt x="68" y="27"/>
                  <a:pt x="68" y="25"/>
                  <a:pt x="68" y="25"/>
                </a:cubicBezTo>
                <a:cubicBezTo>
                  <a:pt x="68" y="25"/>
                  <a:pt x="70" y="22"/>
                  <a:pt x="70" y="22"/>
                </a:cubicBezTo>
                <a:cubicBezTo>
                  <a:pt x="70" y="22"/>
                  <a:pt x="67" y="19"/>
                  <a:pt x="67" y="19"/>
                </a:cubicBezTo>
                <a:cubicBezTo>
                  <a:pt x="66" y="18"/>
                  <a:pt x="61" y="18"/>
                  <a:pt x="61" y="18"/>
                </a:cubicBezTo>
                <a:cubicBezTo>
                  <a:pt x="60" y="17"/>
                  <a:pt x="60" y="17"/>
                  <a:pt x="60" y="17"/>
                </a:cubicBezTo>
                <a:cubicBezTo>
                  <a:pt x="60" y="13"/>
                  <a:pt x="60" y="13"/>
                  <a:pt x="60" y="13"/>
                </a:cubicBezTo>
                <a:cubicBezTo>
                  <a:pt x="58" y="13"/>
                  <a:pt x="58" y="13"/>
                  <a:pt x="58" y="13"/>
                </a:cubicBezTo>
                <a:cubicBezTo>
                  <a:pt x="58" y="13"/>
                  <a:pt x="59" y="11"/>
                  <a:pt x="59" y="11"/>
                </a:cubicBezTo>
                <a:cubicBezTo>
                  <a:pt x="59" y="11"/>
                  <a:pt x="59" y="10"/>
                  <a:pt x="59" y="10"/>
                </a:cubicBezTo>
                <a:cubicBezTo>
                  <a:pt x="57" y="10"/>
                  <a:pt x="57" y="10"/>
                  <a:pt x="57" y="10"/>
                </a:cubicBezTo>
                <a:cubicBezTo>
                  <a:pt x="57" y="9"/>
                  <a:pt x="57" y="9"/>
                  <a:pt x="57" y="9"/>
                </a:cubicBezTo>
                <a:cubicBezTo>
                  <a:pt x="56" y="9"/>
                  <a:pt x="56" y="9"/>
                  <a:pt x="56" y="9"/>
                </a:cubicBezTo>
                <a:cubicBezTo>
                  <a:pt x="56" y="9"/>
                  <a:pt x="56" y="7"/>
                  <a:pt x="56" y="6"/>
                </a:cubicBezTo>
                <a:cubicBezTo>
                  <a:pt x="56" y="6"/>
                  <a:pt x="57" y="5"/>
                  <a:pt x="57" y="5"/>
                </a:cubicBezTo>
                <a:cubicBezTo>
                  <a:pt x="57" y="5"/>
                  <a:pt x="55" y="5"/>
                  <a:pt x="55" y="5"/>
                </a:cubicBezTo>
                <a:cubicBezTo>
                  <a:pt x="55" y="5"/>
                  <a:pt x="53" y="6"/>
                  <a:pt x="53" y="6"/>
                </a:cubicBezTo>
                <a:cubicBezTo>
                  <a:pt x="53" y="6"/>
                  <a:pt x="54" y="5"/>
                  <a:pt x="53" y="5"/>
                </a:cubicBezTo>
                <a:cubicBezTo>
                  <a:pt x="53" y="4"/>
                  <a:pt x="52" y="5"/>
                  <a:pt x="52" y="5"/>
                </a:cubicBezTo>
                <a:cubicBezTo>
                  <a:pt x="52" y="5"/>
                  <a:pt x="46" y="1"/>
                  <a:pt x="46" y="1"/>
                </a:cubicBezTo>
                <a:cubicBezTo>
                  <a:pt x="44" y="1"/>
                  <a:pt x="44" y="1"/>
                  <a:pt x="44" y="1"/>
                </a:cubicBezTo>
                <a:cubicBezTo>
                  <a:pt x="42" y="4"/>
                  <a:pt x="42" y="4"/>
                  <a:pt x="42" y="4"/>
                </a:cubicBezTo>
                <a:cubicBezTo>
                  <a:pt x="42" y="4"/>
                  <a:pt x="39" y="4"/>
                  <a:pt x="39" y="4"/>
                </a:cubicBezTo>
                <a:cubicBezTo>
                  <a:pt x="39" y="3"/>
                  <a:pt x="38" y="5"/>
                  <a:pt x="38" y="5"/>
                </a:cubicBezTo>
                <a:cubicBezTo>
                  <a:pt x="36" y="4"/>
                  <a:pt x="36" y="4"/>
                  <a:pt x="36" y="4"/>
                </a:cubicBezTo>
                <a:cubicBezTo>
                  <a:pt x="36" y="4"/>
                  <a:pt x="37" y="6"/>
                  <a:pt x="37" y="6"/>
                </a:cubicBezTo>
                <a:cubicBezTo>
                  <a:pt x="37" y="6"/>
                  <a:pt x="36" y="6"/>
                  <a:pt x="36" y="6"/>
                </a:cubicBezTo>
                <a:cubicBezTo>
                  <a:pt x="35" y="7"/>
                  <a:pt x="35" y="8"/>
                  <a:pt x="35" y="8"/>
                </a:cubicBezTo>
                <a:cubicBezTo>
                  <a:pt x="37" y="8"/>
                  <a:pt x="37" y="8"/>
                  <a:pt x="37" y="8"/>
                </a:cubicBezTo>
                <a:cubicBezTo>
                  <a:pt x="35" y="9"/>
                  <a:pt x="35" y="9"/>
                  <a:pt x="35" y="9"/>
                </a:cubicBezTo>
                <a:cubicBezTo>
                  <a:pt x="35" y="9"/>
                  <a:pt x="33" y="9"/>
                  <a:pt x="33" y="9"/>
                </a:cubicBezTo>
                <a:cubicBezTo>
                  <a:pt x="33" y="9"/>
                  <a:pt x="31" y="9"/>
                  <a:pt x="30" y="8"/>
                </a:cubicBezTo>
                <a:cubicBezTo>
                  <a:pt x="30" y="8"/>
                  <a:pt x="28" y="7"/>
                  <a:pt x="28" y="7"/>
                </a:cubicBezTo>
                <a:cubicBezTo>
                  <a:pt x="28" y="7"/>
                  <a:pt x="26" y="7"/>
                  <a:pt x="26" y="7"/>
                </a:cubicBezTo>
                <a:cubicBezTo>
                  <a:pt x="26" y="6"/>
                  <a:pt x="25" y="5"/>
                  <a:pt x="25" y="5"/>
                </a:cubicBezTo>
                <a:cubicBezTo>
                  <a:pt x="25" y="4"/>
                  <a:pt x="24" y="5"/>
                  <a:pt x="24" y="5"/>
                </a:cubicBezTo>
                <a:cubicBezTo>
                  <a:pt x="24" y="5"/>
                  <a:pt x="24" y="5"/>
                  <a:pt x="24" y="5"/>
                </a:cubicBezTo>
                <a:cubicBezTo>
                  <a:pt x="23" y="5"/>
                  <a:pt x="23" y="6"/>
                  <a:pt x="23" y="7"/>
                </a:cubicBezTo>
                <a:cubicBezTo>
                  <a:pt x="23" y="7"/>
                  <a:pt x="23" y="7"/>
                  <a:pt x="23" y="7"/>
                </a:cubicBezTo>
                <a:cubicBezTo>
                  <a:pt x="22" y="7"/>
                  <a:pt x="22" y="7"/>
                  <a:pt x="22" y="7"/>
                </a:cubicBezTo>
                <a:cubicBezTo>
                  <a:pt x="22" y="7"/>
                  <a:pt x="19" y="10"/>
                  <a:pt x="19" y="10"/>
                </a:cubicBezTo>
                <a:cubicBezTo>
                  <a:pt x="19" y="11"/>
                  <a:pt x="18" y="12"/>
                  <a:pt x="18" y="12"/>
                </a:cubicBezTo>
                <a:cubicBezTo>
                  <a:pt x="18" y="12"/>
                  <a:pt x="17" y="12"/>
                  <a:pt x="17" y="12"/>
                </a:cubicBezTo>
                <a:cubicBezTo>
                  <a:pt x="17" y="11"/>
                  <a:pt x="16" y="11"/>
                  <a:pt x="15" y="11"/>
                </a:cubicBezTo>
                <a:cubicBezTo>
                  <a:pt x="15" y="10"/>
                  <a:pt x="14" y="11"/>
                  <a:pt x="14" y="11"/>
                </a:cubicBezTo>
                <a:cubicBezTo>
                  <a:pt x="13" y="12"/>
                  <a:pt x="13" y="12"/>
                  <a:pt x="13" y="12"/>
                </a:cubicBezTo>
                <a:cubicBezTo>
                  <a:pt x="12" y="13"/>
                  <a:pt x="12" y="13"/>
                  <a:pt x="12" y="13"/>
                </a:cubicBezTo>
                <a:cubicBezTo>
                  <a:pt x="11" y="15"/>
                  <a:pt x="11" y="15"/>
                  <a:pt x="11" y="15"/>
                </a:cubicBezTo>
                <a:cubicBezTo>
                  <a:pt x="10" y="15"/>
                  <a:pt x="10" y="15"/>
                  <a:pt x="10" y="15"/>
                </a:cubicBezTo>
                <a:cubicBezTo>
                  <a:pt x="7" y="18"/>
                  <a:pt x="7" y="18"/>
                  <a:pt x="7" y="18"/>
                </a:cubicBezTo>
                <a:cubicBezTo>
                  <a:pt x="7" y="18"/>
                  <a:pt x="5" y="19"/>
                  <a:pt x="5" y="19"/>
                </a:cubicBezTo>
                <a:cubicBezTo>
                  <a:pt x="5" y="19"/>
                  <a:pt x="0" y="22"/>
                  <a:pt x="0" y="22"/>
                </a:cubicBezTo>
                <a:cubicBezTo>
                  <a:pt x="0" y="0"/>
                  <a:pt x="0" y="0"/>
                  <a:pt x="0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31" y="56"/>
                  <a:pt x="131" y="56"/>
                  <a:pt x="131" y="56"/>
                </a:cubicBezTo>
                <a:lnTo>
                  <a:pt x="154" y="56"/>
                </a:lnTo>
                <a:close/>
                <a:moveTo>
                  <a:pt x="109" y="39"/>
                </a:moveTo>
                <a:cubicBezTo>
                  <a:pt x="110" y="38"/>
                  <a:pt x="110" y="37"/>
                  <a:pt x="110" y="37"/>
                </a:cubicBezTo>
                <a:cubicBezTo>
                  <a:pt x="110" y="36"/>
                  <a:pt x="111" y="36"/>
                  <a:pt x="111" y="36"/>
                </a:cubicBezTo>
                <a:cubicBezTo>
                  <a:pt x="112" y="35"/>
                  <a:pt x="112" y="35"/>
                  <a:pt x="112" y="34"/>
                </a:cubicBezTo>
                <a:cubicBezTo>
                  <a:pt x="112" y="34"/>
                  <a:pt x="112" y="34"/>
                  <a:pt x="111" y="33"/>
                </a:cubicBezTo>
                <a:cubicBezTo>
                  <a:pt x="111" y="33"/>
                  <a:pt x="111" y="33"/>
                  <a:pt x="111" y="33"/>
                </a:cubicBezTo>
                <a:cubicBezTo>
                  <a:pt x="110" y="33"/>
                  <a:pt x="110" y="33"/>
                  <a:pt x="110" y="34"/>
                </a:cubicBezTo>
                <a:cubicBezTo>
                  <a:pt x="110" y="34"/>
                  <a:pt x="110" y="35"/>
                  <a:pt x="109" y="35"/>
                </a:cubicBezTo>
                <a:cubicBezTo>
                  <a:pt x="109" y="35"/>
                  <a:pt x="109" y="36"/>
                  <a:pt x="109" y="36"/>
                </a:cubicBezTo>
                <a:cubicBezTo>
                  <a:pt x="108" y="37"/>
                  <a:pt x="109" y="37"/>
                  <a:pt x="108" y="37"/>
                </a:cubicBezTo>
                <a:cubicBezTo>
                  <a:pt x="109" y="38"/>
                  <a:pt x="109" y="39"/>
                  <a:pt x="109" y="39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1" name="Freeform 39">
            <a:extLst>
              <a:ext uri="{FF2B5EF4-FFF2-40B4-BE49-F238E27FC236}">
                <a16:creationId xmlns:a16="http://schemas.microsoft.com/office/drawing/2014/main" id="{21D44D7F-5A7E-4F78-B7C7-F54362D6D7D8}"/>
              </a:ext>
            </a:extLst>
          </p:cNvPr>
          <p:cNvSpPr>
            <a:spLocks noEditPoints="1"/>
          </p:cNvSpPr>
          <p:nvPr/>
        </p:nvSpPr>
        <p:spPr bwMode="auto">
          <a:xfrm>
            <a:off x="11332659" y="1575226"/>
            <a:ext cx="558445" cy="860798"/>
          </a:xfrm>
          <a:custGeom>
            <a:avLst/>
            <a:gdLst>
              <a:gd name="T0" fmla="*/ 76 w 141"/>
              <a:gd name="T1" fmla="*/ 158 h 217"/>
              <a:gd name="T2" fmla="*/ 78 w 141"/>
              <a:gd name="T3" fmla="*/ 165 h 217"/>
              <a:gd name="T4" fmla="*/ 76 w 141"/>
              <a:gd name="T5" fmla="*/ 164 h 217"/>
              <a:gd name="T6" fmla="*/ 78 w 141"/>
              <a:gd name="T7" fmla="*/ 170 h 217"/>
              <a:gd name="T8" fmla="*/ 76 w 141"/>
              <a:gd name="T9" fmla="*/ 168 h 217"/>
              <a:gd name="T10" fmla="*/ 85 w 141"/>
              <a:gd name="T11" fmla="*/ 162 h 217"/>
              <a:gd name="T12" fmla="*/ 83 w 141"/>
              <a:gd name="T13" fmla="*/ 161 h 217"/>
              <a:gd name="T14" fmla="*/ 77 w 141"/>
              <a:gd name="T15" fmla="*/ 154 h 217"/>
              <a:gd name="T16" fmla="*/ 138 w 141"/>
              <a:gd name="T17" fmla="*/ 130 h 217"/>
              <a:gd name="T18" fmla="*/ 137 w 141"/>
              <a:gd name="T19" fmla="*/ 127 h 217"/>
              <a:gd name="T20" fmla="*/ 138 w 141"/>
              <a:gd name="T21" fmla="*/ 121 h 217"/>
              <a:gd name="T22" fmla="*/ 132 w 141"/>
              <a:gd name="T23" fmla="*/ 114 h 217"/>
              <a:gd name="T24" fmla="*/ 124 w 141"/>
              <a:gd name="T25" fmla="*/ 100 h 217"/>
              <a:gd name="T26" fmla="*/ 121 w 141"/>
              <a:gd name="T27" fmla="*/ 93 h 217"/>
              <a:gd name="T28" fmla="*/ 113 w 141"/>
              <a:gd name="T29" fmla="*/ 84 h 217"/>
              <a:gd name="T30" fmla="*/ 114 w 141"/>
              <a:gd name="T31" fmla="*/ 77 h 217"/>
              <a:gd name="T32" fmla="*/ 86 w 141"/>
              <a:gd name="T33" fmla="*/ 11 h 217"/>
              <a:gd name="T34" fmla="*/ 36 w 141"/>
              <a:gd name="T35" fmla="*/ 53 h 217"/>
              <a:gd name="T36" fmla="*/ 28 w 141"/>
              <a:gd name="T37" fmla="*/ 74 h 217"/>
              <a:gd name="T38" fmla="*/ 16 w 141"/>
              <a:gd name="T39" fmla="*/ 93 h 217"/>
              <a:gd name="T40" fmla="*/ 9 w 141"/>
              <a:gd name="T41" fmla="*/ 109 h 217"/>
              <a:gd name="T42" fmla="*/ 4 w 141"/>
              <a:gd name="T43" fmla="*/ 186 h 217"/>
              <a:gd name="T44" fmla="*/ 13 w 141"/>
              <a:gd name="T45" fmla="*/ 216 h 217"/>
              <a:gd name="T46" fmla="*/ 20 w 141"/>
              <a:gd name="T47" fmla="*/ 204 h 217"/>
              <a:gd name="T48" fmla="*/ 29 w 141"/>
              <a:gd name="T49" fmla="*/ 193 h 217"/>
              <a:gd name="T50" fmla="*/ 36 w 141"/>
              <a:gd name="T51" fmla="*/ 180 h 217"/>
              <a:gd name="T52" fmla="*/ 40 w 141"/>
              <a:gd name="T53" fmla="*/ 179 h 217"/>
              <a:gd name="T54" fmla="*/ 45 w 141"/>
              <a:gd name="T55" fmla="*/ 184 h 217"/>
              <a:gd name="T56" fmla="*/ 45 w 141"/>
              <a:gd name="T57" fmla="*/ 175 h 217"/>
              <a:gd name="T58" fmla="*/ 47 w 141"/>
              <a:gd name="T59" fmla="*/ 181 h 217"/>
              <a:gd name="T60" fmla="*/ 47 w 141"/>
              <a:gd name="T61" fmla="*/ 177 h 217"/>
              <a:gd name="T62" fmla="*/ 51 w 141"/>
              <a:gd name="T63" fmla="*/ 178 h 217"/>
              <a:gd name="T64" fmla="*/ 53 w 141"/>
              <a:gd name="T65" fmla="*/ 172 h 217"/>
              <a:gd name="T66" fmla="*/ 55 w 141"/>
              <a:gd name="T67" fmla="*/ 178 h 217"/>
              <a:gd name="T68" fmla="*/ 59 w 141"/>
              <a:gd name="T69" fmla="*/ 169 h 217"/>
              <a:gd name="T70" fmla="*/ 61 w 141"/>
              <a:gd name="T71" fmla="*/ 173 h 217"/>
              <a:gd name="T72" fmla="*/ 66 w 141"/>
              <a:gd name="T73" fmla="*/ 173 h 217"/>
              <a:gd name="T74" fmla="*/ 70 w 141"/>
              <a:gd name="T75" fmla="*/ 168 h 217"/>
              <a:gd name="T76" fmla="*/ 70 w 141"/>
              <a:gd name="T77" fmla="*/ 163 h 217"/>
              <a:gd name="T78" fmla="*/ 74 w 141"/>
              <a:gd name="T79" fmla="*/ 157 h 217"/>
              <a:gd name="T80" fmla="*/ 74 w 141"/>
              <a:gd name="T81" fmla="*/ 151 h 217"/>
              <a:gd name="T82" fmla="*/ 79 w 141"/>
              <a:gd name="T83" fmla="*/ 147 h 217"/>
              <a:gd name="T84" fmla="*/ 79 w 141"/>
              <a:gd name="T85" fmla="*/ 151 h 217"/>
              <a:gd name="T86" fmla="*/ 81 w 141"/>
              <a:gd name="T87" fmla="*/ 156 h 217"/>
              <a:gd name="T88" fmla="*/ 88 w 141"/>
              <a:gd name="T89" fmla="*/ 160 h 217"/>
              <a:gd name="T90" fmla="*/ 88 w 141"/>
              <a:gd name="T91" fmla="*/ 156 h 217"/>
              <a:gd name="T92" fmla="*/ 90 w 141"/>
              <a:gd name="T93" fmla="*/ 149 h 217"/>
              <a:gd name="T94" fmla="*/ 93 w 141"/>
              <a:gd name="T95" fmla="*/ 152 h 217"/>
              <a:gd name="T96" fmla="*/ 94 w 141"/>
              <a:gd name="T97" fmla="*/ 156 h 217"/>
              <a:gd name="T98" fmla="*/ 98 w 141"/>
              <a:gd name="T99" fmla="*/ 159 h 217"/>
              <a:gd name="T100" fmla="*/ 98 w 141"/>
              <a:gd name="T101" fmla="*/ 153 h 217"/>
              <a:gd name="T102" fmla="*/ 99 w 141"/>
              <a:gd name="T103" fmla="*/ 149 h 217"/>
              <a:gd name="T104" fmla="*/ 103 w 141"/>
              <a:gd name="T105" fmla="*/ 153 h 217"/>
              <a:gd name="T106" fmla="*/ 107 w 141"/>
              <a:gd name="T107" fmla="*/ 149 h 217"/>
              <a:gd name="T108" fmla="*/ 111 w 141"/>
              <a:gd name="T109" fmla="*/ 152 h 217"/>
              <a:gd name="T110" fmla="*/ 113 w 141"/>
              <a:gd name="T111" fmla="*/ 145 h 217"/>
              <a:gd name="T112" fmla="*/ 123 w 141"/>
              <a:gd name="T113" fmla="*/ 142 h 217"/>
              <a:gd name="T114" fmla="*/ 126 w 141"/>
              <a:gd name="T115" fmla="*/ 143 h 217"/>
              <a:gd name="T116" fmla="*/ 129 w 141"/>
              <a:gd name="T117" fmla="*/ 138 h 217"/>
              <a:gd name="T118" fmla="*/ 135 w 141"/>
              <a:gd name="T119" fmla="*/ 14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1" h="217">
                <a:moveTo>
                  <a:pt x="74" y="159"/>
                </a:moveTo>
                <a:cubicBezTo>
                  <a:pt x="74" y="158"/>
                  <a:pt x="74" y="158"/>
                  <a:pt x="74" y="158"/>
                </a:cubicBezTo>
                <a:cubicBezTo>
                  <a:pt x="75" y="158"/>
                  <a:pt x="75" y="158"/>
                  <a:pt x="75" y="157"/>
                </a:cubicBezTo>
                <a:cubicBezTo>
                  <a:pt x="75" y="157"/>
                  <a:pt x="75" y="157"/>
                  <a:pt x="75" y="157"/>
                </a:cubicBezTo>
                <a:cubicBezTo>
                  <a:pt x="75" y="157"/>
                  <a:pt x="75" y="156"/>
                  <a:pt x="75" y="156"/>
                </a:cubicBezTo>
                <a:cubicBezTo>
                  <a:pt x="76" y="156"/>
                  <a:pt x="76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ubicBezTo>
                  <a:pt x="76" y="157"/>
                  <a:pt x="76" y="157"/>
                  <a:pt x="76" y="158"/>
                </a:cubicBezTo>
                <a:cubicBezTo>
                  <a:pt x="76" y="158"/>
                  <a:pt x="76" y="158"/>
                  <a:pt x="76" y="158"/>
                </a:cubicBezTo>
                <a:cubicBezTo>
                  <a:pt x="76" y="158"/>
                  <a:pt x="76" y="158"/>
                  <a:pt x="75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75" y="159"/>
                  <a:pt x="75" y="159"/>
                  <a:pt x="74" y="159"/>
                </a:cubicBezTo>
                <a:close/>
                <a:moveTo>
                  <a:pt x="76" y="165"/>
                </a:moveTo>
                <a:cubicBezTo>
                  <a:pt x="76" y="165"/>
                  <a:pt x="76" y="165"/>
                  <a:pt x="77" y="165"/>
                </a:cubicBezTo>
                <a:cubicBezTo>
                  <a:pt x="77" y="165"/>
                  <a:pt x="77" y="165"/>
                  <a:pt x="77" y="165"/>
                </a:cubicBezTo>
                <a:cubicBezTo>
                  <a:pt x="78" y="165"/>
                  <a:pt x="78" y="165"/>
                  <a:pt x="78" y="165"/>
                </a:cubicBezTo>
                <a:cubicBezTo>
                  <a:pt x="79" y="165"/>
                  <a:pt x="79" y="165"/>
                  <a:pt x="79" y="165"/>
                </a:cubicBezTo>
                <a:cubicBezTo>
                  <a:pt x="79" y="164"/>
                  <a:pt x="79" y="164"/>
                  <a:pt x="79" y="164"/>
                </a:cubicBezTo>
                <a:cubicBezTo>
                  <a:pt x="79" y="164"/>
                  <a:pt x="79" y="164"/>
                  <a:pt x="79" y="164"/>
                </a:cubicBezTo>
                <a:cubicBezTo>
                  <a:pt x="79" y="164"/>
                  <a:pt x="78" y="164"/>
                  <a:pt x="78" y="164"/>
                </a:cubicBezTo>
                <a:cubicBezTo>
                  <a:pt x="78" y="164"/>
                  <a:pt x="78" y="164"/>
                  <a:pt x="78" y="163"/>
                </a:cubicBezTo>
                <a:cubicBezTo>
                  <a:pt x="78" y="163"/>
                  <a:pt x="77" y="163"/>
                  <a:pt x="77" y="164"/>
                </a:cubicBezTo>
                <a:cubicBezTo>
                  <a:pt x="77" y="164"/>
                  <a:pt x="77" y="164"/>
                  <a:pt x="77" y="164"/>
                </a:cubicBezTo>
                <a:cubicBezTo>
                  <a:pt x="77" y="164"/>
                  <a:pt x="76" y="164"/>
                  <a:pt x="76" y="164"/>
                </a:cubicBezTo>
                <a:cubicBezTo>
                  <a:pt x="76" y="164"/>
                  <a:pt x="75" y="164"/>
                  <a:pt x="75" y="164"/>
                </a:cubicBezTo>
                <a:cubicBezTo>
                  <a:pt x="75" y="165"/>
                  <a:pt x="76" y="165"/>
                  <a:pt x="76" y="165"/>
                </a:cubicBezTo>
                <a:close/>
                <a:moveTo>
                  <a:pt x="76" y="168"/>
                </a:moveTo>
                <a:cubicBezTo>
                  <a:pt x="76" y="168"/>
                  <a:pt x="76" y="168"/>
                  <a:pt x="77" y="168"/>
                </a:cubicBezTo>
                <a:cubicBezTo>
                  <a:pt x="77" y="168"/>
                  <a:pt x="77" y="168"/>
                  <a:pt x="77" y="169"/>
                </a:cubicBezTo>
                <a:cubicBezTo>
                  <a:pt x="77" y="169"/>
                  <a:pt x="77" y="169"/>
                  <a:pt x="77" y="169"/>
                </a:cubicBezTo>
                <a:cubicBezTo>
                  <a:pt x="77" y="169"/>
                  <a:pt x="77" y="170"/>
                  <a:pt x="77" y="170"/>
                </a:cubicBezTo>
                <a:cubicBezTo>
                  <a:pt x="77" y="170"/>
                  <a:pt x="78" y="170"/>
                  <a:pt x="78" y="170"/>
                </a:cubicBezTo>
                <a:cubicBezTo>
                  <a:pt x="78" y="170"/>
                  <a:pt x="79" y="170"/>
                  <a:pt x="79" y="170"/>
                </a:cubicBezTo>
                <a:cubicBezTo>
                  <a:pt x="79" y="170"/>
                  <a:pt x="79" y="169"/>
                  <a:pt x="79" y="169"/>
                </a:cubicBezTo>
                <a:cubicBezTo>
                  <a:pt x="79" y="168"/>
                  <a:pt x="79" y="168"/>
                  <a:pt x="79" y="168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79" y="166"/>
                  <a:pt x="78" y="167"/>
                  <a:pt x="78" y="167"/>
                </a:cubicBezTo>
                <a:cubicBezTo>
                  <a:pt x="78" y="167"/>
                  <a:pt x="77" y="167"/>
                  <a:pt x="77" y="167"/>
                </a:cubicBezTo>
                <a:cubicBezTo>
                  <a:pt x="77" y="167"/>
                  <a:pt x="76" y="166"/>
                  <a:pt x="76" y="167"/>
                </a:cubicBezTo>
                <a:cubicBezTo>
                  <a:pt x="76" y="167"/>
                  <a:pt x="76" y="167"/>
                  <a:pt x="76" y="168"/>
                </a:cubicBezTo>
                <a:cubicBezTo>
                  <a:pt x="76" y="168"/>
                  <a:pt x="76" y="168"/>
                  <a:pt x="76" y="168"/>
                </a:cubicBezTo>
                <a:close/>
                <a:moveTo>
                  <a:pt x="82" y="163"/>
                </a:moveTo>
                <a:cubicBezTo>
                  <a:pt x="83" y="163"/>
                  <a:pt x="83" y="163"/>
                  <a:pt x="83" y="163"/>
                </a:cubicBezTo>
                <a:cubicBezTo>
                  <a:pt x="83" y="163"/>
                  <a:pt x="83" y="163"/>
                  <a:pt x="83" y="163"/>
                </a:cubicBezTo>
                <a:cubicBezTo>
                  <a:pt x="83" y="163"/>
                  <a:pt x="84" y="163"/>
                  <a:pt x="84" y="163"/>
                </a:cubicBezTo>
                <a:cubicBezTo>
                  <a:pt x="84" y="163"/>
                  <a:pt x="84" y="163"/>
                  <a:pt x="84" y="163"/>
                </a:cubicBezTo>
                <a:cubicBezTo>
                  <a:pt x="84" y="163"/>
                  <a:pt x="84" y="162"/>
                  <a:pt x="84" y="162"/>
                </a:cubicBezTo>
                <a:cubicBezTo>
                  <a:pt x="84" y="162"/>
                  <a:pt x="85" y="162"/>
                  <a:pt x="85" y="162"/>
                </a:cubicBezTo>
                <a:cubicBezTo>
                  <a:pt x="85" y="162"/>
                  <a:pt x="85" y="161"/>
                  <a:pt x="85" y="161"/>
                </a:cubicBezTo>
                <a:cubicBezTo>
                  <a:pt x="85" y="161"/>
                  <a:pt x="86" y="161"/>
                  <a:pt x="86" y="161"/>
                </a:cubicBezTo>
                <a:cubicBezTo>
                  <a:pt x="86" y="160"/>
                  <a:pt x="86" y="160"/>
                  <a:pt x="86" y="160"/>
                </a:cubicBezTo>
                <a:cubicBezTo>
                  <a:pt x="86" y="160"/>
                  <a:pt x="85" y="160"/>
                  <a:pt x="85" y="160"/>
                </a:cubicBezTo>
                <a:cubicBezTo>
                  <a:pt x="85" y="160"/>
                  <a:pt x="85" y="160"/>
                  <a:pt x="84" y="159"/>
                </a:cubicBezTo>
                <a:cubicBezTo>
                  <a:pt x="84" y="159"/>
                  <a:pt x="84" y="159"/>
                  <a:pt x="84" y="159"/>
                </a:cubicBezTo>
                <a:cubicBezTo>
                  <a:pt x="84" y="159"/>
                  <a:pt x="83" y="159"/>
                  <a:pt x="83" y="160"/>
                </a:cubicBezTo>
                <a:cubicBezTo>
                  <a:pt x="83" y="160"/>
                  <a:pt x="83" y="160"/>
                  <a:pt x="83" y="161"/>
                </a:cubicBezTo>
                <a:cubicBezTo>
                  <a:pt x="83" y="161"/>
                  <a:pt x="83" y="161"/>
                  <a:pt x="83" y="162"/>
                </a:cubicBezTo>
                <a:cubicBezTo>
                  <a:pt x="83" y="162"/>
                  <a:pt x="82" y="162"/>
                  <a:pt x="82" y="162"/>
                </a:cubicBezTo>
                <a:cubicBezTo>
                  <a:pt x="82" y="163"/>
                  <a:pt x="82" y="163"/>
                  <a:pt x="82" y="163"/>
                </a:cubicBezTo>
                <a:cubicBezTo>
                  <a:pt x="82" y="163"/>
                  <a:pt x="82" y="163"/>
                  <a:pt x="82" y="163"/>
                </a:cubicBezTo>
                <a:close/>
                <a:moveTo>
                  <a:pt x="77" y="154"/>
                </a:moveTo>
                <a:cubicBezTo>
                  <a:pt x="77" y="154"/>
                  <a:pt x="77" y="154"/>
                  <a:pt x="77" y="154"/>
                </a:cubicBezTo>
                <a:cubicBezTo>
                  <a:pt x="76" y="153"/>
                  <a:pt x="76" y="154"/>
                  <a:pt x="76" y="154"/>
                </a:cubicBezTo>
                <a:cubicBezTo>
                  <a:pt x="76" y="154"/>
                  <a:pt x="76" y="154"/>
                  <a:pt x="77" y="154"/>
                </a:cubicBezTo>
                <a:close/>
                <a:moveTo>
                  <a:pt x="141" y="131"/>
                </a:moveTo>
                <a:cubicBezTo>
                  <a:pt x="141" y="131"/>
                  <a:pt x="140" y="131"/>
                  <a:pt x="140" y="131"/>
                </a:cubicBezTo>
                <a:cubicBezTo>
                  <a:pt x="140" y="131"/>
                  <a:pt x="140" y="130"/>
                  <a:pt x="140" y="130"/>
                </a:cubicBezTo>
                <a:cubicBezTo>
                  <a:pt x="140" y="130"/>
                  <a:pt x="140" y="130"/>
                  <a:pt x="140" y="130"/>
                </a:cubicBezTo>
                <a:cubicBezTo>
                  <a:pt x="140" y="129"/>
                  <a:pt x="140" y="129"/>
                  <a:pt x="140" y="129"/>
                </a:cubicBezTo>
                <a:cubicBezTo>
                  <a:pt x="139" y="129"/>
                  <a:pt x="139" y="129"/>
                  <a:pt x="139" y="129"/>
                </a:cubicBezTo>
                <a:cubicBezTo>
                  <a:pt x="139" y="129"/>
                  <a:pt x="139" y="129"/>
                  <a:pt x="139" y="129"/>
                </a:cubicBezTo>
                <a:cubicBezTo>
                  <a:pt x="139" y="130"/>
                  <a:pt x="139" y="130"/>
                  <a:pt x="138" y="130"/>
                </a:cubicBezTo>
                <a:cubicBezTo>
                  <a:pt x="138" y="130"/>
                  <a:pt x="138" y="130"/>
                  <a:pt x="138" y="131"/>
                </a:cubicBezTo>
                <a:cubicBezTo>
                  <a:pt x="138" y="131"/>
                  <a:pt x="138" y="131"/>
                  <a:pt x="137" y="131"/>
                </a:cubicBezTo>
                <a:cubicBezTo>
                  <a:pt x="137" y="132"/>
                  <a:pt x="137" y="132"/>
                  <a:pt x="137" y="132"/>
                </a:cubicBezTo>
                <a:cubicBezTo>
                  <a:pt x="136" y="132"/>
                  <a:pt x="136" y="132"/>
                  <a:pt x="136" y="131"/>
                </a:cubicBezTo>
                <a:cubicBezTo>
                  <a:pt x="136" y="131"/>
                  <a:pt x="136" y="131"/>
                  <a:pt x="137" y="131"/>
                </a:cubicBezTo>
                <a:cubicBezTo>
                  <a:pt x="137" y="130"/>
                  <a:pt x="137" y="130"/>
                  <a:pt x="137" y="130"/>
                </a:cubicBezTo>
                <a:cubicBezTo>
                  <a:pt x="137" y="129"/>
                  <a:pt x="137" y="129"/>
                  <a:pt x="137" y="128"/>
                </a:cubicBezTo>
                <a:cubicBezTo>
                  <a:pt x="137" y="128"/>
                  <a:pt x="137" y="127"/>
                  <a:pt x="137" y="127"/>
                </a:cubicBezTo>
                <a:cubicBezTo>
                  <a:pt x="137" y="126"/>
                  <a:pt x="137" y="126"/>
                  <a:pt x="138" y="126"/>
                </a:cubicBezTo>
                <a:cubicBezTo>
                  <a:pt x="138" y="126"/>
                  <a:pt x="138" y="126"/>
                  <a:pt x="139" y="126"/>
                </a:cubicBezTo>
                <a:cubicBezTo>
                  <a:pt x="139" y="126"/>
                  <a:pt x="139" y="126"/>
                  <a:pt x="139" y="126"/>
                </a:cubicBezTo>
                <a:cubicBezTo>
                  <a:pt x="139" y="126"/>
                  <a:pt x="140" y="126"/>
                  <a:pt x="140" y="126"/>
                </a:cubicBezTo>
                <a:cubicBezTo>
                  <a:pt x="139" y="126"/>
                  <a:pt x="139" y="125"/>
                  <a:pt x="139" y="125"/>
                </a:cubicBezTo>
                <a:cubicBezTo>
                  <a:pt x="139" y="124"/>
                  <a:pt x="139" y="124"/>
                  <a:pt x="139" y="123"/>
                </a:cubicBezTo>
                <a:cubicBezTo>
                  <a:pt x="138" y="123"/>
                  <a:pt x="138" y="123"/>
                  <a:pt x="138" y="122"/>
                </a:cubicBezTo>
                <a:cubicBezTo>
                  <a:pt x="138" y="122"/>
                  <a:pt x="138" y="121"/>
                  <a:pt x="138" y="121"/>
                </a:cubicBezTo>
                <a:cubicBezTo>
                  <a:pt x="138" y="120"/>
                  <a:pt x="137" y="120"/>
                  <a:pt x="137" y="119"/>
                </a:cubicBezTo>
                <a:cubicBezTo>
                  <a:pt x="137" y="119"/>
                  <a:pt x="137" y="119"/>
                  <a:pt x="137" y="118"/>
                </a:cubicBezTo>
                <a:cubicBezTo>
                  <a:pt x="137" y="118"/>
                  <a:pt x="136" y="118"/>
                  <a:pt x="136" y="118"/>
                </a:cubicBezTo>
                <a:cubicBezTo>
                  <a:pt x="136" y="118"/>
                  <a:pt x="136" y="118"/>
                  <a:pt x="136" y="118"/>
                </a:cubicBezTo>
                <a:cubicBezTo>
                  <a:pt x="136" y="118"/>
                  <a:pt x="135" y="116"/>
                  <a:pt x="135" y="116"/>
                </a:cubicBezTo>
                <a:cubicBezTo>
                  <a:pt x="135" y="116"/>
                  <a:pt x="134" y="116"/>
                  <a:pt x="134" y="116"/>
                </a:cubicBezTo>
                <a:cubicBezTo>
                  <a:pt x="134" y="115"/>
                  <a:pt x="133" y="115"/>
                  <a:pt x="133" y="114"/>
                </a:cubicBezTo>
                <a:cubicBezTo>
                  <a:pt x="133" y="114"/>
                  <a:pt x="132" y="114"/>
                  <a:pt x="132" y="114"/>
                </a:cubicBezTo>
                <a:cubicBezTo>
                  <a:pt x="129" y="117"/>
                  <a:pt x="129" y="117"/>
                  <a:pt x="129" y="117"/>
                </a:cubicBezTo>
                <a:cubicBezTo>
                  <a:pt x="127" y="115"/>
                  <a:pt x="127" y="115"/>
                  <a:pt x="127" y="115"/>
                </a:cubicBezTo>
                <a:cubicBezTo>
                  <a:pt x="127" y="115"/>
                  <a:pt x="126" y="113"/>
                  <a:pt x="126" y="113"/>
                </a:cubicBezTo>
                <a:cubicBezTo>
                  <a:pt x="126" y="113"/>
                  <a:pt x="125" y="111"/>
                  <a:pt x="125" y="111"/>
                </a:cubicBezTo>
                <a:cubicBezTo>
                  <a:pt x="124" y="110"/>
                  <a:pt x="124" y="109"/>
                  <a:pt x="124" y="109"/>
                </a:cubicBezTo>
                <a:cubicBezTo>
                  <a:pt x="124" y="109"/>
                  <a:pt x="127" y="105"/>
                  <a:pt x="127" y="105"/>
                </a:cubicBezTo>
                <a:cubicBezTo>
                  <a:pt x="126" y="105"/>
                  <a:pt x="126" y="104"/>
                  <a:pt x="126" y="104"/>
                </a:cubicBezTo>
                <a:cubicBezTo>
                  <a:pt x="126" y="104"/>
                  <a:pt x="124" y="100"/>
                  <a:pt x="124" y="100"/>
                </a:cubicBezTo>
                <a:cubicBezTo>
                  <a:pt x="124" y="100"/>
                  <a:pt x="124" y="99"/>
                  <a:pt x="124" y="99"/>
                </a:cubicBezTo>
                <a:cubicBezTo>
                  <a:pt x="124" y="99"/>
                  <a:pt x="124" y="99"/>
                  <a:pt x="124" y="99"/>
                </a:cubicBezTo>
                <a:cubicBezTo>
                  <a:pt x="127" y="99"/>
                  <a:pt x="127" y="99"/>
                  <a:pt x="127" y="99"/>
                </a:cubicBezTo>
                <a:cubicBezTo>
                  <a:pt x="127" y="99"/>
                  <a:pt x="127" y="94"/>
                  <a:pt x="127" y="94"/>
                </a:cubicBezTo>
                <a:cubicBezTo>
                  <a:pt x="126" y="94"/>
                  <a:pt x="125" y="93"/>
                  <a:pt x="125" y="93"/>
                </a:cubicBezTo>
                <a:cubicBezTo>
                  <a:pt x="124" y="94"/>
                  <a:pt x="124" y="94"/>
                  <a:pt x="124" y="94"/>
                </a:cubicBezTo>
                <a:cubicBezTo>
                  <a:pt x="124" y="94"/>
                  <a:pt x="123" y="94"/>
                  <a:pt x="123" y="94"/>
                </a:cubicBezTo>
                <a:cubicBezTo>
                  <a:pt x="123" y="94"/>
                  <a:pt x="121" y="93"/>
                  <a:pt x="121" y="93"/>
                </a:cubicBezTo>
                <a:cubicBezTo>
                  <a:pt x="121" y="93"/>
                  <a:pt x="119" y="93"/>
                  <a:pt x="119" y="93"/>
                </a:cubicBezTo>
                <a:cubicBezTo>
                  <a:pt x="119" y="93"/>
                  <a:pt x="118" y="91"/>
                  <a:pt x="118" y="91"/>
                </a:cubicBezTo>
                <a:cubicBezTo>
                  <a:pt x="118" y="91"/>
                  <a:pt x="116" y="90"/>
                  <a:pt x="116" y="90"/>
                </a:cubicBezTo>
                <a:cubicBezTo>
                  <a:pt x="116" y="89"/>
                  <a:pt x="115" y="90"/>
                  <a:pt x="114" y="90"/>
                </a:cubicBezTo>
                <a:cubicBezTo>
                  <a:pt x="114" y="90"/>
                  <a:pt x="113" y="89"/>
                  <a:pt x="113" y="89"/>
                </a:cubicBezTo>
                <a:cubicBezTo>
                  <a:pt x="113" y="89"/>
                  <a:pt x="114" y="87"/>
                  <a:pt x="114" y="87"/>
                </a:cubicBezTo>
                <a:cubicBezTo>
                  <a:pt x="114" y="87"/>
                  <a:pt x="114" y="86"/>
                  <a:pt x="114" y="86"/>
                </a:cubicBezTo>
                <a:cubicBezTo>
                  <a:pt x="114" y="86"/>
                  <a:pt x="113" y="85"/>
                  <a:pt x="113" y="84"/>
                </a:cubicBezTo>
                <a:cubicBezTo>
                  <a:pt x="113" y="84"/>
                  <a:pt x="113" y="84"/>
                  <a:pt x="114" y="84"/>
                </a:cubicBezTo>
                <a:cubicBezTo>
                  <a:pt x="114" y="84"/>
                  <a:pt x="115" y="82"/>
                  <a:pt x="115" y="82"/>
                </a:cubicBezTo>
                <a:cubicBezTo>
                  <a:pt x="115" y="82"/>
                  <a:pt x="114" y="81"/>
                  <a:pt x="114" y="81"/>
                </a:cubicBezTo>
                <a:cubicBezTo>
                  <a:pt x="114" y="81"/>
                  <a:pt x="113" y="80"/>
                  <a:pt x="113" y="80"/>
                </a:cubicBezTo>
                <a:cubicBezTo>
                  <a:pt x="113" y="80"/>
                  <a:pt x="114" y="80"/>
                  <a:pt x="114" y="80"/>
                </a:cubicBezTo>
                <a:cubicBezTo>
                  <a:pt x="114" y="80"/>
                  <a:pt x="115" y="78"/>
                  <a:pt x="115" y="78"/>
                </a:cubicBezTo>
                <a:cubicBezTo>
                  <a:pt x="115" y="78"/>
                  <a:pt x="115" y="77"/>
                  <a:pt x="115" y="77"/>
                </a:cubicBezTo>
                <a:cubicBezTo>
                  <a:pt x="115" y="77"/>
                  <a:pt x="114" y="77"/>
                  <a:pt x="114" y="77"/>
                </a:cubicBezTo>
                <a:cubicBezTo>
                  <a:pt x="114" y="20"/>
                  <a:pt x="114" y="20"/>
                  <a:pt x="114" y="20"/>
                </a:cubicBezTo>
                <a:cubicBezTo>
                  <a:pt x="110" y="18"/>
                  <a:pt x="110" y="18"/>
                  <a:pt x="110" y="18"/>
                </a:cubicBezTo>
                <a:cubicBezTo>
                  <a:pt x="108" y="14"/>
                  <a:pt x="108" y="14"/>
                  <a:pt x="108" y="14"/>
                </a:cubicBezTo>
                <a:cubicBezTo>
                  <a:pt x="99" y="6"/>
                  <a:pt x="99" y="6"/>
                  <a:pt x="99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4" y="9"/>
                  <a:pt x="94" y="9"/>
                  <a:pt x="94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6" y="11"/>
                  <a:pt x="86" y="11"/>
                  <a:pt x="86" y="11"/>
                </a:cubicBezTo>
                <a:cubicBezTo>
                  <a:pt x="82" y="11"/>
                  <a:pt x="82" y="11"/>
                  <a:pt x="82" y="11"/>
                </a:cubicBezTo>
                <a:cubicBezTo>
                  <a:pt x="75" y="15"/>
                  <a:pt x="75" y="15"/>
                  <a:pt x="75" y="15"/>
                </a:cubicBezTo>
                <a:cubicBezTo>
                  <a:pt x="71" y="11"/>
                  <a:pt x="71" y="11"/>
                  <a:pt x="71" y="11"/>
                </a:cubicBezTo>
                <a:cubicBezTo>
                  <a:pt x="70" y="1"/>
                  <a:pt x="70" y="1"/>
                  <a:pt x="70" y="1"/>
                </a:cubicBezTo>
                <a:cubicBezTo>
                  <a:pt x="70" y="1"/>
                  <a:pt x="69" y="2"/>
                  <a:pt x="68" y="2"/>
                </a:cubicBezTo>
                <a:cubicBezTo>
                  <a:pt x="68" y="2"/>
                  <a:pt x="64" y="0"/>
                  <a:pt x="64" y="0"/>
                </a:cubicBezTo>
                <a:cubicBezTo>
                  <a:pt x="38" y="39"/>
                  <a:pt x="38" y="39"/>
                  <a:pt x="38" y="39"/>
                </a:cubicBezTo>
                <a:cubicBezTo>
                  <a:pt x="36" y="53"/>
                  <a:pt x="36" y="53"/>
                  <a:pt x="36" y="53"/>
                </a:cubicBezTo>
                <a:cubicBezTo>
                  <a:pt x="31" y="56"/>
                  <a:pt x="31" y="56"/>
                  <a:pt x="31" y="56"/>
                </a:cubicBezTo>
                <a:cubicBezTo>
                  <a:pt x="27" y="64"/>
                  <a:pt x="27" y="64"/>
                  <a:pt x="27" y="64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9"/>
                  <a:pt x="29" y="69"/>
                  <a:pt x="29" y="69"/>
                </a:cubicBezTo>
                <a:cubicBezTo>
                  <a:pt x="29" y="69"/>
                  <a:pt x="27" y="70"/>
                  <a:pt x="27" y="70"/>
                </a:cubicBezTo>
                <a:cubicBezTo>
                  <a:pt x="27" y="71"/>
                  <a:pt x="28" y="71"/>
                  <a:pt x="28" y="71"/>
                </a:cubicBezTo>
                <a:cubicBezTo>
                  <a:pt x="28" y="71"/>
                  <a:pt x="27" y="73"/>
                  <a:pt x="26" y="73"/>
                </a:cubicBezTo>
                <a:cubicBezTo>
                  <a:pt x="26" y="73"/>
                  <a:pt x="28" y="74"/>
                  <a:pt x="28" y="74"/>
                </a:cubicBezTo>
                <a:cubicBezTo>
                  <a:pt x="28" y="74"/>
                  <a:pt x="27" y="75"/>
                  <a:pt x="26" y="75"/>
                </a:cubicBezTo>
                <a:cubicBezTo>
                  <a:pt x="26" y="76"/>
                  <a:pt x="27" y="76"/>
                  <a:pt x="27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9"/>
                  <a:pt x="29" y="79"/>
                  <a:pt x="29" y="79"/>
                </a:cubicBezTo>
                <a:cubicBezTo>
                  <a:pt x="23" y="84"/>
                  <a:pt x="23" y="84"/>
                  <a:pt x="23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86"/>
                  <a:pt x="24" y="87"/>
                  <a:pt x="24" y="87"/>
                </a:cubicBezTo>
                <a:cubicBezTo>
                  <a:pt x="16" y="93"/>
                  <a:pt x="16" y="93"/>
                  <a:pt x="16" y="93"/>
                </a:cubicBezTo>
                <a:cubicBezTo>
                  <a:pt x="16" y="93"/>
                  <a:pt x="12" y="98"/>
                  <a:pt x="12" y="98"/>
                </a:cubicBezTo>
                <a:cubicBezTo>
                  <a:pt x="12" y="98"/>
                  <a:pt x="16" y="102"/>
                  <a:pt x="16" y="102"/>
                </a:cubicBezTo>
                <a:cubicBezTo>
                  <a:pt x="16" y="104"/>
                  <a:pt x="16" y="104"/>
                  <a:pt x="16" y="104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10" y="103"/>
                  <a:pt x="9" y="105"/>
                  <a:pt x="9" y="105"/>
                </a:cubicBezTo>
                <a:cubicBezTo>
                  <a:pt x="9" y="106"/>
                  <a:pt x="10" y="107"/>
                  <a:pt x="10" y="107"/>
                </a:cubicBezTo>
                <a:cubicBezTo>
                  <a:pt x="10" y="107"/>
                  <a:pt x="9" y="109"/>
                  <a:pt x="9" y="109"/>
                </a:cubicBezTo>
                <a:cubicBezTo>
                  <a:pt x="9" y="109"/>
                  <a:pt x="8" y="112"/>
                  <a:pt x="8" y="112"/>
                </a:cubicBezTo>
                <a:cubicBezTo>
                  <a:pt x="8" y="112"/>
                  <a:pt x="6" y="109"/>
                  <a:pt x="6" y="109"/>
                </a:cubicBezTo>
                <a:cubicBezTo>
                  <a:pt x="6" y="109"/>
                  <a:pt x="5" y="106"/>
                  <a:pt x="5" y="106"/>
                </a:cubicBezTo>
                <a:cubicBezTo>
                  <a:pt x="3" y="106"/>
                  <a:pt x="3" y="106"/>
                  <a:pt x="3" y="106"/>
                </a:cubicBezTo>
                <a:cubicBezTo>
                  <a:pt x="3" y="108"/>
                  <a:pt x="3" y="108"/>
                  <a:pt x="3" y="108"/>
                </a:cubicBezTo>
                <a:cubicBezTo>
                  <a:pt x="0" y="108"/>
                  <a:pt x="0" y="108"/>
                  <a:pt x="0" y="108"/>
                </a:cubicBezTo>
                <a:cubicBezTo>
                  <a:pt x="3" y="166"/>
                  <a:pt x="3" y="166"/>
                  <a:pt x="3" y="166"/>
                </a:cubicBezTo>
                <a:cubicBezTo>
                  <a:pt x="4" y="186"/>
                  <a:pt x="4" y="186"/>
                  <a:pt x="4" y="186"/>
                </a:cubicBezTo>
                <a:cubicBezTo>
                  <a:pt x="4" y="186"/>
                  <a:pt x="4" y="195"/>
                  <a:pt x="4" y="195"/>
                </a:cubicBezTo>
                <a:cubicBezTo>
                  <a:pt x="4" y="195"/>
                  <a:pt x="4" y="202"/>
                  <a:pt x="4" y="202"/>
                </a:cubicBezTo>
                <a:cubicBezTo>
                  <a:pt x="9" y="208"/>
                  <a:pt x="9" y="208"/>
                  <a:pt x="9" y="208"/>
                </a:cubicBezTo>
                <a:cubicBezTo>
                  <a:pt x="9" y="208"/>
                  <a:pt x="9" y="211"/>
                  <a:pt x="9" y="211"/>
                </a:cubicBezTo>
                <a:cubicBezTo>
                  <a:pt x="9" y="211"/>
                  <a:pt x="9" y="213"/>
                  <a:pt x="9" y="214"/>
                </a:cubicBezTo>
                <a:cubicBezTo>
                  <a:pt x="9" y="214"/>
                  <a:pt x="10" y="214"/>
                  <a:pt x="10" y="214"/>
                </a:cubicBezTo>
                <a:cubicBezTo>
                  <a:pt x="10" y="214"/>
                  <a:pt x="11" y="214"/>
                  <a:pt x="12" y="215"/>
                </a:cubicBezTo>
                <a:cubicBezTo>
                  <a:pt x="12" y="215"/>
                  <a:pt x="13" y="215"/>
                  <a:pt x="13" y="216"/>
                </a:cubicBezTo>
                <a:cubicBezTo>
                  <a:pt x="13" y="216"/>
                  <a:pt x="13" y="216"/>
                  <a:pt x="14" y="217"/>
                </a:cubicBezTo>
                <a:cubicBezTo>
                  <a:pt x="14" y="217"/>
                  <a:pt x="14" y="216"/>
                  <a:pt x="15" y="216"/>
                </a:cubicBezTo>
                <a:cubicBezTo>
                  <a:pt x="15" y="215"/>
                  <a:pt x="15" y="215"/>
                  <a:pt x="15" y="214"/>
                </a:cubicBezTo>
                <a:cubicBezTo>
                  <a:pt x="16" y="213"/>
                  <a:pt x="17" y="213"/>
                  <a:pt x="17" y="212"/>
                </a:cubicBezTo>
                <a:cubicBezTo>
                  <a:pt x="17" y="211"/>
                  <a:pt x="17" y="210"/>
                  <a:pt x="18" y="209"/>
                </a:cubicBezTo>
                <a:cubicBezTo>
                  <a:pt x="18" y="209"/>
                  <a:pt x="18" y="209"/>
                  <a:pt x="18" y="208"/>
                </a:cubicBezTo>
                <a:cubicBezTo>
                  <a:pt x="18" y="207"/>
                  <a:pt x="18" y="207"/>
                  <a:pt x="19" y="206"/>
                </a:cubicBezTo>
                <a:cubicBezTo>
                  <a:pt x="19" y="205"/>
                  <a:pt x="19" y="204"/>
                  <a:pt x="20" y="204"/>
                </a:cubicBezTo>
                <a:cubicBezTo>
                  <a:pt x="21" y="204"/>
                  <a:pt x="22" y="203"/>
                  <a:pt x="22" y="203"/>
                </a:cubicBezTo>
                <a:cubicBezTo>
                  <a:pt x="23" y="202"/>
                  <a:pt x="24" y="201"/>
                  <a:pt x="24" y="200"/>
                </a:cubicBezTo>
                <a:cubicBezTo>
                  <a:pt x="24" y="199"/>
                  <a:pt x="24" y="198"/>
                  <a:pt x="25" y="198"/>
                </a:cubicBezTo>
                <a:cubicBezTo>
                  <a:pt x="25" y="197"/>
                  <a:pt x="25" y="197"/>
                  <a:pt x="25" y="196"/>
                </a:cubicBezTo>
                <a:cubicBezTo>
                  <a:pt x="25" y="195"/>
                  <a:pt x="25" y="194"/>
                  <a:pt x="26" y="194"/>
                </a:cubicBezTo>
                <a:cubicBezTo>
                  <a:pt x="27" y="194"/>
                  <a:pt x="27" y="194"/>
                  <a:pt x="28" y="194"/>
                </a:cubicBezTo>
                <a:cubicBezTo>
                  <a:pt x="28" y="194"/>
                  <a:pt x="29" y="194"/>
                  <a:pt x="29" y="194"/>
                </a:cubicBezTo>
                <a:cubicBezTo>
                  <a:pt x="29" y="194"/>
                  <a:pt x="29" y="194"/>
                  <a:pt x="29" y="193"/>
                </a:cubicBezTo>
                <a:cubicBezTo>
                  <a:pt x="30" y="193"/>
                  <a:pt x="31" y="193"/>
                  <a:pt x="31" y="192"/>
                </a:cubicBezTo>
                <a:cubicBezTo>
                  <a:pt x="31" y="191"/>
                  <a:pt x="31" y="190"/>
                  <a:pt x="30" y="189"/>
                </a:cubicBezTo>
                <a:cubicBezTo>
                  <a:pt x="30" y="188"/>
                  <a:pt x="29" y="188"/>
                  <a:pt x="29" y="187"/>
                </a:cubicBezTo>
                <a:cubicBezTo>
                  <a:pt x="29" y="187"/>
                  <a:pt x="30" y="186"/>
                  <a:pt x="30" y="186"/>
                </a:cubicBezTo>
                <a:cubicBezTo>
                  <a:pt x="30" y="185"/>
                  <a:pt x="31" y="185"/>
                  <a:pt x="31" y="185"/>
                </a:cubicBezTo>
                <a:cubicBezTo>
                  <a:pt x="32" y="184"/>
                  <a:pt x="32" y="183"/>
                  <a:pt x="33" y="183"/>
                </a:cubicBezTo>
                <a:cubicBezTo>
                  <a:pt x="34" y="182"/>
                  <a:pt x="34" y="182"/>
                  <a:pt x="35" y="181"/>
                </a:cubicBezTo>
                <a:cubicBezTo>
                  <a:pt x="35" y="181"/>
                  <a:pt x="36" y="180"/>
                  <a:pt x="36" y="180"/>
                </a:cubicBezTo>
                <a:cubicBezTo>
                  <a:pt x="36" y="180"/>
                  <a:pt x="36" y="179"/>
                  <a:pt x="37" y="179"/>
                </a:cubicBezTo>
                <a:cubicBezTo>
                  <a:pt x="37" y="179"/>
                  <a:pt x="37" y="179"/>
                  <a:pt x="37" y="179"/>
                </a:cubicBezTo>
                <a:cubicBezTo>
                  <a:pt x="37" y="179"/>
                  <a:pt x="37" y="179"/>
                  <a:pt x="37" y="179"/>
                </a:cubicBezTo>
                <a:cubicBezTo>
                  <a:pt x="37" y="179"/>
                  <a:pt x="38" y="179"/>
                  <a:pt x="38" y="179"/>
                </a:cubicBezTo>
                <a:cubicBezTo>
                  <a:pt x="38" y="179"/>
                  <a:pt x="38" y="179"/>
                  <a:pt x="38" y="180"/>
                </a:cubicBezTo>
                <a:cubicBezTo>
                  <a:pt x="39" y="180"/>
                  <a:pt x="39" y="180"/>
                  <a:pt x="40" y="180"/>
                </a:cubicBezTo>
                <a:cubicBezTo>
                  <a:pt x="40" y="180"/>
                  <a:pt x="40" y="180"/>
                  <a:pt x="40" y="179"/>
                </a:cubicBezTo>
                <a:cubicBezTo>
                  <a:pt x="40" y="179"/>
                  <a:pt x="40" y="179"/>
                  <a:pt x="40" y="179"/>
                </a:cubicBezTo>
                <a:cubicBezTo>
                  <a:pt x="40" y="179"/>
                  <a:pt x="40" y="178"/>
                  <a:pt x="41" y="178"/>
                </a:cubicBezTo>
                <a:cubicBezTo>
                  <a:pt x="41" y="178"/>
                  <a:pt x="42" y="179"/>
                  <a:pt x="42" y="179"/>
                </a:cubicBezTo>
                <a:cubicBezTo>
                  <a:pt x="43" y="179"/>
                  <a:pt x="43" y="180"/>
                  <a:pt x="43" y="181"/>
                </a:cubicBezTo>
                <a:cubicBezTo>
                  <a:pt x="44" y="181"/>
                  <a:pt x="44" y="182"/>
                  <a:pt x="44" y="182"/>
                </a:cubicBezTo>
                <a:cubicBezTo>
                  <a:pt x="43" y="183"/>
                  <a:pt x="43" y="184"/>
                  <a:pt x="43" y="184"/>
                </a:cubicBezTo>
                <a:cubicBezTo>
                  <a:pt x="43" y="185"/>
                  <a:pt x="44" y="185"/>
                  <a:pt x="44" y="185"/>
                </a:cubicBezTo>
                <a:cubicBezTo>
                  <a:pt x="44" y="185"/>
                  <a:pt x="45" y="185"/>
                  <a:pt x="45" y="184"/>
                </a:cubicBezTo>
                <a:cubicBezTo>
                  <a:pt x="45" y="184"/>
                  <a:pt x="45" y="184"/>
                  <a:pt x="45" y="184"/>
                </a:cubicBezTo>
                <a:cubicBezTo>
                  <a:pt x="45" y="184"/>
                  <a:pt x="45" y="184"/>
                  <a:pt x="45" y="183"/>
                </a:cubicBezTo>
                <a:cubicBezTo>
                  <a:pt x="45" y="183"/>
                  <a:pt x="45" y="183"/>
                  <a:pt x="45" y="183"/>
                </a:cubicBezTo>
                <a:cubicBezTo>
                  <a:pt x="45" y="183"/>
                  <a:pt x="45" y="182"/>
                  <a:pt x="45" y="182"/>
                </a:cubicBezTo>
                <a:cubicBezTo>
                  <a:pt x="45" y="181"/>
                  <a:pt x="45" y="181"/>
                  <a:pt x="45" y="180"/>
                </a:cubicBezTo>
                <a:cubicBezTo>
                  <a:pt x="45" y="180"/>
                  <a:pt x="45" y="179"/>
                  <a:pt x="45" y="179"/>
                </a:cubicBezTo>
                <a:cubicBezTo>
                  <a:pt x="45" y="179"/>
                  <a:pt x="44" y="178"/>
                  <a:pt x="44" y="178"/>
                </a:cubicBezTo>
                <a:cubicBezTo>
                  <a:pt x="44" y="177"/>
                  <a:pt x="44" y="177"/>
                  <a:pt x="44" y="176"/>
                </a:cubicBezTo>
                <a:cubicBezTo>
                  <a:pt x="44" y="176"/>
                  <a:pt x="44" y="175"/>
                  <a:pt x="45" y="175"/>
                </a:cubicBezTo>
                <a:cubicBezTo>
                  <a:pt x="45" y="175"/>
                  <a:pt x="45" y="176"/>
                  <a:pt x="45" y="176"/>
                </a:cubicBezTo>
                <a:cubicBezTo>
                  <a:pt x="45" y="176"/>
                  <a:pt x="45" y="177"/>
                  <a:pt x="45" y="178"/>
                </a:cubicBezTo>
                <a:cubicBezTo>
                  <a:pt x="46" y="179"/>
                  <a:pt x="46" y="180"/>
                  <a:pt x="46" y="181"/>
                </a:cubicBezTo>
                <a:cubicBezTo>
                  <a:pt x="46" y="181"/>
                  <a:pt x="46" y="182"/>
                  <a:pt x="46" y="182"/>
                </a:cubicBezTo>
                <a:cubicBezTo>
                  <a:pt x="46" y="182"/>
                  <a:pt x="46" y="183"/>
                  <a:pt x="46" y="183"/>
                </a:cubicBezTo>
                <a:cubicBezTo>
                  <a:pt x="47" y="183"/>
                  <a:pt x="46" y="182"/>
                  <a:pt x="47" y="182"/>
                </a:cubicBezTo>
                <a:cubicBezTo>
                  <a:pt x="47" y="182"/>
                  <a:pt x="47" y="182"/>
                  <a:pt x="47" y="181"/>
                </a:cubicBezTo>
                <a:cubicBezTo>
                  <a:pt x="47" y="181"/>
                  <a:pt x="47" y="181"/>
                  <a:pt x="47" y="181"/>
                </a:cubicBezTo>
                <a:cubicBezTo>
                  <a:pt x="47" y="180"/>
                  <a:pt x="47" y="180"/>
                  <a:pt x="48" y="180"/>
                </a:cubicBezTo>
                <a:cubicBezTo>
                  <a:pt x="48" y="180"/>
                  <a:pt x="48" y="179"/>
                  <a:pt x="48" y="179"/>
                </a:cubicBezTo>
                <a:cubicBezTo>
                  <a:pt x="47" y="180"/>
                  <a:pt x="47" y="180"/>
                  <a:pt x="47" y="180"/>
                </a:cubicBezTo>
                <a:cubicBezTo>
                  <a:pt x="47" y="180"/>
                  <a:pt x="47" y="180"/>
                  <a:pt x="47" y="180"/>
                </a:cubicBezTo>
                <a:cubicBezTo>
                  <a:pt x="47" y="180"/>
                  <a:pt x="47" y="180"/>
                  <a:pt x="47" y="180"/>
                </a:cubicBezTo>
                <a:cubicBezTo>
                  <a:pt x="46" y="179"/>
                  <a:pt x="46" y="179"/>
                  <a:pt x="46" y="179"/>
                </a:cubicBezTo>
                <a:cubicBezTo>
                  <a:pt x="46" y="178"/>
                  <a:pt x="46" y="177"/>
                  <a:pt x="47" y="177"/>
                </a:cubicBezTo>
                <a:cubicBezTo>
                  <a:pt x="47" y="177"/>
                  <a:pt x="47" y="176"/>
                  <a:pt x="47" y="177"/>
                </a:cubicBezTo>
                <a:cubicBezTo>
                  <a:pt x="47" y="177"/>
                  <a:pt x="47" y="177"/>
                  <a:pt x="47" y="177"/>
                </a:cubicBezTo>
                <a:cubicBezTo>
                  <a:pt x="48" y="178"/>
                  <a:pt x="47" y="178"/>
                  <a:pt x="47" y="178"/>
                </a:cubicBezTo>
                <a:cubicBezTo>
                  <a:pt x="47" y="179"/>
                  <a:pt x="47" y="179"/>
                  <a:pt x="48" y="179"/>
                </a:cubicBezTo>
                <a:cubicBezTo>
                  <a:pt x="48" y="179"/>
                  <a:pt x="48" y="179"/>
                  <a:pt x="48" y="178"/>
                </a:cubicBezTo>
                <a:cubicBezTo>
                  <a:pt x="48" y="178"/>
                  <a:pt x="48" y="178"/>
                  <a:pt x="48" y="178"/>
                </a:cubicBezTo>
                <a:cubicBezTo>
                  <a:pt x="49" y="178"/>
                  <a:pt x="49" y="178"/>
                  <a:pt x="49" y="178"/>
                </a:cubicBezTo>
                <a:cubicBezTo>
                  <a:pt x="49" y="178"/>
                  <a:pt x="50" y="178"/>
                  <a:pt x="50" y="178"/>
                </a:cubicBezTo>
                <a:cubicBezTo>
                  <a:pt x="50" y="178"/>
                  <a:pt x="51" y="178"/>
                  <a:pt x="51" y="178"/>
                </a:cubicBezTo>
                <a:cubicBezTo>
                  <a:pt x="51" y="178"/>
                  <a:pt x="51" y="178"/>
                  <a:pt x="51" y="179"/>
                </a:cubicBezTo>
                <a:cubicBezTo>
                  <a:pt x="51" y="179"/>
                  <a:pt x="51" y="178"/>
                  <a:pt x="51" y="178"/>
                </a:cubicBezTo>
                <a:cubicBezTo>
                  <a:pt x="51" y="178"/>
                  <a:pt x="52" y="177"/>
                  <a:pt x="52" y="177"/>
                </a:cubicBezTo>
                <a:cubicBezTo>
                  <a:pt x="52" y="176"/>
                  <a:pt x="52" y="176"/>
                  <a:pt x="52" y="175"/>
                </a:cubicBezTo>
                <a:cubicBezTo>
                  <a:pt x="52" y="175"/>
                  <a:pt x="52" y="175"/>
                  <a:pt x="52" y="174"/>
                </a:cubicBezTo>
                <a:cubicBezTo>
                  <a:pt x="52" y="174"/>
                  <a:pt x="52" y="174"/>
                  <a:pt x="52" y="173"/>
                </a:cubicBezTo>
                <a:cubicBezTo>
                  <a:pt x="52" y="173"/>
                  <a:pt x="52" y="173"/>
                  <a:pt x="52" y="173"/>
                </a:cubicBezTo>
                <a:cubicBezTo>
                  <a:pt x="53" y="173"/>
                  <a:pt x="53" y="172"/>
                  <a:pt x="53" y="172"/>
                </a:cubicBezTo>
                <a:cubicBezTo>
                  <a:pt x="53" y="172"/>
                  <a:pt x="53" y="173"/>
                  <a:pt x="53" y="174"/>
                </a:cubicBezTo>
                <a:cubicBezTo>
                  <a:pt x="53" y="174"/>
                  <a:pt x="53" y="175"/>
                  <a:pt x="53" y="175"/>
                </a:cubicBezTo>
                <a:cubicBezTo>
                  <a:pt x="53" y="176"/>
                  <a:pt x="53" y="176"/>
                  <a:pt x="53" y="177"/>
                </a:cubicBezTo>
                <a:cubicBezTo>
                  <a:pt x="54" y="177"/>
                  <a:pt x="54" y="177"/>
                  <a:pt x="54" y="177"/>
                </a:cubicBezTo>
                <a:cubicBezTo>
                  <a:pt x="54" y="177"/>
                  <a:pt x="54" y="178"/>
                  <a:pt x="54" y="178"/>
                </a:cubicBezTo>
                <a:cubicBezTo>
                  <a:pt x="54" y="178"/>
                  <a:pt x="54" y="178"/>
                  <a:pt x="54" y="178"/>
                </a:cubicBezTo>
                <a:cubicBezTo>
                  <a:pt x="54" y="178"/>
                  <a:pt x="54" y="179"/>
                  <a:pt x="54" y="179"/>
                </a:cubicBezTo>
                <a:cubicBezTo>
                  <a:pt x="55" y="179"/>
                  <a:pt x="55" y="178"/>
                  <a:pt x="55" y="178"/>
                </a:cubicBezTo>
                <a:cubicBezTo>
                  <a:pt x="56" y="178"/>
                  <a:pt x="56" y="177"/>
                  <a:pt x="56" y="177"/>
                </a:cubicBezTo>
                <a:cubicBezTo>
                  <a:pt x="56" y="177"/>
                  <a:pt x="56" y="176"/>
                  <a:pt x="57" y="176"/>
                </a:cubicBezTo>
                <a:cubicBezTo>
                  <a:pt x="57" y="175"/>
                  <a:pt x="57" y="175"/>
                  <a:pt x="57" y="175"/>
                </a:cubicBezTo>
                <a:cubicBezTo>
                  <a:pt x="57" y="174"/>
                  <a:pt x="58" y="174"/>
                  <a:pt x="58" y="173"/>
                </a:cubicBezTo>
                <a:cubicBezTo>
                  <a:pt x="58" y="173"/>
                  <a:pt x="58" y="173"/>
                  <a:pt x="59" y="173"/>
                </a:cubicBezTo>
                <a:cubicBezTo>
                  <a:pt x="59" y="172"/>
                  <a:pt x="59" y="172"/>
                  <a:pt x="59" y="171"/>
                </a:cubicBezTo>
                <a:cubicBezTo>
                  <a:pt x="59" y="171"/>
                  <a:pt x="59" y="170"/>
                  <a:pt x="59" y="170"/>
                </a:cubicBezTo>
                <a:cubicBezTo>
                  <a:pt x="59" y="170"/>
                  <a:pt x="59" y="169"/>
                  <a:pt x="59" y="169"/>
                </a:cubicBezTo>
                <a:cubicBezTo>
                  <a:pt x="59" y="169"/>
                  <a:pt x="59" y="169"/>
                  <a:pt x="59" y="169"/>
                </a:cubicBezTo>
                <a:cubicBezTo>
                  <a:pt x="60" y="169"/>
                  <a:pt x="60" y="169"/>
                  <a:pt x="60" y="169"/>
                </a:cubicBezTo>
                <a:cubicBezTo>
                  <a:pt x="60" y="169"/>
                  <a:pt x="61" y="170"/>
                  <a:pt x="61" y="170"/>
                </a:cubicBezTo>
                <a:cubicBezTo>
                  <a:pt x="61" y="170"/>
                  <a:pt x="61" y="170"/>
                  <a:pt x="60" y="170"/>
                </a:cubicBezTo>
                <a:cubicBezTo>
                  <a:pt x="60" y="170"/>
                  <a:pt x="60" y="170"/>
                  <a:pt x="60" y="170"/>
                </a:cubicBezTo>
                <a:cubicBezTo>
                  <a:pt x="60" y="171"/>
                  <a:pt x="60" y="171"/>
                  <a:pt x="60" y="171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60" y="173"/>
                  <a:pt x="60" y="173"/>
                  <a:pt x="61" y="173"/>
                </a:cubicBezTo>
                <a:cubicBezTo>
                  <a:pt x="61" y="174"/>
                  <a:pt x="61" y="174"/>
                  <a:pt x="61" y="174"/>
                </a:cubicBezTo>
                <a:cubicBezTo>
                  <a:pt x="62" y="174"/>
                  <a:pt x="62" y="174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ubicBezTo>
                  <a:pt x="64" y="175"/>
                  <a:pt x="64" y="175"/>
                  <a:pt x="64" y="175"/>
                </a:cubicBezTo>
                <a:cubicBezTo>
                  <a:pt x="65" y="175"/>
                  <a:pt x="65" y="175"/>
                  <a:pt x="65" y="174"/>
                </a:cubicBezTo>
                <a:cubicBezTo>
                  <a:pt x="65" y="174"/>
                  <a:pt x="65" y="174"/>
                  <a:pt x="66" y="173"/>
                </a:cubicBezTo>
                <a:cubicBezTo>
                  <a:pt x="66" y="173"/>
                  <a:pt x="66" y="173"/>
                  <a:pt x="66" y="173"/>
                </a:cubicBezTo>
                <a:cubicBezTo>
                  <a:pt x="66" y="173"/>
                  <a:pt x="66" y="173"/>
                  <a:pt x="66" y="173"/>
                </a:cubicBezTo>
                <a:cubicBezTo>
                  <a:pt x="67" y="173"/>
                  <a:pt x="67" y="173"/>
                  <a:pt x="67" y="173"/>
                </a:cubicBezTo>
                <a:cubicBezTo>
                  <a:pt x="68" y="173"/>
                  <a:pt x="68" y="172"/>
                  <a:pt x="68" y="172"/>
                </a:cubicBezTo>
                <a:cubicBezTo>
                  <a:pt x="68" y="172"/>
                  <a:pt x="69" y="172"/>
                  <a:pt x="69" y="171"/>
                </a:cubicBezTo>
                <a:cubicBezTo>
                  <a:pt x="69" y="171"/>
                  <a:pt x="69" y="171"/>
                  <a:pt x="69" y="171"/>
                </a:cubicBezTo>
                <a:cubicBezTo>
                  <a:pt x="70" y="170"/>
                  <a:pt x="70" y="170"/>
                  <a:pt x="70" y="169"/>
                </a:cubicBezTo>
                <a:cubicBezTo>
                  <a:pt x="70" y="169"/>
                  <a:pt x="71" y="169"/>
                  <a:pt x="71" y="168"/>
                </a:cubicBezTo>
                <a:cubicBezTo>
                  <a:pt x="71" y="168"/>
                  <a:pt x="71" y="168"/>
                  <a:pt x="70" y="168"/>
                </a:cubicBezTo>
                <a:cubicBezTo>
                  <a:pt x="70" y="168"/>
                  <a:pt x="70" y="168"/>
                  <a:pt x="70" y="168"/>
                </a:cubicBezTo>
                <a:cubicBezTo>
                  <a:pt x="70" y="168"/>
                  <a:pt x="70" y="167"/>
                  <a:pt x="70" y="167"/>
                </a:cubicBezTo>
                <a:cubicBezTo>
                  <a:pt x="70" y="167"/>
                  <a:pt x="70" y="167"/>
                  <a:pt x="70" y="167"/>
                </a:cubicBezTo>
                <a:cubicBezTo>
                  <a:pt x="69" y="166"/>
                  <a:pt x="69" y="166"/>
                  <a:pt x="69" y="166"/>
                </a:cubicBezTo>
                <a:cubicBezTo>
                  <a:pt x="70" y="166"/>
                  <a:pt x="70" y="166"/>
                  <a:pt x="70" y="166"/>
                </a:cubicBezTo>
                <a:cubicBezTo>
                  <a:pt x="70" y="166"/>
                  <a:pt x="70" y="165"/>
                  <a:pt x="70" y="165"/>
                </a:cubicBezTo>
                <a:cubicBezTo>
                  <a:pt x="70" y="165"/>
                  <a:pt x="70" y="165"/>
                  <a:pt x="70" y="165"/>
                </a:cubicBezTo>
                <a:cubicBezTo>
                  <a:pt x="70" y="164"/>
                  <a:pt x="70" y="164"/>
                  <a:pt x="70" y="163"/>
                </a:cubicBezTo>
                <a:cubicBezTo>
                  <a:pt x="70" y="163"/>
                  <a:pt x="70" y="163"/>
                  <a:pt x="70" y="163"/>
                </a:cubicBezTo>
                <a:cubicBezTo>
                  <a:pt x="71" y="163"/>
                  <a:pt x="71" y="162"/>
                  <a:pt x="71" y="162"/>
                </a:cubicBezTo>
                <a:cubicBezTo>
                  <a:pt x="71" y="162"/>
                  <a:pt x="71" y="162"/>
                  <a:pt x="71" y="161"/>
                </a:cubicBezTo>
                <a:cubicBezTo>
                  <a:pt x="71" y="161"/>
                  <a:pt x="71" y="161"/>
                  <a:pt x="71" y="161"/>
                </a:cubicBezTo>
                <a:cubicBezTo>
                  <a:pt x="71" y="160"/>
                  <a:pt x="71" y="160"/>
                  <a:pt x="72" y="160"/>
                </a:cubicBezTo>
                <a:cubicBezTo>
                  <a:pt x="72" y="160"/>
                  <a:pt x="72" y="160"/>
                  <a:pt x="72" y="160"/>
                </a:cubicBezTo>
                <a:cubicBezTo>
                  <a:pt x="72" y="159"/>
                  <a:pt x="72" y="159"/>
                  <a:pt x="72" y="159"/>
                </a:cubicBezTo>
                <a:cubicBezTo>
                  <a:pt x="72" y="159"/>
                  <a:pt x="72" y="159"/>
                  <a:pt x="73" y="158"/>
                </a:cubicBezTo>
                <a:cubicBezTo>
                  <a:pt x="73" y="158"/>
                  <a:pt x="73" y="158"/>
                  <a:pt x="74" y="157"/>
                </a:cubicBezTo>
                <a:cubicBezTo>
                  <a:pt x="74" y="157"/>
                  <a:pt x="74" y="156"/>
                  <a:pt x="74" y="156"/>
                </a:cubicBezTo>
                <a:cubicBezTo>
                  <a:pt x="74" y="156"/>
                  <a:pt x="74" y="155"/>
                  <a:pt x="74" y="154"/>
                </a:cubicBezTo>
                <a:cubicBezTo>
                  <a:pt x="74" y="154"/>
                  <a:pt x="73" y="154"/>
                  <a:pt x="73" y="154"/>
                </a:cubicBezTo>
                <a:cubicBezTo>
                  <a:pt x="73" y="154"/>
                  <a:pt x="73" y="153"/>
                  <a:pt x="73" y="153"/>
                </a:cubicBezTo>
                <a:cubicBezTo>
                  <a:pt x="73" y="153"/>
                  <a:pt x="73" y="153"/>
                  <a:pt x="73" y="152"/>
                </a:cubicBezTo>
                <a:cubicBezTo>
                  <a:pt x="73" y="152"/>
                  <a:pt x="74" y="152"/>
                  <a:pt x="74" y="152"/>
                </a:cubicBezTo>
                <a:cubicBezTo>
                  <a:pt x="74" y="152"/>
                  <a:pt x="74" y="152"/>
                  <a:pt x="74" y="152"/>
                </a:cubicBezTo>
                <a:cubicBezTo>
                  <a:pt x="74" y="151"/>
                  <a:pt x="74" y="151"/>
                  <a:pt x="74" y="151"/>
                </a:cubicBezTo>
                <a:cubicBezTo>
                  <a:pt x="75" y="151"/>
                  <a:pt x="75" y="151"/>
                  <a:pt x="75" y="151"/>
                </a:cubicBezTo>
                <a:cubicBezTo>
                  <a:pt x="75" y="151"/>
                  <a:pt x="76" y="151"/>
                  <a:pt x="76" y="150"/>
                </a:cubicBezTo>
                <a:cubicBezTo>
                  <a:pt x="76" y="150"/>
                  <a:pt x="76" y="150"/>
                  <a:pt x="77" y="150"/>
                </a:cubicBezTo>
                <a:cubicBezTo>
                  <a:pt x="77" y="150"/>
                  <a:pt x="77" y="150"/>
                  <a:pt x="78" y="150"/>
                </a:cubicBezTo>
                <a:cubicBezTo>
                  <a:pt x="78" y="150"/>
                  <a:pt x="78" y="150"/>
                  <a:pt x="78" y="149"/>
                </a:cubicBezTo>
                <a:cubicBezTo>
                  <a:pt x="78" y="149"/>
                  <a:pt x="78" y="149"/>
                  <a:pt x="78" y="149"/>
                </a:cubicBezTo>
                <a:cubicBezTo>
                  <a:pt x="78" y="148"/>
                  <a:pt x="78" y="148"/>
                  <a:pt x="79" y="148"/>
                </a:cubicBezTo>
                <a:cubicBezTo>
                  <a:pt x="79" y="148"/>
                  <a:pt x="79" y="147"/>
                  <a:pt x="79" y="147"/>
                </a:cubicBezTo>
                <a:cubicBezTo>
                  <a:pt x="79" y="147"/>
                  <a:pt x="79" y="147"/>
                  <a:pt x="79" y="146"/>
                </a:cubicBezTo>
                <a:cubicBezTo>
                  <a:pt x="79" y="146"/>
                  <a:pt x="79" y="146"/>
                  <a:pt x="79" y="145"/>
                </a:cubicBezTo>
                <a:cubicBezTo>
                  <a:pt x="79" y="145"/>
                  <a:pt x="80" y="145"/>
                  <a:pt x="80" y="145"/>
                </a:cubicBezTo>
                <a:cubicBezTo>
                  <a:pt x="80" y="146"/>
                  <a:pt x="80" y="146"/>
                  <a:pt x="80" y="147"/>
                </a:cubicBezTo>
                <a:cubicBezTo>
                  <a:pt x="80" y="147"/>
                  <a:pt x="80" y="147"/>
                  <a:pt x="80" y="148"/>
                </a:cubicBezTo>
                <a:cubicBezTo>
                  <a:pt x="80" y="148"/>
                  <a:pt x="81" y="148"/>
                  <a:pt x="81" y="148"/>
                </a:cubicBezTo>
                <a:cubicBezTo>
                  <a:pt x="81" y="148"/>
                  <a:pt x="80" y="148"/>
                  <a:pt x="80" y="149"/>
                </a:cubicBezTo>
                <a:cubicBezTo>
                  <a:pt x="80" y="149"/>
                  <a:pt x="79" y="150"/>
                  <a:pt x="79" y="151"/>
                </a:cubicBezTo>
                <a:cubicBezTo>
                  <a:pt x="79" y="151"/>
                  <a:pt x="79" y="151"/>
                  <a:pt x="79" y="151"/>
                </a:cubicBezTo>
                <a:cubicBezTo>
                  <a:pt x="79" y="151"/>
                  <a:pt x="79" y="152"/>
                  <a:pt x="78" y="152"/>
                </a:cubicBezTo>
                <a:cubicBezTo>
                  <a:pt x="78" y="152"/>
                  <a:pt x="78" y="153"/>
                  <a:pt x="78" y="153"/>
                </a:cubicBezTo>
                <a:cubicBezTo>
                  <a:pt x="78" y="154"/>
                  <a:pt x="78" y="154"/>
                  <a:pt x="78" y="155"/>
                </a:cubicBezTo>
                <a:cubicBezTo>
                  <a:pt x="78" y="155"/>
                  <a:pt x="78" y="156"/>
                  <a:pt x="79" y="156"/>
                </a:cubicBezTo>
                <a:cubicBezTo>
                  <a:pt x="79" y="156"/>
                  <a:pt x="79" y="156"/>
                  <a:pt x="80" y="156"/>
                </a:cubicBezTo>
                <a:cubicBezTo>
                  <a:pt x="80" y="157"/>
                  <a:pt x="80" y="157"/>
                  <a:pt x="81" y="157"/>
                </a:cubicBezTo>
                <a:cubicBezTo>
                  <a:pt x="81" y="157"/>
                  <a:pt x="81" y="157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7"/>
                  <a:pt x="83" y="157"/>
                  <a:pt x="84" y="158"/>
                </a:cubicBezTo>
                <a:cubicBezTo>
                  <a:pt x="84" y="158"/>
                  <a:pt x="84" y="158"/>
                  <a:pt x="85" y="158"/>
                </a:cubicBezTo>
                <a:cubicBezTo>
                  <a:pt x="85" y="158"/>
                  <a:pt x="85" y="158"/>
                  <a:pt x="85" y="158"/>
                </a:cubicBezTo>
                <a:cubicBezTo>
                  <a:pt x="85" y="159"/>
                  <a:pt x="86" y="159"/>
                  <a:pt x="86" y="159"/>
                </a:cubicBezTo>
                <a:cubicBezTo>
                  <a:pt x="87" y="159"/>
                  <a:pt x="87" y="160"/>
                  <a:pt x="88" y="160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88" y="161"/>
                  <a:pt x="89" y="161"/>
                  <a:pt x="89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9" y="159"/>
                  <a:pt x="89" y="159"/>
                  <a:pt x="89" y="159"/>
                </a:cubicBezTo>
                <a:cubicBezTo>
                  <a:pt x="89" y="158"/>
                  <a:pt x="89" y="158"/>
                  <a:pt x="89" y="158"/>
                </a:cubicBezTo>
                <a:cubicBezTo>
                  <a:pt x="89" y="158"/>
                  <a:pt x="89" y="157"/>
                  <a:pt x="88" y="157"/>
                </a:cubicBezTo>
                <a:cubicBezTo>
                  <a:pt x="88" y="157"/>
                  <a:pt x="88" y="156"/>
                  <a:pt x="88" y="156"/>
                </a:cubicBezTo>
                <a:cubicBezTo>
                  <a:pt x="88" y="155"/>
                  <a:pt x="88" y="155"/>
                  <a:pt x="88" y="154"/>
                </a:cubicBezTo>
                <a:cubicBezTo>
                  <a:pt x="88" y="154"/>
                  <a:pt x="89" y="154"/>
                  <a:pt x="89" y="153"/>
                </a:cubicBezTo>
                <a:cubicBezTo>
                  <a:pt x="89" y="153"/>
                  <a:pt x="89" y="153"/>
                  <a:pt x="89" y="153"/>
                </a:cubicBezTo>
                <a:cubicBezTo>
                  <a:pt x="89" y="152"/>
                  <a:pt x="89" y="152"/>
                  <a:pt x="89" y="152"/>
                </a:cubicBezTo>
                <a:cubicBezTo>
                  <a:pt x="90" y="152"/>
                  <a:pt x="89" y="151"/>
                  <a:pt x="89" y="151"/>
                </a:cubicBezTo>
                <a:cubicBezTo>
                  <a:pt x="89" y="151"/>
                  <a:pt x="90" y="150"/>
                  <a:pt x="90" y="150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90" y="150"/>
                  <a:pt x="90" y="149"/>
                  <a:pt x="90" y="149"/>
                </a:cubicBezTo>
                <a:cubicBezTo>
                  <a:pt x="91" y="149"/>
                  <a:pt x="91" y="149"/>
                  <a:pt x="91" y="149"/>
                </a:cubicBezTo>
                <a:cubicBezTo>
                  <a:pt x="91" y="149"/>
                  <a:pt x="91" y="148"/>
                  <a:pt x="91" y="148"/>
                </a:cubicBezTo>
                <a:cubicBezTo>
                  <a:pt x="91" y="148"/>
                  <a:pt x="91" y="149"/>
                  <a:pt x="91" y="150"/>
                </a:cubicBezTo>
                <a:cubicBezTo>
                  <a:pt x="91" y="150"/>
                  <a:pt x="91" y="150"/>
                  <a:pt x="91" y="150"/>
                </a:cubicBezTo>
                <a:cubicBezTo>
                  <a:pt x="91" y="151"/>
                  <a:pt x="92" y="151"/>
                  <a:pt x="92" y="151"/>
                </a:cubicBezTo>
                <a:cubicBezTo>
                  <a:pt x="92" y="151"/>
                  <a:pt x="92" y="151"/>
                  <a:pt x="92" y="151"/>
                </a:cubicBezTo>
                <a:cubicBezTo>
                  <a:pt x="92" y="151"/>
                  <a:pt x="92" y="152"/>
                  <a:pt x="92" y="152"/>
                </a:cubicBezTo>
                <a:cubicBezTo>
                  <a:pt x="92" y="152"/>
                  <a:pt x="92" y="152"/>
                  <a:pt x="93" y="152"/>
                </a:cubicBezTo>
                <a:cubicBezTo>
                  <a:pt x="93" y="152"/>
                  <a:pt x="93" y="152"/>
                  <a:pt x="93" y="152"/>
                </a:cubicBezTo>
                <a:cubicBezTo>
                  <a:pt x="94" y="151"/>
                  <a:pt x="94" y="151"/>
                  <a:pt x="94" y="151"/>
                </a:cubicBezTo>
                <a:cubicBezTo>
                  <a:pt x="95" y="151"/>
                  <a:pt x="95" y="150"/>
                  <a:pt x="95" y="151"/>
                </a:cubicBezTo>
                <a:cubicBezTo>
                  <a:pt x="96" y="151"/>
                  <a:pt x="95" y="151"/>
                  <a:pt x="95" y="152"/>
                </a:cubicBezTo>
                <a:cubicBezTo>
                  <a:pt x="95" y="152"/>
                  <a:pt x="94" y="152"/>
                  <a:pt x="94" y="153"/>
                </a:cubicBezTo>
                <a:cubicBezTo>
                  <a:pt x="94" y="153"/>
                  <a:pt x="94" y="153"/>
                  <a:pt x="94" y="154"/>
                </a:cubicBezTo>
                <a:cubicBezTo>
                  <a:pt x="94" y="154"/>
                  <a:pt x="94" y="155"/>
                  <a:pt x="94" y="155"/>
                </a:cubicBezTo>
                <a:cubicBezTo>
                  <a:pt x="94" y="155"/>
                  <a:pt x="94" y="156"/>
                  <a:pt x="94" y="156"/>
                </a:cubicBezTo>
                <a:cubicBezTo>
                  <a:pt x="94" y="156"/>
                  <a:pt x="94" y="157"/>
                  <a:pt x="94" y="157"/>
                </a:cubicBezTo>
                <a:cubicBezTo>
                  <a:pt x="93" y="157"/>
                  <a:pt x="93" y="157"/>
                  <a:pt x="93" y="157"/>
                </a:cubicBezTo>
                <a:cubicBezTo>
                  <a:pt x="93" y="158"/>
                  <a:pt x="93" y="158"/>
                  <a:pt x="92" y="158"/>
                </a:cubicBezTo>
                <a:cubicBezTo>
                  <a:pt x="92" y="158"/>
                  <a:pt x="92" y="158"/>
                  <a:pt x="92" y="159"/>
                </a:cubicBezTo>
                <a:cubicBezTo>
                  <a:pt x="92" y="159"/>
                  <a:pt x="93" y="160"/>
                  <a:pt x="94" y="160"/>
                </a:cubicBezTo>
                <a:cubicBezTo>
                  <a:pt x="94" y="160"/>
                  <a:pt x="94" y="160"/>
                  <a:pt x="95" y="160"/>
                </a:cubicBezTo>
                <a:cubicBezTo>
                  <a:pt x="95" y="160"/>
                  <a:pt x="96" y="160"/>
                  <a:pt x="96" y="159"/>
                </a:cubicBezTo>
                <a:cubicBezTo>
                  <a:pt x="97" y="159"/>
                  <a:pt x="97" y="159"/>
                  <a:pt x="98" y="159"/>
                </a:cubicBezTo>
                <a:cubicBezTo>
                  <a:pt x="98" y="159"/>
                  <a:pt x="98" y="158"/>
                  <a:pt x="98" y="158"/>
                </a:cubicBezTo>
                <a:cubicBezTo>
                  <a:pt x="98" y="158"/>
                  <a:pt x="98" y="158"/>
                  <a:pt x="98" y="158"/>
                </a:cubicBezTo>
                <a:cubicBezTo>
                  <a:pt x="98" y="158"/>
                  <a:pt x="99" y="157"/>
                  <a:pt x="99" y="157"/>
                </a:cubicBezTo>
                <a:cubicBezTo>
                  <a:pt x="99" y="157"/>
                  <a:pt x="100" y="156"/>
                  <a:pt x="100" y="156"/>
                </a:cubicBezTo>
                <a:cubicBezTo>
                  <a:pt x="100" y="156"/>
                  <a:pt x="100" y="155"/>
                  <a:pt x="100" y="155"/>
                </a:cubicBezTo>
                <a:cubicBezTo>
                  <a:pt x="100" y="155"/>
                  <a:pt x="100" y="154"/>
                  <a:pt x="100" y="154"/>
                </a:cubicBezTo>
                <a:cubicBezTo>
                  <a:pt x="100" y="153"/>
                  <a:pt x="99" y="154"/>
                  <a:pt x="99" y="153"/>
                </a:cubicBezTo>
                <a:cubicBezTo>
                  <a:pt x="99" y="153"/>
                  <a:pt x="98" y="153"/>
                  <a:pt x="98" y="153"/>
                </a:cubicBezTo>
                <a:cubicBezTo>
                  <a:pt x="98" y="152"/>
                  <a:pt x="98" y="152"/>
                  <a:pt x="97" y="152"/>
                </a:cubicBezTo>
                <a:cubicBezTo>
                  <a:pt x="97" y="152"/>
                  <a:pt x="96" y="151"/>
                  <a:pt x="96" y="151"/>
                </a:cubicBezTo>
                <a:cubicBezTo>
                  <a:pt x="96" y="150"/>
                  <a:pt x="97" y="150"/>
                  <a:pt x="97" y="150"/>
                </a:cubicBezTo>
                <a:cubicBezTo>
                  <a:pt x="97" y="149"/>
                  <a:pt x="97" y="149"/>
                  <a:pt x="97" y="148"/>
                </a:cubicBezTo>
                <a:cubicBezTo>
                  <a:pt x="96" y="148"/>
                  <a:pt x="96" y="147"/>
                  <a:pt x="97" y="147"/>
                </a:cubicBezTo>
                <a:cubicBezTo>
                  <a:pt x="97" y="147"/>
                  <a:pt x="97" y="147"/>
                  <a:pt x="97" y="147"/>
                </a:cubicBezTo>
                <a:cubicBezTo>
                  <a:pt x="97" y="147"/>
                  <a:pt x="97" y="148"/>
                  <a:pt x="97" y="148"/>
                </a:cubicBezTo>
                <a:cubicBezTo>
                  <a:pt x="98" y="148"/>
                  <a:pt x="98" y="149"/>
                  <a:pt x="99" y="149"/>
                </a:cubicBezTo>
                <a:cubicBezTo>
                  <a:pt x="99" y="149"/>
                  <a:pt x="99" y="149"/>
                  <a:pt x="99" y="148"/>
                </a:cubicBezTo>
                <a:cubicBezTo>
                  <a:pt x="99" y="148"/>
                  <a:pt x="99" y="148"/>
                  <a:pt x="99" y="148"/>
                </a:cubicBezTo>
                <a:cubicBezTo>
                  <a:pt x="100" y="148"/>
                  <a:pt x="100" y="148"/>
                  <a:pt x="100" y="148"/>
                </a:cubicBezTo>
                <a:cubicBezTo>
                  <a:pt x="101" y="147"/>
                  <a:pt x="101" y="148"/>
                  <a:pt x="101" y="148"/>
                </a:cubicBezTo>
                <a:cubicBezTo>
                  <a:pt x="101" y="148"/>
                  <a:pt x="102" y="148"/>
                  <a:pt x="102" y="149"/>
                </a:cubicBezTo>
                <a:cubicBezTo>
                  <a:pt x="103" y="149"/>
                  <a:pt x="103" y="149"/>
                  <a:pt x="103" y="150"/>
                </a:cubicBezTo>
                <a:cubicBezTo>
                  <a:pt x="103" y="151"/>
                  <a:pt x="103" y="152"/>
                  <a:pt x="103" y="152"/>
                </a:cubicBezTo>
                <a:cubicBezTo>
                  <a:pt x="103" y="153"/>
                  <a:pt x="103" y="153"/>
                  <a:pt x="103" y="153"/>
                </a:cubicBezTo>
                <a:cubicBezTo>
                  <a:pt x="103" y="154"/>
                  <a:pt x="104" y="154"/>
                  <a:pt x="104" y="154"/>
                </a:cubicBezTo>
                <a:cubicBezTo>
                  <a:pt x="104" y="154"/>
                  <a:pt x="104" y="154"/>
                  <a:pt x="105" y="154"/>
                </a:cubicBezTo>
                <a:cubicBezTo>
                  <a:pt x="105" y="155"/>
                  <a:pt x="105" y="155"/>
                  <a:pt x="105" y="155"/>
                </a:cubicBezTo>
                <a:cubicBezTo>
                  <a:pt x="106" y="155"/>
                  <a:pt x="105" y="154"/>
                  <a:pt x="105" y="154"/>
                </a:cubicBezTo>
                <a:cubicBezTo>
                  <a:pt x="105" y="153"/>
                  <a:pt x="105" y="153"/>
                  <a:pt x="106" y="152"/>
                </a:cubicBezTo>
                <a:cubicBezTo>
                  <a:pt x="106" y="151"/>
                  <a:pt x="106" y="151"/>
                  <a:pt x="106" y="150"/>
                </a:cubicBezTo>
                <a:cubicBezTo>
                  <a:pt x="106" y="150"/>
                  <a:pt x="106" y="149"/>
                  <a:pt x="106" y="149"/>
                </a:cubicBezTo>
                <a:cubicBezTo>
                  <a:pt x="106" y="149"/>
                  <a:pt x="107" y="149"/>
                  <a:pt x="107" y="149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108" y="148"/>
                  <a:pt x="108" y="149"/>
                  <a:pt x="108" y="149"/>
                </a:cubicBezTo>
                <a:cubicBezTo>
                  <a:pt x="108" y="149"/>
                  <a:pt x="108" y="149"/>
                  <a:pt x="108" y="150"/>
                </a:cubicBezTo>
                <a:cubicBezTo>
                  <a:pt x="108" y="150"/>
                  <a:pt x="108" y="150"/>
                  <a:pt x="108" y="150"/>
                </a:cubicBezTo>
                <a:cubicBezTo>
                  <a:pt x="109" y="151"/>
                  <a:pt x="109" y="151"/>
                  <a:pt x="109" y="152"/>
                </a:cubicBezTo>
                <a:cubicBezTo>
                  <a:pt x="109" y="152"/>
                  <a:pt x="110" y="152"/>
                  <a:pt x="110" y="152"/>
                </a:cubicBezTo>
                <a:cubicBezTo>
                  <a:pt x="110" y="153"/>
                  <a:pt x="111" y="153"/>
                  <a:pt x="111" y="153"/>
                </a:cubicBezTo>
                <a:cubicBezTo>
                  <a:pt x="111" y="152"/>
                  <a:pt x="111" y="152"/>
                  <a:pt x="111" y="152"/>
                </a:cubicBezTo>
                <a:cubicBezTo>
                  <a:pt x="111" y="151"/>
                  <a:pt x="111" y="151"/>
                  <a:pt x="111" y="151"/>
                </a:cubicBezTo>
                <a:cubicBezTo>
                  <a:pt x="111" y="150"/>
                  <a:pt x="111" y="150"/>
                  <a:pt x="112" y="150"/>
                </a:cubicBezTo>
                <a:cubicBezTo>
                  <a:pt x="112" y="149"/>
                  <a:pt x="112" y="149"/>
                  <a:pt x="112" y="148"/>
                </a:cubicBezTo>
                <a:cubicBezTo>
                  <a:pt x="112" y="147"/>
                  <a:pt x="112" y="147"/>
                  <a:pt x="112" y="146"/>
                </a:cubicBezTo>
                <a:cubicBezTo>
                  <a:pt x="112" y="146"/>
                  <a:pt x="112" y="145"/>
                  <a:pt x="112" y="145"/>
                </a:cubicBezTo>
                <a:cubicBezTo>
                  <a:pt x="112" y="145"/>
                  <a:pt x="112" y="145"/>
                  <a:pt x="113" y="145"/>
                </a:cubicBezTo>
                <a:cubicBezTo>
                  <a:pt x="113" y="145"/>
                  <a:pt x="113" y="145"/>
                  <a:pt x="113" y="145"/>
                </a:cubicBezTo>
                <a:cubicBezTo>
                  <a:pt x="113" y="145"/>
                  <a:pt x="113" y="145"/>
                  <a:pt x="113" y="145"/>
                </a:cubicBezTo>
                <a:cubicBezTo>
                  <a:pt x="113" y="145"/>
                  <a:pt x="114" y="145"/>
                  <a:pt x="114" y="145"/>
                </a:cubicBezTo>
                <a:cubicBezTo>
                  <a:pt x="115" y="145"/>
                  <a:pt x="116" y="145"/>
                  <a:pt x="116" y="145"/>
                </a:cubicBezTo>
                <a:cubicBezTo>
                  <a:pt x="117" y="145"/>
                  <a:pt x="118" y="145"/>
                  <a:pt x="118" y="145"/>
                </a:cubicBezTo>
                <a:cubicBezTo>
                  <a:pt x="118" y="146"/>
                  <a:pt x="118" y="146"/>
                  <a:pt x="119" y="146"/>
                </a:cubicBezTo>
                <a:cubicBezTo>
                  <a:pt x="119" y="146"/>
                  <a:pt x="119" y="146"/>
                  <a:pt x="119" y="146"/>
                </a:cubicBezTo>
                <a:cubicBezTo>
                  <a:pt x="120" y="146"/>
                  <a:pt x="121" y="146"/>
                  <a:pt x="122" y="146"/>
                </a:cubicBezTo>
                <a:cubicBezTo>
                  <a:pt x="122" y="146"/>
                  <a:pt x="122" y="145"/>
                  <a:pt x="122" y="145"/>
                </a:cubicBezTo>
                <a:cubicBezTo>
                  <a:pt x="122" y="144"/>
                  <a:pt x="122" y="143"/>
                  <a:pt x="123" y="142"/>
                </a:cubicBezTo>
                <a:cubicBezTo>
                  <a:pt x="123" y="141"/>
                  <a:pt x="123" y="141"/>
                  <a:pt x="123" y="141"/>
                </a:cubicBezTo>
                <a:cubicBezTo>
                  <a:pt x="123" y="141"/>
                  <a:pt x="123" y="141"/>
                  <a:pt x="123" y="141"/>
                </a:cubicBezTo>
                <a:cubicBezTo>
                  <a:pt x="123" y="141"/>
                  <a:pt x="124" y="141"/>
                  <a:pt x="124" y="141"/>
                </a:cubicBezTo>
                <a:cubicBezTo>
                  <a:pt x="124" y="141"/>
                  <a:pt x="124" y="141"/>
                  <a:pt x="124" y="141"/>
                </a:cubicBezTo>
                <a:cubicBezTo>
                  <a:pt x="124" y="141"/>
                  <a:pt x="124" y="142"/>
                  <a:pt x="124" y="142"/>
                </a:cubicBezTo>
                <a:cubicBezTo>
                  <a:pt x="124" y="142"/>
                  <a:pt x="124" y="142"/>
                  <a:pt x="125" y="142"/>
                </a:cubicBezTo>
                <a:cubicBezTo>
                  <a:pt x="125" y="142"/>
                  <a:pt x="125" y="142"/>
                  <a:pt x="126" y="142"/>
                </a:cubicBezTo>
                <a:cubicBezTo>
                  <a:pt x="126" y="143"/>
                  <a:pt x="126" y="143"/>
                  <a:pt x="126" y="143"/>
                </a:cubicBezTo>
                <a:cubicBezTo>
                  <a:pt x="126" y="143"/>
                  <a:pt x="126" y="143"/>
                  <a:pt x="126" y="143"/>
                </a:cubicBezTo>
                <a:cubicBezTo>
                  <a:pt x="127" y="143"/>
                  <a:pt x="127" y="143"/>
                  <a:pt x="127" y="143"/>
                </a:cubicBezTo>
                <a:cubicBezTo>
                  <a:pt x="128" y="143"/>
                  <a:pt x="128" y="142"/>
                  <a:pt x="128" y="142"/>
                </a:cubicBezTo>
                <a:cubicBezTo>
                  <a:pt x="128" y="142"/>
                  <a:pt x="128" y="142"/>
                  <a:pt x="128" y="141"/>
                </a:cubicBezTo>
                <a:cubicBezTo>
                  <a:pt x="128" y="141"/>
                  <a:pt x="128" y="140"/>
                  <a:pt x="128" y="140"/>
                </a:cubicBezTo>
                <a:cubicBezTo>
                  <a:pt x="128" y="140"/>
                  <a:pt x="128" y="139"/>
                  <a:pt x="129" y="139"/>
                </a:cubicBezTo>
                <a:cubicBezTo>
                  <a:pt x="129" y="139"/>
                  <a:pt x="129" y="139"/>
                  <a:pt x="129" y="139"/>
                </a:cubicBezTo>
                <a:cubicBezTo>
                  <a:pt x="129" y="138"/>
                  <a:pt x="129" y="138"/>
                  <a:pt x="129" y="138"/>
                </a:cubicBezTo>
                <a:cubicBezTo>
                  <a:pt x="129" y="138"/>
                  <a:pt x="130" y="138"/>
                  <a:pt x="130" y="138"/>
                </a:cubicBezTo>
                <a:cubicBezTo>
                  <a:pt x="130" y="138"/>
                  <a:pt x="130" y="138"/>
                  <a:pt x="131" y="138"/>
                </a:cubicBezTo>
                <a:cubicBezTo>
                  <a:pt x="131" y="138"/>
                  <a:pt x="131" y="138"/>
                  <a:pt x="131" y="139"/>
                </a:cubicBezTo>
                <a:cubicBezTo>
                  <a:pt x="132" y="139"/>
                  <a:pt x="132" y="139"/>
                  <a:pt x="132" y="140"/>
                </a:cubicBezTo>
                <a:cubicBezTo>
                  <a:pt x="132" y="140"/>
                  <a:pt x="132" y="140"/>
                  <a:pt x="132" y="141"/>
                </a:cubicBezTo>
                <a:cubicBezTo>
                  <a:pt x="132" y="142"/>
                  <a:pt x="133" y="141"/>
                  <a:pt x="133" y="141"/>
                </a:cubicBezTo>
                <a:cubicBezTo>
                  <a:pt x="133" y="141"/>
                  <a:pt x="134" y="141"/>
                  <a:pt x="134" y="141"/>
                </a:cubicBezTo>
                <a:cubicBezTo>
                  <a:pt x="134" y="141"/>
                  <a:pt x="134" y="140"/>
                  <a:pt x="135" y="140"/>
                </a:cubicBezTo>
                <a:cubicBezTo>
                  <a:pt x="135" y="140"/>
                  <a:pt x="135" y="140"/>
                  <a:pt x="135" y="140"/>
                </a:cubicBezTo>
                <a:cubicBezTo>
                  <a:pt x="136" y="140"/>
                  <a:pt x="137" y="139"/>
                  <a:pt x="137" y="138"/>
                </a:cubicBezTo>
                <a:cubicBezTo>
                  <a:pt x="138" y="138"/>
                  <a:pt x="139" y="137"/>
                  <a:pt x="139" y="136"/>
                </a:cubicBezTo>
                <a:cubicBezTo>
                  <a:pt x="140" y="136"/>
                  <a:pt x="140" y="135"/>
                  <a:pt x="141" y="135"/>
                </a:cubicBezTo>
                <a:cubicBezTo>
                  <a:pt x="141" y="135"/>
                  <a:pt x="141" y="134"/>
                  <a:pt x="141" y="134"/>
                </a:cubicBezTo>
                <a:cubicBezTo>
                  <a:pt x="141" y="133"/>
                  <a:pt x="141" y="132"/>
                  <a:pt x="141" y="131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2" name="Freeform 40">
            <a:extLst>
              <a:ext uri="{FF2B5EF4-FFF2-40B4-BE49-F238E27FC236}">
                <a16:creationId xmlns:a16="http://schemas.microsoft.com/office/drawing/2014/main" id="{C3C0A478-0ADD-4EC0-9401-7F6D0D237F22}"/>
              </a:ext>
            </a:extLst>
          </p:cNvPr>
          <p:cNvSpPr>
            <a:spLocks noEditPoints="1"/>
          </p:cNvSpPr>
          <p:nvPr/>
        </p:nvSpPr>
        <p:spPr bwMode="auto">
          <a:xfrm>
            <a:off x="8195125" y="4184058"/>
            <a:ext cx="677403" cy="634447"/>
          </a:xfrm>
          <a:custGeom>
            <a:avLst/>
            <a:gdLst>
              <a:gd name="T0" fmla="*/ 150 w 171"/>
              <a:gd name="T1" fmla="*/ 151 h 160"/>
              <a:gd name="T2" fmla="*/ 159 w 171"/>
              <a:gd name="T3" fmla="*/ 153 h 160"/>
              <a:gd name="T4" fmla="*/ 159 w 171"/>
              <a:gd name="T5" fmla="*/ 155 h 160"/>
              <a:gd name="T6" fmla="*/ 166 w 171"/>
              <a:gd name="T7" fmla="*/ 150 h 160"/>
              <a:gd name="T8" fmla="*/ 171 w 171"/>
              <a:gd name="T9" fmla="*/ 156 h 160"/>
              <a:gd name="T10" fmla="*/ 150 w 171"/>
              <a:gd name="T11" fmla="*/ 104 h 160"/>
              <a:gd name="T12" fmla="*/ 83 w 171"/>
              <a:gd name="T13" fmla="*/ 77 h 160"/>
              <a:gd name="T14" fmla="*/ 86 w 171"/>
              <a:gd name="T15" fmla="*/ 65 h 160"/>
              <a:gd name="T16" fmla="*/ 90 w 171"/>
              <a:gd name="T17" fmla="*/ 59 h 160"/>
              <a:gd name="T18" fmla="*/ 94 w 171"/>
              <a:gd name="T19" fmla="*/ 52 h 160"/>
              <a:gd name="T20" fmla="*/ 97 w 171"/>
              <a:gd name="T21" fmla="*/ 46 h 160"/>
              <a:gd name="T22" fmla="*/ 103 w 171"/>
              <a:gd name="T23" fmla="*/ 38 h 160"/>
              <a:gd name="T24" fmla="*/ 99 w 171"/>
              <a:gd name="T25" fmla="*/ 34 h 160"/>
              <a:gd name="T26" fmla="*/ 109 w 171"/>
              <a:gd name="T27" fmla="*/ 27 h 160"/>
              <a:gd name="T28" fmla="*/ 102 w 171"/>
              <a:gd name="T29" fmla="*/ 20 h 160"/>
              <a:gd name="T30" fmla="*/ 100 w 171"/>
              <a:gd name="T31" fmla="*/ 18 h 160"/>
              <a:gd name="T32" fmla="*/ 100 w 171"/>
              <a:gd name="T33" fmla="*/ 7 h 160"/>
              <a:gd name="T34" fmla="*/ 99 w 171"/>
              <a:gd name="T35" fmla="*/ 0 h 160"/>
              <a:gd name="T36" fmla="*/ 10 w 171"/>
              <a:gd name="T37" fmla="*/ 63 h 160"/>
              <a:gd name="T38" fmla="*/ 17 w 171"/>
              <a:gd name="T39" fmla="*/ 75 h 160"/>
              <a:gd name="T40" fmla="*/ 15 w 171"/>
              <a:gd name="T41" fmla="*/ 94 h 160"/>
              <a:gd name="T42" fmla="*/ 11 w 171"/>
              <a:gd name="T43" fmla="*/ 120 h 160"/>
              <a:gd name="T44" fmla="*/ 7 w 171"/>
              <a:gd name="T45" fmla="*/ 134 h 160"/>
              <a:gd name="T46" fmla="*/ 37 w 171"/>
              <a:gd name="T47" fmla="*/ 134 h 160"/>
              <a:gd name="T48" fmla="*/ 65 w 171"/>
              <a:gd name="T49" fmla="*/ 140 h 160"/>
              <a:gd name="T50" fmla="*/ 64 w 171"/>
              <a:gd name="T51" fmla="*/ 134 h 160"/>
              <a:gd name="T52" fmla="*/ 71 w 171"/>
              <a:gd name="T53" fmla="*/ 128 h 160"/>
              <a:gd name="T54" fmla="*/ 77 w 171"/>
              <a:gd name="T55" fmla="*/ 129 h 160"/>
              <a:gd name="T56" fmla="*/ 84 w 171"/>
              <a:gd name="T57" fmla="*/ 137 h 160"/>
              <a:gd name="T58" fmla="*/ 94 w 171"/>
              <a:gd name="T59" fmla="*/ 142 h 160"/>
              <a:gd name="T60" fmla="*/ 97 w 171"/>
              <a:gd name="T61" fmla="*/ 143 h 160"/>
              <a:gd name="T62" fmla="*/ 94 w 171"/>
              <a:gd name="T63" fmla="*/ 151 h 160"/>
              <a:gd name="T64" fmla="*/ 104 w 171"/>
              <a:gd name="T65" fmla="*/ 154 h 160"/>
              <a:gd name="T66" fmla="*/ 111 w 171"/>
              <a:gd name="T67" fmla="*/ 154 h 160"/>
              <a:gd name="T68" fmla="*/ 117 w 171"/>
              <a:gd name="T69" fmla="*/ 152 h 160"/>
              <a:gd name="T70" fmla="*/ 123 w 171"/>
              <a:gd name="T71" fmla="*/ 149 h 160"/>
              <a:gd name="T72" fmla="*/ 136 w 171"/>
              <a:gd name="T73" fmla="*/ 156 h 160"/>
              <a:gd name="T74" fmla="*/ 134 w 171"/>
              <a:gd name="T75" fmla="*/ 139 h 160"/>
              <a:gd name="T76" fmla="*/ 128 w 171"/>
              <a:gd name="T77" fmla="*/ 133 h 160"/>
              <a:gd name="T78" fmla="*/ 135 w 171"/>
              <a:gd name="T79" fmla="*/ 137 h 160"/>
              <a:gd name="T80" fmla="*/ 150 w 171"/>
              <a:gd name="T81" fmla="*/ 147 h 160"/>
              <a:gd name="T82" fmla="*/ 162 w 171"/>
              <a:gd name="T83" fmla="*/ 151 h 160"/>
              <a:gd name="T84" fmla="*/ 158 w 171"/>
              <a:gd name="T85" fmla="*/ 147 h 160"/>
              <a:gd name="T86" fmla="*/ 149 w 171"/>
              <a:gd name="T87" fmla="*/ 139 h 160"/>
              <a:gd name="T88" fmla="*/ 149 w 171"/>
              <a:gd name="T89" fmla="*/ 137 h 160"/>
              <a:gd name="T90" fmla="*/ 153 w 171"/>
              <a:gd name="T91" fmla="*/ 134 h 160"/>
              <a:gd name="T92" fmla="*/ 159 w 171"/>
              <a:gd name="T93" fmla="*/ 133 h 160"/>
              <a:gd name="T94" fmla="*/ 159 w 171"/>
              <a:gd name="T95" fmla="*/ 120 h 160"/>
              <a:gd name="T96" fmla="*/ 146 w 171"/>
              <a:gd name="T97" fmla="*/ 126 h 160"/>
              <a:gd name="T98" fmla="*/ 148 w 171"/>
              <a:gd name="T99" fmla="*/ 116 h 160"/>
              <a:gd name="T100" fmla="*/ 132 w 171"/>
              <a:gd name="T101" fmla="*/ 121 h 160"/>
              <a:gd name="T102" fmla="*/ 128 w 171"/>
              <a:gd name="T103" fmla="*/ 112 h 160"/>
              <a:gd name="T104" fmla="*/ 124 w 171"/>
              <a:gd name="T105" fmla="*/ 109 h 160"/>
              <a:gd name="T106" fmla="*/ 139 w 171"/>
              <a:gd name="T107" fmla="*/ 110 h 160"/>
              <a:gd name="T108" fmla="*/ 152 w 171"/>
              <a:gd name="T109" fmla="*/ 114 h 160"/>
              <a:gd name="T110" fmla="*/ 73 w 171"/>
              <a:gd name="T111" fmla="*/ 142 h 160"/>
              <a:gd name="T112" fmla="*/ 77 w 171"/>
              <a:gd name="T113" fmla="*/ 139 h 160"/>
              <a:gd name="T114" fmla="*/ 70 w 171"/>
              <a:gd name="T115" fmla="*/ 14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1" h="160">
                <a:moveTo>
                  <a:pt x="148" y="150"/>
                </a:moveTo>
                <a:cubicBezTo>
                  <a:pt x="148" y="150"/>
                  <a:pt x="148" y="150"/>
                  <a:pt x="149" y="149"/>
                </a:cubicBezTo>
                <a:cubicBezTo>
                  <a:pt x="149" y="149"/>
                  <a:pt x="149" y="149"/>
                  <a:pt x="149" y="149"/>
                </a:cubicBezTo>
                <a:cubicBezTo>
                  <a:pt x="149" y="148"/>
                  <a:pt x="149" y="148"/>
                  <a:pt x="149" y="148"/>
                </a:cubicBezTo>
                <a:cubicBezTo>
                  <a:pt x="149" y="148"/>
                  <a:pt x="150" y="148"/>
                  <a:pt x="150" y="148"/>
                </a:cubicBezTo>
                <a:cubicBezTo>
                  <a:pt x="150" y="147"/>
                  <a:pt x="151" y="148"/>
                  <a:pt x="151" y="148"/>
                </a:cubicBezTo>
                <a:cubicBezTo>
                  <a:pt x="151" y="149"/>
                  <a:pt x="151" y="149"/>
                  <a:pt x="151" y="149"/>
                </a:cubicBezTo>
                <a:cubicBezTo>
                  <a:pt x="151" y="150"/>
                  <a:pt x="150" y="150"/>
                  <a:pt x="150" y="150"/>
                </a:cubicBezTo>
                <a:cubicBezTo>
                  <a:pt x="150" y="151"/>
                  <a:pt x="150" y="151"/>
                  <a:pt x="150" y="151"/>
                </a:cubicBezTo>
                <a:cubicBezTo>
                  <a:pt x="149" y="151"/>
                  <a:pt x="149" y="151"/>
                  <a:pt x="148" y="150"/>
                </a:cubicBezTo>
                <a:close/>
                <a:moveTo>
                  <a:pt x="160" y="155"/>
                </a:moveTo>
                <a:cubicBezTo>
                  <a:pt x="160" y="155"/>
                  <a:pt x="160" y="155"/>
                  <a:pt x="160" y="154"/>
                </a:cubicBezTo>
                <a:cubicBezTo>
                  <a:pt x="161" y="154"/>
                  <a:pt x="161" y="154"/>
                  <a:pt x="161" y="153"/>
                </a:cubicBezTo>
                <a:cubicBezTo>
                  <a:pt x="161" y="153"/>
                  <a:pt x="161" y="153"/>
                  <a:pt x="162" y="152"/>
                </a:cubicBezTo>
                <a:cubicBezTo>
                  <a:pt x="162" y="152"/>
                  <a:pt x="162" y="152"/>
                  <a:pt x="162" y="152"/>
                </a:cubicBezTo>
                <a:cubicBezTo>
                  <a:pt x="161" y="152"/>
                  <a:pt x="161" y="152"/>
                  <a:pt x="161" y="152"/>
                </a:cubicBezTo>
                <a:cubicBezTo>
                  <a:pt x="161" y="152"/>
                  <a:pt x="161" y="152"/>
                  <a:pt x="161" y="152"/>
                </a:cubicBezTo>
                <a:cubicBezTo>
                  <a:pt x="160" y="153"/>
                  <a:pt x="160" y="153"/>
                  <a:pt x="159" y="153"/>
                </a:cubicBezTo>
                <a:cubicBezTo>
                  <a:pt x="159" y="153"/>
                  <a:pt x="159" y="152"/>
                  <a:pt x="159" y="152"/>
                </a:cubicBezTo>
                <a:cubicBezTo>
                  <a:pt x="158" y="152"/>
                  <a:pt x="158" y="151"/>
                  <a:pt x="158" y="151"/>
                </a:cubicBezTo>
                <a:cubicBezTo>
                  <a:pt x="158" y="151"/>
                  <a:pt x="158" y="151"/>
                  <a:pt x="158" y="151"/>
                </a:cubicBezTo>
                <a:cubicBezTo>
                  <a:pt x="157" y="151"/>
                  <a:pt x="157" y="151"/>
                  <a:pt x="157" y="151"/>
                </a:cubicBezTo>
                <a:cubicBezTo>
                  <a:pt x="157" y="151"/>
                  <a:pt x="157" y="151"/>
                  <a:pt x="157" y="151"/>
                </a:cubicBezTo>
                <a:cubicBezTo>
                  <a:pt x="157" y="152"/>
                  <a:pt x="157" y="152"/>
                  <a:pt x="157" y="152"/>
                </a:cubicBezTo>
                <a:cubicBezTo>
                  <a:pt x="157" y="153"/>
                  <a:pt x="157" y="153"/>
                  <a:pt x="157" y="153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8" y="155"/>
                  <a:pt x="158" y="155"/>
                  <a:pt x="159" y="155"/>
                </a:cubicBezTo>
                <a:cubicBezTo>
                  <a:pt x="159" y="156"/>
                  <a:pt x="159" y="156"/>
                  <a:pt x="159" y="156"/>
                </a:cubicBezTo>
                <a:cubicBezTo>
                  <a:pt x="160" y="156"/>
                  <a:pt x="160" y="156"/>
                  <a:pt x="160" y="155"/>
                </a:cubicBezTo>
                <a:close/>
                <a:moveTo>
                  <a:pt x="168" y="152"/>
                </a:moveTo>
                <a:cubicBezTo>
                  <a:pt x="168" y="152"/>
                  <a:pt x="168" y="152"/>
                  <a:pt x="169" y="152"/>
                </a:cubicBezTo>
                <a:cubicBezTo>
                  <a:pt x="169" y="153"/>
                  <a:pt x="169" y="153"/>
                  <a:pt x="169" y="153"/>
                </a:cubicBezTo>
                <a:cubicBezTo>
                  <a:pt x="170" y="152"/>
                  <a:pt x="169" y="152"/>
                  <a:pt x="169" y="152"/>
                </a:cubicBezTo>
                <a:cubicBezTo>
                  <a:pt x="169" y="152"/>
                  <a:pt x="169" y="151"/>
                  <a:pt x="168" y="150"/>
                </a:cubicBezTo>
                <a:cubicBezTo>
                  <a:pt x="168" y="150"/>
                  <a:pt x="167" y="150"/>
                  <a:pt x="167" y="150"/>
                </a:cubicBezTo>
                <a:cubicBezTo>
                  <a:pt x="166" y="150"/>
                  <a:pt x="166" y="150"/>
                  <a:pt x="166" y="150"/>
                </a:cubicBezTo>
                <a:cubicBezTo>
                  <a:pt x="166" y="151"/>
                  <a:pt x="166" y="151"/>
                  <a:pt x="166" y="151"/>
                </a:cubicBezTo>
                <a:cubicBezTo>
                  <a:pt x="167" y="151"/>
                  <a:pt x="167" y="152"/>
                  <a:pt x="168" y="152"/>
                </a:cubicBezTo>
                <a:close/>
                <a:moveTo>
                  <a:pt x="168" y="160"/>
                </a:moveTo>
                <a:cubicBezTo>
                  <a:pt x="168" y="160"/>
                  <a:pt x="168" y="160"/>
                  <a:pt x="169" y="160"/>
                </a:cubicBezTo>
                <a:cubicBezTo>
                  <a:pt x="169" y="160"/>
                  <a:pt x="169" y="160"/>
                  <a:pt x="169" y="160"/>
                </a:cubicBezTo>
                <a:cubicBezTo>
                  <a:pt x="170" y="159"/>
                  <a:pt x="170" y="159"/>
                  <a:pt x="170" y="158"/>
                </a:cubicBezTo>
                <a:cubicBezTo>
                  <a:pt x="170" y="158"/>
                  <a:pt x="170" y="158"/>
                  <a:pt x="170" y="158"/>
                </a:cubicBezTo>
                <a:cubicBezTo>
                  <a:pt x="170" y="158"/>
                  <a:pt x="170" y="157"/>
                  <a:pt x="170" y="157"/>
                </a:cubicBezTo>
                <a:cubicBezTo>
                  <a:pt x="170" y="157"/>
                  <a:pt x="170" y="156"/>
                  <a:pt x="171" y="156"/>
                </a:cubicBezTo>
                <a:cubicBezTo>
                  <a:pt x="171" y="156"/>
                  <a:pt x="171" y="156"/>
                  <a:pt x="171" y="156"/>
                </a:cubicBezTo>
                <a:cubicBezTo>
                  <a:pt x="171" y="155"/>
                  <a:pt x="170" y="156"/>
                  <a:pt x="170" y="156"/>
                </a:cubicBezTo>
                <a:cubicBezTo>
                  <a:pt x="170" y="156"/>
                  <a:pt x="169" y="156"/>
                  <a:pt x="169" y="156"/>
                </a:cubicBezTo>
                <a:cubicBezTo>
                  <a:pt x="169" y="156"/>
                  <a:pt x="169" y="157"/>
                  <a:pt x="168" y="157"/>
                </a:cubicBezTo>
                <a:cubicBezTo>
                  <a:pt x="168" y="157"/>
                  <a:pt x="168" y="157"/>
                  <a:pt x="167" y="158"/>
                </a:cubicBezTo>
                <a:cubicBezTo>
                  <a:pt x="167" y="158"/>
                  <a:pt x="167" y="158"/>
                  <a:pt x="167" y="159"/>
                </a:cubicBezTo>
                <a:cubicBezTo>
                  <a:pt x="167" y="159"/>
                  <a:pt x="168" y="160"/>
                  <a:pt x="168" y="160"/>
                </a:cubicBezTo>
                <a:close/>
                <a:moveTo>
                  <a:pt x="152" y="113"/>
                </a:moveTo>
                <a:cubicBezTo>
                  <a:pt x="152" y="113"/>
                  <a:pt x="150" y="104"/>
                  <a:pt x="150" y="104"/>
                </a:cubicBezTo>
                <a:cubicBezTo>
                  <a:pt x="145" y="96"/>
                  <a:pt x="145" y="96"/>
                  <a:pt x="145" y="96"/>
                </a:cubicBezTo>
                <a:cubicBezTo>
                  <a:pt x="145" y="95"/>
                  <a:pt x="145" y="95"/>
                  <a:pt x="145" y="95"/>
                </a:cubicBezTo>
                <a:cubicBezTo>
                  <a:pt x="145" y="95"/>
                  <a:pt x="148" y="85"/>
                  <a:pt x="148" y="85"/>
                </a:cubicBezTo>
                <a:cubicBezTo>
                  <a:pt x="148" y="85"/>
                  <a:pt x="148" y="82"/>
                  <a:pt x="148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3" y="82"/>
                  <a:pt x="84" y="81"/>
                  <a:pt x="84" y="81"/>
                </a:cubicBezTo>
                <a:cubicBezTo>
                  <a:pt x="84" y="81"/>
                  <a:pt x="85" y="80"/>
                  <a:pt x="85" y="80"/>
                </a:cubicBezTo>
                <a:cubicBezTo>
                  <a:pt x="85" y="79"/>
                  <a:pt x="83" y="78"/>
                  <a:pt x="83" y="78"/>
                </a:cubicBezTo>
                <a:cubicBezTo>
                  <a:pt x="83" y="78"/>
                  <a:pt x="83" y="77"/>
                  <a:pt x="83" y="77"/>
                </a:cubicBezTo>
                <a:cubicBezTo>
                  <a:pt x="83" y="76"/>
                  <a:pt x="84" y="75"/>
                  <a:pt x="84" y="75"/>
                </a:cubicBezTo>
                <a:cubicBezTo>
                  <a:pt x="84" y="75"/>
                  <a:pt x="84" y="74"/>
                  <a:pt x="84" y="74"/>
                </a:cubicBezTo>
                <a:cubicBezTo>
                  <a:pt x="83" y="73"/>
                  <a:pt x="83" y="73"/>
                  <a:pt x="83" y="72"/>
                </a:cubicBezTo>
                <a:cubicBezTo>
                  <a:pt x="83" y="72"/>
                  <a:pt x="83" y="72"/>
                  <a:pt x="83" y="72"/>
                </a:cubicBezTo>
                <a:cubicBezTo>
                  <a:pt x="83" y="72"/>
                  <a:pt x="84" y="72"/>
                  <a:pt x="85" y="71"/>
                </a:cubicBezTo>
                <a:cubicBezTo>
                  <a:pt x="86" y="71"/>
                  <a:pt x="87" y="71"/>
                  <a:pt x="87" y="71"/>
                </a:cubicBezTo>
                <a:cubicBezTo>
                  <a:pt x="87" y="71"/>
                  <a:pt x="86" y="69"/>
                  <a:pt x="86" y="68"/>
                </a:cubicBezTo>
                <a:cubicBezTo>
                  <a:pt x="85" y="67"/>
                  <a:pt x="85" y="66"/>
                  <a:pt x="85" y="65"/>
                </a:cubicBezTo>
                <a:cubicBezTo>
                  <a:pt x="85" y="65"/>
                  <a:pt x="86" y="65"/>
                  <a:pt x="86" y="65"/>
                </a:cubicBezTo>
                <a:cubicBezTo>
                  <a:pt x="87" y="65"/>
                  <a:pt x="86" y="66"/>
                  <a:pt x="86" y="66"/>
                </a:cubicBezTo>
                <a:cubicBezTo>
                  <a:pt x="87" y="67"/>
                  <a:pt x="87" y="68"/>
                  <a:pt x="88" y="67"/>
                </a:cubicBezTo>
                <a:cubicBezTo>
                  <a:pt x="88" y="67"/>
                  <a:pt x="88" y="66"/>
                  <a:pt x="88" y="66"/>
                </a:cubicBezTo>
                <a:cubicBezTo>
                  <a:pt x="88" y="65"/>
                  <a:pt x="88" y="64"/>
                  <a:pt x="87" y="64"/>
                </a:cubicBezTo>
                <a:cubicBezTo>
                  <a:pt x="87" y="63"/>
                  <a:pt x="87" y="63"/>
                  <a:pt x="87" y="63"/>
                </a:cubicBezTo>
                <a:cubicBezTo>
                  <a:pt x="87" y="62"/>
                  <a:pt x="87" y="62"/>
                  <a:pt x="87" y="62"/>
                </a:cubicBezTo>
                <a:cubicBezTo>
                  <a:pt x="86" y="61"/>
                  <a:pt x="88" y="61"/>
                  <a:pt x="88" y="60"/>
                </a:cubicBezTo>
                <a:cubicBezTo>
                  <a:pt x="89" y="60"/>
                  <a:pt x="89" y="60"/>
                  <a:pt x="90" y="59"/>
                </a:cubicBezTo>
                <a:cubicBezTo>
                  <a:pt x="90" y="59"/>
                  <a:pt x="90" y="59"/>
                  <a:pt x="90" y="59"/>
                </a:cubicBezTo>
                <a:cubicBezTo>
                  <a:pt x="90" y="58"/>
                  <a:pt x="89" y="58"/>
                  <a:pt x="89" y="58"/>
                </a:cubicBezTo>
                <a:cubicBezTo>
                  <a:pt x="88" y="58"/>
                  <a:pt x="88" y="58"/>
                  <a:pt x="87" y="57"/>
                </a:cubicBezTo>
                <a:cubicBezTo>
                  <a:pt x="87" y="57"/>
                  <a:pt x="87" y="57"/>
                  <a:pt x="88" y="57"/>
                </a:cubicBezTo>
                <a:cubicBezTo>
                  <a:pt x="88" y="57"/>
                  <a:pt x="89" y="57"/>
                  <a:pt x="90" y="57"/>
                </a:cubicBezTo>
                <a:cubicBezTo>
                  <a:pt x="90" y="57"/>
                  <a:pt x="90" y="58"/>
                  <a:pt x="91" y="58"/>
                </a:cubicBezTo>
                <a:cubicBezTo>
                  <a:pt x="91" y="57"/>
                  <a:pt x="91" y="55"/>
                  <a:pt x="92" y="53"/>
                </a:cubicBezTo>
                <a:cubicBezTo>
                  <a:pt x="92" y="53"/>
                  <a:pt x="92" y="53"/>
                  <a:pt x="92" y="52"/>
                </a:cubicBezTo>
                <a:cubicBezTo>
                  <a:pt x="93" y="52"/>
                  <a:pt x="93" y="52"/>
                  <a:pt x="93" y="52"/>
                </a:cubicBezTo>
                <a:cubicBezTo>
                  <a:pt x="93" y="52"/>
                  <a:pt x="94" y="52"/>
                  <a:pt x="94" y="52"/>
                </a:cubicBezTo>
                <a:cubicBezTo>
                  <a:pt x="94" y="52"/>
                  <a:pt x="95" y="52"/>
                  <a:pt x="95" y="51"/>
                </a:cubicBezTo>
                <a:cubicBezTo>
                  <a:pt x="95" y="51"/>
                  <a:pt x="94" y="51"/>
                  <a:pt x="94" y="51"/>
                </a:cubicBezTo>
                <a:cubicBezTo>
                  <a:pt x="94" y="51"/>
                  <a:pt x="93" y="51"/>
                  <a:pt x="93" y="51"/>
                </a:cubicBezTo>
                <a:cubicBezTo>
                  <a:pt x="92" y="50"/>
                  <a:pt x="93" y="49"/>
                  <a:pt x="93" y="49"/>
                </a:cubicBezTo>
                <a:cubicBezTo>
                  <a:pt x="93" y="48"/>
                  <a:pt x="94" y="47"/>
                  <a:pt x="94" y="48"/>
                </a:cubicBezTo>
                <a:cubicBezTo>
                  <a:pt x="95" y="48"/>
                  <a:pt x="94" y="49"/>
                  <a:pt x="95" y="49"/>
                </a:cubicBezTo>
                <a:cubicBezTo>
                  <a:pt x="95" y="49"/>
                  <a:pt x="95" y="49"/>
                  <a:pt x="96" y="49"/>
                </a:cubicBezTo>
                <a:cubicBezTo>
                  <a:pt x="96" y="48"/>
                  <a:pt x="96" y="47"/>
                  <a:pt x="96" y="47"/>
                </a:cubicBezTo>
                <a:cubicBezTo>
                  <a:pt x="96" y="46"/>
                  <a:pt x="97" y="46"/>
                  <a:pt x="97" y="46"/>
                </a:cubicBezTo>
                <a:cubicBezTo>
                  <a:pt x="98" y="45"/>
                  <a:pt x="98" y="45"/>
                  <a:pt x="98" y="45"/>
                </a:cubicBezTo>
                <a:cubicBezTo>
                  <a:pt x="98" y="44"/>
                  <a:pt x="99" y="43"/>
                  <a:pt x="100" y="42"/>
                </a:cubicBezTo>
                <a:cubicBezTo>
                  <a:pt x="101" y="42"/>
                  <a:pt x="102" y="42"/>
                  <a:pt x="101" y="41"/>
                </a:cubicBezTo>
                <a:cubicBezTo>
                  <a:pt x="101" y="40"/>
                  <a:pt x="101" y="40"/>
                  <a:pt x="101" y="40"/>
                </a:cubicBezTo>
                <a:cubicBezTo>
                  <a:pt x="100" y="39"/>
                  <a:pt x="99" y="39"/>
                  <a:pt x="99" y="39"/>
                </a:cubicBezTo>
                <a:cubicBezTo>
                  <a:pt x="99" y="38"/>
                  <a:pt x="100" y="38"/>
                  <a:pt x="100" y="38"/>
                </a:cubicBezTo>
                <a:cubicBezTo>
                  <a:pt x="100" y="39"/>
                  <a:pt x="100" y="39"/>
                  <a:pt x="101" y="39"/>
                </a:cubicBezTo>
                <a:cubicBezTo>
                  <a:pt x="101" y="39"/>
                  <a:pt x="102" y="40"/>
                  <a:pt x="102" y="39"/>
                </a:cubicBezTo>
                <a:cubicBezTo>
                  <a:pt x="102" y="39"/>
                  <a:pt x="103" y="38"/>
                  <a:pt x="103" y="38"/>
                </a:cubicBezTo>
                <a:cubicBezTo>
                  <a:pt x="103" y="38"/>
                  <a:pt x="103" y="37"/>
                  <a:pt x="104" y="37"/>
                </a:cubicBezTo>
                <a:cubicBezTo>
                  <a:pt x="104" y="37"/>
                  <a:pt x="104" y="37"/>
                  <a:pt x="104" y="37"/>
                </a:cubicBezTo>
                <a:cubicBezTo>
                  <a:pt x="104" y="36"/>
                  <a:pt x="104" y="36"/>
                  <a:pt x="104" y="35"/>
                </a:cubicBezTo>
                <a:cubicBezTo>
                  <a:pt x="104" y="35"/>
                  <a:pt x="103" y="34"/>
                  <a:pt x="103" y="34"/>
                </a:cubicBezTo>
                <a:cubicBezTo>
                  <a:pt x="103" y="35"/>
                  <a:pt x="103" y="35"/>
                  <a:pt x="103" y="35"/>
                </a:cubicBezTo>
                <a:cubicBezTo>
                  <a:pt x="103" y="35"/>
                  <a:pt x="103" y="36"/>
                  <a:pt x="103" y="36"/>
                </a:cubicBezTo>
                <a:cubicBezTo>
                  <a:pt x="103" y="36"/>
                  <a:pt x="102" y="36"/>
                  <a:pt x="102" y="37"/>
                </a:cubicBezTo>
                <a:cubicBezTo>
                  <a:pt x="101" y="37"/>
                  <a:pt x="100" y="37"/>
                  <a:pt x="100" y="36"/>
                </a:cubicBezTo>
                <a:cubicBezTo>
                  <a:pt x="99" y="36"/>
                  <a:pt x="99" y="35"/>
                  <a:pt x="99" y="34"/>
                </a:cubicBezTo>
                <a:cubicBezTo>
                  <a:pt x="99" y="34"/>
                  <a:pt x="99" y="33"/>
                  <a:pt x="100" y="33"/>
                </a:cubicBezTo>
                <a:cubicBezTo>
                  <a:pt x="101" y="33"/>
                  <a:pt x="101" y="33"/>
                  <a:pt x="102" y="33"/>
                </a:cubicBezTo>
                <a:cubicBezTo>
                  <a:pt x="102" y="32"/>
                  <a:pt x="103" y="32"/>
                  <a:pt x="104" y="32"/>
                </a:cubicBezTo>
                <a:cubicBezTo>
                  <a:pt x="104" y="33"/>
                  <a:pt x="104" y="33"/>
                  <a:pt x="104" y="33"/>
                </a:cubicBezTo>
                <a:cubicBezTo>
                  <a:pt x="104" y="33"/>
                  <a:pt x="104" y="34"/>
                  <a:pt x="105" y="34"/>
                </a:cubicBezTo>
                <a:cubicBezTo>
                  <a:pt x="106" y="34"/>
                  <a:pt x="105" y="32"/>
                  <a:pt x="105" y="32"/>
                </a:cubicBezTo>
                <a:cubicBezTo>
                  <a:pt x="105" y="31"/>
                  <a:pt x="105" y="30"/>
                  <a:pt x="106" y="30"/>
                </a:cubicBezTo>
                <a:cubicBezTo>
                  <a:pt x="106" y="30"/>
                  <a:pt x="108" y="29"/>
                  <a:pt x="108" y="29"/>
                </a:cubicBezTo>
                <a:cubicBezTo>
                  <a:pt x="109" y="29"/>
                  <a:pt x="109" y="28"/>
                  <a:pt x="109" y="27"/>
                </a:cubicBezTo>
                <a:cubicBezTo>
                  <a:pt x="108" y="27"/>
                  <a:pt x="108" y="28"/>
                  <a:pt x="107" y="28"/>
                </a:cubicBezTo>
                <a:cubicBezTo>
                  <a:pt x="107" y="28"/>
                  <a:pt x="105" y="28"/>
                  <a:pt x="105" y="27"/>
                </a:cubicBezTo>
                <a:cubicBezTo>
                  <a:pt x="105" y="26"/>
                  <a:pt x="106" y="25"/>
                  <a:pt x="106" y="24"/>
                </a:cubicBezTo>
                <a:cubicBezTo>
                  <a:pt x="105" y="24"/>
                  <a:pt x="105" y="24"/>
                  <a:pt x="104" y="24"/>
                </a:cubicBezTo>
                <a:cubicBezTo>
                  <a:pt x="104" y="24"/>
                  <a:pt x="103" y="24"/>
                  <a:pt x="103" y="24"/>
                </a:cubicBezTo>
                <a:cubicBezTo>
                  <a:pt x="102" y="24"/>
                  <a:pt x="102" y="23"/>
                  <a:pt x="101" y="23"/>
                </a:cubicBezTo>
                <a:cubicBezTo>
                  <a:pt x="101" y="23"/>
                  <a:pt x="101" y="22"/>
                  <a:pt x="101" y="22"/>
                </a:cubicBezTo>
                <a:cubicBezTo>
                  <a:pt x="101" y="21"/>
                  <a:pt x="101" y="21"/>
                  <a:pt x="101" y="20"/>
                </a:cubicBezTo>
                <a:cubicBezTo>
                  <a:pt x="101" y="20"/>
                  <a:pt x="101" y="19"/>
                  <a:pt x="102" y="20"/>
                </a:cubicBezTo>
                <a:cubicBezTo>
                  <a:pt x="102" y="20"/>
                  <a:pt x="102" y="21"/>
                  <a:pt x="103" y="21"/>
                </a:cubicBezTo>
                <a:cubicBezTo>
                  <a:pt x="103" y="21"/>
                  <a:pt x="105" y="22"/>
                  <a:pt x="105" y="22"/>
                </a:cubicBezTo>
                <a:cubicBezTo>
                  <a:pt x="105" y="21"/>
                  <a:pt x="104" y="20"/>
                  <a:pt x="103" y="20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103" y="19"/>
                  <a:pt x="102" y="19"/>
                  <a:pt x="102" y="19"/>
                </a:cubicBezTo>
                <a:cubicBezTo>
                  <a:pt x="103" y="18"/>
                  <a:pt x="104" y="18"/>
                  <a:pt x="104" y="17"/>
                </a:cubicBezTo>
                <a:cubicBezTo>
                  <a:pt x="105" y="16"/>
                  <a:pt x="105" y="16"/>
                  <a:pt x="104" y="16"/>
                </a:cubicBezTo>
                <a:cubicBezTo>
                  <a:pt x="103" y="16"/>
                  <a:pt x="103" y="16"/>
                  <a:pt x="102" y="17"/>
                </a:cubicBezTo>
                <a:cubicBezTo>
                  <a:pt x="102" y="17"/>
                  <a:pt x="101" y="18"/>
                  <a:pt x="100" y="18"/>
                </a:cubicBezTo>
                <a:cubicBezTo>
                  <a:pt x="100" y="18"/>
                  <a:pt x="100" y="17"/>
                  <a:pt x="100" y="17"/>
                </a:cubicBezTo>
                <a:cubicBezTo>
                  <a:pt x="100" y="16"/>
                  <a:pt x="101" y="15"/>
                  <a:pt x="101" y="14"/>
                </a:cubicBezTo>
                <a:cubicBezTo>
                  <a:pt x="101" y="14"/>
                  <a:pt x="102" y="13"/>
                  <a:pt x="102" y="13"/>
                </a:cubicBezTo>
                <a:cubicBezTo>
                  <a:pt x="103" y="12"/>
                  <a:pt x="103" y="12"/>
                  <a:pt x="102" y="12"/>
                </a:cubicBezTo>
                <a:cubicBezTo>
                  <a:pt x="101" y="12"/>
                  <a:pt x="100" y="12"/>
                  <a:pt x="99" y="11"/>
                </a:cubicBezTo>
                <a:cubicBezTo>
                  <a:pt x="99" y="11"/>
                  <a:pt x="99" y="10"/>
                  <a:pt x="99" y="10"/>
                </a:cubicBezTo>
                <a:cubicBezTo>
                  <a:pt x="99" y="10"/>
                  <a:pt x="99" y="9"/>
                  <a:pt x="99" y="9"/>
                </a:cubicBezTo>
                <a:cubicBezTo>
                  <a:pt x="99" y="9"/>
                  <a:pt x="99" y="8"/>
                  <a:pt x="99" y="8"/>
                </a:cubicBezTo>
                <a:cubicBezTo>
                  <a:pt x="99" y="8"/>
                  <a:pt x="100" y="8"/>
                  <a:pt x="100" y="7"/>
                </a:cubicBezTo>
                <a:cubicBezTo>
                  <a:pt x="101" y="7"/>
                  <a:pt x="103" y="6"/>
                  <a:pt x="102" y="4"/>
                </a:cubicBezTo>
                <a:cubicBezTo>
                  <a:pt x="102" y="3"/>
                  <a:pt x="102" y="3"/>
                  <a:pt x="101" y="2"/>
                </a:cubicBezTo>
                <a:cubicBezTo>
                  <a:pt x="101" y="2"/>
                  <a:pt x="101" y="1"/>
                  <a:pt x="100" y="1"/>
                </a:cubicBezTo>
                <a:cubicBezTo>
                  <a:pt x="100" y="1"/>
                  <a:pt x="100" y="2"/>
                  <a:pt x="100" y="2"/>
                </a:cubicBezTo>
                <a:cubicBezTo>
                  <a:pt x="100" y="3"/>
                  <a:pt x="100" y="3"/>
                  <a:pt x="100" y="3"/>
                </a:cubicBezTo>
                <a:cubicBezTo>
                  <a:pt x="100" y="4"/>
                  <a:pt x="100" y="4"/>
                  <a:pt x="99" y="5"/>
                </a:cubicBezTo>
                <a:cubicBezTo>
                  <a:pt x="98" y="5"/>
                  <a:pt x="97" y="4"/>
                  <a:pt x="97" y="3"/>
                </a:cubicBezTo>
                <a:cubicBezTo>
                  <a:pt x="97" y="3"/>
                  <a:pt x="98" y="2"/>
                  <a:pt x="98" y="2"/>
                </a:cubicBezTo>
                <a:cubicBezTo>
                  <a:pt x="99" y="0"/>
                  <a:pt x="99" y="0"/>
                  <a:pt x="9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42"/>
                  <a:pt x="6" y="48"/>
                  <a:pt x="6" y="49"/>
                </a:cubicBezTo>
                <a:cubicBezTo>
                  <a:pt x="6" y="49"/>
                  <a:pt x="8" y="53"/>
                  <a:pt x="8" y="54"/>
                </a:cubicBezTo>
                <a:cubicBezTo>
                  <a:pt x="8" y="55"/>
                  <a:pt x="8" y="57"/>
                  <a:pt x="8" y="57"/>
                </a:cubicBezTo>
                <a:cubicBezTo>
                  <a:pt x="8" y="57"/>
                  <a:pt x="7" y="59"/>
                  <a:pt x="8" y="59"/>
                </a:cubicBezTo>
                <a:cubicBezTo>
                  <a:pt x="8" y="60"/>
                  <a:pt x="11" y="61"/>
                  <a:pt x="11" y="62"/>
                </a:cubicBezTo>
                <a:cubicBezTo>
                  <a:pt x="11" y="62"/>
                  <a:pt x="11" y="62"/>
                  <a:pt x="11" y="62"/>
                </a:cubicBezTo>
                <a:cubicBezTo>
                  <a:pt x="10" y="62"/>
                  <a:pt x="10" y="63"/>
                  <a:pt x="10" y="63"/>
                </a:cubicBezTo>
                <a:cubicBezTo>
                  <a:pt x="10" y="63"/>
                  <a:pt x="11" y="64"/>
                  <a:pt x="12" y="64"/>
                </a:cubicBezTo>
                <a:cubicBezTo>
                  <a:pt x="12" y="65"/>
                  <a:pt x="12" y="66"/>
                  <a:pt x="12" y="66"/>
                </a:cubicBezTo>
                <a:cubicBezTo>
                  <a:pt x="12" y="67"/>
                  <a:pt x="13" y="67"/>
                  <a:pt x="13" y="67"/>
                </a:cubicBezTo>
                <a:cubicBezTo>
                  <a:pt x="13" y="68"/>
                  <a:pt x="12" y="69"/>
                  <a:pt x="12" y="69"/>
                </a:cubicBezTo>
                <a:cubicBezTo>
                  <a:pt x="12" y="69"/>
                  <a:pt x="12" y="70"/>
                  <a:pt x="12" y="70"/>
                </a:cubicBezTo>
                <a:cubicBezTo>
                  <a:pt x="13" y="71"/>
                  <a:pt x="15" y="73"/>
                  <a:pt x="15" y="73"/>
                </a:cubicBezTo>
                <a:cubicBezTo>
                  <a:pt x="15" y="74"/>
                  <a:pt x="15" y="74"/>
                  <a:pt x="15" y="75"/>
                </a:cubicBezTo>
                <a:cubicBezTo>
                  <a:pt x="15" y="75"/>
                  <a:pt x="16" y="76"/>
                  <a:pt x="16" y="76"/>
                </a:cubicBezTo>
                <a:cubicBezTo>
                  <a:pt x="16" y="76"/>
                  <a:pt x="17" y="75"/>
                  <a:pt x="17" y="75"/>
                </a:cubicBezTo>
                <a:cubicBezTo>
                  <a:pt x="17" y="75"/>
                  <a:pt x="17" y="76"/>
                  <a:pt x="17" y="76"/>
                </a:cubicBezTo>
                <a:cubicBezTo>
                  <a:pt x="17" y="77"/>
                  <a:pt x="16" y="78"/>
                  <a:pt x="16" y="78"/>
                </a:cubicBezTo>
                <a:cubicBezTo>
                  <a:pt x="17" y="78"/>
                  <a:pt x="17" y="79"/>
                  <a:pt x="17" y="80"/>
                </a:cubicBezTo>
                <a:cubicBezTo>
                  <a:pt x="17" y="80"/>
                  <a:pt x="17" y="81"/>
                  <a:pt x="16" y="81"/>
                </a:cubicBezTo>
                <a:cubicBezTo>
                  <a:pt x="16" y="82"/>
                  <a:pt x="16" y="82"/>
                  <a:pt x="16" y="82"/>
                </a:cubicBezTo>
                <a:cubicBezTo>
                  <a:pt x="16" y="83"/>
                  <a:pt x="17" y="84"/>
                  <a:pt x="17" y="85"/>
                </a:cubicBezTo>
                <a:cubicBezTo>
                  <a:pt x="17" y="85"/>
                  <a:pt x="17" y="86"/>
                  <a:pt x="17" y="87"/>
                </a:cubicBezTo>
                <a:cubicBezTo>
                  <a:pt x="17" y="87"/>
                  <a:pt x="16" y="89"/>
                  <a:pt x="16" y="90"/>
                </a:cubicBezTo>
                <a:cubicBezTo>
                  <a:pt x="16" y="90"/>
                  <a:pt x="15" y="93"/>
                  <a:pt x="15" y="94"/>
                </a:cubicBezTo>
                <a:cubicBezTo>
                  <a:pt x="14" y="95"/>
                  <a:pt x="13" y="98"/>
                  <a:pt x="12" y="98"/>
                </a:cubicBezTo>
                <a:cubicBezTo>
                  <a:pt x="12" y="99"/>
                  <a:pt x="10" y="99"/>
                  <a:pt x="10" y="100"/>
                </a:cubicBezTo>
                <a:cubicBezTo>
                  <a:pt x="10" y="100"/>
                  <a:pt x="11" y="101"/>
                  <a:pt x="11" y="102"/>
                </a:cubicBezTo>
                <a:cubicBezTo>
                  <a:pt x="11" y="102"/>
                  <a:pt x="11" y="105"/>
                  <a:pt x="11" y="105"/>
                </a:cubicBezTo>
                <a:cubicBezTo>
                  <a:pt x="11" y="106"/>
                  <a:pt x="10" y="107"/>
                  <a:pt x="10" y="107"/>
                </a:cubicBezTo>
                <a:cubicBezTo>
                  <a:pt x="10" y="108"/>
                  <a:pt x="9" y="108"/>
                  <a:pt x="9" y="109"/>
                </a:cubicBezTo>
                <a:cubicBezTo>
                  <a:pt x="10" y="110"/>
                  <a:pt x="11" y="111"/>
                  <a:pt x="11" y="111"/>
                </a:cubicBezTo>
                <a:cubicBezTo>
                  <a:pt x="11" y="112"/>
                  <a:pt x="11" y="114"/>
                  <a:pt x="11" y="115"/>
                </a:cubicBezTo>
                <a:cubicBezTo>
                  <a:pt x="11" y="115"/>
                  <a:pt x="11" y="119"/>
                  <a:pt x="11" y="120"/>
                </a:cubicBezTo>
                <a:cubicBezTo>
                  <a:pt x="11" y="120"/>
                  <a:pt x="9" y="122"/>
                  <a:pt x="8" y="124"/>
                </a:cubicBezTo>
                <a:cubicBezTo>
                  <a:pt x="8" y="124"/>
                  <a:pt x="8" y="124"/>
                  <a:pt x="9" y="124"/>
                </a:cubicBezTo>
                <a:cubicBezTo>
                  <a:pt x="9" y="124"/>
                  <a:pt x="9" y="125"/>
                  <a:pt x="9" y="126"/>
                </a:cubicBezTo>
                <a:cubicBezTo>
                  <a:pt x="9" y="126"/>
                  <a:pt x="8" y="127"/>
                  <a:pt x="8" y="128"/>
                </a:cubicBezTo>
                <a:cubicBezTo>
                  <a:pt x="8" y="128"/>
                  <a:pt x="9" y="129"/>
                  <a:pt x="8" y="129"/>
                </a:cubicBezTo>
                <a:cubicBezTo>
                  <a:pt x="8" y="129"/>
                  <a:pt x="7" y="130"/>
                  <a:pt x="7" y="130"/>
                </a:cubicBezTo>
                <a:cubicBezTo>
                  <a:pt x="6" y="130"/>
                  <a:pt x="5" y="130"/>
                  <a:pt x="5" y="131"/>
                </a:cubicBezTo>
                <a:cubicBezTo>
                  <a:pt x="5" y="132"/>
                  <a:pt x="5" y="132"/>
                  <a:pt x="6" y="133"/>
                </a:cubicBezTo>
                <a:cubicBezTo>
                  <a:pt x="6" y="133"/>
                  <a:pt x="6" y="134"/>
                  <a:pt x="7" y="134"/>
                </a:cubicBezTo>
                <a:cubicBezTo>
                  <a:pt x="7" y="134"/>
                  <a:pt x="8" y="134"/>
                  <a:pt x="8" y="134"/>
                </a:cubicBezTo>
                <a:cubicBezTo>
                  <a:pt x="9" y="134"/>
                  <a:pt x="9" y="134"/>
                  <a:pt x="10" y="133"/>
                </a:cubicBezTo>
                <a:cubicBezTo>
                  <a:pt x="11" y="133"/>
                  <a:pt x="13" y="133"/>
                  <a:pt x="14" y="133"/>
                </a:cubicBezTo>
                <a:cubicBezTo>
                  <a:pt x="15" y="132"/>
                  <a:pt x="16" y="132"/>
                  <a:pt x="17" y="132"/>
                </a:cubicBezTo>
                <a:cubicBezTo>
                  <a:pt x="19" y="131"/>
                  <a:pt x="20" y="132"/>
                  <a:pt x="21" y="132"/>
                </a:cubicBezTo>
                <a:cubicBezTo>
                  <a:pt x="23" y="132"/>
                  <a:pt x="24" y="131"/>
                  <a:pt x="26" y="132"/>
                </a:cubicBezTo>
                <a:cubicBezTo>
                  <a:pt x="27" y="132"/>
                  <a:pt x="28" y="132"/>
                  <a:pt x="29" y="132"/>
                </a:cubicBezTo>
                <a:cubicBezTo>
                  <a:pt x="30" y="132"/>
                  <a:pt x="31" y="132"/>
                  <a:pt x="33" y="133"/>
                </a:cubicBezTo>
                <a:cubicBezTo>
                  <a:pt x="34" y="133"/>
                  <a:pt x="36" y="133"/>
                  <a:pt x="37" y="134"/>
                </a:cubicBezTo>
                <a:cubicBezTo>
                  <a:pt x="38" y="134"/>
                  <a:pt x="40" y="135"/>
                  <a:pt x="41" y="136"/>
                </a:cubicBezTo>
                <a:cubicBezTo>
                  <a:pt x="43" y="136"/>
                  <a:pt x="44" y="137"/>
                  <a:pt x="45" y="138"/>
                </a:cubicBezTo>
                <a:cubicBezTo>
                  <a:pt x="47" y="138"/>
                  <a:pt x="48" y="139"/>
                  <a:pt x="50" y="139"/>
                </a:cubicBezTo>
                <a:cubicBezTo>
                  <a:pt x="51" y="139"/>
                  <a:pt x="51" y="140"/>
                  <a:pt x="52" y="140"/>
                </a:cubicBezTo>
                <a:cubicBezTo>
                  <a:pt x="53" y="140"/>
                  <a:pt x="54" y="140"/>
                  <a:pt x="55" y="140"/>
                </a:cubicBezTo>
                <a:cubicBezTo>
                  <a:pt x="56" y="140"/>
                  <a:pt x="57" y="141"/>
                  <a:pt x="59" y="141"/>
                </a:cubicBezTo>
                <a:cubicBezTo>
                  <a:pt x="60" y="141"/>
                  <a:pt x="61" y="141"/>
                  <a:pt x="62" y="141"/>
                </a:cubicBezTo>
                <a:cubicBezTo>
                  <a:pt x="62" y="140"/>
                  <a:pt x="63" y="141"/>
                  <a:pt x="64" y="140"/>
                </a:cubicBezTo>
                <a:cubicBezTo>
                  <a:pt x="64" y="141"/>
                  <a:pt x="65" y="140"/>
                  <a:pt x="65" y="140"/>
                </a:cubicBezTo>
                <a:cubicBezTo>
                  <a:pt x="65" y="140"/>
                  <a:pt x="66" y="139"/>
                  <a:pt x="66" y="139"/>
                </a:cubicBezTo>
                <a:cubicBezTo>
                  <a:pt x="66" y="139"/>
                  <a:pt x="67" y="139"/>
                  <a:pt x="67" y="139"/>
                </a:cubicBezTo>
                <a:cubicBezTo>
                  <a:pt x="68" y="139"/>
                  <a:pt x="68" y="139"/>
                  <a:pt x="68" y="139"/>
                </a:cubicBezTo>
                <a:cubicBezTo>
                  <a:pt x="68" y="138"/>
                  <a:pt x="67" y="138"/>
                  <a:pt x="67" y="138"/>
                </a:cubicBezTo>
                <a:cubicBezTo>
                  <a:pt x="67" y="138"/>
                  <a:pt x="67" y="138"/>
                  <a:pt x="67" y="137"/>
                </a:cubicBezTo>
                <a:cubicBezTo>
                  <a:pt x="67" y="137"/>
                  <a:pt x="67" y="137"/>
                  <a:pt x="66" y="137"/>
                </a:cubicBezTo>
                <a:cubicBezTo>
                  <a:pt x="66" y="136"/>
                  <a:pt x="65" y="136"/>
                  <a:pt x="65" y="135"/>
                </a:cubicBezTo>
                <a:cubicBezTo>
                  <a:pt x="65" y="135"/>
                  <a:pt x="65" y="135"/>
                  <a:pt x="64" y="134"/>
                </a:cubicBezTo>
                <a:cubicBezTo>
                  <a:pt x="64" y="134"/>
                  <a:pt x="64" y="134"/>
                  <a:pt x="64" y="134"/>
                </a:cubicBezTo>
                <a:cubicBezTo>
                  <a:pt x="63" y="133"/>
                  <a:pt x="64" y="133"/>
                  <a:pt x="64" y="132"/>
                </a:cubicBezTo>
                <a:cubicBezTo>
                  <a:pt x="65" y="132"/>
                  <a:pt x="65" y="131"/>
                  <a:pt x="65" y="130"/>
                </a:cubicBezTo>
                <a:cubicBezTo>
                  <a:pt x="65" y="130"/>
                  <a:pt x="65" y="129"/>
                  <a:pt x="65" y="129"/>
                </a:cubicBezTo>
                <a:cubicBezTo>
                  <a:pt x="66" y="129"/>
                  <a:pt x="66" y="129"/>
                  <a:pt x="66" y="129"/>
                </a:cubicBezTo>
                <a:cubicBezTo>
                  <a:pt x="67" y="130"/>
                  <a:pt x="66" y="132"/>
                  <a:pt x="67" y="132"/>
                </a:cubicBezTo>
                <a:cubicBezTo>
                  <a:pt x="67" y="133"/>
                  <a:pt x="69" y="132"/>
                  <a:pt x="69" y="132"/>
                </a:cubicBezTo>
                <a:cubicBezTo>
                  <a:pt x="69" y="132"/>
                  <a:pt x="69" y="132"/>
                  <a:pt x="70" y="131"/>
                </a:cubicBezTo>
                <a:cubicBezTo>
                  <a:pt x="70" y="131"/>
                  <a:pt x="70" y="131"/>
                  <a:pt x="70" y="131"/>
                </a:cubicBezTo>
                <a:cubicBezTo>
                  <a:pt x="71" y="131"/>
                  <a:pt x="71" y="129"/>
                  <a:pt x="71" y="128"/>
                </a:cubicBezTo>
                <a:cubicBezTo>
                  <a:pt x="71" y="127"/>
                  <a:pt x="70" y="125"/>
                  <a:pt x="71" y="125"/>
                </a:cubicBezTo>
                <a:cubicBezTo>
                  <a:pt x="72" y="125"/>
                  <a:pt x="72" y="126"/>
                  <a:pt x="72" y="126"/>
                </a:cubicBezTo>
                <a:cubicBezTo>
                  <a:pt x="72" y="126"/>
                  <a:pt x="72" y="127"/>
                  <a:pt x="72" y="127"/>
                </a:cubicBezTo>
                <a:cubicBezTo>
                  <a:pt x="72" y="127"/>
                  <a:pt x="72" y="128"/>
                  <a:pt x="72" y="128"/>
                </a:cubicBezTo>
                <a:cubicBezTo>
                  <a:pt x="73" y="129"/>
                  <a:pt x="73" y="129"/>
                  <a:pt x="73" y="128"/>
                </a:cubicBezTo>
                <a:cubicBezTo>
                  <a:pt x="73" y="128"/>
                  <a:pt x="74" y="128"/>
                  <a:pt x="75" y="128"/>
                </a:cubicBezTo>
                <a:cubicBezTo>
                  <a:pt x="75" y="127"/>
                  <a:pt x="76" y="127"/>
                  <a:pt x="76" y="127"/>
                </a:cubicBezTo>
                <a:cubicBezTo>
                  <a:pt x="76" y="127"/>
                  <a:pt x="77" y="127"/>
                  <a:pt x="77" y="127"/>
                </a:cubicBezTo>
                <a:cubicBezTo>
                  <a:pt x="77" y="127"/>
                  <a:pt x="77" y="128"/>
                  <a:pt x="77" y="129"/>
                </a:cubicBezTo>
                <a:cubicBezTo>
                  <a:pt x="78" y="130"/>
                  <a:pt x="77" y="131"/>
                  <a:pt x="76" y="131"/>
                </a:cubicBezTo>
                <a:cubicBezTo>
                  <a:pt x="76" y="132"/>
                  <a:pt x="75" y="133"/>
                  <a:pt x="75" y="134"/>
                </a:cubicBezTo>
                <a:cubicBezTo>
                  <a:pt x="75" y="134"/>
                  <a:pt x="76" y="134"/>
                  <a:pt x="76" y="133"/>
                </a:cubicBezTo>
                <a:cubicBezTo>
                  <a:pt x="77" y="133"/>
                  <a:pt x="77" y="133"/>
                  <a:pt x="77" y="133"/>
                </a:cubicBezTo>
                <a:cubicBezTo>
                  <a:pt x="78" y="133"/>
                  <a:pt x="79" y="133"/>
                  <a:pt x="79" y="133"/>
                </a:cubicBezTo>
                <a:cubicBezTo>
                  <a:pt x="80" y="133"/>
                  <a:pt x="82" y="133"/>
                  <a:pt x="83" y="133"/>
                </a:cubicBezTo>
                <a:cubicBezTo>
                  <a:pt x="83" y="133"/>
                  <a:pt x="84" y="133"/>
                  <a:pt x="84" y="134"/>
                </a:cubicBezTo>
                <a:cubicBezTo>
                  <a:pt x="84" y="134"/>
                  <a:pt x="83" y="134"/>
                  <a:pt x="83" y="134"/>
                </a:cubicBezTo>
                <a:cubicBezTo>
                  <a:pt x="83" y="135"/>
                  <a:pt x="83" y="136"/>
                  <a:pt x="84" y="137"/>
                </a:cubicBezTo>
                <a:cubicBezTo>
                  <a:pt x="84" y="137"/>
                  <a:pt x="85" y="137"/>
                  <a:pt x="85" y="137"/>
                </a:cubicBezTo>
                <a:cubicBezTo>
                  <a:pt x="86" y="137"/>
                  <a:pt x="86" y="138"/>
                  <a:pt x="86" y="138"/>
                </a:cubicBezTo>
                <a:cubicBezTo>
                  <a:pt x="86" y="139"/>
                  <a:pt x="86" y="139"/>
                  <a:pt x="86" y="140"/>
                </a:cubicBezTo>
                <a:cubicBezTo>
                  <a:pt x="87" y="140"/>
                  <a:pt x="87" y="141"/>
                  <a:pt x="87" y="141"/>
                </a:cubicBezTo>
                <a:cubicBezTo>
                  <a:pt x="87" y="141"/>
                  <a:pt x="87" y="142"/>
                  <a:pt x="87" y="142"/>
                </a:cubicBezTo>
                <a:cubicBezTo>
                  <a:pt x="87" y="143"/>
                  <a:pt x="88" y="143"/>
                  <a:pt x="88" y="143"/>
                </a:cubicBezTo>
                <a:cubicBezTo>
                  <a:pt x="89" y="144"/>
                  <a:pt x="89" y="144"/>
                  <a:pt x="90" y="144"/>
                </a:cubicBezTo>
                <a:cubicBezTo>
                  <a:pt x="91" y="144"/>
                  <a:pt x="91" y="143"/>
                  <a:pt x="92" y="142"/>
                </a:cubicBezTo>
                <a:cubicBezTo>
                  <a:pt x="92" y="142"/>
                  <a:pt x="93" y="142"/>
                  <a:pt x="94" y="142"/>
                </a:cubicBezTo>
                <a:cubicBezTo>
                  <a:pt x="94" y="143"/>
                  <a:pt x="95" y="143"/>
                  <a:pt x="95" y="143"/>
                </a:cubicBezTo>
                <a:cubicBezTo>
                  <a:pt x="95" y="142"/>
                  <a:pt x="95" y="141"/>
                  <a:pt x="95" y="141"/>
                </a:cubicBezTo>
                <a:cubicBezTo>
                  <a:pt x="96" y="141"/>
                  <a:pt x="97" y="140"/>
                  <a:pt x="98" y="140"/>
                </a:cubicBezTo>
                <a:cubicBezTo>
                  <a:pt x="99" y="139"/>
                  <a:pt x="100" y="139"/>
                  <a:pt x="100" y="140"/>
                </a:cubicBezTo>
                <a:cubicBezTo>
                  <a:pt x="101" y="140"/>
                  <a:pt x="102" y="141"/>
                  <a:pt x="102" y="141"/>
                </a:cubicBezTo>
                <a:cubicBezTo>
                  <a:pt x="102" y="141"/>
                  <a:pt x="101" y="141"/>
                  <a:pt x="101" y="142"/>
                </a:cubicBezTo>
                <a:cubicBezTo>
                  <a:pt x="100" y="142"/>
                  <a:pt x="100" y="142"/>
                  <a:pt x="100" y="142"/>
                </a:cubicBezTo>
                <a:cubicBezTo>
                  <a:pt x="99" y="142"/>
                  <a:pt x="99" y="142"/>
                  <a:pt x="99" y="142"/>
                </a:cubicBezTo>
                <a:cubicBezTo>
                  <a:pt x="98" y="143"/>
                  <a:pt x="98" y="143"/>
                  <a:pt x="97" y="143"/>
                </a:cubicBezTo>
                <a:cubicBezTo>
                  <a:pt x="97" y="143"/>
                  <a:pt x="95" y="143"/>
                  <a:pt x="96" y="144"/>
                </a:cubicBezTo>
                <a:cubicBezTo>
                  <a:pt x="97" y="144"/>
                  <a:pt x="97" y="145"/>
                  <a:pt x="97" y="146"/>
                </a:cubicBezTo>
                <a:cubicBezTo>
                  <a:pt x="98" y="147"/>
                  <a:pt x="98" y="147"/>
                  <a:pt x="98" y="148"/>
                </a:cubicBezTo>
                <a:cubicBezTo>
                  <a:pt x="98" y="148"/>
                  <a:pt x="99" y="148"/>
                  <a:pt x="99" y="149"/>
                </a:cubicBezTo>
                <a:cubicBezTo>
                  <a:pt x="100" y="149"/>
                  <a:pt x="101" y="150"/>
                  <a:pt x="100" y="150"/>
                </a:cubicBezTo>
                <a:cubicBezTo>
                  <a:pt x="99" y="150"/>
                  <a:pt x="98" y="150"/>
                  <a:pt x="98" y="150"/>
                </a:cubicBezTo>
                <a:cubicBezTo>
                  <a:pt x="97" y="150"/>
                  <a:pt x="96" y="149"/>
                  <a:pt x="95" y="150"/>
                </a:cubicBezTo>
                <a:cubicBezTo>
                  <a:pt x="95" y="150"/>
                  <a:pt x="95" y="150"/>
                  <a:pt x="94" y="151"/>
                </a:cubicBezTo>
                <a:cubicBezTo>
                  <a:pt x="94" y="151"/>
                  <a:pt x="94" y="151"/>
                  <a:pt x="94" y="151"/>
                </a:cubicBezTo>
                <a:cubicBezTo>
                  <a:pt x="93" y="151"/>
                  <a:pt x="95" y="152"/>
                  <a:pt x="95" y="152"/>
                </a:cubicBezTo>
                <a:cubicBezTo>
                  <a:pt x="95" y="152"/>
                  <a:pt x="95" y="153"/>
                  <a:pt x="96" y="153"/>
                </a:cubicBezTo>
                <a:cubicBezTo>
                  <a:pt x="96" y="153"/>
                  <a:pt x="96" y="153"/>
                  <a:pt x="97" y="153"/>
                </a:cubicBezTo>
                <a:cubicBezTo>
                  <a:pt x="97" y="153"/>
                  <a:pt x="98" y="153"/>
                  <a:pt x="99" y="153"/>
                </a:cubicBezTo>
                <a:cubicBezTo>
                  <a:pt x="100" y="154"/>
                  <a:pt x="100" y="154"/>
                  <a:pt x="101" y="154"/>
                </a:cubicBezTo>
                <a:cubicBezTo>
                  <a:pt x="101" y="154"/>
                  <a:pt x="102" y="154"/>
                  <a:pt x="102" y="155"/>
                </a:cubicBezTo>
                <a:cubicBezTo>
                  <a:pt x="102" y="155"/>
                  <a:pt x="103" y="155"/>
                  <a:pt x="103" y="155"/>
                </a:cubicBezTo>
                <a:cubicBezTo>
                  <a:pt x="104" y="155"/>
                  <a:pt x="105" y="155"/>
                  <a:pt x="104" y="155"/>
                </a:cubicBezTo>
                <a:cubicBezTo>
                  <a:pt x="104" y="154"/>
                  <a:pt x="104" y="154"/>
                  <a:pt x="104" y="154"/>
                </a:cubicBezTo>
                <a:cubicBezTo>
                  <a:pt x="103" y="154"/>
                  <a:pt x="103" y="154"/>
                  <a:pt x="103" y="153"/>
                </a:cubicBezTo>
                <a:cubicBezTo>
                  <a:pt x="103" y="153"/>
                  <a:pt x="103" y="153"/>
                  <a:pt x="103" y="152"/>
                </a:cubicBezTo>
                <a:cubicBezTo>
                  <a:pt x="103" y="152"/>
                  <a:pt x="104" y="151"/>
                  <a:pt x="104" y="151"/>
                </a:cubicBezTo>
                <a:cubicBezTo>
                  <a:pt x="105" y="151"/>
                  <a:pt x="105" y="150"/>
                  <a:pt x="106" y="149"/>
                </a:cubicBezTo>
                <a:cubicBezTo>
                  <a:pt x="106" y="149"/>
                  <a:pt x="107" y="149"/>
                  <a:pt x="107" y="149"/>
                </a:cubicBezTo>
                <a:cubicBezTo>
                  <a:pt x="108" y="149"/>
                  <a:pt x="108" y="150"/>
                  <a:pt x="108" y="150"/>
                </a:cubicBezTo>
                <a:cubicBezTo>
                  <a:pt x="108" y="151"/>
                  <a:pt x="109" y="151"/>
                  <a:pt x="109" y="152"/>
                </a:cubicBezTo>
                <a:cubicBezTo>
                  <a:pt x="110" y="152"/>
                  <a:pt x="111" y="152"/>
                  <a:pt x="111" y="152"/>
                </a:cubicBezTo>
                <a:cubicBezTo>
                  <a:pt x="111" y="153"/>
                  <a:pt x="111" y="153"/>
                  <a:pt x="111" y="154"/>
                </a:cubicBezTo>
                <a:cubicBezTo>
                  <a:pt x="110" y="154"/>
                  <a:pt x="110" y="154"/>
                  <a:pt x="109" y="154"/>
                </a:cubicBezTo>
                <a:cubicBezTo>
                  <a:pt x="109" y="154"/>
                  <a:pt x="107" y="155"/>
                  <a:pt x="108" y="156"/>
                </a:cubicBezTo>
                <a:cubicBezTo>
                  <a:pt x="108" y="156"/>
                  <a:pt x="108" y="156"/>
                  <a:pt x="108" y="157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10" y="158"/>
                  <a:pt x="110" y="157"/>
                  <a:pt x="111" y="157"/>
                </a:cubicBezTo>
                <a:cubicBezTo>
                  <a:pt x="111" y="157"/>
                  <a:pt x="112" y="157"/>
                  <a:pt x="113" y="156"/>
                </a:cubicBezTo>
                <a:cubicBezTo>
                  <a:pt x="113" y="156"/>
                  <a:pt x="114" y="156"/>
                  <a:pt x="114" y="156"/>
                </a:cubicBezTo>
                <a:cubicBezTo>
                  <a:pt x="115" y="155"/>
                  <a:pt x="115" y="154"/>
                  <a:pt x="116" y="153"/>
                </a:cubicBezTo>
                <a:cubicBezTo>
                  <a:pt x="116" y="153"/>
                  <a:pt x="116" y="152"/>
                  <a:pt x="117" y="152"/>
                </a:cubicBezTo>
                <a:cubicBezTo>
                  <a:pt x="117" y="152"/>
                  <a:pt x="118" y="153"/>
                  <a:pt x="118" y="153"/>
                </a:cubicBezTo>
                <a:cubicBezTo>
                  <a:pt x="118" y="154"/>
                  <a:pt x="119" y="154"/>
                  <a:pt x="119" y="153"/>
                </a:cubicBezTo>
                <a:cubicBezTo>
                  <a:pt x="119" y="153"/>
                  <a:pt x="119" y="153"/>
                  <a:pt x="119" y="152"/>
                </a:cubicBezTo>
                <a:cubicBezTo>
                  <a:pt x="119" y="152"/>
                  <a:pt x="119" y="151"/>
                  <a:pt x="119" y="151"/>
                </a:cubicBezTo>
                <a:cubicBezTo>
                  <a:pt x="119" y="150"/>
                  <a:pt x="119" y="150"/>
                  <a:pt x="120" y="150"/>
                </a:cubicBezTo>
                <a:cubicBezTo>
                  <a:pt x="120" y="150"/>
                  <a:pt x="122" y="150"/>
                  <a:pt x="121" y="149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21" y="148"/>
                  <a:pt x="122" y="148"/>
                  <a:pt x="122" y="149"/>
                </a:cubicBezTo>
                <a:cubicBezTo>
                  <a:pt x="123" y="149"/>
                  <a:pt x="123" y="149"/>
                  <a:pt x="123" y="149"/>
                </a:cubicBezTo>
                <a:cubicBezTo>
                  <a:pt x="124" y="150"/>
                  <a:pt x="124" y="150"/>
                  <a:pt x="125" y="150"/>
                </a:cubicBezTo>
                <a:cubicBezTo>
                  <a:pt x="126" y="150"/>
                  <a:pt x="127" y="150"/>
                  <a:pt x="128" y="151"/>
                </a:cubicBezTo>
                <a:cubicBezTo>
                  <a:pt x="129" y="151"/>
                  <a:pt x="129" y="152"/>
                  <a:pt x="130" y="152"/>
                </a:cubicBezTo>
                <a:cubicBezTo>
                  <a:pt x="131" y="153"/>
                  <a:pt x="131" y="153"/>
                  <a:pt x="131" y="154"/>
                </a:cubicBezTo>
                <a:cubicBezTo>
                  <a:pt x="131" y="154"/>
                  <a:pt x="131" y="155"/>
                  <a:pt x="131" y="155"/>
                </a:cubicBezTo>
                <a:cubicBezTo>
                  <a:pt x="132" y="155"/>
                  <a:pt x="132" y="155"/>
                  <a:pt x="132" y="156"/>
                </a:cubicBezTo>
                <a:cubicBezTo>
                  <a:pt x="132" y="156"/>
                  <a:pt x="131" y="158"/>
                  <a:pt x="132" y="158"/>
                </a:cubicBezTo>
                <a:cubicBezTo>
                  <a:pt x="132" y="159"/>
                  <a:pt x="133" y="158"/>
                  <a:pt x="134" y="158"/>
                </a:cubicBezTo>
                <a:cubicBezTo>
                  <a:pt x="134" y="157"/>
                  <a:pt x="135" y="157"/>
                  <a:pt x="136" y="156"/>
                </a:cubicBezTo>
                <a:cubicBezTo>
                  <a:pt x="136" y="155"/>
                  <a:pt x="136" y="154"/>
                  <a:pt x="136" y="153"/>
                </a:cubicBezTo>
                <a:cubicBezTo>
                  <a:pt x="136" y="152"/>
                  <a:pt x="136" y="151"/>
                  <a:pt x="136" y="150"/>
                </a:cubicBezTo>
                <a:cubicBezTo>
                  <a:pt x="136" y="149"/>
                  <a:pt x="136" y="148"/>
                  <a:pt x="136" y="147"/>
                </a:cubicBezTo>
                <a:cubicBezTo>
                  <a:pt x="137" y="146"/>
                  <a:pt x="137" y="145"/>
                  <a:pt x="136" y="144"/>
                </a:cubicBezTo>
                <a:cubicBezTo>
                  <a:pt x="136" y="144"/>
                  <a:pt x="134" y="144"/>
                  <a:pt x="134" y="144"/>
                </a:cubicBezTo>
                <a:cubicBezTo>
                  <a:pt x="133" y="143"/>
                  <a:pt x="133" y="143"/>
                  <a:pt x="133" y="143"/>
                </a:cubicBezTo>
                <a:cubicBezTo>
                  <a:pt x="132" y="143"/>
                  <a:pt x="132" y="142"/>
                  <a:pt x="132" y="142"/>
                </a:cubicBezTo>
                <a:cubicBezTo>
                  <a:pt x="132" y="141"/>
                  <a:pt x="133" y="141"/>
                  <a:pt x="133" y="141"/>
                </a:cubicBezTo>
                <a:cubicBezTo>
                  <a:pt x="134" y="140"/>
                  <a:pt x="134" y="139"/>
                  <a:pt x="134" y="139"/>
                </a:cubicBezTo>
                <a:cubicBezTo>
                  <a:pt x="134" y="138"/>
                  <a:pt x="134" y="138"/>
                  <a:pt x="134" y="138"/>
                </a:cubicBezTo>
                <a:cubicBezTo>
                  <a:pt x="134" y="138"/>
                  <a:pt x="133" y="138"/>
                  <a:pt x="133" y="137"/>
                </a:cubicBezTo>
                <a:cubicBezTo>
                  <a:pt x="133" y="137"/>
                  <a:pt x="133" y="137"/>
                  <a:pt x="132" y="136"/>
                </a:cubicBezTo>
                <a:cubicBezTo>
                  <a:pt x="132" y="136"/>
                  <a:pt x="132" y="135"/>
                  <a:pt x="131" y="136"/>
                </a:cubicBezTo>
                <a:cubicBezTo>
                  <a:pt x="131" y="136"/>
                  <a:pt x="131" y="136"/>
                  <a:pt x="130" y="136"/>
                </a:cubicBezTo>
                <a:cubicBezTo>
                  <a:pt x="129" y="137"/>
                  <a:pt x="129" y="136"/>
                  <a:pt x="129" y="136"/>
                </a:cubicBezTo>
                <a:cubicBezTo>
                  <a:pt x="129" y="136"/>
                  <a:pt x="129" y="136"/>
                  <a:pt x="128" y="135"/>
                </a:cubicBezTo>
                <a:cubicBezTo>
                  <a:pt x="128" y="135"/>
                  <a:pt x="128" y="135"/>
                  <a:pt x="128" y="135"/>
                </a:cubicBezTo>
                <a:cubicBezTo>
                  <a:pt x="128" y="134"/>
                  <a:pt x="127" y="133"/>
                  <a:pt x="128" y="133"/>
                </a:cubicBezTo>
                <a:cubicBezTo>
                  <a:pt x="128" y="132"/>
                  <a:pt x="129" y="132"/>
                  <a:pt x="129" y="132"/>
                </a:cubicBezTo>
                <a:cubicBezTo>
                  <a:pt x="130" y="132"/>
                  <a:pt x="131" y="132"/>
                  <a:pt x="131" y="131"/>
                </a:cubicBezTo>
                <a:cubicBezTo>
                  <a:pt x="132" y="131"/>
                  <a:pt x="132" y="131"/>
                  <a:pt x="132" y="131"/>
                </a:cubicBezTo>
                <a:cubicBezTo>
                  <a:pt x="133" y="131"/>
                  <a:pt x="133" y="130"/>
                  <a:pt x="133" y="130"/>
                </a:cubicBezTo>
                <a:cubicBezTo>
                  <a:pt x="134" y="130"/>
                  <a:pt x="133" y="131"/>
                  <a:pt x="133" y="132"/>
                </a:cubicBezTo>
                <a:cubicBezTo>
                  <a:pt x="133" y="132"/>
                  <a:pt x="133" y="133"/>
                  <a:pt x="133" y="134"/>
                </a:cubicBezTo>
                <a:cubicBezTo>
                  <a:pt x="133" y="134"/>
                  <a:pt x="132" y="134"/>
                  <a:pt x="133" y="135"/>
                </a:cubicBezTo>
                <a:cubicBezTo>
                  <a:pt x="133" y="135"/>
                  <a:pt x="133" y="135"/>
                  <a:pt x="134" y="136"/>
                </a:cubicBezTo>
                <a:cubicBezTo>
                  <a:pt x="135" y="136"/>
                  <a:pt x="135" y="136"/>
                  <a:pt x="135" y="137"/>
                </a:cubicBezTo>
                <a:cubicBezTo>
                  <a:pt x="136" y="138"/>
                  <a:pt x="135" y="139"/>
                  <a:pt x="135" y="139"/>
                </a:cubicBezTo>
                <a:cubicBezTo>
                  <a:pt x="136" y="141"/>
                  <a:pt x="137" y="142"/>
                  <a:pt x="139" y="143"/>
                </a:cubicBezTo>
                <a:cubicBezTo>
                  <a:pt x="139" y="144"/>
                  <a:pt x="141" y="144"/>
                  <a:pt x="142" y="144"/>
                </a:cubicBezTo>
                <a:cubicBezTo>
                  <a:pt x="143" y="144"/>
                  <a:pt x="144" y="144"/>
                  <a:pt x="144" y="144"/>
                </a:cubicBezTo>
                <a:cubicBezTo>
                  <a:pt x="145" y="144"/>
                  <a:pt x="145" y="144"/>
                  <a:pt x="145" y="144"/>
                </a:cubicBezTo>
                <a:cubicBezTo>
                  <a:pt x="145" y="145"/>
                  <a:pt x="145" y="146"/>
                  <a:pt x="146" y="146"/>
                </a:cubicBezTo>
                <a:cubicBezTo>
                  <a:pt x="146" y="146"/>
                  <a:pt x="147" y="146"/>
                  <a:pt x="147" y="146"/>
                </a:cubicBezTo>
                <a:cubicBezTo>
                  <a:pt x="148" y="147"/>
                  <a:pt x="148" y="147"/>
                  <a:pt x="148" y="147"/>
                </a:cubicBezTo>
                <a:cubicBezTo>
                  <a:pt x="149" y="147"/>
                  <a:pt x="150" y="147"/>
                  <a:pt x="150" y="147"/>
                </a:cubicBezTo>
                <a:cubicBezTo>
                  <a:pt x="151" y="147"/>
                  <a:pt x="152" y="147"/>
                  <a:pt x="153" y="147"/>
                </a:cubicBezTo>
                <a:cubicBezTo>
                  <a:pt x="154" y="147"/>
                  <a:pt x="154" y="147"/>
                  <a:pt x="154" y="148"/>
                </a:cubicBezTo>
                <a:cubicBezTo>
                  <a:pt x="155" y="148"/>
                  <a:pt x="155" y="149"/>
                  <a:pt x="156" y="149"/>
                </a:cubicBezTo>
                <a:cubicBezTo>
                  <a:pt x="156" y="149"/>
                  <a:pt x="156" y="149"/>
                  <a:pt x="157" y="150"/>
                </a:cubicBezTo>
                <a:cubicBezTo>
                  <a:pt x="157" y="150"/>
                  <a:pt x="158" y="149"/>
                  <a:pt x="158" y="149"/>
                </a:cubicBezTo>
                <a:cubicBezTo>
                  <a:pt x="158" y="149"/>
                  <a:pt x="158" y="148"/>
                  <a:pt x="159" y="149"/>
                </a:cubicBezTo>
                <a:cubicBezTo>
                  <a:pt x="159" y="149"/>
                  <a:pt x="159" y="149"/>
                  <a:pt x="159" y="149"/>
                </a:cubicBezTo>
                <a:cubicBezTo>
                  <a:pt x="159" y="149"/>
                  <a:pt x="160" y="149"/>
                  <a:pt x="160" y="149"/>
                </a:cubicBezTo>
                <a:cubicBezTo>
                  <a:pt x="160" y="150"/>
                  <a:pt x="161" y="150"/>
                  <a:pt x="162" y="151"/>
                </a:cubicBezTo>
                <a:cubicBezTo>
                  <a:pt x="162" y="151"/>
                  <a:pt x="163" y="151"/>
                  <a:pt x="163" y="151"/>
                </a:cubicBezTo>
                <a:cubicBezTo>
                  <a:pt x="163" y="151"/>
                  <a:pt x="163" y="151"/>
                  <a:pt x="163" y="151"/>
                </a:cubicBezTo>
                <a:cubicBezTo>
                  <a:pt x="164" y="151"/>
                  <a:pt x="164" y="150"/>
                  <a:pt x="164" y="150"/>
                </a:cubicBezTo>
                <a:cubicBezTo>
                  <a:pt x="165" y="150"/>
                  <a:pt x="165" y="150"/>
                  <a:pt x="165" y="150"/>
                </a:cubicBezTo>
                <a:cubicBezTo>
                  <a:pt x="165" y="149"/>
                  <a:pt x="164" y="149"/>
                  <a:pt x="163" y="149"/>
                </a:cubicBezTo>
                <a:cubicBezTo>
                  <a:pt x="163" y="149"/>
                  <a:pt x="162" y="149"/>
                  <a:pt x="162" y="149"/>
                </a:cubicBezTo>
                <a:cubicBezTo>
                  <a:pt x="161" y="149"/>
                  <a:pt x="161" y="148"/>
                  <a:pt x="160" y="148"/>
                </a:cubicBezTo>
                <a:cubicBezTo>
                  <a:pt x="160" y="147"/>
                  <a:pt x="160" y="147"/>
                  <a:pt x="159" y="147"/>
                </a:cubicBezTo>
                <a:cubicBezTo>
                  <a:pt x="158" y="147"/>
                  <a:pt x="158" y="147"/>
                  <a:pt x="158" y="147"/>
                </a:cubicBezTo>
                <a:cubicBezTo>
                  <a:pt x="157" y="148"/>
                  <a:pt x="157" y="148"/>
                  <a:pt x="156" y="148"/>
                </a:cubicBezTo>
                <a:cubicBezTo>
                  <a:pt x="156" y="148"/>
                  <a:pt x="155" y="148"/>
                  <a:pt x="155" y="148"/>
                </a:cubicBezTo>
                <a:cubicBezTo>
                  <a:pt x="154" y="147"/>
                  <a:pt x="154" y="147"/>
                  <a:pt x="155" y="146"/>
                </a:cubicBezTo>
                <a:cubicBezTo>
                  <a:pt x="155" y="146"/>
                  <a:pt x="155" y="145"/>
                  <a:pt x="154" y="144"/>
                </a:cubicBezTo>
                <a:cubicBezTo>
                  <a:pt x="154" y="143"/>
                  <a:pt x="154" y="144"/>
                  <a:pt x="153" y="143"/>
                </a:cubicBezTo>
                <a:cubicBezTo>
                  <a:pt x="153" y="143"/>
                  <a:pt x="153" y="142"/>
                  <a:pt x="152" y="142"/>
                </a:cubicBezTo>
                <a:cubicBezTo>
                  <a:pt x="152" y="141"/>
                  <a:pt x="152" y="142"/>
                  <a:pt x="151" y="141"/>
                </a:cubicBezTo>
                <a:cubicBezTo>
                  <a:pt x="151" y="141"/>
                  <a:pt x="150" y="141"/>
                  <a:pt x="150" y="141"/>
                </a:cubicBezTo>
                <a:cubicBezTo>
                  <a:pt x="150" y="140"/>
                  <a:pt x="149" y="140"/>
                  <a:pt x="149" y="139"/>
                </a:cubicBezTo>
                <a:cubicBezTo>
                  <a:pt x="149" y="139"/>
                  <a:pt x="149" y="138"/>
                  <a:pt x="149" y="138"/>
                </a:cubicBezTo>
                <a:cubicBezTo>
                  <a:pt x="148" y="138"/>
                  <a:pt x="148" y="138"/>
                  <a:pt x="148" y="138"/>
                </a:cubicBezTo>
                <a:cubicBezTo>
                  <a:pt x="147" y="138"/>
                  <a:pt x="147" y="138"/>
                  <a:pt x="147" y="137"/>
                </a:cubicBezTo>
                <a:cubicBezTo>
                  <a:pt x="147" y="137"/>
                  <a:pt x="146" y="137"/>
                  <a:pt x="146" y="137"/>
                </a:cubicBezTo>
                <a:cubicBezTo>
                  <a:pt x="146" y="136"/>
                  <a:pt x="146" y="136"/>
                  <a:pt x="146" y="136"/>
                </a:cubicBezTo>
                <a:cubicBezTo>
                  <a:pt x="147" y="136"/>
                  <a:pt x="147" y="136"/>
                  <a:pt x="147" y="135"/>
                </a:cubicBezTo>
                <a:cubicBezTo>
                  <a:pt x="147" y="135"/>
                  <a:pt x="147" y="135"/>
                  <a:pt x="147" y="135"/>
                </a:cubicBezTo>
                <a:cubicBezTo>
                  <a:pt x="148" y="135"/>
                  <a:pt x="148" y="135"/>
                  <a:pt x="148" y="136"/>
                </a:cubicBezTo>
                <a:cubicBezTo>
                  <a:pt x="148" y="136"/>
                  <a:pt x="148" y="137"/>
                  <a:pt x="149" y="137"/>
                </a:cubicBezTo>
                <a:cubicBezTo>
                  <a:pt x="149" y="137"/>
                  <a:pt x="150" y="138"/>
                  <a:pt x="150" y="138"/>
                </a:cubicBezTo>
                <a:cubicBezTo>
                  <a:pt x="151" y="138"/>
                  <a:pt x="151" y="137"/>
                  <a:pt x="152" y="137"/>
                </a:cubicBezTo>
                <a:cubicBezTo>
                  <a:pt x="152" y="137"/>
                  <a:pt x="153" y="137"/>
                  <a:pt x="153" y="136"/>
                </a:cubicBezTo>
                <a:cubicBezTo>
                  <a:pt x="153" y="136"/>
                  <a:pt x="153" y="136"/>
                  <a:pt x="154" y="136"/>
                </a:cubicBezTo>
                <a:cubicBezTo>
                  <a:pt x="154" y="136"/>
                  <a:pt x="155" y="136"/>
                  <a:pt x="154" y="136"/>
                </a:cubicBezTo>
                <a:cubicBezTo>
                  <a:pt x="154" y="135"/>
                  <a:pt x="153" y="136"/>
                  <a:pt x="153" y="135"/>
                </a:cubicBezTo>
                <a:cubicBezTo>
                  <a:pt x="153" y="135"/>
                  <a:pt x="153" y="135"/>
                  <a:pt x="153" y="135"/>
                </a:cubicBezTo>
                <a:cubicBezTo>
                  <a:pt x="152" y="135"/>
                  <a:pt x="152" y="134"/>
                  <a:pt x="152" y="134"/>
                </a:cubicBezTo>
                <a:cubicBezTo>
                  <a:pt x="152" y="134"/>
                  <a:pt x="153" y="134"/>
                  <a:pt x="153" y="134"/>
                </a:cubicBezTo>
                <a:cubicBezTo>
                  <a:pt x="153" y="133"/>
                  <a:pt x="153" y="133"/>
                  <a:pt x="153" y="133"/>
                </a:cubicBezTo>
                <a:cubicBezTo>
                  <a:pt x="154" y="132"/>
                  <a:pt x="154" y="132"/>
                  <a:pt x="154" y="132"/>
                </a:cubicBezTo>
                <a:cubicBezTo>
                  <a:pt x="153" y="131"/>
                  <a:pt x="153" y="131"/>
                  <a:pt x="153" y="131"/>
                </a:cubicBezTo>
                <a:cubicBezTo>
                  <a:pt x="153" y="131"/>
                  <a:pt x="153" y="130"/>
                  <a:pt x="153" y="130"/>
                </a:cubicBezTo>
                <a:cubicBezTo>
                  <a:pt x="153" y="130"/>
                  <a:pt x="154" y="130"/>
                  <a:pt x="154" y="131"/>
                </a:cubicBezTo>
                <a:cubicBezTo>
                  <a:pt x="154" y="131"/>
                  <a:pt x="155" y="131"/>
                  <a:pt x="155" y="132"/>
                </a:cubicBezTo>
                <a:cubicBezTo>
                  <a:pt x="155" y="133"/>
                  <a:pt x="156" y="133"/>
                  <a:pt x="157" y="134"/>
                </a:cubicBezTo>
                <a:cubicBezTo>
                  <a:pt x="157" y="134"/>
                  <a:pt x="158" y="135"/>
                  <a:pt x="159" y="135"/>
                </a:cubicBezTo>
                <a:cubicBezTo>
                  <a:pt x="159" y="135"/>
                  <a:pt x="159" y="134"/>
                  <a:pt x="159" y="133"/>
                </a:cubicBezTo>
                <a:cubicBezTo>
                  <a:pt x="159" y="133"/>
                  <a:pt x="159" y="132"/>
                  <a:pt x="159" y="132"/>
                </a:cubicBezTo>
                <a:cubicBezTo>
                  <a:pt x="159" y="131"/>
                  <a:pt x="160" y="130"/>
                  <a:pt x="160" y="129"/>
                </a:cubicBezTo>
                <a:cubicBezTo>
                  <a:pt x="160" y="129"/>
                  <a:pt x="160" y="128"/>
                  <a:pt x="160" y="127"/>
                </a:cubicBezTo>
                <a:cubicBezTo>
                  <a:pt x="160" y="127"/>
                  <a:pt x="161" y="127"/>
                  <a:pt x="161" y="126"/>
                </a:cubicBezTo>
                <a:cubicBezTo>
                  <a:pt x="161" y="126"/>
                  <a:pt x="161" y="125"/>
                  <a:pt x="161" y="125"/>
                </a:cubicBezTo>
                <a:cubicBezTo>
                  <a:pt x="161" y="124"/>
                  <a:pt x="160" y="124"/>
                  <a:pt x="159" y="124"/>
                </a:cubicBezTo>
                <a:cubicBezTo>
                  <a:pt x="159" y="124"/>
                  <a:pt x="159" y="124"/>
                  <a:pt x="159" y="123"/>
                </a:cubicBezTo>
                <a:cubicBezTo>
                  <a:pt x="159" y="123"/>
                  <a:pt x="159" y="123"/>
                  <a:pt x="158" y="123"/>
                </a:cubicBezTo>
                <a:cubicBezTo>
                  <a:pt x="158" y="122"/>
                  <a:pt x="159" y="121"/>
                  <a:pt x="159" y="120"/>
                </a:cubicBezTo>
                <a:cubicBezTo>
                  <a:pt x="158" y="121"/>
                  <a:pt x="157" y="121"/>
                  <a:pt x="156" y="122"/>
                </a:cubicBezTo>
                <a:cubicBezTo>
                  <a:pt x="156" y="122"/>
                  <a:pt x="155" y="122"/>
                  <a:pt x="155" y="123"/>
                </a:cubicBezTo>
                <a:cubicBezTo>
                  <a:pt x="155" y="123"/>
                  <a:pt x="155" y="124"/>
                  <a:pt x="155" y="124"/>
                </a:cubicBezTo>
                <a:cubicBezTo>
                  <a:pt x="156" y="125"/>
                  <a:pt x="157" y="125"/>
                  <a:pt x="156" y="126"/>
                </a:cubicBezTo>
                <a:cubicBezTo>
                  <a:pt x="155" y="127"/>
                  <a:pt x="155" y="127"/>
                  <a:pt x="155" y="128"/>
                </a:cubicBezTo>
                <a:cubicBezTo>
                  <a:pt x="155" y="128"/>
                  <a:pt x="155" y="128"/>
                  <a:pt x="154" y="128"/>
                </a:cubicBezTo>
                <a:cubicBezTo>
                  <a:pt x="153" y="129"/>
                  <a:pt x="153" y="128"/>
                  <a:pt x="152" y="128"/>
                </a:cubicBezTo>
                <a:cubicBezTo>
                  <a:pt x="151" y="127"/>
                  <a:pt x="150" y="128"/>
                  <a:pt x="149" y="127"/>
                </a:cubicBezTo>
                <a:cubicBezTo>
                  <a:pt x="148" y="126"/>
                  <a:pt x="147" y="126"/>
                  <a:pt x="146" y="126"/>
                </a:cubicBezTo>
                <a:cubicBezTo>
                  <a:pt x="146" y="125"/>
                  <a:pt x="145" y="125"/>
                  <a:pt x="145" y="125"/>
                </a:cubicBezTo>
                <a:cubicBezTo>
                  <a:pt x="145" y="124"/>
                  <a:pt x="144" y="124"/>
                  <a:pt x="144" y="124"/>
                </a:cubicBezTo>
                <a:cubicBezTo>
                  <a:pt x="144" y="123"/>
                  <a:pt x="145" y="122"/>
                  <a:pt x="145" y="122"/>
                </a:cubicBezTo>
                <a:cubicBezTo>
                  <a:pt x="145" y="122"/>
                  <a:pt x="145" y="121"/>
                  <a:pt x="146" y="121"/>
                </a:cubicBezTo>
                <a:cubicBezTo>
                  <a:pt x="146" y="121"/>
                  <a:pt x="146" y="121"/>
                  <a:pt x="147" y="120"/>
                </a:cubicBezTo>
                <a:cubicBezTo>
                  <a:pt x="147" y="120"/>
                  <a:pt x="147" y="120"/>
                  <a:pt x="148" y="120"/>
                </a:cubicBezTo>
                <a:cubicBezTo>
                  <a:pt x="148" y="119"/>
                  <a:pt x="149" y="119"/>
                  <a:pt x="149" y="119"/>
                </a:cubicBezTo>
                <a:cubicBezTo>
                  <a:pt x="150" y="118"/>
                  <a:pt x="150" y="118"/>
                  <a:pt x="149" y="117"/>
                </a:cubicBezTo>
                <a:cubicBezTo>
                  <a:pt x="149" y="117"/>
                  <a:pt x="149" y="116"/>
                  <a:pt x="148" y="116"/>
                </a:cubicBezTo>
                <a:cubicBezTo>
                  <a:pt x="148" y="116"/>
                  <a:pt x="147" y="117"/>
                  <a:pt x="147" y="117"/>
                </a:cubicBezTo>
                <a:cubicBezTo>
                  <a:pt x="146" y="117"/>
                  <a:pt x="145" y="118"/>
                  <a:pt x="145" y="118"/>
                </a:cubicBezTo>
                <a:cubicBezTo>
                  <a:pt x="144" y="118"/>
                  <a:pt x="144" y="118"/>
                  <a:pt x="144" y="118"/>
                </a:cubicBezTo>
                <a:cubicBezTo>
                  <a:pt x="144" y="118"/>
                  <a:pt x="144" y="118"/>
                  <a:pt x="143" y="118"/>
                </a:cubicBezTo>
                <a:cubicBezTo>
                  <a:pt x="143" y="118"/>
                  <a:pt x="142" y="119"/>
                  <a:pt x="142" y="119"/>
                </a:cubicBezTo>
                <a:cubicBezTo>
                  <a:pt x="141" y="119"/>
                  <a:pt x="141" y="120"/>
                  <a:pt x="140" y="120"/>
                </a:cubicBezTo>
                <a:cubicBezTo>
                  <a:pt x="139" y="120"/>
                  <a:pt x="139" y="120"/>
                  <a:pt x="138" y="121"/>
                </a:cubicBezTo>
                <a:cubicBezTo>
                  <a:pt x="137" y="121"/>
                  <a:pt x="137" y="121"/>
                  <a:pt x="136" y="121"/>
                </a:cubicBezTo>
                <a:cubicBezTo>
                  <a:pt x="135" y="121"/>
                  <a:pt x="133" y="121"/>
                  <a:pt x="132" y="121"/>
                </a:cubicBezTo>
                <a:cubicBezTo>
                  <a:pt x="131" y="121"/>
                  <a:pt x="130" y="121"/>
                  <a:pt x="129" y="121"/>
                </a:cubicBezTo>
                <a:cubicBezTo>
                  <a:pt x="129" y="121"/>
                  <a:pt x="129" y="121"/>
                  <a:pt x="129" y="121"/>
                </a:cubicBezTo>
                <a:cubicBezTo>
                  <a:pt x="128" y="120"/>
                  <a:pt x="128" y="120"/>
                  <a:pt x="128" y="120"/>
                </a:cubicBezTo>
                <a:cubicBezTo>
                  <a:pt x="127" y="120"/>
                  <a:pt x="127" y="120"/>
                  <a:pt x="126" y="119"/>
                </a:cubicBezTo>
                <a:cubicBezTo>
                  <a:pt x="126" y="119"/>
                  <a:pt x="126" y="119"/>
                  <a:pt x="126" y="119"/>
                </a:cubicBezTo>
                <a:cubicBezTo>
                  <a:pt x="125" y="118"/>
                  <a:pt x="125" y="118"/>
                  <a:pt x="125" y="118"/>
                </a:cubicBezTo>
                <a:cubicBezTo>
                  <a:pt x="124" y="118"/>
                  <a:pt x="125" y="117"/>
                  <a:pt x="125" y="116"/>
                </a:cubicBezTo>
                <a:cubicBezTo>
                  <a:pt x="125" y="115"/>
                  <a:pt x="125" y="115"/>
                  <a:pt x="126" y="114"/>
                </a:cubicBezTo>
                <a:cubicBezTo>
                  <a:pt x="127" y="113"/>
                  <a:pt x="128" y="112"/>
                  <a:pt x="128" y="112"/>
                </a:cubicBezTo>
                <a:cubicBezTo>
                  <a:pt x="128" y="111"/>
                  <a:pt x="126" y="111"/>
                  <a:pt x="126" y="111"/>
                </a:cubicBezTo>
                <a:cubicBezTo>
                  <a:pt x="125" y="111"/>
                  <a:pt x="125" y="112"/>
                  <a:pt x="125" y="113"/>
                </a:cubicBezTo>
                <a:cubicBezTo>
                  <a:pt x="125" y="113"/>
                  <a:pt x="124" y="113"/>
                  <a:pt x="124" y="114"/>
                </a:cubicBezTo>
                <a:cubicBezTo>
                  <a:pt x="124" y="114"/>
                  <a:pt x="124" y="114"/>
                  <a:pt x="124" y="115"/>
                </a:cubicBezTo>
                <a:cubicBezTo>
                  <a:pt x="123" y="116"/>
                  <a:pt x="120" y="116"/>
                  <a:pt x="120" y="115"/>
                </a:cubicBezTo>
                <a:cubicBezTo>
                  <a:pt x="119" y="115"/>
                  <a:pt x="120" y="114"/>
                  <a:pt x="120" y="114"/>
                </a:cubicBezTo>
                <a:cubicBezTo>
                  <a:pt x="120" y="113"/>
                  <a:pt x="120" y="112"/>
                  <a:pt x="120" y="112"/>
                </a:cubicBezTo>
                <a:cubicBezTo>
                  <a:pt x="121" y="111"/>
                  <a:pt x="121" y="110"/>
                  <a:pt x="122" y="110"/>
                </a:cubicBezTo>
                <a:cubicBezTo>
                  <a:pt x="122" y="110"/>
                  <a:pt x="123" y="109"/>
                  <a:pt x="124" y="109"/>
                </a:cubicBezTo>
                <a:cubicBezTo>
                  <a:pt x="124" y="109"/>
                  <a:pt x="124" y="110"/>
                  <a:pt x="125" y="110"/>
                </a:cubicBezTo>
                <a:cubicBezTo>
                  <a:pt x="125" y="110"/>
                  <a:pt x="125" y="110"/>
                  <a:pt x="126" y="110"/>
                </a:cubicBezTo>
                <a:cubicBezTo>
                  <a:pt x="127" y="110"/>
                  <a:pt x="127" y="111"/>
                  <a:pt x="128" y="110"/>
                </a:cubicBezTo>
                <a:cubicBezTo>
                  <a:pt x="130" y="110"/>
                  <a:pt x="130" y="109"/>
                  <a:pt x="131" y="108"/>
                </a:cubicBezTo>
                <a:cubicBezTo>
                  <a:pt x="132" y="108"/>
                  <a:pt x="132" y="108"/>
                  <a:pt x="133" y="108"/>
                </a:cubicBezTo>
                <a:cubicBezTo>
                  <a:pt x="134" y="108"/>
                  <a:pt x="135" y="108"/>
                  <a:pt x="136" y="108"/>
                </a:cubicBezTo>
                <a:cubicBezTo>
                  <a:pt x="136" y="108"/>
                  <a:pt x="136" y="108"/>
                  <a:pt x="137" y="108"/>
                </a:cubicBezTo>
                <a:cubicBezTo>
                  <a:pt x="137" y="109"/>
                  <a:pt x="137" y="109"/>
                  <a:pt x="137" y="109"/>
                </a:cubicBezTo>
                <a:cubicBezTo>
                  <a:pt x="138" y="110"/>
                  <a:pt x="138" y="110"/>
                  <a:pt x="139" y="110"/>
                </a:cubicBezTo>
                <a:cubicBezTo>
                  <a:pt x="139" y="110"/>
                  <a:pt x="139" y="111"/>
                  <a:pt x="139" y="111"/>
                </a:cubicBezTo>
                <a:cubicBezTo>
                  <a:pt x="140" y="111"/>
                  <a:pt x="139" y="112"/>
                  <a:pt x="140" y="112"/>
                </a:cubicBezTo>
                <a:cubicBezTo>
                  <a:pt x="141" y="112"/>
                  <a:pt x="142" y="112"/>
                  <a:pt x="143" y="113"/>
                </a:cubicBezTo>
                <a:cubicBezTo>
                  <a:pt x="143" y="114"/>
                  <a:pt x="144" y="114"/>
                  <a:pt x="145" y="114"/>
                </a:cubicBezTo>
                <a:cubicBezTo>
                  <a:pt x="146" y="114"/>
                  <a:pt x="147" y="115"/>
                  <a:pt x="148" y="115"/>
                </a:cubicBezTo>
                <a:cubicBezTo>
                  <a:pt x="148" y="115"/>
                  <a:pt x="148" y="115"/>
                  <a:pt x="149" y="115"/>
                </a:cubicBezTo>
                <a:cubicBezTo>
                  <a:pt x="149" y="115"/>
                  <a:pt x="149" y="116"/>
                  <a:pt x="149" y="116"/>
                </a:cubicBezTo>
                <a:cubicBezTo>
                  <a:pt x="150" y="116"/>
                  <a:pt x="151" y="116"/>
                  <a:pt x="151" y="116"/>
                </a:cubicBezTo>
                <a:cubicBezTo>
                  <a:pt x="152" y="115"/>
                  <a:pt x="152" y="115"/>
                  <a:pt x="152" y="114"/>
                </a:cubicBezTo>
                <a:cubicBezTo>
                  <a:pt x="153" y="114"/>
                  <a:pt x="153" y="114"/>
                  <a:pt x="153" y="115"/>
                </a:cubicBezTo>
                <a:cubicBezTo>
                  <a:pt x="154" y="115"/>
                  <a:pt x="154" y="115"/>
                  <a:pt x="154" y="115"/>
                </a:cubicBezTo>
                <a:cubicBezTo>
                  <a:pt x="155" y="116"/>
                  <a:pt x="156" y="116"/>
                  <a:pt x="157" y="115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3" y="113"/>
                  <a:pt x="152" y="113"/>
                </a:cubicBezTo>
                <a:close/>
                <a:moveTo>
                  <a:pt x="70" y="140"/>
                </a:moveTo>
                <a:cubicBezTo>
                  <a:pt x="70" y="140"/>
                  <a:pt x="70" y="140"/>
                  <a:pt x="71" y="140"/>
                </a:cubicBezTo>
                <a:cubicBezTo>
                  <a:pt x="71" y="140"/>
                  <a:pt x="72" y="141"/>
                  <a:pt x="72" y="141"/>
                </a:cubicBezTo>
                <a:cubicBezTo>
                  <a:pt x="72" y="141"/>
                  <a:pt x="73" y="142"/>
                  <a:pt x="73" y="142"/>
                </a:cubicBezTo>
                <a:cubicBezTo>
                  <a:pt x="74" y="142"/>
                  <a:pt x="74" y="142"/>
                  <a:pt x="75" y="143"/>
                </a:cubicBezTo>
                <a:cubicBezTo>
                  <a:pt x="75" y="143"/>
                  <a:pt x="75" y="143"/>
                  <a:pt x="76" y="143"/>
                </a:cubicBezTo>
                <a:cubicBezTo>
                  <a:pt x="76" y="143"/>
                  <a:pt x="76" y="143"/>
                  <a:pt x="76" y="144"/>
                </a:cubicBezTo>
                <a:cubicBezTo>
                  <a:pt x="77" y="144"/>
                  <a:pt x="77" y="143"/>
                  <a:pt x="77" y="143"/>
                </a:cubicBezTo>
                <a:cubicBezTo>
                  <a:pt x="77" y="143"/>
                  <a:pt x="78" y="142"/>
                  <a:pt x="78" y="142"/>
                </a:cubicBezTo>
                <a:cubicBezTo>
                  <a:pt x="79" y="141"/>
                  <a:pt x="79" y="141"/>
                  <a:pt x="79" y="141"/>
                </a:cubicBezTo>
                <a:cubicBezTo>
                  <a:pt x="80" y="140"/>
                  <a:pt x="81" y="139"/>
                  <a:pt x="80" y="139"/>
                </a:cubicBezTo>
                <a:cubicBezTo>
                  <a:pt x="79" y="139"/>
                  <a:pt x="79" y="139"/>
                  <a:pt x="78" y="139"/>
                </a:cubicBezTo>
                <a:cubicBezTo>
                  <a:pt x="78" y="139"/>
                  <a:pt x="78" y="139"/>
                  <a:pt x="77" y="139"/>
                </a:cubicBezTo>
                <a:cubicBezTo>
                  <a:pt x="77" y="138"/>
                  <a:pt x="77" y="138"/>
                  <a:pt x="76" y="138"/>
                </a:cubicBezTo>
                <a:cubicBezTo>
                  <a:pt x="76" y="138"/>
                  <a:pt x="76" y="138"/>
                  <a:pt x="75" y="138"/>
                </a:cubicBezTo>
                <a:cubicBezTo>
                  <a:pt x="75" y="138"/>
                  <a:pt x="75" y="137"/>
                  <a:pt x="75" y="137"/>
                </a:cubicBezTo>
                <a:cubicBezTo>
                  <a:pt x="75" y="137"/>
                  <a:pt x="74" y="137"/>
                  <a:pt x="74" y="137"/>
                </a:cubicBezTo>
                <a:cubicBezTo>
                  <a:pt x="73" y="138"/>
                  <a:pt x="73" y="138"/>
                  <a:pt x="73" y="138"/>
                </a:cubicBezTo>
                <a:cubicBezTo>
                  <a:pt x="73" y="138"/>
                  <a:pt x="72" y="138"/>
                  <a:pt x="72" y="138"/>
                </a:cubicBezTo>
                <a:cubicBezTo>
                  <a:pt x="72" y="139"/>
                  <a:pt x="71" y="139"/>
                  <a:pt x="71" y="139"/>
                </a:cubicBezTo>
                <a:cubicBezTo>
                  <a:pt x="70" y="139"/>
                  <a:pt x="70" y="139"/>
                  <a:pt x="70" y="139"/>
                </a:cubicBezTo>
                <a:cubicBezTo>
                  <a:pt x="69" y="140"/>
                  <a:pt x="69" y="140"/>
                  <a:pt x="70" y="14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" name="Freeform 41">
            <a:extLst>
              <a:ext uri="{FF2B5EF4-FFF2-40B4-BE49-F238E27FC236}">
                <a16:creationId xmlns:a16="http://schemas.microsoft.com/office/drawing/2014/main" id="{3E42F687-863A-459A-9F60-7DF7866FACFB}"/>
              </a:ext>
            </a:extLst>
          </p:cNvPr>
          <p:cNvSpPr>
            <a:spLocks/>
          </p:cNvSpPr>
          <p:nvPr/>
        </p:nvSpPr>
        <p:spPr bwMode="auto">
          <a:xfrm>
            <a:off x="8824614" y="3146473"/>
            <a:ext cx="1019410" cy="459313"/>
          </a:xfrm>
          <a:custGeom>
            <a:avLst/>
            <a:gdLst>
              <a:gd name="T0" fmla="*/ 249 w 257"/>
              <a:gd name="T1" fmla="*/ 67 h 116"/>
              <a:gd name="T2" fmla="*/ 243 w 257"/>
              <a:gd name="T3" fmla="*/ 59 h 116"/>
              <a:gd name="T4" fmla="*/ 240 w 257"/>
              <a:gd name="T5" fmla="*/ 51 h 116"/>
              <a:gd name="T6" fmla="*/ 234 w 257"/>
              <a:gd name="T7" fmla="*/ 45 h 116"/>
              <a:gd name="T8" fmla="*/ 236 w 257"/>
              <a:gd name="T9" fmla="*/ 39 h 116"/>
              <a:gd name="T10" fmla="*/ 235 w 257"/>
              <a:gd name="T11" fmla="*/ 30 h 116"/>
              <a:gd name="T12" fmla="*/ 228 w 257"/>
              <a:gd name="T13" fmla="*/ 25 h 116"/>
              <a:gd name="T14" fmla="*/ 226 w 257"/>
              <a:gd name="T15" fmla="*/ 18 h 116"/>
              <a:gd name="T16" fmla="*/ 218 w 257"/>
              <a:gd name="T17" fmla="*/ 21 h 116"/>
              <a:gd name="T18" fmla="*/ 213 w 257"/>
              <a:gd name="T19" fmla="*/ 23 h 116"/>
              <a:gd name="T20" fmla="*/ 206 w 257"/>
              <a:gd name="T21" fmla="*/ 20 h 116"/>
              <a:gd name="T22" fmla="*/ 201 w 257"/>
              <a:gd name="T23" fmla="*/ 20 h 116"/>
              <a:gd name="T24" fmla="*/ 192 w 257"/>
              <a:gd name="T25" fmla="*/ 17 h 116"/>
              <a:gd name="T26" fmla="*/ 180 w 257"/>
              <a:gd name="T27" fmla="*/ 14 h 116"/>
              <a:gd name="T28" fmla="*/ 177 w 257"/>
              <a:gd name="T29" fmla="*/ 6 h 116"/>
              <a:gd name="T30" fmla="*/ 172 w 257"/>
              <a:gd name="T31" fmla="*/ 1 h 116"/>
              <a:gd name="T32" fmla="*/ 166 w 257"/>
              <a:gd name="T33" fmla="*/ 3 h 116"/>
              <a:gd name="T34" fmla="*/ 160 w 257"/>
              <a:gd name="T35" fmla="*/ 0 h 116"/>
              <a:gd name="T36" fmla="*/ 157 w 257"/>
              <a:gd name="T37" fmla="*/ 5 h 116"/>
              <a:gd name="T38" fmla="*/ 159 w 257"/>
              <a:gd name="T39" fmla="*/ 11 h 116"/>
              <a:gd name="T40" fmla="*/ 155 w 257"/>
              <a:gd name="T41" fmla="*/ 16 h 116"/>
              <a:gd name="T42" fmla="*/ 143 w 257"/>
              <a:gd name="T43" fmla="*/ 18 h 116"/>
              <a:gd name="T44" fmla="*/ 138 w 257"/>
              <a:gd name="T45" fmla="*/ 26 h 116"/>
              <a:gd name="T46" fmla="*/ 129 w 257"/>
              <a:gd name="T47" fmla="*/ 37 h 116"/>
              <a:gd name="T48" fmla="*/ 121 w 257"/>
              <a:gd name="T49" fmla="*/ 47 h 116"/>
              <a:gd name="T50" fmla="*/ 115 w 257"/>
              <a:gd name="T51" fmla="*/ 51 h 116"/>
              <a:gd name="T52" fmla="*/ 108 w 257"/>
              <a:gd name="T53" fmla="*/ 43 h 116"/>
              <a:gd name="T54" fmla="*/ 105 w 257"/>
              <a:gd name="T55" fmla="*/ 46 h 116"/>
              <a:gd name="T56" fmla="*/ 100 w 257"/>
              <a:gd name="T57" fmla="*/ 51 h 116"/>
              <a:gd name="T58" fmla="*/ 96 w 257"/>
              <a:gd name="T59" fmla="*/ 57 h 116"/>
              <a:gd name="T60" fmla="*/ 91 w 257"/>
              <a:gd name="T61" fmla="*/ 52 h 116"/>
              <a:gd name="T62" fmla="*/ 82 w 257"/>
              <a:gd name="T63" fmla="*/ 55 h 116"/>
              <a:gd name="T64" fmla="*/ 79 w 257"/>
              <a:gd name="T65" fmla="*/ 58 h 116"/>
              <a:gd name="T66" fmla="*/ 68 w 257"/>
              <a:gd name="T67" fmla="*/ 53 h 116"/>
              <a:gd name="T68" fmla="*/ 62 w 257"/>
              <a:gd name="T69" fmla="*/ 54 h 116"/>
              <a:gd name="T70" fmla="*/ 59 w 257"/>
              <a:gd name="T71" fmla="*/ 55 h 116"/>
              <a:gd name="T72" fmla="*/ 52 w 257"/>
              <a:gd name="T73" fmla="*/ 54 h 116"/>
              <a:gd name="T74" fmla="*/ 51 w 257"/>
              <a:gd name="T75" fmla="*/ 60 h 116"/>
              <a:gd name="T76" fmla="*/ 45 w 257"/>
              <a:gd name="T77" fmla="*/ 69 h 116"/>
              <a:gd name="T78" fmla="*/ 41 w 257"/>
              <a:gd name="T79" fmla="*/ 74 h 116"/>
              <a:gd name="T80" fmla="*/ 33 w 257"/>
              <a:gd name="T81" fmla="*/ 77 h 116"/>
              <a:gd name="T82" fmla="*/ 31 w 257"/>
              <a:gd name="T83" fmla="*/ 92 h 116"/>
              <a:gd name="T84" fmla="*/ 13 w 257"/>
              <a:gd name="T85" fmla="*/ 86 h 116"/>
              <a:gd name="T86" fmla="*/ 12 w 257"/>
              <a:gd name="T87" fmla="*/ 97 h 116"/>
              <a:gd name="T88" fmla="*/ 8 w 257"/>
              <a:gd name="T89" fmla="*/ 105 h 116"/>
              <a:gd name="T90" fmla="*/ 5 w 257"/>
              <a:gd name="T91" fmla="*/ 111 h 116"/>
              <a:gd name="T92" fmla="*/ 47 w 257"/>
              <a:gd name="T93" fmla="*/ 116 h 116"/>
              <a:gd name="T94" fmla="*/ 55 w 257"/>
              <a:gd name="T95" fmla="*/ 110 h 116"/>
              <a:gd name="T96" fmla="*/ 184 w 257"/>
              <a:gd name="T97" fmla="*/ 111 h 116"/>
              <a:gd name="T98" fmla="*/ 213 w 257"/>
              <a:gd name="T99" fmla="*/ 107 h 116"/>
              <a:gd name="T100" fmla="*/ 223 w 257"/>
              <a:gd name="T101" fmla="*/ 100 h 116"/>
              <a:gd name="T102" fmla="*/ 230 w 257"/>
              <a:gd name="T103" fmla="*/ 93 h 116"/>
              <a:gd name="T104" fmla="*/ 240 w 257"/>
              <a:gd name="T105" fmla="*/ 84 h 116"/>
              <a:gd name="T106" fmla="*/ 255 w 257"/>
              <a:gd name="T107" fmla="*/ 71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57" h="116">
                <a:moveTo>
                  <a:pt x="255" y="71"/>
                </a:moveTo>
                <a:cubicBezTo>
                  <a:pt x="252" y="70"/>
                  <a:pt x="252" y="70"/>
                  <a:pt x="252" y="70"/>
                </a:cubicBezTo>
                <a:cubicBezTo>
                  <a:pt x="251" y="67"/>
                  <a:pt x="251" y="67"/>
                  <a:pt x="251" y="67"/>
                </a:cubicBezTo>
                <a:cubicBezTo>
                  <a:pt x="249" y="67"/>
                  <a:pt x="249" y="67"/>
                  <a:pt x="249" y="67"/>
                </a:cubicBezTo>
                <a:cubicBezTo>
                  <a:pt x="249" y="67"/>
                  <a:pt x="245" y="64"/>
                  <a:pt x="245" y="64"/>
                </a:cubicBezTo>
                <a:cubicBezTo>
                  <a:pt x="245" y="64"/>
                  <a:pt x="245" y="63"/>
                  <a:pt x="245" y="62"/>
                </a:cubicBezTo>
                <a:cubicBezTo>
                  <a:pt x="245" y="62"/>
                  <a:pt x="246" y="61"/>
                  <a:pt x="246" y="61"/>
                </a:cubicBezTo>
                <a:cubicBezTo>
                  <a:pt x="243" y="59"/>
                  <a:pt x="243" y="59"/>
                  <a:pt x="243" y="59"/>
                </a:cubicBezTo>
                <a:cubicBezTo>
                  <a:pt x="243" y="59"/>
                  <a:pt x="242" y="55"/>
                  <a:pt x="242" y="55"/>
                </a:cubicBezTo>
                <a:cubicBezTo>
                  <a:pt x="242" y="55"/>
                  <a:pt x="239" y="54"/>
                  <a:pt x="239" y="54"/>
                </a:cubicBezTo>
                <a:cubicBezTo>
                  <a:pt x="240" y="52"/>
                  <a:pt x="240" y="52"/>
                  <a:pt x="240" y="52"/>
                </a:cubicBezTo>
                <a:cubicBezTo>
                  <a:pt x="240" y="52"/>
                  <a:pt x="240" y="51"/>
                  <a:pt x="240" y="51"/>
                </a:cubicBezTo>
                <a:cubicBezTo>
                  <a:pt x="240" y="51"/>
                  <a:pt x="238" y="50"/>
                  <a:pt x="238" y="50"/>
                </a:cubicBezTo>
                <a:cubicBezTo>
                  <a:pt x="238" y="50"/>
                  <a:pt x="238" y="48"/>
                  <a:pt x="237" y="48"/>
                </a:cubicBezTo>
                <a:cubicBezTo>
                  <a:pt x="237" y="48"/>
                  <a:pt x="236" y="45"/>
                  <a:pt x="236" y="45"/>
                </a:cubicBezTo>
                <a:cubicBezTo>
                  <a:pt x="236" y="45"/>
                  <a:pt x="234" y="45"/>
                  <a:pt x="234" y="45"/>
                </a:cubicBezTo>
                <a:cubicBezTo>
                  <a:pt x="234" y="44"/>
                  <a:pt x="235" y="43"/>
                  <a:pt x="235" y="43"/>
                </a:cubicBezTo>
                <a:cubicBezTo>
                  <a:pt x="236" y="42"/>
                  <a:pt x="236" y="42"/>
                  <a:pt x="236" y="42"/>
                </a:cubicBezTo>
                <a:cubicBezTo>
                  <a:pt x="235" y="40"/>
                  <a:pt x="235" y="40"/>
                  <a:pt x="235" y="40"/>
                </a:cubicBezTo>
                <a:cubicBezTo>
                  <a:pt x="235" y="40"/>
                  <a:pt x="236" y="39"/>
                  <a:pt x="236" y="39"/>
                </a:cubicBezTo>
                <a:cubicBezTo>
                  <a:pt x="236" y="39"/>
                  <a:pt x="236" y="36"/>
                  <a:pt x="236" y="36"/>
                </a:cubicBezTo>
                <a:cubicBezTo>
                  <a:pt x="236" y="35"/>
                  <a:pt x="236" y="33"/>
                  <a:pt x="236" y="33"/>
                </a:cubicBezTo>
                <a:cubicBezTo>
                  <a:pt x="235" y="30"/>
                  <a:pt x="235" y="30"/>
                  <a:pt x="235" y="30"/>
                </a:cubicBezTo>
                <a:cubicBezTo>
                  <a:pt x="235" y="30"/>
                  <a:pt x="235" y="30"/>
                  <a:pt x="235" y="30"/>
                </a:cubicBezTo>
                <a:cubicBezTo>
                  <a:pt x="235" y="29"/>
                  <a:pt x="235" y="28"/>
                  <a:pt x="234" y="28"/>
                </a:cubicBezTo>
                <a:cubicBezTo>
                  <a:pt x="233" y="27"/>
                  <a:pt x="232" y="26"/>
                  <a:pt x="231" y="26"/>
                </a:cubicBezTo>
                <a:cubicBezTo>
                  <a:pt x="231" y="26"/>
                  <a:pt x="230" y="26"/>
                  <a:pt x="230" y="25"/>
                </a:cubicBezTo>
                <a:cubicBezTo>
                  <a:pt x="229" y="25"/>
                  <a:pt x="229" y="25"/>
                  <a:pt x="228" y="25"/>
                </a:cubicBezTo>
                <a:cubicBezTo>
                  <a:pt x="227" y="24"/>
                  <a:pt x="227" y="23"/>
                  <a:pt x="226" y="23"/>
                </a:cubicBezTo>
                <a:cubicBezTo>
                  <a:pt x="226" y="22"/>
                  <a:pt x="226" y="21"/>
                  <a:pt x="226" y="20"/>
                </a:cubicBezTo>
                <a:cubicBezTo>
                  <a:pt x="226" y="19"/>
                  <a:pt x="226" y="19"/>
                  <a:pt x="226" y="19"/>
                </a:cubicBezTo>
                <a:cubicBezTo>
                  <a:pt x="226" y="18"/>
                  <a:pt x="226" y="18"/>
                  <a:pt x="226" y="18"/>
                </a:cubicBezTo>
                <a:cubicBezTo>
                  <a:pt x="225" y="17"/>
                  <a:pt x="224" y="17"/>
                  <a:pt x="224" y="17"/>
                </a:cubicBezTo>
                <a:cubicBezTo>
                  <a:pt x="223" y="18"/>
                  <a:pt x="222" y="18"/>
                  <a:pt x="221" y="18"/>
                </a:cubicBezTo>
                <a:cubicBezTo>
                  <a:pt x="221" y="18"/>
                  <a:pt x="220" y="19"/>
                  <a:pt x="220" y="20"/>
                </a:cubicBezTo>
                <a:cubicBezTo>
                  <a:pt x="219" y="20"/>
                  <a:pt x="219" y="21"/>
                  <a:pt x="218" y="21"/>
                </a:cubicBezTo>
                <a:cubicBezTo>
                  <a:pt x="218" y="22"/>
                  <a:pt x="217" y="22"/>
                  <a:pt x="217" y="22"/>
                </a:cubicBezTo>
                <a:cubicBezTo>
                  <a:pt x="216" y="23"/>
                  <a:pt x="216" y="23"/>
                  <a:pt x="215" y="23"/>
                </a:cubicBezTo>
                <a:cubicBezTo>
                  <a:pt x="215" y="23"/>
                  <a:pt x="214" y="23"/>
                  <a:pt x="214" y="23"/>
                </a:cubicBezTo>
                <a:cubicBezTo>
                  <a:pt x="213" y="23"/>
                  <a:pt x="213" y="23"/>
                  <a:pt x="213" y="23"/>
                </a:cubicBezTo>
                <a:cubicBezTo>
                  <a:pt x="212" y="23"/>
                  <a:pt x="211" y="24"/>
                  <a:pt x="211" y="24"/>
                </a:cubicBezTo>
                <a:cubicBezTo>
                  <a:pt x="211" y="24"/>
                  <a:pt x="210" y="23"/>
                  <a:pt x="210" y="23"/>
                </a:cubicBezTo>
                <a:cubicBezTo>
                  <a:pt x="209" y="22"/>
                  <a:pt x="208" y="21"/>
                  <a:pt x="207" y="21"/>
                </a:cubicBezTo>
                <a:cubicBezTo>
                  <a:pt x="207" y="21"/>
                  <a:pt x="206" y="20"/>
                  <a:pt x="206" y="20"/>
                </a:cubicBezTo>
                <a:cubicBezTo>
                  <a:pt x="206" y="20"/>
                  <a:pt x="205" y="20"/>
                  <a:pt x="205" y="20"/>
                </a:cubicBezTo>
                <a:cubicBezTo>
                  <a:pt x="205" y="19"/>
                  <a:pt x="205" y="19"/>
                  <a:pt x="204" y="19"/>
                </a:cubicBezTo>
                <a:cubicBezTo>
                  <a:pt x="204" y="19"/>
                  <a:pt x="203" y="20"/>
                  <a:pt x="202" y="20"/>
                </a:cubicBezTo>
                <a:cubicBezTo>
                  <a:pt x="202" y="20"/>
                  <a:pt x="201" y="20"/>
                  <a:pt x="201" y="20"/>
                </a:cubicBezTo>
                <a:cubicBezTo>
                  <a:pt x="200" y="21"/>
                  <a:pt x="200" y="21"/>
                  <a:pt x="199" y="22"/>
                </a:cubicBezTo>
                <a:cubicBezTo>
                  <a:pt x="199" y="22"/>
                  <a:pt x="197" y="23"/>
                  <a:pt x="196" y="22"/>
                </a:cubicBezTo>
                <a:cubicBezTo>
                  <a:pt x="195" y="21"/>
                  <a:pt x="195" y="20"/>
                  <a:pt x="194" y="19"/>
                </a:cubicBezTo>
                <a:cubicBezTo>
                  <a:pt x="193" y="18"/>
                  <a:pt x="193" y="18"/>
                  <a:pt x="192" y="17"/>
                </a:cubicBezTo>
                <a:cubicBezTo>
                  <a:pt x="192" y="17"/>
                  <a:pt x="191" y="16"/>
                  <a:pt x="190" y="16"/>
                </a:cubicBezTo>
                <a:cubicBezTo>
                  <a:pt x="189" y="15"/>
                  <a:pt x="187" y="16"/>
                  <a:pt x="186" y="16"/>
                </a:cubicBezTo>
                <a:cubicBezTo>
                  <a:pt x="185" y="16"/>
                  <a:pt x="184" y="16"/>
                  <a:pt x="182" y="16"/>
                </a:cubicBezTo>
                <a:cubicBezTo>
                  <a:pt x="181" y="16"/>
                  <a:pt x="181" y="15"/>
                  <a:pt x="180" y="14"/>
                </a:cubicBezTo>
                <a:cubicBezTo>
                  <a:pt x="180" y="13"/>
                  <a:pt x="179" y="12"/>
                  <a:pt x="179" y="11"/>
                </a:cubicBezTo>
                <a:cubicBezTo>
                  <a:pt x="178" y="10"/>
                  <a:pt x="178" y="9"/>
                  <a:pt x="178" y="8"/>
                </a:cubicBezTo>
                <a:cubicBezTo>
                  <a:pt x="178" y="8"/>
                  <a:pt x="177" y="8"/>
                  <a:pt x="177" y="7"/>
                </a:cubicBezTo>
                <a:cubicBezTo>
                  <a:pt x="177" y="7"/>
                  <a:pt x="177" y="7"/>
                  <a:pt x="177" y="6"/>
                </a:cubicBezTo>
                <a:cubicBezTo>
                  <a:pt x="177" y="6"/>
                  <a:pt x="176" y="5"/>
                  <a:pt x="176" y="5"/>
                </a:cubicBezTo>
                <a:cubicBezTo>
                  <a:pt x="176" y="5"/>
                  <a:pt x="175" y="4"/>
                  <a:pt x="175" y="4"/>
                </a:cubicBezTo>
                <a:cubicBezTo>
                  <a:pt x="174" y="4"/>
                  <a:pt x="173" y="3"/>
                  <a:pt x="173" y="2"/>
                </a:cubicBezTo>
                <a:cubicBezTo>
                  <a:pt x="172" y="2"/>
                  <a:pt x="172" y="2"/>
                  <a:pt x="172" y="1"/>
                </a:cubicBezTo>
                <a:cubicBezTo>
                  <a:pt x="172" y="1"/>
                  <a:pt x="171" y="1"/>
                  <a:pt x="170" y="1"/>
                </a:cubicBezTo>
                <a:cubicBezTo>
                  <a:pt x="170" y="1"/>
                  <a:pt x="169" y="2"/>
                  <a:pt x="168" y="2"/>
                </a:cubicBezTo>
                <a:cubicBezTo>
                  <a:pt x="168" y="2"/>
                  <a:pt x="167" y="2"/>
                  <a:pt x="167" y="3"/>
                </a:cubicBezTo>
                <a:cubicBezTo>
                  <a:pt x="167" y="3"/>
                  <a:pt x="166" y="3"/>
                  <a:pt x="166" y="3"/>
                </a:cubicBezTo>
                <a:cubicBezTo>
                  <a:pt x="165" y="3"/>
                  <a:pt x="164" y="2"/>
                  <a:pt x="164" y="2"/>
                </a:cubicBezTo>
                <a:cubicBezTo>
                  <a:pt x="163" y="2"/>
                  <a:pt x="163" y="1"/>
                  <a:pt x="163" y="1"/>
                </a:cubicBezTo>
                <a:cubicBezTo>
                  <a:pt x="162" y="0"/>
                  <a:pt x="162" y="0"/>
                  <a:pt x="161" y="0"/>
                </a:cubicBezTo>
                <a:cubicBezTo>
                  <a:pt x="161" y="0"/>
                  <a:pt x="160" y="0"/>
                  <a:pt x="160" y="0"/>
                </a:cubicBezTo>
                <a:cubicBezTo>
                  <a:pt x="160" y="0"/>
                  <a:pt x="159" y="1"/>
                  <a:pt x="159" y="1"/>
                </a:cubicBezTo>
                <a:cubicBezTo>
                  <a:pt x="159" y="1"/>
                  <a:pt x="159" y="1"/>
                  <a:pt x="159" y="1"/>
                </a:cubicBezTo>
                <a:cubicBezTo>
                  <a:pt x="158" y="3"/>
                  <a:pt x="158" y="3"/>
                  <a:pt x="158" y="3"/>
                </a:cubicBezTo>
                <a:cubicBezTo>
                  <a:pt x="158" y="3"/>
                  <a:pt x="157" y="4"/>
                  <a:pt x="157" y="5"/>
                </a:cubicBezTo>
                <a:cubicBezTo>
                  <a:pt x="157" y="6"/>
                  <a:pt x="158" y="6"/>
                  <a:pt x="158" y="7"/>
                </a:cubicBezTo>
                <a:cubicBezTo>
                  <a:pt x="158" y="7"/>
                  <a:pt x="159" y="8"/>
                  <a:pt x="158" y="9"/>
                </a:cubicBezTo>
                <a:cubicBezTo>
                  <a:pt x="158" y="10"/>
                  <a:pt x="158" y="10"/>
                  <a:pt x="158" y="11"/>
                </a:cubicBezTo>
                <a:cubicBezTo>
                  <a:pt x="158" y="11"/>
                  <a:pt x="158" y="11"/>
                  <a:pt x="159" y="11"/>
                </a:cubicBezTo>
                <a:cubicBezTo>
                  <a:pt x="160" y="11"/>
                  <a:pt x="160" y="12"/>
                  <a:pt x="160" y="13"/>
                </a:cubicBezTo>
                <a:cubicBezTo>
                  <a:pt x="160" y="13"/>
                  <a:pt x="159" y="14"/>
                  <a:pt x="159" y="14"/>
                </a:cubicBezTo>
                <a:cubicBezTo>
                  <a:pt x="159" y="14"/>
                  <a:pt x="160" y="16"/>
                  <a:pt x="159" y="16"/>
                </a:cubicBezTo>
                <a:cubicBezTo>
                  <a:pt x="158" y="17"/>
                  <a:pt x="157" y="16"/>
                  <a:pt x="155" y="16"/>
                </a:cubicBezTo>
                <a:cubicBezTo>
                  <a:pt x="153" y="16"/>
                  <a:pt x="153" y="16"/>
                  <a:pt x="152" y="17"/>
                </a:cubicBezTo>
                <a:cubicBezTo>
                  <a:pt x="151" y="17"/>
                  <a:pt x="150" y="19"/>
                  <a:pt x="149" y="19"/>
                </a:cubicBezTo>
                <a:cubicBezTo>
                  <a:pt x="147" y="20"/>
                  <a:pt x="147" y="20"/>
                  <a:pt x="146" y="20"/>
                </a:cubicBezTo>
                <a:cubicBezTo>
                  <a:pt x="145" y="20"/>
                  <a:pt x="144" y="18"/>
                  <a:pt x="143" y="18"/>
                </a:cubicBezTo>
                <a:cubicBezTo>
                  <a:pt x="143" y="18"/>
                  <a:pt x="142" y="18"/>
                  <a:pt x="141" y="18"/>
                </a:cubicBezTo>
                <a:cubicBezTo>
                  <a:pt x="140" y="18"/>
                  <a:pt x="139" y="18"/>
                  <a:pt x="138" y="19"/>
                </a:cubicBezTo>
                <a:cubicBezTo>
                  <a:pt x="137" y="19"/>
                  <a:pt x="137" y="22"/>
                  <a:pt x="137" y="23"/>
                </a:cubicBezTo>
                <a:cubicBezTo>
                  <a:pt x="137" y="24"/>
                  <a:pt x="138" y="25"/>
                  <a:pt x="138" y="26"/>
                </a:cubicBezTo>
                <a:cubicBezTo>
                  <a:pt x="138" y="27"/>
                  <a:pt x="137" y="29"/>
                  <a:pt x="137" y="29"/>
                </a:cubicBezTo>
                <a:cubicBezTo>
                  <a:pt x="137" y="29"/>
                  <a:pt x="132" y="31"/>
                  <a:pt x="132" y="32"/>
                </a:cubicBezTo>
                <a:cubicBezTo>
                  <a:pt x="131" y="33"/>
                  <a:pt x="131" y="34"/>
                  <a:pt x="131" y="35"/>
                </a:cubicBezTo>
                <a:cubicBezTo>
                  <a:pt x="131" y="36"/>
                  <a:pt x="130" y="36"/>
                  <a:pt x="129" y="37"/>
                </a:cubicBezTo>
                <a:cubicBezTo>
                  <a:pt x="128" y="38"/>
                  <a:pt x="128" y="38"/>
                  <a:pt x="127" y="38"/>
                </a:cubicBezTo>
                <a:cubicBezTo>
                  <a:pt x="126" y="38"/>
                  <a:pt x="125" y="39"/>
                  <a:pt x="124" y="39"/>
                </a:cubicBezTo>
                <a:cubicBezTo>
                  <a:pt x="123" y="40"/>
                  <a:pt x="123" y="41"/>
                  <a:pt x="122" y="42"/>
                </a:cubicBezTo>
                <a:cubicBezTo>
                  <a:pt x="122" y="43"/>
                  <a:pt x="121" y="46"/>
                  <a:pt x="121" y="47"/>
                </a:cubicBezTo>
                <a:cubicBezTo>
                  <a:pt x="121" y="48"/>
                  <a:pt x="121" y="49"/>
                  <a:pt x="121" y="49"/>
                </a:cubicBezTo>
                <a:cubicBezTo>
                  <a:pt x="121" y="50"/>
                  <a:pt x="119" y="50"/>
                  <a:pt x="119" y="50"/>
                </a:cubicBezTo>
                <a:cubicBezTo>
                  <a:pt x="118" y="50"/>
                  <a:pt x="117" y="52"/>
                  <a:pt x="117" y="52"/>
                </a:cubicBezTo>
                <a:cubicBezTo>
                  <a:pt x="117" y="52"/>
                  <a:pt x="116" y="51"/>
                  <a:pt x="115" y="51"/>
                </a:cubicBezTo>
                <a:cubicBezTo>
                  <a:pt x="115" y="50"/>
                  <a:pt x="114" y="50"/>
                  <a:pt x="113" y="49"/>
                </a:cubicBezTo>
                <a:cubicBezTo>
                  <a:pt x="112" y="49"/>
                  <a:pt x="111" y="49"/>
                  <a:pt x="110" y="48"/>
                </a:cubicBezTo>
                <a:cubicBezTo>
                  <a:pt x="109" y="48"/>
                  <a:pt x="109" y="46"/>
                  <a:pt x="109" y="45"/>
                </a:cubicBezTo>
                <a:cubicBezTo>
                  <a:pt x="108" y="44"/>
                  <a:pt x="108" y="44"/>
                  <a:pt x="108" y="43"/>
                </a:cubicBezTo>
                <a:cubicBezTo>
                  <a:pt x="108" y="43"/>
                  <a:pt x="106" y="42"/>
                  <a:pt x="106" y="42"/>
                </a:cubicBezTo>
                <a:cubicBezTo>
                  <a:pt x="106" y="42"/>
                  <a:pt x="106" y="42"/>
                  <a:pt x="106" y="43"/>
                </a:cubicBezTo>
                <a:cubicBezTo>
                  <a:pt x="105" y="44"/>
                  <a:pt x="107" y="44"/>
                  <a:pt x="107" y="45"/>
                </a:cubicBezTo>
                <a:cubicBezTo>
                  <a:pt x="107" y="45"/>
                  <a:pt x="105" y="46"/>
                  <a:pt x="105" y="46"/>
                </a:cubicBezTo>
                <a:cubicBezTo>
                  <a:pt x="104" y="46"/>
                  <a:pt x="102" y="45"/>
                  <a:pt x="102" y="46"/>
                </a:cubicBezTo>
                <a:cubicBezTo>
                  <a:pt x="102" y="46"/>
                  <a:pt x="103" y="47"/>
                  <a:pt x="103" y="48"/>
                </a:cubicBezTo>
                <a:cubicBezTo>
                  <a:pt x="103" y="48"/>
                  <a:pt x="101" y="48"/>
                  <a:pt x="101" y="49"/>
                </a:cubicBezTo>
                <a:cubicBezTo>
                  <a:pt x="100" y="49"/>
                  <a:pt x="100" y="50"/>
                  <a:pt x="100" y="51"/>
                </a:cubicBezTo>
                <a:cubicBezTo>
                  <a:pt x="101" y="52"/>
                  <a:pt x="101" y="54"/>
                  <a:pt x="101" y="54"/>
                </a:cubicBezTo>
                <a:cubicBezTo>
                  <a:pt x="100" y="54"/>
                  <a:pt x="99" y="54"/>
                  <a:pt x="98" y="54"/>
                </a:cubicBezTo>
                <a:cubicBezTo>
                  <a:pt x="98" y="54"/>
                  <a:pt x="98" y="56"/>
                  <a:pt x="98" y="57"/>
                </a:cubicBezTo>
                <a:cubicBezTo>
                  <a:pt x="97" y="58"/>
                  <a:pt x="96" y="57"/>
                  <a:pt x="96" y="57"/>
                </a:cubicBezTo>
                <a:cubicBezTo>
                  <a:pt x="96" y="57"/>
                  <a:pt x="96" y="55"/>
                  <a:pt x="96" y="55"/>
                </a:cubicBezTo>
                <a:cubicBezTo>
                  <a:pt x="96" y="54"/>
                  <a:pt x="95" y="55"/>
                  <a:pt x="95" y="55"/>
                </a:cubicBezTo>
                <a:cubicBezTo>
                  <a:pt x="94" y="55"/>
                  <a:pt x="93" y="55"/>
                  <a:pt x="93" y="54"/>
                </a:cubicBezTo>
                <a:cubicBezTo>
                  <a:pt x="92" y="54"/>
                  <a:pt x="91" y="53"/>
                  <a:pt x="91" y="52"/>
                </a:cubicBezTo>
                <a:cubicBezTo>
                  <a:pt x="91" y="52"/>
                  <a:pt x="90" y="51"/>
                  <a:pt x="90" y="51"/>
                </a:cubicBezTo>
                <a:cubicBezTo>
                  <a:pt x="90" y="51"/>
                  <a:pt x="88" y="52"/>
                  <a:pt x="88" y="53"/>
                </a:cubicBezTo>
                <a:cubicBezTo>
                  <a:pt x="87" y="53"/>
                  <a:pt x="85" y="54"/>
                  <a:pt x="84" y="54"/>
                </a:cubicBezTo>
                <a:cubicBezTo>
                  <a:pt x="83" y="55"/>
                  <a:pt x="82" y="55"/>
                  <a:pt x="82" y="55"/>
                </a:cubicBezTo>
                <a:cubicBezTo>
                  <a:pt x="82" y="56"/>
                  <a:pt x="82" y="57"/>
                  <a:pt x="81" y="58"/>
                </a:cubicBezTo>
                <a:cubicBezTo>
                  <a:pt x="81" y="58"/>
                  <a:pt x="81" y="59"/>
                  <a:pt x="80" y="60"/>
                </a:cubicBezTo>
                <a:cubicBezTo>
                  <a:pt x="80" y="60"/>
                  <a:pt x="79" y="60"/>
                  <a:pt x="79" y="60"/>
                </a:cubicBezTo>
                <a:cubicBezTo>
                  <a:pt x="79" y="60"/>
                  <a:pt x="79" y="59"/>
                  <a:pt x="79" y="58"/>
                </a:cubicBezTo>
                <a:cubicBezTo>
                  <a:pt x="78" y="58"/>
                  <a:pt x="78" y="57"/>
                  <a:pt x="78" y="57"/>
                </a:cubicBezTo>
                <a:cubicBezTo>
                  <a:pt x="78" y="57"/>
                  <a:pt x="77" y="57"/>
                  <a:pt x="76" y="57"/>
                </a:cubicBezTo>
                <a:cubicBezTo>
                  <a:pt x="76" y="57"/>
                  <a:pt x="70" y="53"/>
                  <a:pt x="70" y="53"/>
                </a:cubicBezTo>
                <a:cubicBezTo>
                  <a:pt x="70" y="53"/>
                  <a:pt x="69" y="53"/>
                  <a:pt x="68" y="53"/>
                </a:cubicBezTo>
                <a:cubicBezTo>
                  <a:pt x="67" y="54"/>
                  <a:pt x="67" y="54"/>
                  <a:pt x="66" y="54"/>
                </a:cubicBezTo>
                <a:cubicBezTo>
                  <a:pt x="66" y="54"/>
                  <a:pt x="65" y="53"/>
                  <a:pt x="64" y="52"/>
                </a:cubicBezTo>
                <a:cubicBezTo>
                  <a:pt x="64" y="52"/>
                  <a:pt x="64" y="52"/>
                  <a:pt x="63" y="52"/>
                </a:cubicBezTo>
                <a:cubicBezTo>
                  <a:pt x="62" y="53"/>
                  <a:pt x="62" y="54"/>
                  <a:pt x="62" y="54"/>
                </a:cubicBezTo>
                <a:cubicBezTo>
                  <a:pt x="63" y="55"/>
                  <a:pt x="63" y="57"/>
                  <a:pt x="63" y="57"/>
                </a:cubicBezTo>
                <a:cubicBezTo>
                  <a:pt x="63" y="58"/>
                  <a:pt x="63" y="58"/>
                  <a:pt x="61" y="58"/>
                </a:cubicBezTo>
                <a:cubicBezTo>
                  <a:pt x="60" y="58"/>
                  <a:pt x="60" y="57"/>
                  <a:pt x="60" y="57"/>
                </a:cubicBezTo>
                <a:cubicBezTo>
                  <a:pt x="60" y="56"/>
                  <a:pt x="60" y="55"/>
                  <a:pt x="59" y="55"/>
                </a:cubicBezTo>
                <a:cubicBezTo>
                  <a:pt x="59" y="55"/>
                  <a:pt x="58" y="55"/>
                  <a:pt x="58" y="56"/>
                </a:cubicBezTo>
                <a:cubicBezTo>
                  <a:pt x="57" y="56"/>
                  <a:pt x="55" y="56"/>
                  <a:pt x="55" y="56"/>
                </a:cubicBezTo>
                <a:cubicBezTo>
                  <a:pt x="55" y="56"/>
                  <a:pt x="54" y="55"/>
                  <a:pt x="54" y="54"/>
                </a:cubicBezTo>
                <a:cubicBezTo>
                  <a:pt x="53" y="54"/>
                  <a:pt x="52" y="54"/>
                  <a:pt x="52" y="54"/>
                </a:cubicBezTo>
                <a:cubicBezTo>
                  <a:pt x="52" y="54"/>
                  <a:pt x="52" y="56"/>
                  <a:pt x="51" y="56"/>
                </a:cubicBezTo>
                <a:cubicBezTo>
                  <a:pt x="51" y="57"/>
                  <a:pt x="52" y="58"/>
                  <a:pt x="52" y="58"/>
                </a:cubicBezTo>
                <a:cubicBezTo>
                  <a:pt x="52" y="58"/>
                  <a:pt x="53" y="59"/>
                  <a:pt x="53" y="59"/>
                </a:cubicBezTo>
                <a:cubicBezTo>
                  <a:pt x="53" y="59"/>
                  <a:pt x="51" y="61"/>
                  <a:pt x="51" y="60"/>
                </a:cubicBezTo>
                <a:cubicBezTo>
                  <a:pt x="50" y="60"/>
                  <a:pt x="49" y="60"/>
                  <a:pt x="49" y="60"/>
                </a:cubicBezTo>
                <a:cubicBezTo>
                  <a:pt x="49" y="60"/>
                  <a:pt x="45" y="64"/>
                  <a:pt x="45" y="64"/>
                </a:cubicBezTo>
                <a:cubicBezTo>
                  <a:pt x="45" y="65"/>
                  <a:pt x="44" y="66"/>
                  <a:pt x="44" y="66"/>
                </a:cubicBezTo>
                <a:cubicBezTo>
                  <a:pt x="44" y="66"/>
                  <a:pt x="45" y="69"/>
                  <a:pt x="45" y="69"/>
                </a:cubicBezTo>
                <a:cubicBezTo>
                  <a:pt x="45" y="69"/>
                  <a:pt x="47" y="71"/>
                  <a:pt x="47" y="71"/>
                </a:cubicBezTo>
                <a:cubicBezTo>
                  <a:pt x="47" y="73"/>
                  <a:pt x="47" y="73"/>
                  <a:pt x="47" y="73"/>
                </a:cubicBezTo>
                <a:cubicBezTo>
                  <a:pt x="47" y="73"/>
                  <a:pt x="46" y="74"/>
                  <a:pt x="46" y="74"/>
                </a:cubicBezTo>
                <a:cubicBezTo>
                  <a:pt x="45" y="74"/>
                  <a:pt x="42" y="74"/>
                  <a:pt x="41" y="74"/>
                </a:cubicBezTo>
                <a:cubicBezTo>
                  <a:pt x="41" y="74"/>
                  <a:pt x="39" y="75"/>
                  <a:pt x="39" y="75"/>
                </a:cubicBezTo>
                <a:cubicBezTo>
                  <a:pt x="38" y="76"/>
                  <a:pt x="37" y="76"/>
                  <a:pt x="37" y="76"/>
                </a:cubicBezTo>
                <a:cubicBezTo>
                  <a:pt x="37" y="77"/>
                  <a:pt x="34" y="76"/>
                  <a:pt x="34" y="76"/>
                </a:cubicBezTo>
                <a:cubicBezTo>
                  <a:pt x="34" y="76"/>
                  <a:pt x="33" y="77"/>
                  <a:pt x="33" y="77"/>
                </a:cubicBezTo>
                <a:cubicBezTo>
                  <a:pt x="32" y="78"/>
                  <a:pt x="32" y="82"/>
                  <a:pt x="32" y="82"/>
                </a:cubicBezTo>
                <a:cubicBezTo>
                  <a:pt x="32" y="82"/>
                  <a:pt x="34" y="87"/>
                  <a:pt x="34" y="87"/>
                </a:cubicBezTo>
                <a:cubicBezTo>
                  <a:pt x="34" y="91"/>
                  <a:pt x="34" y="91"/>
                  <a:pt x="34" y="91"/>
                </a:cubicBezTo>
                <a:cubicBezTo>
                  <a:pt x="31" y="92"/>
                  <a:pt x="31" y="92"/>
                  <a:pt x="31" y="92"/>
                </a:cubicBezTo>
                <a:cubicBezTo>
                  <a:pt x="31" y="92"/>
                  <a:pt x="27" y="89"/>
                  <a:pt x="27" y="89"/>
                </a:cubicBezTo>
                <a:cubicBezTo>
                  <a:pt x="27" y="89"/>
                  <a:pt x="20" y="85"/>
                  <a:pt x="20" y="85"/>
                </a:cubicBezTo>
                <a:cubicBezTo>
                  <a:pt x="20" y="85"/>
                  <a:pt x="15" y="84"/>
                  <a:pt x="15" y="84"/>
                </a:cubicBezTo>
                <a:cubicBezTo>
                  <a:pt x="13" y="86"/>
                  <a:pt x="13" y="86"/>
                  <a:pt x="13" y="86"/>
                </a:cubicBezTo>
                <a:cubicBezTo>
                  <a:pt x="13" y="86"/>
                  <a:pt x="10" y="90"/>
                  <a:pt x="10" y="90"/>
                </a:cubicBezTo>
                <a:cubicBezTo>
                  <a:pt x="10" y="90"/>
                  <a:pt x="9" y="93"/>
                  <a:pt x="9" y="93"/>
                </a:cubicBezTo>
                <a:cubicBezTo>
                  <a:pt x="9" y="93"/>
                  <a:pt x="10" y="95"/>
                  <a:pt x="10" y="95"/>
                </a:cubicBezTo>
                <a:cubicBezTo>
                  <a:pt x="12" y="97"/>
                  <a:pt x="12" y="97"/>
                  <a:pt x="12" y="97"/>
                </a:cubicBezTo>
                <a:cubicBezTo>
                  <a:pt x="12" y="97"/>
                  <a:pt x="10" y="99"/>
                  <a:pt x="10" y="99"/>
                </a:cubicBezTo>
                <a:cubicBezTo>
                  <a:pt x="10" y="99"/>
                  <a:pt x="8" y="102"/>
                  <a:pt x="8" y="102"/>
                </a:cubicBezTo>
                <a:cubicBezTo>
                  <a:pt x="8" y="102"/>
                  <a:pt x="11" y="104"/>
                  <a:pt x="11" y="104"/>
                </a:cubicBezTo>
                <a:cubicBezTo>
                  <a:pt x="11" y="104"/>
                  <a:pt x="8" y="105"/>
                  <a:pt x="8" y="105"/>
                </a:cubicBezTo>
                <a:cubicBezTo>
                  <a:pt x="8" y="105"/>
                  <a:pt x="9" y="109"/>
                  <a:pt x="9" y="109"/>
                </a:cubicBezTo>
                <a:cubicBezTo>
                  <a:pt x="9" y="109"/>
                  <a:pt x="7" y="113"/>
                  <a:pt x="7" y="113"/>
                </a:cubicBezTo>
                <a:cubicBezTo>
                  <a:pt x="7" y="113"/>
                  <a:pt x="6" y="112"/>
                  <a:pt x="6" y="112"/>
                </a:cubicBezTo>
                <a:cubicBezTo>
                  <a:pt x="6" y="112"/>
                  <a:pt x="5" y="111"/>
                  <a:pt x="5" y="111"/>
                </a:cubicBezTo>
                <a:cubicBezTo>
                  <a:pt x="5" y="111"/>
                  <a:pt x="3" y="110"/>
                  <a:pt x="3" y="110"/>
                </a:cubicBezTo>
                <a:cubicBezTo>
                  <a:pt x="3" y="110"/>
                  <a:pt x="1" y="112"/>
                  <a:pt x="1" y="112"/>
                </a:cubicBezTo>
                <a:cubicBezTo>
                  <a:pt x="0" y="116"/>
                  <a:pt x="0" y="116"/>
                  <a:pt x="0" y="116"/>
                </a:cubicBezTo>
                <a:cubicBezTo>
                  <a:pt x="47" y="116"/>
                  <a:pt x="47" y="116"/>
                  <a:pt x="47" y="116"/>
                </a:cubicBezTo>
                <a:cubicBezTo>
                  <a:pt x="48" y="111"/>
                  <a:pt x="48" y="111"/>
                  <a:pt x="48" y="111"/>
                </a:cubicBezTo>
                <a:cubicBezTo>
                  <a:pt x="47" y="108"/>
                  <a:pt x="47" y="108"/>
                  <a:pt x="47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5" y="110"/>
                  <a:pt x="55" y="110"/>
                  <a:pt x="55" y="110"/>
                </a:cubicBezTo>
                <a:cubicBezTo>
                  <a:pt x="74" y="110"/>
                  <a:pt x="74" y="110"/>
                  <a:pt x="74" y="110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142" y="111"/>
                  <a:pt x="142" y="111"/>
                  <a:pt x="142" y="111"/>
                </a:cubicBezTo>
                <a:cubicBezTo>
                  <a:pt x="184" y="111"/>
                  <a:pt x="184" y="111"/>
                  <a:pt x="184" y="111"/>
                </a:cubicBezTo>
                <a:cubicBezTo>
                  <a:pt x="199" y="111"/>
                  <a:pt x="199" y="111"/>
                  <a:pt x="199" y="111"/>
                </a:cubicBezTo>
                <a:cubicBezTo>
                  <a:pt x="205" y="108"/>
                  <a:pt x="205" y="108"/>
                  <a:pt x="205" y="108"/>
                </a:cubicBezTo>
                <a:cubicBezTo>
                  <a:pt x="205" y="108"/>
                  <a:pt x="208" y="108"/>
                  <a:pt x="208" y="108"/>
                </a:cubicBezTo>
                <a:cubicBezTo>
                  <a:pt x="208" y="108"/>
                  <a:pt x="212" y="107"/>
                  <a:pt x="213" y="107"/>
                </a:cubicBezTo>
                <a:cubicBezTo>
                  <a:pt x="213" y="106"/>
                  <a:pt x="216" y="106"/>
                  <a:pt x="217" y="105"/>
                </a:cubicBezTo>
                <a:cubicBezTo>
                  <a:pt x="217" y="105"/>
                  <a:pt x="218" y="104"/>
                  <a:pt x="218" y="104"/>
                </a:cubicBezTo>
                <a:cubicBezTo>
                  <a:pt x="218" y="103"/>
                  <a:pt x="219" y="101"/>
                  <a:pt x="219" y="101"/>
                </a:cubicBezTo>
                <a:cubicBezTo>
                  <a:pt x="220" y="101"/>
                  <a:pt x="222" y="100"/>
                  <a:pt x="223" y="100"/>
                </a:cubicBezTo>
                <a:cubicBezTo>
                  <a:pt x="224" y="100"/>
                  <a:pt x="224" y="100"/>
                  <a:pt x="225" y="100"/>
                </a:cubicBezTo>
                <a:cubicBezTo>
                  <a:pt x="225" y="99"/>
                  <a:pt x="226" y="98"/>
                  <a:pt x="227" y="98"/>
                </a:cubicBezTo>
                <a:cubicBezTo>
                  <a:pt x="227" y="97"/>
                  <a:pt x="226" y="95"/>
                  <a:pt x="227" y="95"/>
                </a:cubicBezTo>
                <a:cubicBezTo>
                  <a:pt x="228" y="94"/>
                  <a:pt x="230" y="93"/>
                  <a:pt x="230" y="93"/>
                </a:cubicBezTo>
                <a:cubicBezTo>
                  <a:pt x="231" y="92"/>
                  <a:pt x="231" y="93"/>
                  <a:pt x="231" y="92"/>
                </a:cubicBezTo>
                <a:cubicBezTo>
                  <a:pt x="232" y="91"/>
                  <a:pt x="232" y="90"/>
                  <a:pt x="232" y="89"/>
                </a:cubicBezTo>
                <a:cubicBezTo>
                  <a:pt x="232" y="89"/>
                  <a:pt x="234" y="88"/>
                  <a:pt x="235" y="87"/>
                </a:cubicBezTo>
                <a:cubicBezTo>
                  <a:pt x="236" y="86"/>
                  <a:pt x="239" y="84"/>
                  <a:pt x="240" y="84"/>
                </a:cubicBezTo>
                <a:cubicBezTo>
                  <a:pt x="242" y="83"/>
                  <a:pt x="244" y="83"/>
                  <a:pt x="245" y="82"/>
                </a:cubicBezTo>
                <a:cubicBezTo>
                  <a:pt x="246" y="82"/>
                  <a:pt x="247" y="80"/>
                  <a:pt x="248" y="79"/>
                </a:cubicBezTo>
                <a:cubicBezTo>
                  <a:pt x="249" y="79"/>
                  <a:pt x="257" y="71"/>
                  <a:pt x="257" y="71"/>
                </a:cubicBezTo>
                <a:lnTo>
                  <a:pt x="255" y="71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4" name="Freeform 42">
            <a:extLst>
              <a:ext uri="{FF2B5EF4-FFF2-40B4-BE49-F238E27FC236}">
                <a16:creationId xmlns:a16="http://schemas.microsoft.com/office/drawing/2014/main" id="{DE580E74-172F-4BA0-862B-6FC1B720089C}"/>
              </a:ext>
            </a:extLst>
          </p:cNvPr>
          <p:cNvSpPr>
            <a:spLocks/>
          </p:cNvSpPr>
          <p:nvPr/>
        </p:nvSpPr>
        <p:spPr bwMode="auto">
          <a:xfrm>
            <a:off x="7098062" y="2991166"/>
            <a:ext cx="1022715" cy="527053"/>
          </a:xfrm>
          <a:custGeom>
            <a:avLst/>
            <a:gdLst>
              <a:gd name="T0" fmla="*/ 258 w 258"/>
              <a:gd name="T1" fmla="*/ 40 h 133"/>
              <a:gd name="T2" fmla="*/ 257 w 258"/>
              <a:gd name="T3" fmla="*/ 38 h 133"/>
              <a:gd name="T4" fmla="*/ 255 w 258"/>
              <a:gd name="T5" fmla="*/ 38 h 133"/>
              <a:gd name="T6" fmla="*/ 251 w 258"/>
              <a:gd name="T7" fmla="*/ 37 h 133"/>
              <a:gd name="T8" fmla="*/ 249 w 258"/>
              <a:gd name="T9" fmla="*/ 34 h 133"/>
              <a:gd name="T10" fmla="*/ 247 w 258"/>
              <a:gd name="T11" fmla="*/ 30 h 133"/>
              <a:gd name="T12" fmla="*/ 247 w 258"/>
              <a:gd name="T13" fmla="*/ 28 h 133"/>
              <a:gd name="T14" fmla="*/ 246 w 258"/>
              <a:gd name="T15" fmla="*/ 28 h 133"/>
              <a:gd name="T16" fmla="*/ 245 w 258"/>
              <a:gd name="T17" fmla="*/ 28 h 133"/>
              <a:gd name="T18" fmla="*/ 243 w 258"/>
              <a:gd name="T19" fmla="*/ 26 h 133"/>
              <a:gd name="T20" fmla="*/ 242 w 258"/>
              <a:gd name="T21" fmla="*/ 24 h 133"/>
              <a:gd name="T22" fmla="*/ 241 w 258"/>
              <a:gd name="T23" fmla="*/ 19 h 133"/>
              <a:gd name="T24" fmla="*/ 242 w 258"/>
              <a:gd name="T25" fmla="*/ 19 h 133"/>
              <a:gd name="T26" fmla="*/ 242 w 258"/>
              <a:gd name="T27" fmla="*/ 18 h 133"/>
              <a:gd name="T28" fmla="*/ 243 w 258"/>
              <a:gd name="T29" fmla="*/ 16 h 133"/>
              <a:gd name="T30" fmla="*/ 243 w 258"/>
              <a:gd name="T31" fmla="*/ 15 h 133"/>
              <a:gd name="T32" fmla="*/ 245 w 258"/>
              <a:gd name="T33" fmla="*/ 15 h 133"/>
              <a:gd name="T34" fmla="*/ 245 w 258"/>
              <a:gd name="T35" fmla="*/ 13 h 133"/>
              <a:gd name="T36" fmla="*/ 247 w 258"/>
              <a:gd name="T37" fmla="*/ 13 h 133"/>
              <a:gd name="T38" fmla="*/ 246 w 258"/>
              <a:gd name="T39" fmla="*/ 11 h 133"/>
              <a:gd name="T40" fmla="*/ 247 w 258"/>
              <a:gd name="T41" fmla="*/ 11 h 133"/>
              <a:gd name="T42" fmla="*/ 248 w 258"/>
              <a:gd name="T43" fmla="*/ 10 h 133"/>
              <a:gd name="T44" fmla="*/ 248 w 258"/>
              <a:gd name="T45" fmla="*/ 8 h 133"/>
              <a:gd name="T46" fmla="*/ 246 w 258"/>
              <a:gd name="T47" fmla="*/ 8 h 133"/>
              <a:gd name="T48" fmla="*/ 245 w 258"/>
              <a:gd name="T49" fmla="*/ 6 h 133"/>
              <a:gd name="T50" fmla="*/ 244 w 258"/>
              <a:gd name="T51" fmla="*/ 5 h 133"/>
              <a:gd name="T52" fmla="*/ 243 w 258"/>
              <a:gd name="T53" fmla="*/ 6 h 133"/>
              <a:gd name="T54" fmla="*/ 242 w 258"/>
              <a:gd name="T55" fmla="*/ 7 h 133"/>
              <a:gd name="T56" fmla="*/ 240 w 258"/>
              <a:gd name="T57" fmla="*/ 7 h 133"/>
              <a:gd name="T58" fmla="*/ 238 w 258"/>
              <a:gd name="T59" fmla="*/ 5 h 133"/>
              <a:gd name="T60" fmla="*/ 236 w 258"/>
              <a:gd name="T61" fmla="*/ 3 h 133"/>
              <a:gd name="T62" fmla="*/ 234 w 258"/>
              <a:gd name="T63" fmla="*/ 1 h 133"/>
              <a:gd name="T64" fmla="*/ 232 w 258"/>
              <a:gd name="T65" fmla="*/ 0 h 133"/>
              <a:gd name="T66" fmla="*/ 0 w 258"/>
              <a:gd name="T67" fmla="*/ 0 h 133"/>
              <a:gd name="T68" fmla="*/ 0 w 258"/>
              <a:gd name="T69" fmla="*/ 133 h 133"/>
              <a:gd name="T70" fmla="*/ 257 w 258"/>
              <a:gd name="T71" fmla="*/ 133 h 133"/>
              <a:gd name="T72" fmla="*/ 258 w 258"/>
              <a:gd name="T73" fmla="*/ 4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58" h="133">
                <a:moveTo>
                  <a:pt x="258" y="40"/>
                </a:moveTo>
                <a:cubicBezTo>
                  <a:pt x="257" y="38"/>
                  <a:pt x="257" y="38"/>
                  <a:pt x="257" y="38"/>
                </a:cubicBezTo>
                <a:cubicBezTo>
                  <a:pt x="257" y="38"/>
                  <a:pt x="256" y="38"/>
                  <a:pt x="255" y="38"/>
                </a:cubicBezTo>
                <a:cubicBezTo>
                  <a:pt x="254" y="38"/>
                  <a:pt x="253" y="37"/>
                  <a:pt x="251" y="37"/>
                </a:cubicBezTo>
                <a:cubicBezTo>
                  <a:pt x="250" y="36"/>
                  <a:pt x="250" y="35"/>
                  <a:pt x="249" y="34"/>
                </a:cubicBezTo>
                <a:cubicBezTo>
                  <a:pt x="248" y="33"/>
                  <a:pt x="246" y="32"/>
                  <a:pt x="247" y="30"/>
                </a:cubicBezTo>
                <a:cubicBezTo>
                  <a:pt x="247" y="29"/>
                  <a:pt x="247" y="29"/>
                  <a:pt x="247" y="28"/>
                </a:cubicBezTo>
                <a:cubicBezTo>
                  <a:pt x="247" y="28"/>
                  <a:pt x="246" y="28"/>
                  <a:pt x="246" y="28"/>
                </a:cubicBezTo>
                <a:cubicBezTo>
                  <a:pt x="245" y="28"/>
                  <a:pt x="245" y="28"/>
                  <a:pt x="245" y="28"/>
                </a:cubicBezTo>
                <a:cubicBezTo>
                  <a:pt x="244" y="27"/>
                  <a:pt x="244" y="26"/>
                  <a:pt x="243" y="26"/>
                </a:cubicBezTo>
                <a:cubicBezTo>
                  <a:pt x="243" y="25"/>
                  <a:pt x="242" y="24"/>
                  <a:pt x="242" y="24"/>
                </a:cubicBezTo>
                <a:cubicBezTo>
                  <a:pt x="241" y="23"/>
                  <a:pt x="239" y="20"/>
                  <a:pt x="241" y="19"/>
                </a:cubicBezTo>
                <a:cubicBezTo>
                  <a:pt x="241" y="19"/>
                  <a:pt x="242" y="19"/>
                  <a:pt x="242" y="19"/>
                </a:cubicBezTo>
                <a:cubicBezTo>
                  <a:pt x="242" y="19"/>
                  <a:pt x="242" y="18"/>
                  <a:pt x="242" y="18"/>
                </a:cubicBezTo>
                <a:cubicBezTo>
                  <a:pt x="242" y="17"/>
                  <a:pt x="242" y="17"/>
                  <a:pt x="243" y="16"/>
                </a:cubicBezTo>
                <a:cubicBezTo>
                  <a:pt x="243" y="16"/>
                  <a:pt x="243" y="16"/>
                  <a:pt x="243" y="15"/>
                </a:cubicBezTo>
                <a:cubicBezTo>
                  <a:pt x="244" y="15"/>
                  <a:pt x="244" y="15"/>
                  <a:pt x="245" y="15"/>
                </a:cubicBezTo>
                <a:cubicBezTo>
                  <a:pt x="245" y="14"/>
                  <a:pt x="245" y="13"/>
                  <a:pt x="245" y="13"/>
                </a:cubicBezTo>
                <a:cubicBezTo>
                  <a:pt x="246" y="13"/>
                  <a:pt x="247" y="13"/>
                  <a:pt x="247" y="13"/>
                </a:cubicBezTo>
                <a:cubicBezTo>
                  <a:pt x="247" y="12"/>
                  <a:pt x="245" y="12"/>
                  <a:pt x="246" y="11"/>
                </a:cubicBezTo>
                <a:cubicBezTo>
                  <a:pt x="247" y="10"/>
                  <a:pt x="247" y="11"/>
                  <a:pt x="247" y="11"/>
                </a:cubicBezTo>
                <a:cubicBezTo>
                  <a:pt x="248" y="11"/>
                  <a:pt x="248" y="10"/>
                  <a:pt x="248" y="10"/>
                </a:cubicBezTo>
                <a:cubicBezTo>
                  <a:pt x="248" y="9"/>
                  <a:pt x="248" y="9"/>
                  <a:pt x="248" y="8"/>
                </a:cubicBezTo>
                <a:cubicBezTo>
                  <a:pt x="247" y="8"/>
                  <a:pt x="247" y="8"/>
                  <a:pt x="246" y="8"/>
                </a:cubicBezTo>
                <a:cubicBezTo>
                  <a:pt x="246" y="7"/>
                  <a:pt x="246" y="6"/>
                  <a:pt x="245" y="6"/>
                </a:cubicBezTo>
                <a:cubicBezTo>
                  <a:pt x="245" y="5"/>
                  <a:pt x="245" y="5"/>
                  <a:pt x="244" y="5"/>
                </a:cubicBezTo>
                <a:cubicBezTo>
                  <a:pt x="244" y="5"/>
                  <a:pt x="243" y="5"/>
                  <a:pt x="243" y="6"/>
                </a:cubicBezTo>
                <a:cubicBezTo>
                  <a:pt x="243" y="6"/>
                  <a:pt x="243" y="7"/>
                  <a:pt x="242" y="7"/>
                </a:cubicBezTo>
                <a:cubicBezTo>
                  <a:pt x="242" y="7"/>
                  <a:pt x="241" y="7"/>
                  <a:pt x="240" y="7"/>
                </a:cubicBezTo>
                <a:cubicBezTo>
                  <a:pt x="239" y="6"/>
                  <a:pt x="238" y="5"/>
                  <a:pt x="238" y="5"/>
                </a:cubicBezTo>
                <a:cubicBezTo>
                  <a:pt x="237" y="4"/>
                  <a:pt x="236" y="4"/>
                  <a:pt x="236" y="3"/>
                </a:cubicBezTo>
                <a:cubicBezTo>
                  <a:pt x="235" y="2"/>
                  <a:pt x="235" y="2"/>
                  <a:pt x="234" y="1"/>
                </a:cubicBezTo>
                <a:cubicBezTo>
                  <a:pt x="233" y="1"/>
                  <a:pt x="233" y="1"/>
                  <a:pt x="23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3"/>
                  <a:pt x="0" y="133"/>
                  <a:pt x="0" y="133"/>
                </a:cubicBezTo>
                <a:cubicBezTo>
                  <a:pt x="257" y="133"/>
                  <a:pt x="257" y="133"/>
                  <a:pt x="257" y="133"/>
                </a:cubicBezTo>
                <a:lnTo>
                  <a:pt x="258" y="4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5" name="Freeform 43">
            <a:extLst>
              <a:ext uri="{FF2B5EF4-FFF2-40B4-BE49-F238E27FC236}">
                <a16:creationId xmlns:a16="http://schemas.microsoft.com/office/drawing/2014/main" id="{979EDAED-EE14-4544-ABCC-F44F7394F22D}"/>
              </a:ext>
            </a:extLst>
          </p:cNvPr>
          <p:cNvSpPr>
            <a:spLocks/>
          </p:cNvSpPr>
          <p:nvPr/>
        </p:nvSpPr>
        <p:spPr bwMode="auto">
          <a:xfrm>
            <a:off x="7838249" y="2348458"/>
            <a:ext cx="887234" cy="579924"/>
          </a:xfrm>
          <a:custGeom>
            <a:avLst/>
            <a:gdLst>
              <a:gd name="T0" fmla="*/ 173 w 224"/>
              <a:gd name="T1" fmla="*/ 138 h 146"/>
              <a:gd name="T2" fmla="*/ 176 w 224"/>
              <a:gd name="T3" fmla="*/ 142 h 146"/>
              <a:gd name="T4" fmla="*/ 180 w 224"/>
              <a:gd name="T5" fmla="*/ 145 h 146"/>
              <a:gd name="T6" fmla="*/ 182 w 224"/>
              <a:gd name="T7" fmla="*/ 142 h 146"/>
              <a:gd name="T8" fmla="*/ 182 w 224"/>
              <a:gd name="T9" fmla="*/ 135 h 146"/>
              <a:gd name="T10" fmla="*/ 189 w 224"/>
              <a:gd name="T11" fmla="*/ 133 h 146"/>
              <a:gd name="T12" fmla="*/ 192 w 224"/>
              <a:gd name="T13" fmla="*/ 125 h 146"/>
              <a:gd name="T14" fmla="*/ 195 w 224"/>
              <a:gd name="T15" fmla="*/ 111 h 146"/>
              <a:gd name="T16" fmla="*/ 192 w 224"/>
              <a:gd name="T17" fmla="*/ 100 h 146"/>
              <a:gd name="T18" fmla="*/ 197 w 224"/>
              <a:gd name="T19" fmla="*/ 98 h 146"/>
              <a:gd name="T20" fmla="*/ 206 w 224"/>
              <a:gd name="T21" fmla="*/ 95 h 146"/>
              <a:gd name="T22" fmla="*/ 215 w 224"/>
              <a:gd name="T23" fmla="*/ 91 h 146"/>
              <a:gd name="T24" fmla="*/ 221 w 224"/>
              <a:gd name="T25" fmla="*/ 81 h 146"/>
              <a:gd name="T26" fmla="*/ 223 w 224"/>
              <a:gd name="T27" fmla="*/ 66 h 146"/>
              <a:gd name="T28" fmla="*/ 213 w 224"/>
              <a:gd name="T29" fmla="*/ 54 h 146"/>
              <a:gd name="T30" fmla="*/ 207 w 224"/>
              <a:gd name="T31" fmla="*/ 47 h 146"/>
              <a:gd name="T32" fmla="*/ 203 w 224"/>
              <a:gd name="T33" fmla="*/ 41 h 146"/>
              <a:gd name="T34" fmla="*/ 196 w 224"/>
              <a:gd name="T35" fmla="*/ 39 h 146"/>
              <a:gd name="T36" fmla="*/ 191 w 224"/>
              <a:gd name="T37" fmla="*/ 30 h 146"/>
              <a:gd name="T38" fmla="*/ 189 w 224"/>
              <a:gd name="T39" fmla="*/ 24 h 146"/>
              <a:gd name="T40" fmla="*/ 190 w 224"/>
              <a:gd name="T41" fmla="*/ 15 h 146"/>
              <a:gd name="T42" fmla="*/ 187 w 224"/>
              <a:gd name="T43" fmla="*/ 7 h 146"/>
              <a:gd name="T44" fmla="*/ 187 w 224"/>
              <a:gd name="T45" fmla="*/ 0 h 146"/>
              <a:gd name="T46" fmla="*/ 1 w 224"/>
              <a:gd name="T47" fmla="*/ 3 h 146"/>
              <a:gd name="T48" fmla="*/ 2 w 224"/>
              <a:gd name="T49" fmla="*/ 10 h 146"/>
              <a:gd name="T50" fmla="*/ 6 w 224"/>
              <a:gd name="T51" fmla="*/ 14 h 146"/>
              <a:gd name="T52" fmla="*/ 5 w 224"/>
              <a:gd name="T53" fmla="*/ 22 h 146"/>
              <a:gd name="T54" fmla="*/ 3 w 224"/>
              <a:gd name="T55" fmla="*/ 28 h 146"/>
              <a:gd name="T56" fmla="*/ 0 w 224"/>
              <a:gd name="T57" fmla="*/ 37 h 146"/>
              <a:gd name="T58" fmla="*/ 6 w 224"/>
              <a:gd name="T59" fmla="*/ 46 h 146"/>
              <a:gd name="T60" fmla="*/ 8 w 224"/>
              <a:gd name="T61" fmla="*/ 52 h 146"/>
              <a:gd name="T62" fmla="*/ 11 w 224"/>
              <a:gd name="T63" fmla="*/ 59 h 146"/>
              <a:gd name="T64" fmla="*/ 12 w 224"/>
              <a:gd name="T65" fmla="*/ 65 h 146"/>
              <a:gd name="T66" fmla="*/ 14 w 224"/>
              <a:gd name="T67" fmla="*/ 71 h 146"/>
              <a:gd name="T68" fmla="*/ 17 w 224"/>
              <a:gd name="T69" fmla="*/ 73 h 146"/>
              <a:gd name="T70" fmla="*/ 19 w 224"/>
              <a:gd name="T71" fmla="*/ 82 h 146"/>
              <a:gd name="T72" fmla="*/ 18 w 224"/>
              <a:gd name="T73" fmla="*/ 87 h 146"/>
              <a:gd name="T74" fmla="*/ 20 w 224"/>
              <a:gd name="T75" fmla="*/ 94 h 146"/>
              <a:gd name="T76" fmla="*/ 24 w 224"/>
              <a:gd name="T77" fmla="*/ 96 h 146"/>
              <a:gd name="T78" fmla="*/ 25 w 224"/>
              <a:gd name="T79" fmla="*/ 105 h 146"/>
              <a:gd name="T80" fmla="*/ 26 w 224"/>
              <a:gd name="T81" fmla="*/ 113 h 146"/>
              <a:gd name="T82" fmla="*/ 28 w 224"/>
              <a:gd name="T83" fmla="*/ 127 h 146"/>
              <a:gd name="T84" fmla="*/ 29 w 224"/>
              <a:gd name="T85" fmla="*/ 133 h 146"/>
              <a:gd name="T86" fmla="*/ 169 w 224"/>
              <a:gd name="T87" fmla="*/ 135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4" h="146">
                <a:moveTo>
                  <a:pt x="169" y="135"/>
                </a:moveTo>
                <a:cubicBezTo>
                  <a:pt x="169" y="135"/>
                  <a:pt x="170" y="137"/>
                  <a:pt x="171" y="137"/>
                </a:cubicBezTo>
                <a:cubicBezTo>
                  <a:pt x="171" y="137"/>
                  <a:pt x="173" y="138"/>
                  <a:pt x="173" y="138"/>
                </a:cubicBezTo>
                <a:cubicBezTo>
                  <a:pt x="173" y="138"/>
                  <a:pt x="174" y="139"/>
                  <a:pt x="174" y="139"/>
                </a:cubicBezTo>
                <a:cubicBezTo>
                  <a:pt x="174" y="139"/>
                  <a:pt x="174" y="141"/>
                  <a:pt x="175" y="141"/>
                </a:cubicBezTo>
                <a:cubicBezTo>
                  <a:pt x="175" y="141"/>
                  <a:pt x="176" y="142"/>
                  <a:pt x="176" y="142"/>
                </a:cubicBezTo>
                <a:cubicBezTo>
                  <a:pt x="176" y="142"/>
                  <a:pt x="176" y="143"/>
                  <a:pt x="176" y="143"/>
                </a:cubicBezTo>
                <a:cubicBezTo>
                  <a:pt x="177" y="144"/>
                  <a:pt x="177" y="144"/>
                  <a:pt x="178" y="144"/>
                </a:cubicBezTo>
                <a:cubicBezTo>
                  <a:pt x="178" y="144"/>
                  <a:pt x="180" y="145"/>
                  <a:pt x="180" y="145"/>
                </a:cubicBezTo>
                <a:cubicBezTo>
                  <a:pt x="180" y="146"/>
                  <a:pt x="180" y="146"/>
                  <a:pt x="180" y="146"/>
                </a:cubicBezTo>
                <a:cubicBezTo>
                  <a:pt x="180" y="146"/>
                  <a:pt x="181" y="145"/>
                  <a:pt x="181" y="145"/>
                </a:cubicBezTo>
                <a:cubicBezTo>
                  <a:pt x="182" y="144"/>
                  <a:pt x="182" y="142"/>
                  <a:pt x="182" y="142"/>
                </a:cubicBezTo>
                <a:cubicBezTo>
                  <a:pt x="182" y="141"/>
                  <a:pt x="181" y="140"/>
                  <a:pt x="181" y="139"/>
                </a:cubicBezTo>
                <a:cubicBezTo>
                  <a:pt x="181" y="139"/>
                  <a:pt x="181" y="138"/>
                  <a:pt x="181" y="137"/>
                </a:cubicBezTo>
                <a:cubicBezTo>
                  <a:pt x="181" y="136"/>
                  <a:pt x="182" y="136"/>
                  <a:pt x="182" y="135"/>
                </a:cubicBezTo>
                <a:cubicBezTo>
                  <a:pt x="183" y="135"/>
                  <a:pt x="183" y="134"/>
                  <a:pt x="184" y="134"/>
                </a:cubicBezTo>
                <a:cubicBezTo>
                  <a:pt x="185" y="134"/>
                  <a:pt x="186" y="134"/>
                  <a:pt x="187" y="134"/>
                </a:cubicBezTo>
                <a:cubicBezTo>
                  <a:pt x="188" y="134"/>
                  <a:pt x="189" y="134"/>
                  <a:pt x="189" y="133"/>
                </a:cubicBezTo>
                <a:cubicBezTo>
                  <a:pt x="190" y="132"/>
                  <a:pt x="190" y="132"/>
                  <a:pt x="191" y="131"/>
                </a:cubicBezTo>
                <a:cubicBezTo>
                  <a:pt x="191" y="130"/>
                  <a:pt x="191" y="128"/>
                  <a:pt x="191" y="128"/>
                </a:cubicBezTo>
                <a:cubicBezTo>
                  <a:pt x="191" y="127"/>
                  <a:pt x="191" y="126"/>
                  <a:pt x="192" y="125"/>
                </a:cubicBezTo>
                <a:cubicBezTo>
                  <a:pt x="192" y="124"/>
                  <a:pt x="194" y="123"/>
                  <a:pt x="195" y="122"/>
                </a:cubicBezTo>
                <a:cubicBezTo>
                  <a:pt x="196" y="121"/>
                  <a:pt x="196" y="118"/>
                  <a:pt x="196" y="117"/>
                </a:cubicBezTo>
                <a:cubicBezTo>
                  <a:pt x="196" y="116"/>
                  <a:pt x="196" y="112"/>
                  <a:pt x="195" y="111"/>
                </a:cubicBezTo>
                <a:cubicBezTo>
                  <a:pt x="194" y="109"/>
                  <a:pt x="192" y="107"/>
                  <a:pt x="191" y="107"/>
                </a:cubicBezTo>
                <a:cubicBezTo>
                  <a:pt x="191" y="106"/>
                  <a:pt x="191" y="105"/>
                  <a:pt x="191" y="104"/>
                </a:cubicBezTo>
                <a:cubicBezTo>
                  <a:pt x="191" y="103"/>
                  <a:pt x="192" y="101"/>
                  <a:pt x="192" y="100"/>
                </a:cubicBezTo>
                <a:cubicBezTo>
                  <a:pt x="192" y="100"/>
                  <a:pt x="193" y="98"/>
                  <a:pt x="193" y="98"/>
                </a:cubicBezTo>
                <a:cubicBezTo>
                  <a:pt x="194" y="98"/>
                  <a:pt x="194" y="97"/>
                  <a:pt x="195" y="97"/>
                </a:cubicBezTo>
                <a:cubicBezTo>
                  <a:pt x="196" y="97"/>
                  <a:pt x="196" y="98"/>
                  <a:pt x="197" y="98"/>
                </a:cubicBezTo>
                <a:cubicBezTo>
                  <a:pt x="198" y="97"/>
                  <a:pt x="198" y="97"/>
                  <a:pt x="199" y="96"/>
                </a:cubicBezTo>
                <a:cubicBezTo>
                  <a:pt x="200" y="96"/>
                  <a:pt x="201" y="96"/>
                  <a:pt x="201" y="96"/>
                </a:cubicBezTo>
                <a:cubicBezTo>
                  <a:pt x="202" y="96"/>
                  <a:pt x="206" y="96"/>
                  <a:pt x="206" y="95"/>
                </a:cubicBezTo>
                <a:cubicBezTo>
                  <a:pt x="207" y="94"/>
                  <a:pt x="207" y="94"/>
                  <a:pt x="208" y="93"/>
                </a:cubicBezTo>
                <a:cubicBezTo>
                  <a:pt x="210" y="93"/>
                  <a:pt x="211" y="94"/>
                  <a:pt x="212" y="93"/>
                </a:cubicBezTo>
                <a:cubicBezTo>
                  <a:pt x="213" y="93"/>
                  <a:pt x="214" y="92"/>
                  <a:pt x="215" y="91"/>
                </a:cubicBezTo>
                <a:cubicBezTo>
                  <a:pt x="216" y="91"/>
                  <a:pt x="216" y="91"/>
                  <a:pt x="217" y="89"/>
                </a:cubicBezTo>
                <a:cubicBezTo>
                  <a:pt x="218" y="88"/>
                  <a:pt x="218" y="86"/>
                  <a:pt x="218" y="85"/>
                </a:cubicBezTo>
                <a:cubicBezTo>
                  <a:pt x="218" y="83"/>
                  <a:pt x="219" y="82"/>
                  <a:pt x="221" y="81"/>
                </a:cubicBezTo>
                <a:cubicBezTo>
                  <a:pt x="222" y="80"/>
                  <a:pt x="223" y="79"/>
                  <a:pt x="223" y="78"/>
                </a:cubicBezTo>
                <a:cubicBezTo>
                  <a:pt x="224" y="76"/>
                  <a:pt x="224" y="73"/>
                  <a:pt x="224" y="71"/>
                </a:cubicBezTo>
                <a:cubicBezTo>
                  <a:pt x="224" y="70"/>
                  <a:pt x="224" y="67"/>
                  <a:pt x="223" y="66"/>
                </a:cubicBezTo>
                <a:cubicBezTo>
                  <a:pt x="222" y="65"/>
                  <a:pt x="218" y="62"/>
                  <a:pt x="216" y="61"/>
                </a:cubicBezTo>
                <a:cubicBezTo>
                  <a:pt x="215" y="60"/>
                  <a:pt x="214" y="59"/>
                  <a:pt x="214" y="57"/>
                </a:cubicBezTo>
                <a:cubicBezTo>
                  <a:pt x="214" y="56"/>
                  <a:pt x="214" y="55"/>
                  <a:pt x="213" y="54"/>
                </a:cubicBezTo>
                <a:cubicBezTo>
                  <a:pt x="212" y="53"/>
                  <a:pt x="211" y="52"/>
                  <a:pt x="210" y="51"/>
                </a:cubicBezTo>
                <a:cubicBezTo>
                  <a:pt x="208" y="50"/>
                  <a:pt x="207" y="50"/>
                  <a:pt x="207" y="49"/>
                </a:cubicBezTo>
                <a:cubicBezTo>
                  <a:pt x="207" y="49"/>
                  <a:pt x="207" y="47"/>
                  <a:pt x="207" y="47"/>
                </a:cubicBezTo>
                <a:cubicBezTo>
                  <a:pt x="206" y="46"/>
                  <a:pt x="206" y="45"/>
                  <a:pt x="206" y="44"/>
                </a:cubicBezTo>
                <a:cubicBezTo>
                  <a:pt x="205" y="44"/>
                  <a:pt x="205" y="43"/>
                  <a:pt x="205" y="42"/>
                </a:cubicBezTo>
                <a:cubicBezTo>
                  <a:pt x="204" y="42"/>
                  <a:pt x="204" y="41"/>
                  <a:pt x="203" y="41"/>
                </a:cubicBezTo>
                <a:cubicBezTo>
                  <a:pt x="202" y="40"/>
                  <a:pt x="201" y="40"/>
                  <a:pt x="200" y="40"/>
                </a:cubicBezTo>
                <a:cubicBezTo>
                  <a:pt x="199" y="40"/>
                  <a:pt x="199" y="40"/>
                  <a:pt x="198" y="39"/>
                </a:cubicBezTo>
                <a:cubicBezTo>
                  <a:pt x="198" y="39"/>
                  <a:pt x="197" y="39"/>
                  <a:pt x="196" y="39"/>
                </a:cubicBezTo>
                <a:cubicBezTo>
                  <a:pt x="195" y="39"/>
                  <a:pt x="195" y="38"/>
                  <a:pt x="194" y="38"/>
                </a:cubicBezTo>
                <a:cubicBezTo>
                  <a:pt x="192" y="36"/>
                  <a:pt x="192" y="34"/>
                  <a:pt x="192" y="32"/>
                </a:cubicBezTo>
                <a:cubicBezTo>
                  <a:pt x="192" y="31"/>
                  <a:pt x="192" y="30"/>
                  <a:pt x="191" y="30"/>
                </a:cubicBezTo>
                <a:cubicBezTo>
                  <a:pt x="191" y="29"/>
                  <a:pt x="190" y="28"/>
                  <a:pt x="190" y="28"/>
                </a:cubicBezTo>
                <a:cubicBezTo>
                  <a:pt x="190" y="27"/>
                  <a:pt x="189" y="27"/>
                  <a:pt x="189" y="26"/>
                </a:cubicBezTo>
                <a:cubicBezTo>
                  <a:pt x="189" y="25"/>
                  <a:pt x="189" y="25"/>
                  <a:pt x="189" y="24"/>
                </a:cubicBezTo>
                <a:cubicBezTo>
                  <a:pt x="188" y="23"/>
                  <a:pt x="189" y="21"/>
                  <a:pt x="189" y="20"/>
                </a:cubicBezTo>
                <a:cubicBezTo>
                  <a:pt x="189" y="19"/>
                  <a:pt x="188" y="18"/>
                  <a:pt x="189" y="17"/>
                </a:cubicBezTo>
                <a:cubicBezTo>
                  <a:pt x="189" y="16"/>
                  <a:pt x="190" y="15"/>
                  <a:pt x="190" y="15"/>
                </a:cubicBezTo>
                <a:cubicBezTo>
                  <a:pt x="191" y="14"/>
                  <a:pt x="192" y="13"/>
                  <a:pt x="192" y="13"/>
                </a:cubicBezTo>
                <a:cubicBezTo>
                  <a:pt x="193" y="10"/>
                  <a:pt x="190" y="9"/>
                  <a:pt x="188" y="8"/>
                </a:cubicBezTo>
                <a:cubicBezTo>
                  <a:pt x="188" y="8"/>
                  <a:pt x="187" y="7"/>
                  <a:pt x="187" y="7"/>
                </a:cubicBezTo>
                <a:cubicBezTo>
                  <a:pt x="187" y="6"/>
                  <a:pt x="187" y="6"/>
                  <a:pt x="187" y="5"/>
                </a:cubicBezTo>
                <a:cubicBezTo>
                  <a:pt x="187" y="4"/>
                  <a:pt x="187" y="4"/>
                  <a:pt x="187" y="3"/>
                </a:cubicBezTo>
                <a:cubicBezTo>
                  <a:pt x="187" y="0"/>
                  <a:pt x="187" y="0"/>
                  <a:pt x="187" y="0"/>
                </a:cubicBezTo>
                <a:cubicBezTo>
                  <a:pt x="6" y="1"/>
                  <a:pt x="6" y="1"/>
                  <a:pt x="6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2"/>
                  <a:pt x="1" y="3"/>
                </a:cubicBezTo>
                <a:cubicBezTo>
                  <a:pt x="2" y="3"/>
                  <a:pt x="4" y="5"/>
                  <a:pt x="4" y="5"/>
                </a:cubicBezTo>
                <a:cubicBezTo>
                  <a:pt x="4" y="6"/>
                  <a:pt x="4" y="9"/>
                  <a:pt x="4" y="9"/>
                </a:cubicBezTo>
                <a:cubicBezTo>
                  <a:pt x="2" y="10"/>
                  <a:pt x="2" y="10"/>
                  <a:pt x="2" y="10"/>
                </a:cubicBezTo>
                <a:cubicBezTo>
                  <a:pt x="2" y="11"/>
                  <a:pt x="2" y="11"/>
                  <a:pt x="2" y="11"/>
                </a:cubicBezTo>
                <a:cubicBezTo>
                  <a:pt x="2" y="13"/>
                  <a:pt x="2" y="13"/>
                  <a:pt x="2" y="13"/>
                </a:cubicBezTo>
                <a:cubicBezTo>
                  <a:pt x="2" y="13"/>
                  <a:pt x="6" y="14"/>
                  <a:pt x="6" y="14"/>
                </a:cubicBezTo>
                <a:cubicBezTo>
                  <a:pt x="6" y="14"/>
                  <a:pt x="7" y="18"/>
                  <a:pt x="7" y="19"/>
                </a:cubicBezTo>
                <a:cubicBezTo>
                  <a:pt x="7" y="19"/>
                  <a:pt x="7" y="20"/>
                  <a:pt x="7" y="21"/>
                </a:cubicBezTo>
                <a:cubicBezTo>
                  <a:pt x="7" y="21"/>
                  <a:pt x="6" y="21"/>
                  <a:pt x="5" y="22"/>
                </a:cubicBezTo>
                <a:cubicBezTo>
                  <a:pt x="5" y="22"/>
                  <a:pt x="4" y="22"/>
                  <a:pt x="4" y="23"/>
                </a:cubicBezTo>
                <a:cubicBezTo>
                  <a:pt x="4" y="23"/>
                  <a:pt x="5" y="26"/>
                  <a:pt x="5" y="27"/>
                </a:cubicBezTo>
                <a:cubicBezTo>
                  <a:pt x="5" y="27"/>
                  <a:pt x="3" y="28"/>
                  <a:pt x="3" y="28"/>
                </a:cubicBezTo>
                <a:cubicBezTo>
                  <a:pt x="3" y="29"/>
                  <a:pt x="3" y="32"/>
                  <a:pt x="3" y="32"/>
                </a:cubicBezTo>
                <a:cubicBezTo>
                  <a:pt x="3" y="32"/>
                  <a:pt x="0" y="35"/>
                  <a:pt x="0" y="35"/>
                </a:cubicBezTo>
                <a:cubicBezTo>
                  <a:pt x="0" y="35"/>
                  <a:pt x="0" y="37"/>
                  <a:pt x="0" y="37"/>
                </a:cubicBezTo>
                <a:cubicBezTo>
                  <a:pt x="0" y="38"/>
                  <a:pt x="4" y="41"/>
                  <a:pt x="4" y="41"/>
                </a:cubicBezTo>
                <a:cubicBezTo>
                  <a:pt x="4" y="42"/>
                  <a:pt x="4" y="42"/>
                  <a:pt x="4" y="43"/>
                </a:cubicBezTo>
                <a:cubicBezTo>
                  <a:pt x="4" y="43"/>
                  <a:pt x="6" y="46"/>
                  <a:pt x="6" y="46"/>
                </a:cubicBezTo>
                <a:cubicBezTo>
                  <a:pt x="6" y="46"/>
                  <a:pt x="5" y="48"/>
                  <a:pt x="5" y="48"/>
                </a:cubicBezTo>
                <a:cubicBezTo>
                  <a:pt x="9" y="49"/>
                  <a:pt x="9" y="49"/>
                  <a:pt x="9" y="49"/>
                </a:cubicBezTo>
                <a:cubicBezTo>
                  <a:pt x="9" y="49"/>
                  <a:pt x="8" y="52"/>
                  <a:pt x="8" y="52"/>
                </a:cubicBezTo>
                <a:cubicBezTo>
                  <a:pt x="8" y="53"/>
                  <a:pt x="8" y="54"/>
                  <a:pt x="8" y="55"/>
                </a:cubicBezTo>
                <a:cubicBezTo>
                  <a:pt x="8" y="55"/>
                  <a:pt x="9" y="57"/>
                  <a:pt x="9" y="57"/>
                </a:cubicBezTo>
                <a:cubicBezTo>
                  <a:pt x="10" y="58"/>
                  <a:pt x="11" y="59"/>
                  <a:pt x="11" y="59"/>
                </a:cubicBezTo>
                <a:cubicBezTo>
                  <a:pt x="11" y="59"/>
                  <a:pt x="10" y="61"/>
                  <a:pt x="10" y="61"/>
                </a:cubicBezTo>
                <a:cubicBezTo>
                  <a:pt x="10" y="62"/>
                  <a:pt x="10" y="63"/>
                  <a:pt x="10" y="63"/>
                </a:cubicBezTo>
                <a:cubicBezTo>
                  <a:pt x="10" y="63"/>
                  <a:pt x="12" y="65"/>
                  <a:pt x="12" y="65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69"/>
                  <a:pt x="14" y="69"/>
                  <a:pt x="14" y="69"/>
                </a:cubicBezTo>
                <a:cubicBezTo>
                  <a:pt x="14" y="69"/>
                  <a:pt x="14" y="71"/>
                  <a:pt x="14" y="71"/>
                </a:cubicBezTo>
                <a:cubicBezTo>
                  <a:pt x="14" y="72"/>
                  <a:pt x="15" y="71"/>
                  <a:pt x="15" y="71"/>
                </a:cubicBezTo>
                <a:cubicBezTo>
                  <a:pt x="16" y="71"/>
                  <a:pt x="16" y="72"/>
                  <a:pt x="16" y="72"/>
                </a:cubicBezTo>
                <a:cubicBezTo>
                  <a:pt x="16" y="72"/>
                  <a:pt x="17" y="72"/>
                  <a:pt x="17" y="73"/>
                </a:cubicBezTo>
                <a:cubicBezTo>
                  <a:pt x="18" y="73"/>
                  <a:pt x="16" y="76"/>
                  <a:pt x="16" y="76"/>
                </a:cubicBezTo>
                <a:cubicBezTo>
                  <a:pt x="16" y="76"/>
                  <a:pt x="19" y="79"/>
                  <a:pt x="20" y="80"/>
                </a:cubicBezTo>
                <a:cubicBezTo>
                  <a:pt x="20" y="80"/>
                  <a:pt x="19" y="82"/>
                  <a:pt x="19" y="82"/>
                </a:cubicBezTo>
                <a:cubicBezTo>
                  <a:pt x="19" y="82"/>
                  <a:pt x="19" y="84"/>
                  <a:pt x="19" y="85"/>
                </a:cubicBezTo>
                <a:cubicBezTo>
                  <a:pt x="19" y="85"/>
                  <a:pt x="18" y="85"/>
                  <a:pt x="18" y="85"/>
                </a:cubicBezTo>
                <a:cubicBezTo>
                  <a:pt x="18" y="85"/>
                  <a:pt x="18" y="87"/>
                  <a:pt x="18" y="87"/>
                </a:cubicBezTo>
                <a:cubicBezTo>
                  <a:pt x="18" y="87"/>
                  <a:pt x="18" y="89"/>
                  <a:pt x="18" y="89"/>
                </a:cubicBezTo>
                <a:cubicBezTo>
                  <a:pt x="18" y="89"/>
                  <a:pt x="19" y="91"/>
                  <a:pt x="19" y="92"/>
                </a:cubicBezTo>
                <a:cubicBezTo>
                  <a:pt x="19" y="92"/>
                  <a:pt x="20" y="94"/>
                  <a:pt x="20" y="94"/>
                </a:cubicBezTo>
                <a:cubicBezTo>
                  <a:pt x="20" y="94"/>
                  <a:pt x="21" y="92"/>
                  <a:pt x="22" y="92"/>
                </a:cubicBezTo>
                <a:cubicBezTo>
                  <a:pt x="22" y="92"/>
                  <a:pt x="21" y="95"/>
                  <a:pt x="21" y="95"/>
                </a:cubicBezTo>
                <a:cubicBezTo>
                  <a:pt x="21" y="95"/>
                  <a:pt x="24" y="96"/>
                  <a:pt x="24" y="96"/>
                </a:cubicBezTo>
                <a:cubicBezTo>
                  <a:pt x="25" y="97"/>
                  <a:pt x="25" y="98"/>
                  <a:pt x="25" y="99"/>
                </a:cubicBezTo>
                <a:cubicBezTo>
                  <a:pt x="25" y="99"/>
                  <a:pt x="26" y="102"/>
                  <a:pt x="26" y="103"/>
                </a:cubicBezTo>
                <a:cubicBezTo>
                  <a:pt x="26" y="104"/>
                  <a:pt x="25" y="104"/>
                  <a:pt x="25" y="105"/>
                </a:cubicBezTo>
                <a:cubicBezTo>
                  <a:pt x="24" y="105"/>
                  <a:pt x="24" y="106"/>
                  <a:pt x="24" y="107"/>
                </a:cubicBezTo>
                <a:cubicBezTo>
                  <a:pt x="24" y="108"/>
                  <a:pt x="25" y="109"/>
                  <a:pt x="26" y="109"/>
                </a:cubicBezTo>
                <a:cubicBezTo>
                  <a:pt x="26" y="110"/>
                  <a:pt x="26" y="112"/>
                  <a:pt x="26" y="113"/>
                </a:cubicBezTo>
                <a:cubicBezTo>
                  <a:pt x="26" y="114"/>
                  <a:pt x="27" y="116"/>
                  <a:pt x="27" y="117"/>
                </a:cubicBezTo>
                <a:cubicBezTo>
                  <a:pt x="28" y="118"/>
                  <a:pt x="28" y="121"/>
                  <a:pt x="28" y="122"/>
                </a:cubicBezTo>
                <a:cubicBezTo>
                  <a:pt x="28" y="123"/>
                  <a:pt x="28" y="126"/>
                  <a:pt x="28" y="127"/>
                </a:cubicBezTo>
                <a:cubicBezTo>
                  <a:pt x="27" y="129"/>
                  <a:pt x="27" y="129"/>
                  <a:pt x="26" y="129"/>
                </a:cubicBezTo>
                <a:cubicBezTo>
                  <a:pt x="25" y="130"/>
                  <a:pt x="26" y="131"/>
                  <a:pt x="27" y="131"/>
                </a:cubicBezTo>
                <a:cubicBezTo>
                  <a:pt x="27" y="132"/>
                  <a:pt x="29" y="132"/>
                  <a:pt x="29" y="133"/>
                </a:cubicBezTo>
                <a:cubicBezTo>
                  <a:pt x="30" y="133"/>
                  <a:pt x="30" y="136"/>
                  <a:pt x="30" y="136"/>
                </a:cubicBezTo>
                <a:cubicBezTo>
                  <a:pt x="70" y="136"/>
                  <a:pt x="70" y="136"/>
                  <a:pt x="70" y="136"/>
                </a:cubicBezTo>
                <a:lnTo>
                  <a:pt x="169" y="135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6" name="Freeform 44">
            <a:extLst>
              <a:ext uri="{FF2B5EF4-FFF2-40B4-BE49-F238E27FC236}">
                <a16:creationId xmlns:a16="http://schemas.microsoft.com/office/drawing/2014/main" id="{5BFB2D03-DDB8-4954-B6EF-BCB2CFDEC8D6}"/>
              </a:ext>
            </a:extLst>
          </p:cNvPr>
          <p:cNvSpPr>
            <a:spLocks/>
          </p:cNvSpPr>
          <p:nvPr/>
        </p:nvSpPr>
        <p:spPr bwMode="auto">
          <a:xfrm>
            <a:off x="9008009" y="2673942"/>
            <a:ext cx="451052" cy="713753"/>
          </a:xfrm>
          <a:custGeom>
            <a:avLst/>
            <a:gdLst>
              <a:gd name="T0" fmla="*/ 5 w 114"/>
              <a:gd name="T1" fmla="*/ 175 h 180"/>
              <a:gd name="T2" fmla="*/ 9 w 114"/>
              <a:gd name="T3" fmla="*/ 175 h 180"/>
              <a:gd name="T4" fmla="*/ 14 w 114"/>
              <a:gd name="T5" fmla="*/ 176 h 180"/>
              <a:gd name="T6" fmla="*/ 16 w 114"/>
              <a:gd name="T7" fmla="*/ 173 h 180"/>
              <a:gd name="T8" fmla="*/ 20 w 114"/>
              <a:gd name="T9" fmla="*/ 173 h 180"/>
              <a:gd name="T10" fmla="*/ 30 w 114"/>
              <a:gd name="T11" fmla="*/ 176 h 180"/>
              <a:gd name="T12" fmla="*/ 33 w 114"/>
              <a:gd name="T13" fmla="*/ 179 h 180"/>
              <a:gd name="T14" fmla="*/ 36 w 114"/>
              <a:gd name="T15" fmla="*/ 174 h 180"/>
              <a:gd name="T16" fmla="*/ 44 w 114"/>
              <a:gd name="T17" fmla="*/ 170 h 180"/>
              <a:gd name="T18" fmla="*/ 49 w 114"/>
              <a:gd name="T19" fmla="*/ 174 h 180"/>
              <a:gd name="T20" fmla="*/ 52 w 114"/>
              <a:gd name="T21" fmla="*/ 176 h 180"/>
              <a:gd name="T22" fmla="*/ 54 w 114"/>
              <a:gd name="T23" fmla="*/ 170 h 180"/>
              <a:gd name="T24" fmla="*/ 56 w 114"/>
              <a:gd name="T25" fmla="*/ 165 h 180"/>
              <a:gd name="T26" fmla="*/ 60 w 114"/>
              <a:gd name="T27" fmla="*/ 162 h 180"/>
              <a:gd name="T28" fmla="*/ 63 w 114"/>
              <a:gd name="T29" fmla="*/ 164 h 180"/>
              <a:gd name="T30" fmla="*/ 69 w 114"/>
              <a:gd name="T31" fmla="*/ 170 h 180"/>
              <a:gd name="T32" fmla="*/ 75 w 114"/>
              <a:gd name="T33" fmla="*/ 168 h 180"/>
              <a:gd name="T34" fmla="*/ 78 w 114"/>
              <a:gd name="T35" fmla="*/ 158 h 180"/>
              <a:gd name="T36" fmla="*/ 85 w 114"/>
              <a:gd name="T37" fmla="*/ 154 h 180"/>
              <a:gd name="T38" fmla="*/ 92 w 114"/>
              <a:gd name="T39" fmla="*/ 145 h 180"/>
              <a:gd name="T40" fmla="*/ 95 w 114"/>
              <a:gd name="T41" fmla="*/ 137 h 180"/>
              <a:gd name="T42" fmla="*/ 103 w 114"/>
              <a:gd name="T43" fmla="*/ 138 h 180"/>
              <a:gd name="T44" fmla="*/ 113 w 114"/>
              <a:gd name="T45" fmla="*/ 135 h 180"/>
              <a:gd name="T46" fmla="*/ 113 w 114"/>
              <a:gd name="T47" fmla="*/ 130 h 180"/>
              <a:gd name="T48" fmla="*/ 112 w 114"/>
              <a:gd name="T49" fmla="*/ 126 h 180"/>
              <a:gd name="T50" fmla="*/ 113 w 114"/>
              <a:gd name="T51" fmla="*/ 120 h 180"/>
              <a:gd name="T52" fmla="*/ 45 w 114"/>
              <a:gd name="T53" fmla="*/ 0 h 180"/>
              <a:gd name="T54" fmla="*/ 41 w 114"/>
              <a:gd name="T55" fmla="*/ 2 h 180"/>
              <a:gd name="T56" fmla="*/ 33 w 114"/>
              <a:gd name="T57" fmla="*/ 6 h 180"/>
              <a:gd name="T58" fmla="*/ 30 w 114"/>
              <a:gd name="T59" fmla="*/ 7 h 180"/>
              <a:gd name="T60" fmla="*/ 27 w 114"/>
              <a:gd name="T61" fmla="*/ 7 h 180"/>
              <a:gd name="T62" fmla="*/ 22 w 114"/>
              <a:gd name="T63" fmla="*/ 4 h 180"/>
              <a:gd name="T64" fmla="*/ 19 w 114"/>
              <a:gd name="T65" fmla="*/ 0 h 180"/>
              <a:gd name="T66" fmla="*/ 17 w 114"/>
              <a:gd name="T67" fmla="*/ 113 h 180"/>
              <a:gd name="T68" fmla="*/ 16 w 114"/>
              <a:gd name="T69" fmla="*/ 119 h 180"/>
              <a:gd name="T70" fmla="*/ 18 w 114"/>
              <a:gd name="T71" fmla="*/ 123 h 180"/>
              <a:gd name="T72" fmla="*/ 20 w 114"/>
              <a:gd name="T73" fmla="*/ 128 h 180"/>
              <a:gd name="T74" fmla="*/ 19 w 114"/>
              <a:gd name="T75" fmla="*/ 133 h 180"/>
              <a:gd name="T76" fmla="*/ 17 w 114"/>
              <a:gd name="T77" fmla="*/ 141 h 180"/>
              <a:gd name="T78" fmla="*/ 15 w 114"/>
              <a:gd name="T79" fmla="*/ 145 h 180"/>
              <a:gd name="T80" fmla="*/ 14 w 114"/>
              <a:gd name="T81" fmla="*/ 148 h 180"/>
              <a:gd name="T82" fmla="*/ 9 w 114"/>
              <a:gd name="T83" fmla="*/ 154 h 180"/>
              <a:gd name="T84" fmla="*/ 6 w 114"/>
              <a:gd name="T85" fmla="*/ 157 h 180"/>
              <a:gd name="T86" fmla="*/ 4 w 114"/>
              <a:gd name="T87" fmla="*/ 158 h 180"/>
              <a:gd name="T88" fmla="*/ 6 w 114"/>
              <a:gd name="T89" fmla="*/ 162 h 180"/>
              <a:gd name="T90" fmla="*/ 5 w 114"/>
              <a:gd name="T91" fmla="*/ 166 h 180"/>
              <a:gd name="T92" fmla="*/ 3 w 114"/>
              <a:gd name="T93" fmla="*/ 168 h 180"/>
              <a:gd name="T94" fmla="*/ 1 w 114"/>
              <a:gd name="T95" fmla="*/ 173 h 180"/>
              <a:gd name="T96" fmla="*/ 2 w 114"/>
              <a:gd name="T97" fmla="*/ 177 h 180"/>
              <a:gd name="T98" fmla="*/ 5 w 114"/>
              <a:gd name="T99" fmla="*/ 179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4" h="180">
                <a:moveTo>
                  <a:pt x="7" y="178"/>
                </a:moveTo>
                <a:cubicBezTo>
                  <a:pt x="7" y="178"/>
                  <a:pt x="6" y="177"/>
                  <a:pt x="6" y="177"/>
                </a:cubicBezTo>
                <a:cubicBezTo>
                  <a:pt x="6" y="177"/>
                  <a:pt x="5" y="176"/>
                  <a:pt x="5" y="175"/>
                </a:cubicBezTo>
                <a:cubicBezTo>
                  <a:pt x="6" y="175"/>
                  <a:pt x="6" y="173"/>
                  <a:pt x="6" y="173"/>
                </a:cubicBezTo>
                <a:cubicBezTo>
                  <a:pt x="6" y="173"/>
                  <a:pt x="7" y="173"/>
                  <a:pt x="8" y="173"/>
                </a:cubicBezTo>
                <a:cubicBezTo>
                  <a:pt x="8" y="174"/>
                  <a:pt x="9" y="175"/>
                  <a:pt x="9" y="175"/>
                </a:cubicBezTo>
                <a:cubicBezTo>
                  <a:pt x="9" y="175"/>
                  <a:pt x="11" y="175"/>
                  <a:pt x="12" y="175"/>
                </a:cubicBezTo>
                <a:cubicBezTo>
                  <a:pt x="12" y="174"/>
                  <a:pt x="13" y="174"/>
                  <a:pt x="13" y="174"/>
                </a:cubicBezTo>
                <a:cubicBezTo>
                  <a:pt x="14" y="174"/>
                  <a:pt x="14" y="175"/>
                  <a:pt x="14" y="176"/>
                </a:cubicBezTo>
                <a:cubicBezTo>
                  <a:pt x="14" y="176"/>
                  <a:pt x="14" y="177"/>
                  <a:pt x="15" y="177"/>
                </a:cubicBezTo>
                <a:cubicBezTo>
                  <a:pt x="17" y="177"/>
                  <a:pt x="17" y="177"/>
                  <a:pt x="17" y="176"/>
                </a:cubicBezTo>
                <a:cubicBezTo>
                  <a:pt x="17" y="176"/>
                  <a:pt x="17" y="174"/>
                  <a:pt x="16" y="173"/>
                </a:cubicBezTo>
                <a:cubicBezTo>
                  <a:pt x="16" y="173"/>
                  <a:pt x="16" y="172"/>
                  <a:pt x="17" y="171"/>
                </a:cubicBezTo>
                <a:cubicBezTo>
                  <a:pt x="18" y="171"/>
                  <a:pt x="18" y="171"/>
                  <a:pt x="18" y="171"/>
                </a:cubicBezTo>
                <a:cubicBezTo>
                  <a:pt x="19" y="172"/>
                  <a:pt x="20" y="173"/>
                  <a:pt x="20" y="173"/>
                </a:cubicBezTo>
                <a:cubicBezTo>
                  <a:pt x="21" y="173"/>
                  <a:pt x="21" y="173"/>
                  <a:pt x="22" y="172"/>
                </a:cubicBezTo>
                <a:cubicBezTo>
                  <a:pt x="23" y="172"/>
                  <a:pt x="24" y="172"/>
                  <a:pt x="24" y="172"/>
                </a:cubicBezTo>
                <a:cubicBezTo>
                  <a:pt x="24" y="172"/>
                  <a:pt x="30" y="176"/>
                  <a:pt x="30" y="176"/>
                </a:cubicBezTo>
                <a:cubicBezTo>
                  <a:pt x="31" y="176"/>
                  <a:pt x="32" y="176"/>
                  <a:pt x="32" y="176"/>
                </a:cubicBezTo>
                <a:cubicBezTo>
                  <a:pt x="32" y="176"/>
                  <a:pt x="32" y="177"/>
                  <a:pt x="33" y="177"/>
                </a:cubicBezTo>
                <a:cubicBezTo>
                  <a:pt x="33" y="178"/>
                  <a:pt x="33" y="179"/>
                  <a:pt x="33" y="179"/>
                </a:cubicBezTo>
                <a:cubicBezTo>
                  <a:pt x="33" y="179"/>
                  <a:pt x="34" y="179"/>
                  <a:pt x="34" y="179"/>
                </a:cubicBezTo>
                <a:cubicBezTo>
                  <a:pt x="35" y="178"/>
                  <a:pt x="35" y="177"/>
                  <a:pt x="35" y="177"/>
                </a:cubicBezTo>
                <a:cubicBezTo>
                  <a:pt x="36" y="176"/>
                  <a:pt x="36" y="175"/>
                  <a:pt x="36" y="174"/>
                </a:cubicBezTo>
                <a:cubicBezTo>
                  <a:pt x="36" y="174"/>
                  <a:pt x="37" y="174"/>
                  <a:pt x="38" y="173"/>
                </a:cubicBezTo>
                <a:cubicBezTo>
                  <a:pt x="39" y="173"/>
                  <a:pt x="41" y="172"/>
                  <a:pt x="42" y="172"/>
                </a:cubicBezTo>
                <a:cubicBezTo>
                  <a:pt x="42" y="171"/>
                  <a:pt x="44" y="170"/>
                  <a:pt x="44" y="170"/>
                </a:cubicBezTo>
                <a:cubicBezTo>
                  <a:pt x="44" y="170"/>
                  <a:pt x="45" y="171"/>
                  <a:pt x="45" y="171"/>
                </a:cubicBezTo>
                <a:cubicBezTo>
                  <a:pt x="45" y="172"/>
                  <a:pt x="46" y="173"/>
                  <a:pt x="47" y="173"/>
                </a:cubicBezTo>
                <a:cubicBezTo>
                  <a:pt x="47" y="174"/>
                  <a:pt x="48" y="174"/>
                  <a:pt x="49" y="174"/>
                </a:cubicBezTo>
                <a:cubicBezTo>
                  <a:pt x="49" y="174"/>
                  <a:pt x="50" y="173"/>
                  <a:pt x="50" y="174"/>
                </a:cubicBezTo>
                <a:cubicBezTo>
                  <a:pt x="50" y="174"/>
                  <a:pt x="50" y="176"/>
                  <a:pt x="50" y="176"/>
                </a:cubicBezTo>
                <a:cubicBezTo>
                  <a:pt x="50" y="176"/>
                  <a:pt x="51" y="177"/>
                  <a:pt x="52" y="176"/>
                </a:cubicBezTo>
                <a:cubicBezTo>
                  <a:pt x="52" y="175"/>
                  <a:pt x="52" y="173"/>
                  <a:pt x="52" y="173"/>
                </a:cubicBezTo>
                <a:cubicBezTo>
                  <a:pt x="53" y="173"/>
                  <a:pt x="54" y="173"/>
                  <a:pt x="55" y="173"/>
                </a:cubicBezTo>
                <a:cubicBezTo>
                  <a:pt x="55" y="173"/>
                  <a:pt x="55" y="171"/>
                  <a:pt x="54" y="170"/>
                </a:cubicBezTo>
                <a:cubicBezTo>
                  <a:pt x="54" y="169"/>
                  <a:pt x="54" y="168"/>
                  <a:pt x="55" y="168"/>
                </a:cubicBezTo>
                <a:cubicBezTo>
                  <a:pt x="55" y="167"/>
                  <a:pt x="57" y="167"/>
                  <a:pt x="57" y="167"/>
                </a:cubicBezTo>
                <a:cubicBezTo>
                  <a:pt x="57" y="166"/>
                  <a:pt x="56" y="165"/>
                  <a:pt x="56" y="165"/>
                </a:cubicBezTo>
                <a:cubicBezTo>
                  <a:pt x="56" y="164"/>
                  <a:pt x="58" y="165"/>
                  <a:pt x="59" y="165"/>
                </a:cubicBezTo>
                <a:cubicBezTo>
                  <a:pt x="59" y="165"/>
                  <a:pt x="61" y="164"/>
                  <a:pt x="61" y="164"/>
                </a:cubicBezTo>
                <a:cubicBezTo>
                  <a:pt x="61" y="163"/>
                  <a:pt x="59" y="163"/>
                  <a:pt x="60" y="162"/>
                </a:cubicBezTo>
                <a:cubicBezTo>
                  <a:pt x="60" y="161"/>
                  <a:pt x="60" y="161"/>
                  <a:pt x="60" y="161"/>
                </a:cubicBezTo>
                <a:cubicBezTo>
                  <a:pt x="60" y="161"/>
                  <a:pt x="62" y="162"/>
                  <a:pt x="62" y="162"/>
                </a:cubicBezTo>
                <a:cubicBezTo>
                  <a:pt x="62" y="163"/>
                  <a:pt x="62" y="163"/>
                  <a:pt x="63" y="164"/>
                </a:cubicBezTo>
                <a:cubicBezTo>
                  <a:pt x="63" y="165"/>
                  <a:pt x="63" y="167"/>
                  <a:pt x="64" y="167"/>
                </a:cubicBezTo>
                <a:cubicBezTo>
                  <a:pt x="65" y="168"/>
                  <a:pt x="66" y="168"/>
                  <a:pt x="67" y="168"/>
                </a:cubicBezTo>
                <a:cubicBezTo>
                  <a:pt x="68" y="169"/>
                  <a:pt x="69" y="169"/>
                  <a:pt x="69" y="170"/>
                </a:cubicBezTo>
                <a:cubicBezTo>
                  <a:pt x="70" y="170"/>
                  <a:pt x="71" y="171"/>
                  <a:pt x="71" y="171"/>
                </a:cubicBezTo>
                <a:cubicBezTo>
                  <a:pt x="71" y="171"/>
                  <a:pt x="72" y="169"/>
                  <a:pt x="73" y="169"/>
                </a:cubicBezTo>
                <a:cubicBezTo>
                  <a:pt x="73" y="169"/>
                  <a:pt x="75" y="169"/>
                  <a:pt x="75" y="168"/>
                </a:cubicBezTo>
                <a:cubicBezTo>
                  <a:pt x="75" y="168"/>
                  <a:pt x="75" y="167"/>
                  <a:pt x="75" y="166"/>
                </a:cubicBezTo>
                <a:cubicBezTo>
                  <a:pt x="75" y="165"/>
                  <a:pt x="76" y="162"/>
                  <a:pt x="76" y="161"/>
                </a:cubicBezTo>
                <a:cubicBezTo>
                  <a:pt x="77" y="160"/>
                  <a:pt x="77" y="159"/>
                  <a:pt x="78" y="158"/>
                </a:cubicBezTo>
                <a:cubicBezTo>
                  <a:pt x="79" y="158"/>
                  <a:pt x="80" y="157"/>
                  <a:pt x="81" y="157"/>
                </a:cubicBezTo>
                <a:cubicBezTo>
                  <a:pt x="82" y="157"/>
                  <a:pt x="82" y="157"/>
                  <a:pt x="83" y="156"/>
                </a:cubicBezTo>
                <a:cubicBezTo>
                  <a:pt x="84" y="155"/>
                  <a:pt x="85" y="155"/>
                  <a:pt x="85" y="154"/>
                </a:cubicBezTo>
                <a:cubicBezTo>
                  <a:pt x="85" y="153"/>
                  <a:pt x="85" y="152"/>
                  <a:pt x="86" y="151"/>
                </a:cubicBezTo>
                <a:cubicBezTo>
                  <a:pt x="86" y="150"/>
                  <a:pt x="91" y="148"/>
                  <a:pt x="91" y="148"/>
                </a:cubicBezTo>
                <a:cubicBezTo>
                  <a:pt x="91" y="148"/>
                  <a:pt x="92" y="146"/>
                  <a:pt x="92" y="145"/>
                </a:cubicBezTo>
                <a:cubicBezTo>
                  <a:pt x="92" y="144"/>
                  <a:pt x="91" y="143"/>
                  <a:pt x="91" y="142"/>
                </a:cubicBezTo>
                <a:cubicBezTo>
                  <a:pt x="91" y="141"/>
                  <a:pt x="91" y="138"/>
                  <a:pt x="92" y="138"/>
                </a:cubicBezTo>
                <a:cubicBezTo>
                  <a:pt x="93" y="137"/>
                  <a:pt x="94" y="137"/>
                  <a:pt x="95" y="137"/>
                </a:cubicBezTo>
                <a:cubicBezTo>
                  <a:pt x="96" y="137"/>
                  <a:pt x="97" y="137"/>
                  <a:pt x="97" y="137"/>
                </a:cubicBezTo>
                <a:cubicBezTo>
                  <a:pt x="98" y="137"/>
                  <a:pt x="99" y="139"/>
                  <a:pt x="100" y="139"/>
                </a:cubicBezTo>
                <a:cubicBezTo>
                  <a:pt x="101" y="139"/>
                  <a:pt x="101" y="139"/>
                  <a:pt x="103" y="138"/>
                </a:cubicBezTo>
                <a:cubicBezTo>
                  <a:pt x="104" y="138"/>
                  <a:pt x="105" y="136"/>
                  <a:pt x="106" y="136"/>
                </a:cubicBezTo>
                <a:cubicBezTo>
                  <a:pt x="107" y="135"/>
                  <a:pt x="107" y="135"/>
                  <a:pt x="109" y="135"/>
                </a:cubicBezTo>
                <a:cubicBezTo>
                  <a:pt x="111" y="135"/>
                  <a:pt x="112" y="136"/>
                  <a:pt x="113" y="135"/>
                </a:cubicBezTo>
                <a:cubicBezTo>
                  <a:pt x="114" y="135"/>
                  <a:pt x="113" y="133"/>
                  <a:pt x="113" y="133"/>
                </a:cubicBezTo>
                <a:cubicBezTo>
                  <a:pt x="113" y="133"/>
                  <a:pt x="114" y="132"/>
                  <a:pt x="114" y="132"/>
                </a:cubicBezTo>
                <a:cubicBezTo>
                  <a:pt x="114" y="131"/>
                  <a:pt x="114" y="130"/>
                  <a:pt x="113" y="130"/>
                </a:cubicBezTo>
                <a:cubicBezTo>
                  <a:pt x="112" y="130"/>
                  <a:pt x="112" y="130"/>
                  <a:pt x="112" y="130"/>
                </a:cubicBezTo>
                <a:cubicBezTo>
                  <a:pt x="112" y="129"/>
                  <a:pt x="112" y="129"/>
                  <a:pt x="112" y="128"/>
                </a:cubicBezTo>
                <a:cubicBezTo>
                  <a:pt x="113" y="127"/>
                  <a:pt x="112" y="126"/>
                  <a:pt x="112" y="126"/>
                </a:cubicBezTo>
                <a:cubicBezTo>
                  <a:pt x="112" y="125"/>
                  <a:pt x="111" y="125"/>
                  <a:pt x="111" y="124"/>
                </a:cubicBezTo>
                <a:cubicBezTo>
                  <a:pt x="111" y="123"/>
                  <a:pt x="112" y="122"/>
                  <a:pt x="112" y="122"/>
                </a:cubicBezTo>
                <a:cubicBezTo>
                  <a:pt x="113" y="120"/>
                  <a:pt x="113" y="120"/>
                  <a:pt x="113" y="120"/>
                </a:cubicBezTo>
                <a:cubicBezTo>
                  <a:pt x="114" y="0"/>
                  <a:pt x="114" y="0"/>
                  <a:pt x="11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4" y="1"/>
                  <a:pt x="44" y="1"/>
                  <a:pt x="44" y="1"/>
                </a:cubicBezTo>
                <a:cubicBezTo>
                  <a:pt x="43" y="1"/>
                  <a:pt x="43" y="1"/>
                  <a:pt x="42" y="1"/>
                </a:cubicBezTo>
                <a:cubicBezTo>
                  <a:pt x="42" y="1"/>
                  <a:pt x="41" y="2"/>
                  <a:pt x="41" y="2"/>
                </a:cubicBezTo>
                <a:cubicBezTo>
                  <a:pt x="41" y="2"/>
                  <a:pt x="41" y="2"/>
                  <a:pt x="40" y="2"/>
                </a:cubicBezTo>
                <a:cubicBezTo>
                  <a:pt x="39" y="3"/>
                  <a:pt x="38" y="3"/>
                  <a:pt x="37" y="4"/>
                </a:cubicBezTo>
                <a:cubicBezTo>
                  <a:pt x="36" y="5"/>
                  <a:pt x="35" y="5"/>
                  <a:pt x="33" y="6"/>
                </a:cubicBezTo>
                <a:cubicBezTo>
                  <a:pt x="33" y="6"/>
                  <a:pt x="33" y="6"/>
                  <a:pt x="32" y="6"/>
                </a:cubicBezTo>
                <a:cubicBezTo>
                  <a:pt x="32" y="6"/>
                  <a:pt x="32" y="6"/>
                  <a:pt x="31" y="6"/>
                </a:cubicBezTo>
                <a:cubicBezTo>
                  <a:pt x="31" y="7"/>
                  <a:pt x="30" y="7"/>
                  <a:pt x="30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28" y="7"/>
                  <a:pt x="28" y="7"/>
                  <a:pt x="28" y="7"/>
                </a:cubicBezTo>
                <a:cubicBezTo>
                  <a:pt x="28" y="7"/>
                  <a:pt x="28" y="7"/>
                  <a:pt x="27" y="7"/>
                </a:cubicBezTo>
                <a:cubicBezTo>
                  <a:pt x="27" y="6"/>
                  <a:pt x="26" y="6"/>
                  <a:pt x="25" y="6"/>
                </a:cubicBezTo>
                <a:cubicBezTo>
                  <a:pt x="24" y="6"/>
                  <a:pt x="24" y="6"/>
                  <a:pt x="23" y="5"/>
                </a:cubicBezTo>
                <a:cubicBezTo>
                  <a:pt x="23" y="5"/>
                  <a:pt x="22" y="4"/>
                  <a:pt x="22" y="4"/>
                </a:cubicBezTo>
                <a:cubicBezTo>
                  <a:pt x="21" y="3"/>
                  <a:pt x="21" y="3"/>
                  <a:pt x="21" y="2"/>
                </a:cubicBezTo>
                <a:cubicBezTo>
                  <a:pt x="20" y="2"/>
                  <a:pt x="20" y="1"/>
                  <a:pt x="20" y="1"/>
                </a:cubicBezTo>
                <a:cubicBezTo>
                  <a:pt x="20" y="1"/>
                  <a:pt x="19" y="1"/>
                  <a:pt x="19" y="0"/>
                </a:cubicBezTo>
                <a:cubicBezTo>
                  <a:pt x="20" y="110"/>
                  <a:pt x="20" y="110"/>
                  <a:pt x="20" y="110"/>
                </a:cubicBezTo>
                <a:cubicBezTo>
                  <a:pt x="16" y="111"/>
                  <a:pt x="16" y="111"/>
                  <a:pt x="16" y="111"/>
                </a:cubicBezTo>
                <a:cubicBezTo>
                  <a:pt x="16" y="111"/>
                  <a:pt x="17" y="113"/>
                  <a:pt x="17" y="113"/>
                </a:cubicBezTo>
                <a:cubicBezTo>
                  <a:pt x="17" y="114"/>
                  <a:pt x="18" y="114"/>
                  <a:pt x="18" y="114"/>
                </a:cubicBezTo>
                <a:cubicBezTo>
                  <a:pt x="17" y="117"/>
                  <a:pt x="17" y="117"/>
                  <a:pt x="17" y="117"/>
                </a:cubicBezTo>
                <a:cubicBezTo>
                  <a:pt x="17" y="117"/>
                  <a:pt x="16" y="118"/>
                  <a:pt x="16" y="119"/>
                </a:cubicBezTo>
                <a:cubicBezTo>
                  <a:pt x="16" y="119"/>
                  <a:pt x="16" y="120"/>
                  <a:pt x="16" y="120"/>
                </a:cubicBezTo>
                <a:cubicBezTo>
                  <a:pt x="16" y="120"/>
                  <a:pt x="16" y="121"/>
                  <a:pt x="16" y="121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6"/>
                  <a:pt x="18" y="126"/>
                  <a:pt x="18" y="126"/>
                </a:cubicBezTo>
                <a:cubicBezTo>
                  <a:pt x="20" y="127"/>
                  <a:pt x="20" y="127"/>
                  <a:pt x="20" y="127"/>
                </a:cubicBezTo>
                <a:cubicBezTo>
                  <a:pt x="20" y="128"/>
                  <a:pt x="20" y="128"/>
                  <a:pt x="20" y="128"/>
                </a:cubicBezTo>
                <a:cubicBezTo>
                  <a:pt x="20" y="128"/>
                  <a:pt x="19" y="130"/>
                  <a:pt x="19" y="130"/>
                </a:cubicBezTo>
                <a:cubicBezTo>
                  <a:pt x="19" y="130"/>
                  <a:pt x="18" y="132"/>
                  <a:pt x="18" y="132"/>
                </a:cubicBezTo>
                <a:cubicBezTo>
                  <a:pt x="18" y="132"/>
                  <a:pt x="19" y="133"/>
                  <a:pt x="19" y="133"/>
                </a:cubicBezTo>
                <a:cubicBezTo>
                  <a:pt x="21" y="137"/>
                  <a:pt x="21" y="137"/>
                  <a:pt x="21" y="137"/>
                </a:cubicBezTo>
                <a:cubicBezTo>
                  <a:pt x="19" y="140"/>
                  <a:pt x="19" y="140"/>
                  <a:pt x="19" y="140"/>
                </a:cubicBezTo>
                <a:cubicBezTo>
                  <a:pt x="17" y="141"/>
                  <a:pt x="17" y="141"/>
                  <a:pt x="17" y="141"/>
                </a:cubicBezTo>
                <a:cubicBezTo>
                  <a:pt x="17" y="142"/>
                  <a:pt x="17" y="142"/>
                  <a:pt x="17" y="142"/>
                </a:cubicBezTo>
                <a:cubicBezTo>
                  <a:pt x="17" y="144"/>
                  <a:pt x="17" y="144"/>
                  <a:pt x="17" y="144"/>
                </a:cubicBezTo>
                <a:cubicBezTo>
                  <a:pt x="15" y="145"/>
                  <a:pt x="15" y="145"/>
                  <a:pt x="15" y="145"/>
                </a:cubicBezTo>
                <a:cubicBezTo>
                  <a:pt x="15" y="145"/>
                  <a:pt x="15" y="146"/>
                  <a:pt x="15" y="146"/>
                </a:cubicBezTo>
                <a:cubicBezTo>
                  <a:pt x="15" y="146"/>
                  <a:pt x="15" y="147"/>
                  <a:pt x="15" y="147"/>
                </a:cubicBezTo>
                <a:cubicBezTo>
                  <a:pt x="14" y="148"/>
                  <a:pt x="14" y="148"/>
                  <a:pt x="14" y="148"/>
                </a:cubicBezTo>
                <a:cubicBezTo>
                  <a:pt x="12" y="149"/>
                  <a:pt x="12" y="149"/>
                  <a:pt x="12" y="149"/>
                </a:cubicBezTo>
                <a:cubicBezTo>
                  <a:pt x="12" y="151"/>
                  <a:pt x="12" y="151"/>
                  <a:pt x="12" y="151"/>
                </a:cubicBezTo>
                <a:cubicBezTo>
                  <a:pt x="9" y="154"/>
                  <a:pt x="9" y="154"/>
                  <a:pt x="9" y="154"/>
                </a:cubicBezTo>
                <a:cubicBezTo>
                  <a:pt x="9" y="157"/>
                  <a:pt x="9" y="157"/>
                  <a:pt x="9" y="157"/>
                </a:cubicBezTo>
                <a:cubicBezTo>
                  <a:pt x="8" y="156"/>
                  <a:pt x="8" y="156"/>
                  <a:pt x="8" y="156"/>
                </a:cubicBezTo>
                <a:cubicBezTo>
                  <a:pt x="6" y="157"/>
                  <a:pt x="6" y="157"/>
                  <a:pt x="6" y="157"/>
                </a:cubicBezTo>
                <a:cubicBezTo>
                  <a:pt x="5" y="156"/>
                  <a:pt x="5" y="156"/>
                  <a:pt x="5" y="156"/>
                </a:cubicBezTo>
                <a:cubicBezTo>
                  <a:pt x="5" y="159"/>
                  <a:pt x="5" y="159"/>
                  <a:pt x="5" y="159"/>
                </a:cubicBezTo>
                <a:cubicBezTo>
                  <a:pt x="4" y="158"/>
                  <a:pt x="4" y="158"/>
                  <a:pt x="4" y="158"/>
                </a:cubicBezTo>
                <a:cubicBezTo>
                  <a:pt x="4" y="158"/>
                  <a:pt x="4" y="159"/>
                  <a:pt x="4" y="159"/>
                </a:cubicBezTo>
                <a:cubicBezTo>
                  <a:pt x="4" y="160"/>
                  <a:pt x="4" y="161"/>
                  <a:pt x="4" y="161"/>
                </a:cubicBezTo>
                <a:cubicBezTo>
                  <a:pt x="6" y="162"/>
                  <a:pt x="6" y="162"/>
                  <a:pt x="6" y="162"/>
                </a:cubicBezTo>
                <a:cubicBezTo>
                  <a:pt x="6" y="162"/>
                  <a:pt x="5" y="164"/>
                  <a:pt x="5" y="164"/>
                </a:cubicBezTo>
                <a:cubicBezTo>
                  <a:pt x="5" y="164"/>
                  <a:pt x="3" y="165"/>
                  <a:pt x="3" y="165"/>
                </a:cubicBezTo>
                <a:cubicBezTo>
                  <a:pt x="3" y="165"/>
                  <a:pt x="5" y="166"/>
                  <a:pt x="5" y="166"/>
                </a:cubicBezTo>
                <a:cubicBezTo>
                  <a:pt x="5" y="166"/>
                  <a:pt x="4" y="167"/>
                  <a:pt x="4" y="167"/>
                </a:cubicBezTo>
                <a:cubicBezTo>
                  <a:pt x="2" y="167"/>
                  <a:pt x="2" y="167"/>
                  <a:pt x="2" y="167"/>
                </a:cubicBezTo>
                <a:cubicBezTo>
                  <a:pt x="3" y="168"/>
                  <a:pt x="3" y="168"/>
                  <a:pt x="3" y="168"/>
                </a:cubicBezTo>
                <a:cubicBezTo>
                  <a:pt x="3" y="171"/>
                  <a:pt x="3" y="171"/>
                  <a:pt x="3" y="171"/>
                </a:cubicBezTo>
                <a:cubicBezTo>
                  <a:pt x="2" y="174"/>
                  <a:pt x="2" y="174"/>
                  <a:pt x="2" y="174"/>
                </a:cubicBezTo>
                <a:cubicBezTo>
                  <a:pt x="2" y="174"/>
                  <a:pt x="1" y="173"/>
                  <a:pt x="1" y="173"/>
                </a:cubicBezTo>
                <a:cubicBezTo>
                  <a:pt x="1" y="172"/>
                  <a:pt x="0" y="174"/>
                  <a:pt x="0" y="174"/>
                </a:cubicBezTo>
                <a:cubicBezTo>
                  <a:pt x="0" y="174"/>
                  <a:pt x="1" y="175"/>
                  <a:pt x="2" y="176"/>
                </a:cubicBezTo>
                <a:cubicBezTo>
                  <a:pt x="2" y="176"/>
                  <a:pt x="2" y="177"/>
                  <a:pt x="2" y="177"/>
                </a:cubicBezTo>
                <a:cubicBezTo>
                  <a:pt x="0" y="178"/>
                  <a:pt x="0" y="178"/>
                  <a:pt x="0" y="178"/>
                </a:cubicBezTo>
                <a:cubicBezTo>
                  <a:pt x="3" y="179"/>
                  <a:pt x="3" y="179"/>
                  <a:pt x="3" y="179"/>
                </a:cubicBezTo>
                <a:cubicBezTo>
                  <a:pt x="3" y="179"/>
                  <a:pt x="4" y="179"/>
                  <a:pt x="5" y="179"/>
                </a:cubicBezTo>
                <a:cubicBezTo>
                  <a:pt x="5" y="180"/>
                  <a:pt x="7" y="178"/>
                  <a:pt x="7" y="178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7" name="Freeform 45">
            <a:extLst>
              <a:ext uri="{FF2B5EF4-FFF2-40B4-BE49-F238E27FC236}">
                <a16:creationId xmlns:a16="http://schemas.microsoft.com/office/drawing/2014/main" id="{8D25BF9B-F4F6-4193-8EEB-92E7BBBD08A5}"/>
              </a:ext>
            </a:extLst>
          </p:cNvPr>
          <p:cNvSpPr>
            <a:spLocks/>
          </p:cNvSpPr>
          <p:nvPr/>
        </p:nvSpPr>
        <p:spPr bwMode="auto">
          <a:xfrm>
            <a:off x="8540435" y="2535157"/>
            <a:ext cx="550184" cy="988019"/>
          </a:xfrm>
          <a:custGeom>
            <a:avLst/>
            <a:gdLst>
              <a:gd name="T0" fmla="*/ 138 w 139"/>
              <a:gd name="T1" fmla="*/ 163 h 249"/>
              <a:gd name="T2" fmla="*/ 134 w 139"/>
              <a:gd name="T3" fmla="*/ 156 h 249"/>
              <a:gd name="T4" fmla="*/ 136 w 139"/>
              <a:gd name="T5" fmla="*/ 149 h 249"/>
              <a:gd name="T6" fmla="*/ 137 w 139"/>
              <a:gd name="T7" fmla="*/ 35 h 249"/>
              <a:gd name="T8" fmla="*/ 134 w 139"/>
              <a:gd name="T9" fmla="*/ 27 h 249"/>
              <a:gd name="T10" fmla="*/ 133 w 139"/>
              <a:gd name="T11" fmla="*/ 22 h 249"/>
              <a:gd name="T12" fmla="*/ 129 w 139"/>
              <a:gd name="T13" fmla="*/ 16 h 249"/>
              <a:gd name="T14" fmla="*/ 128 w 139"/>
              <a:gd name="T15" fmla="*/ 5 h 249"/>
              <a:gd name="T16" fmla="*/ 30 w 139"/>
              <a:gd name="T17" fmla="*/ 0 h 249"/>
              <a:gd name="T18" fmla="*/ 37 w 139"/>
              <a:gd name="T19" fmla="*/ 10 h 249"/>
              <a:gd name="T20" fmla="*/ 46 w 139"/>
              <a:gd name="T21" fmla="*/ 31 h 249"/>
              <a:gd name="T22" fmla="*/ 38 w 139"/>
              <a:gd name="T23" fmla="*/ 44 h 249"/>
              <a:gd name="T24" fmla="*/ 24 w 139"/>
              <a:gd name="T25" fmla="*/ 49 h 249"/>
              <a:gd name="T26" fmla="*/ 16 w 139"/>
              <a:gd name="T27" fmla="*/ 51 h 249"/>
              <a:gd name="T28" fmla="*/ 18 w 139"/>
              <a:gd name="T29" fmla="*/ 64 h 249"/>
              <a:gd name="T30" fmla="*/ 14 w 139"/>
              <a:gd name="T31" fmla="*/ 81 h 249"/>
              <a:gd name="T32" fmla="*/ 7 w 139"/>
              <a:gd name="T33" fmla="*/ 87 h 249"/>
              <a:gd name="T34" fmla="*/ 5 w 139"/>
              <a:gd name="T35" fmla="*/ 95 h 249"/>
              <a:gd name="T36" fmla="*/ 0 w 139"/>
              <a:gd name="T37" fmla="*/ 104 h 249"/>
              <a:gd name="T38" fmla="*/ 2 w 139"/>
              <a:gd name="T39" fmla="*/ 116 h 249"/>
              <a:gd name="T40" fmla="*/ 5 w 139"/>
              <a:gd name="T41" fmla="*/ 125 h 249"/>
              <a:gd name="T42" fmla="*/ 12 w 139"/>
              <a:gd name="T43" fmla="*/ 136 h 249"/>
              <a:gd name="T44" fmla="*/ 27 w 139"/>
              <a:gd name="T45" fmla="*/ 149 h 249"/>
              <a:gd name="T46" fmla="*/ 29 w 139"/>
              <a:gd name="T47" fmla="*/ 161 h 249"/>
              <a:gd name="T48" fmla="*/ 37 w 139"/>
              <a:gd name="T49" fmla="*/ 162 h 249"/>
              <a:gd name="T50" fmla="*/ 45 w 139"/>
              <a:gd name="T51" fmla="*/ 173 h 249"/>
              <a:gd name="T52" fmla="*/ 42 w 139"/>
              <a:gd name="T53" fmla="*/ 185 h 249"/>
              <a:gd name="T54" fmla="*/ 51 w 139"/>
              <a:gd name="T55" fmla="*/ 205 h 249"/>
              <a:gd name="T56" fmla="*/ 55 w 139"/>
              <a:gd name="T57" fmla="*/ 210 h 249"/>
              <a:gd name="T58" fmla="*/ 63 w 139"/>
              <a:gd name="T59" fmla="*/ 216 h 249"/>
              <a:gd name="T60" fmla="*/ 70 w 139"/>
              <a:gd name="T61" fmla="*/ 223 h 249"/>
              <a:gd name="T62" fmla="*/ 71 w 139"/>
              <a:gd name="T63" fmla="*/ 229 h 249"/>
              <a:gd name="T64" fmla="*/ 69 w 139"/>
              <a:gd name="T65" fmla="*/ 235 h 249"/>
              <a:gd name="T66" fmla="*/ 73 w 139"/>
              <a:gd name="T67" fmla="*/ 243 h 249"/>
              <a:gd name="T68" fmla="*/ 77 w 139"/>
              <a:gd name="T69" fmla="*/ 248 h 249"/>
              <a:gd name="T70" fmla="*/ 78 w 139"/>
              <a:gd name="T71" fmla="*/ 245 h 249"/>
              <a:gd name="T72" fmla="*/ 82 w 139"/>
              <a:gd name="T73" fmla="*/ 249 h 249"/>
              <a:gd name="T74" fmla="*/ 87 w 139"/>
              <a:gd name="T75" fmla="*/ 238 h 249"/>
              <a:gd name="T76" fmla="*/ 106 w 139"/>
              <a:gd name="T77" fmla="*/ 245 h 249"/>
              <a:gd name="T78" fmla="*/ 106 w 139"/>
              <a:gd name="T79" fmla="*/ 230 h 249"/>
              <a:gd name="T80" fmla="*/ 118 w 139"/>
              <a:gd name="T81" fmla="*/ 228 h 249"/>
              <a:gd name="T82" fmla="*/ 116 w 139"/>
              <a:gd name="T83" fmla="*/ 220 h 249"/>
              <a:gd name="T84" fmla="*/ 120 w 139"/>
              <a:gd name="T85" fmla="*/ 212 h 249"/>
              <a:gd name="T86" fmla="*/ 120 w 139"/>
              <a:gd name="T87" fmla="*/ 209 h 249"/>
              <a:gd name="T88" fmla="*/ 122 w 139"/>
              <a:gd name="T89" fmla="*/ 202 h 249"/>
              <a:gd name="T90" fmla="*/ 124 w 139"/>
              <a:gd name="T91" fmla="*/ 197 h 249"/>
              <a:gd name="T92" fmla="*/ 123 w 139"/>
              <a:gd name="T93" fmla="*/ 194 h 249"/>
              <a:gd name="T94" fmla="*/ 127 w 139"/>
              <a:gd name="T95" fmla="*/ 192 h 249"/>
              <a:gd name="T96" fmla="*/ 132 w 139"/>
              <a:gd name="T97" fmla="*/ 183 h 249"/>
              <a:gd name="T98" fmla="*/ 135 w 139"/>
              <a:gd name="T99" fmla="*/ 179 h 249"/>
              <a:gd name="T100" fmla="*/ 139 w 139"/>
              <a:gd name="T101" fmla="*/ 172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9" h="249">
                <a:moveTo>
                  <a:pt x="137" y="168"/>
                </a:moveTo>
                <a:cubicBezTo>
                  <a:pt x="137" y="168"/>
                  <a:pt x="136" y="167"/>
                  <a:pt x="136" y="167"/>
                </a:cubicBezTo>
                <a:cubicBezTo>
                  <a:pt x="136" y="167"/>
                  <a:pt x="137" y="165"/>
                  <a:pt x="137" y="165"/>
                </a:cubicBezTo>
                <a:cubicBezTo>
                  <a:pt x="137" y="165"/>
                  <a:pt x="138" y="163"/>
                  <a:pt x="138" y="163"/>
                </a:cubicBezTo>
                <a:cubicBezTo>
                  <a:pt x="138" y="162"/>
                  <a:pt x="138" y="162"/>
                  <a:pt x="138" y="162"/>
                </a:cubicBezTo>
                <a:cubicBezTo>
                  <a:pt x="136" y="161"/>
                  <a:pt x="136" y="161"/>
                  <a:pt x="136" y="161"/>
                </a:cubicBezTo>
                <a:cubicBezTo>
                  <a:pt x="136" y="158"/>
                  <a:pt x="136" y="158"/>
                  <a:pt x="136" y="158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4" y="156"/>
                  <a:pt x="134" y="155"/>
                  <a:pt x="134" y="155"/>
                </a:cubicBezTo>
                <a:cubicBezTo>
                  <a:pt x="134" y="155"/>
                  <a:pt x="134" y="154"/>
                  <a:pt x="134" y="154"/>
                </a:cubicBezTo>
                <a:cubicBezTo>
                  <a:pt x="134" y="153"/>
                  <a:pt x="135" y="152"/>
                  <a:pt x="135" y="152"/>
                </a:cubicBezTo>
                <a:cubicBezTo>
                  <a:pt x="136" y="149"/>
                  <a:pt x="136" y="149"/>
                  <a:pt x="136" y="149"/>
                </a:cubicBezTo>
                <a:cubicBezTo>
                  <a:pt x="136" y="149"/>
                  <a:pt x="135" y="149"/>
                  <a:pt x="135" y="148"/>
                </a:cubicBezTo>
                <a:cubicBezTo>
                  <a:pt x="135" y="148"/>
                  <a:pt x="134" y="146"/>
                  <a:pt x="134" y="146"/>
                </a:cubicBezTo>
                <a:cubicBezTo>
                  <a:pt x="138" y="145"/>
                  <a:pt x="138" y="145"/>
                  <a:pt x="138" y="145"/>
                </a:cubicBezTo>
                <a:cubicBezTo>
                  <a:pt x="137" y="35"/>
                  <a:pt x="137" y="35"/>
                  <a:pt x="137" y="35"/>
                </a:cubicBezTo>
                <a:cubicBezTo>
                  <a:pt x="137" y="35"/>
                  <a:pt x="137" y="35"/>
                  <a:pt x="137" y="34"/>
                </a:cubicBezTo>
                <a:cubicBezTo>
                  <a:pt x="136" y="33"/>
                  <a:pt x="136" y="32"/>
                  <a:pt x="135" y="31"/>
                </a:cubicBezTo>
                <a:cubicBezTo>
                  <a:pt x="135" y="30"/>
                  <a:pt x="135" y="29"/>
                  <a:pt x="134" y="28"/>
                </a:cubicBezTo>
                <a:cubicBezTo>
                  <a:pt x="134" y="28"/>
                  <a:pt x="134" y="27"/>
                  <a:pt x="134" y="27"/>
                </a:cubicBezTo>
                <a:cubicBezTo>
                  <a:pt x="134" y="26"/>
                  <a:pt x="134" y="26"/>
                  <a:pt x="134" y="25"/>
                </a:cubicBezTo>
                <a:cubicBezTo>
                  <a:pt x="134" y="25"/>
                  <a:pt x="134" y="25"/>
                  <a:pt x="134" y="24"/>
                </a:cubicBezTo>
                <a:cubicBezTo>
                  <a:pt x="133" y="24"/>
                  <a:pt x="134" y="23"/>
                  <a:pt x="133" y="23"/>
                </a:cubicBezTo>
                <a:cubicBezTo>
                  <a:pt x="133" y="23"/>
                  <a:pt x="133" y="22"/>
                  <a:pt x="133" y="22"/>
                </a:cubicBezTo>
                <a:cubicBezTo>
                  <a:pt x="133" y="21"/>
                  <a:pt x="133" y="21"/>
                  <a:pt x="132" y="21"/>
                </a:cubicBezTo>
                <a:cubicBezTo>
                  <a:pt x="132" y="21"/>
                  <a:pt x="132" y="20"/>
                  <a:pt x="132" y="20"/>
                </a:cubicBezTo>
                <a:cubicBezTo>
                  <a:pt x="131" y="20"/>
                  <a:pt x="131" y="19"/>
                  <a:pt x="131" y="19"/>
                </a:cubicBezTo>
                <a:cubicBezTo>
                  <a:pt x="130" y="18"/>
                  <a:pt x="130" y="17"/>
                  <a:pt x="129" y="16"/>
                </a:cubicBezTo>
                <a:cubicBezTo>
                  <a:pt x="129" y="16"/>
                  <a:pt x="128" y="15"/>
                  <a:pt x="128" y="14"/>
                </a:cubicBezTo>
                <a:cubicBezTo>
                  <a:pt x="128" y="13"/>
                  <a:pt x="127" y="12"/>
                  <a:pt x="128" y="10"/>
                </a:cubicBezTo>
                <a:cubicBezTo>
                  <a:pt x="128" y="9"/>
                  <a:pt x="128" y="8"/>
                  <a:pt x="128" y="7"/>
                </a:cubicBezTo>
                <a:cubicBezTo>
                  <a:pt x="128" y="6"/>
                  <a:pt x="128" y="6"/>
                  <a:pt x="128" y="5"/>
                </a:cubicBezTo>
                <a:cubicBezTo>
                  <a:pt x="128" y="5"/>
                  <a:pt x="128" y="4"/>
                  <a:pt x="128" y="4"/>
                </a:cubicBezTo>
                <a:cubicBezTo>
                  <a:pt x="128" y="3"/>
                  <a:pt x="129" y="2"/>
                  <a:pt x="128" y="1"/>
                </a:cubicBezTo>
                <a:cubicBezTo>
                  <a:pt x="128" y="1"/>
                  <a:pt x="128" y="1"/>
                  <a:pt x="128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0" y="0"/>
                  <a:pt x="30" y="2"/>
                  <a:pt x="30" y="2"/>
                </a:cubicBezTo>
                <a:cubicBezTo>
                  <a:pt x="30" y="3"/>
                  <a:pt x="31" y="3"/>
                  <a:pt x="33" y="4"/>
                </a:cubicBezTo>
                <a:cubicBezTo>
                  <a:pt x="34" y="5"/>
                  <a:pt x="35" y="6"/>
                  <a:pt x="36" y="7"/>
                </a:cubicBezTo>
                <a:cubicBezTo>
                  <a:pt x="37" y="8"/>
                  <a:pt x="37" y="9"/>
                  <a:pt x="37" y="10"/>
                </a:cubicBezTo>
                <a:cubicBezTo>
                  <a:pt x="37" y="12"/>
                  <a:pt x="38" y="13"/>
                  <a:pt x="39" y="14"/>
                </a:cubicBezTo>
                <a:cubicBezTo>
                  <a:pt x="41" y="15"/>
                  <a:pt x="45" y="18"/>
                  <a:pt x="46" y="19"/>
                </a:cubicBezTo>
                <a:cubicBezTo>
                  <a:pt x="47" y="20"/>
                  <a:pt x="47" y="23"/>
                  <a:pt x="47" y="24"/>
                </a:cubicBezTo>
                <a:cubicBezTo>
                  <a:pt x="47" y="26"/>
                  <a:pt x="47" y="29"/>
                  <a:pt x="46" y="31"/>
                </a:cubicBezTo>
                <a:cubicBezTo>
                  <a:pt x="46" y="32"/>
                  <a:pt x="45" y="33"/>
                  <a:pt x="44" y="34"/>
                </a:cubicBezTo>
                <a:cubicBezTo>
                  <a:pt x="42" y="35"/>
                  <a:pt x="41" y="36"/>
                  <a:pt x="41" y="38"/>
                </a:cubicBezTo>
                <a:cubicBezTo>
                  <a:pt x="41" y="39"/>
                  <a:pt x="41" y="41"/>
                  <a:pt x="40" y="42"/>
                </a:cubicBezTo>
                <a:cubicBezTo>
                  <a:pt x="39" y="44"/>
                  <a:pt x="39" y="44"/>
                  <a:pt x="38" y="44"/>
                </a:cubicBezTo>
                <a:cubicBezTo>
                  <a:pt x="37" y="45"/>
                  <a:pt x="36" y="46"/>
                  <a:pt x="35" y="46"/>
                </a:cubicBezTo>
                <a:cubicBezTo>
                  <a:pt x="34" y="47"/>
                  <a:pt x="33" y="46"/>
                  <a:pt x="31" y="46"/>
                </a:cubicBezTo>
                <a:cubicBezTo>
                  <a:pt x="30" y="47"/>
                  <a:pt x="30" y="47"/>
                  <a:pt x="29" y="48"/>
                </a:cubicBezTo>
                <a:cubicBezTo>
                  <a:pt x="29" y="49"/>
                  <a:pt x="25" y="49"/>
                  <a:pt x="24" y="49"/>
                </a:cubicBezTo>
                <a:cubicBezTo>
                  <a:pt x="24" y="49"/>
                  <a:pt x="23" y="49"/>
                  <a:pt x="22" y="49"/>
                </a:cubicBezTo>
                <a:cubicBezTo>
                  <a:pt x="21" y="50"/>
                  <a:pt x="21" y="50"/>
                  <a:pt x="20" y="51"/>
                </a:cubicBezTo>
                <a:cubicBezTo>
                  <a:pt x="19" y="51"/>
                  <a:pt x="19" y="50"/>
                  <a:pt x="18" y="50"/>
                </a:cubicBezTo>
                <a:cubicBezTo>
                  <a:pt x="17" y="50"/>
                  <a:pt x="17" y="51"/>
                  <a:pt x="16" y="51"/>
                </a:cubicBezTo>
                <a:cubicBezTo>
                  <a:pt x="16" y="51"/>
                  <a:pt x="15" y="53"/>
                  <a:pt x="15" y="53"/>
                </a:cubicBezTo>
                <a:cubicBezTo>
                  <a:pt x="15" y="54"/>
                  <a:pt x="14" y="56"/>
                  <a:pt x="14" y="57"/>
                </a:cubicBezTo>
                <a:cubicBezTo>
                  <a:pt x="14" y="58"/>
                  <a:pt x="14" y="59"/>
                  <a:pt x="14" y="60"/>
                </a:cubicBezTo>
                <a:cubicBezTo>
                  <a:pt x="15" y="60"/>
                  <a:pt x="17" y="62"/>
                  <a:pt x="18" y="64"/>
                </a:cubicBezTo>
                <a:cubicBezTo>
                  <a:pt x="19" y="65"/>
                  <a:pt x="19" y="69"/>
                  <a:pt x="19" y="70"/>
                </a:cubicBezTo>
                <a:cubicBezTo>
                  <a:pt x="19" y="71"/>
                  <a:pt x="19" y="74"/>
                  <a:pt x="18" y="75"/>
                </a:cubicBezTo>
                <a:cubicBezTo>
                  <a:pt x="17" y="76"/>
                  <a:pt x="15" y="77"/>
                  <a:pt x="15" y="78"/>
                </a:cubicBezTo>
                <a:cubicBezTo>
                  <a:pt x="14" y="79"/>
                  <a:pt x="14" y="80"/>
                  <a:pt x="14" y="81"/>
                </a:cubicBezTo>
                <a:cubicBezTo>
                  <a:pt x="14" y="81"/>
                  <a:pt x="14" y="83"/>
                  <a:pt x="14" y="84"/>
                </a:cubicBezTo>
                <a:cubicBezTo>
                  <a:pt x="13" y="85"/>
                  <a:pt x="13" y="85"/>
                  <a:pt x="12" y="86"/>
                </a:cubicBezTo>
                <a:cubicBezTo>
                  <a:pt x="12" y="87"/>
                  <a:pt x="11" y="87"/>
                  <a:pt x="10" y="87"/>
                </a:cubicBezTo>
                <a:cubicBezTo>
                  <a:pt x="9" y="87"/>
                  <a:pt x="8" y="87"/>
                  <a:pt x="7" y="87"/>
                </a:cubicBezTo>
                <a:cubicBezTo>
                  <a:pt x="6" y="87"/>
                  <a:pt x="6" y="88"/>
                  <a:pt x="5" y="88"/>
                </a:cubicBezTo>
                <a:cubicBezTo>
                  <a:pt x="5" y="89"/>
                  <a:pt x="4" y="89"/>
                  <a:pt x="4" y="90"/>
                </a:cubicBezTo>
                <a:cubicBezTo>
                  <a:pt x="4" y="91"/>
                  <a:pt x="4" y="92"/>
                  <a:pt x="4" y="92"/>
                </a:cubicBezTo>
                <a:cubicBezTo>
                  <a:pt x="4" y="93"/>
                  <a:pt x="5" y="94"/>
                  <a:pt x="5" y="95"/>
                </a:cubicBezTo>
                <a:cubicBezTo>
                  <a:pt x="5" y="95"/>
                  <a:pt x="5" y="97"/>
                  <a:pt x="4" y="98"/>
                </a:cubicBezTo>
                <a:cubicBezTo>
                  <a:pt x="4" y="98"/>
                  <a:pt x="3" y="99"/>
                  <a:pt x="3" y="99"/>
                </a:cubicBezTo>
                <a:cubicBezTo>
                  <a:pt x="3" y="99"/>
                  <a:pt x="1" y="102"/>
                  <a:pt x="1" y="102"/>
                </a:cubicBezTo>
                <a:cubicBezTo>
                  <a:pt x="1" y="102"/>
                  <a:pt x="0" y="104"/>
                  <a:pt x="0" y="104"/>
                </a:cubicBezTo>
                <a:cubicBezTo>
                  <a:pt x="0" y="104"/>
                  <a:pt x="0" y="108"/>
                  <a:pt x="0" y="108"/>
                </a:cubicBezTo>
                <a:cubicBezTo>
                  <a:pt x="0" y="108"/>
                  <a:pt x="1" y="113"/>
                  <a:pt x="1" y="113"/>
                </a:cubicBezTo>
                <a:cubicBezTo>
                  <a:pt x="1" y="113"/>
                  <a:pt x="1" y="114"/>
                  <a:pt x="1" y="114"/>
                </a:cubicBezTo>
                <a:cubicBezTo>
                  <a:pt x="1" y="114"/>
                  <a:pt x="2" y="116"/>
                  <a:pt x="2" y="116"/>
                </a:cubicBezTo>
                <a:cubicBezTo>
                  <a:pt x="3" y="119"/>
                  <a:pt x="3" y="119"/>
                  <a:pt x="3" y="119"/>
                </a:cubicBezTo>
                <a:cubicBezTo>
                  <a:pt x="3" y="119"/>
                  <a:pt x="3" y="121"/>
                  <a:pt x="3" y="121"/>
                </a:cubicBezTo>
                <a:cubicBezTo>
                  <a:pt x="3" y="121"/>
                  <a:pt x="3" y="123"/>
                  <a:pt x="3" y="123"/>
                </a:cubicBezTo>
                <a:cubicBezTo>
                  <a:pt x="5" y="125"/>
                  <a:pt x="5" y="125"/>
                  <a:pt x="5" y="125"/>
                </a:cubicBezTo>
                <a:cubicBezTo>
                  <a:pt x="5" y="127"/>
                  <a:pt x="5" y="127"/>
                  <a:pt x="5" y="127"/>
                </a:cubicBezTo>
                <a:cubicBezTo>
                  <a:pt x="7" y="130"/>
                  <a:pt x="7" y="130"/>
                  <a:pt x="7" y="130"/>
                </a:cubicBezTo>
                <a:cubicBezTo>
                  <a:pt x="12" y="134"/>
                  <a:pt x="12" y="134"/>
                  <a:pt x="12" y="134"/>
                </a:cubicBezTo>
                <a:cubicBezTo>
                  <a:pt x="12" y="134"/>
                  <a:pt x="12" y="136"/>
                  <a:pt x="12" y="136"/>
                </a:cubicBezTo>
                <a:cubicBezTo>
                  <a:pt x="12" y="136"/>
                  <a:pt x="14" y="136"/>
                  <a:pt x="14" y="136"/>
                </a:cubicBezTo>
                <a:cubicBezTo>
                  <a:pt x="14" y="136"/>
                  <a:pt x="17" y="141"/>
                  <a:pt x="17" y="141"/>
                </a:cubicBezTo>
                <a:cubicBezTo>
                  <a:pt x="19" y="142"/>
                  <a:pt x="19" y="142"/>
                  <a:pt x="19" y="142"/>
                </a:cubicBezTo>
                <a:cubicBezTo>
                  <a:pt x="27" y="149"/>
                  <a:pt x="27" y="149"/>
                  <a:pt x="27" y="149"/>
                </a:cubicBezTo>
                <a:cubicBezTo>
                  <a:pt x="29" y="156"/>
                  <a:pt x="29" y="156"/>
                  <a:pt x="29" y="156"/>
                </a:cubicBezTo>
                <a:cubicBezTo>
                  <a:pt x="28" y="158"/>
                  <a:pt x="28" y="158"/>
                  <a:pt x="28" y="158"/>
                </a:cubicBezTo>
                <a:cubicBezTo>
                  <a:pt x="28" y="158"/>
                  <a:pt x="28" y="159"/>
                  <a:pt x="28" y="159"/>
                </a:cubicBezTo>
                <a:cubicBezTo>
                  <a:pt x="28" y="160"/>
                  <a:pt x="29" y="161"/>
                  <a:pt x="29" y="161"/>
                </a:cubicBezTo>
                <a:cubicBezTo>
                  <a:pt x="29" y="161"/>
                  <a:pt x="30" y="166"/>
                  <a:pt x="30" y="166"/>
                </a:cubicBezTo>
                <a:cubicBezTo>
                  <a:pt x="30" y="166"/>
                  <a:pt x="32" y="166"/>
                  <a:pt x="32" y="166"/>
                </a:cubicBezTo>
                <a:cubicBezTo>
                  <a:pt x="32" y="166"/>
                  <a:pt x="34" y="166"/>
                  <a:pt x="34" y="166"/>
                </a:cubicBezTo>
                <a:cubicBezTo>
                  <a:pt x="34" y="165"/>
                  <a:pt x="37" y="162"/>
                  <a:pt x="37" y="162"/>
                </a:cubicBezTo>
                <a:cubicBezTo>
                  <a:pt x="43" y="163"/>
                  <a:pt x="43" y="163"/>
                  <a:pt x="43" y="163"/>
                </a:cubicBezTo>
                <a:cubicBezTo>
                  <a:pt x="48" y="167"/>
                  <a:pt x="48" y="167"/>
                  <a:pt x="48" y="167"/>
                </a:cubicBezTo>
                <a:cubicBezTo>
                  <a:pt x="48" y="167"/>
                  <a:pt x="47" y="170"/>
                  <a:pt x="47" y="171"/>
                </a:cubicBezTo>
                <a:cubicBezTo>
                  <a:pt x="47" y="171"/>
                  <a:pt x="45" y="173"/>
                  <a:pt x="45" y="173"/>
                </a:cubicBezTo>
                <a:cubicBezTo>
                  <a:pt x="45" y="174"/>
                  <a:pt x="45" y="177"/>
                  <a:pt x="45" y="177"/>
                </a:cubicBezTo>
                <a:cubicBezTo>
                  <a:pt x="45" y="177"/>
                  <a:pt x="44" y="181"/>
                  <a:pt x="44" y="181"/>
                </a:cubicBezTo>
                <a:cubicBezTo>
                  <a:pt x="44" y="181"/>
                  <a:pt x="43" y="183"/>
                  <a:pt x="43" y="183"/>
                </a:cubicBezTo>
                <a:cubicBezTo>
                  <a:pt x="43" y="183"/>
                  <a:pt x="42" y="185"/>
                  <a:pt x="42" y="185"/>
                </a:cubicBezTo>
                <a:cubicBezTo>
                  <a:pt x="42" y="185"/>
                  <a:pt x="40" y="188"/>
                  <a:pt x="40" y="189"/>
                </a:cubicBezTo>
                <a:cubicBezTo>
                  <a:pt x="40" y="189"/>
                  <a:pt x="40" y="191"/>
                  <a:pt x="40" y="191"/>
                </a:cubicBezTo>
                <a:cubicBezTo>
                  <a:pt x="40" y="191"/>
                  <a:pt x="40" y="196"/>
                  <a:pt x="40" y="196"/>
                </a:cubicBezTo>
                <a:cubicBezTo>
                  <a:pt x="51" y="205"/>
                  <a:pt x="51" y="205"/>
                  <a:pt x="51" y="205"/>
                </a:cubicBezTo>
                <a:cubicBezTo>
                  <a:pt x="55" y="207"/>
                  <a:pt x="55" y="207"/>
                  <a:pt x="55" y="207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53" y="207"/>
                  <a:pt x="53" y="209"/>
                  <a:pt x="53" y="209"/>
                </a:cubicBezTo>
                <a:cubicBezTo>
                  <a:pt x="53" y="210"/>
                  <a:pt x="55" y="210"/>
                  <a:pt x="55" y="210"/>
                </a:cubicBezTo>
                <a:cubicBezTo>
                  <a:pt x="55" y="210"/>
                  <a:pt x="57" y="210"/>
                  <a:pt x="57" y="209"/>
                </a:cubicBezTo>
                <a:cubicBezTo>
                  <a:pt x="57" y="209"/>
                  <a:pt x="58" y="209"/>
                  <a:pt x="58" y="209"/>
                </a:cubicBezTo>
                <a:cubicBezTo>
                  <a:pt x="64" y="213"/>
                  <a:pt x="64" y="213"/>
                  <a:pt x="64" y="213"/>
                </a:cubicBezTo>
                <a:cubicBezTo>
                  <a:pt x="64" y="213"/>
                  <a:pt x="63" y="215"/>
                  <a:pt x="63" y="216"/>
                </a:cubicBezTo>
                <a:cubicBezTo>
                  <a:pt x="63" y="216"/>
                  <a:pt x="65" y="216"/>
                  <a:pt x="66" y="216"/>
                </a:cubicBezTo>
                <a:cubicBezTo>
                  <a:pt x="66" y="216"/>
                  <a:pt x="69" y="218"/>
                  <a:pt x="69" y="219"/>
                </a:cubicBezTo>
                <a:cubicBezTo>
                  <a:pt x="69" y="219"/>
                  <a:pt x="70" y="220"/>
                  <a:pt x="70" y="221"/>
                </a:cubicBezTo>
                <a:cubicBezTo>
                  <a:pt x="70" y="221"/>
                  <a:pt x="70" y="223"/>
                  <a:pt x="70" y="223"/>
                </a:cubicBezTo>
                <a:cubicBezTo>
                  <a:pt x="69" y="223"/>
                  <a:pt x="69" y="223"/>
                  <a:pt x="69" y="223"/>
                </a:cubicBezTo>
                <a:cubicBezTo>
                  <a:pt x="69" y="223"/>
                  <a:pt x="69" y="224"/>
                  <a:pt x="69" y="224"/>
                </a:cubicBezTo>
                <a:cubicBezTo>
                  <a:pt x="69" y="224"/>
                  <a:pt x="69" y="226"/>
                  <a:pt x="69" y="226"/>
                </a:cubicBezTo>
                <a:cubicBezTo>
                  <a:pt x="70" y="226"/>
                  <a:pt x="71" y="229"/>
                  <a:pt x="71" y="229"/>
                </a:cubicBezTo>
                <a:cubicBezTo>
                  <a:pt x="71" y="229"/>
                  <a:pt x="72" y="231"/>
                  <a:pt x="72" y="231"/>
                </a:cubicBezTo>
                <a:cubicBezTo>
                  <a:pt x="72" y="232"/>
                  <a:pt x="71" y="233"/>
                  <a:pt x="71" y="233"/>
                </a:cubicBezTo>
                <a:cubicBezTo>
                  <a:pt x="71" y="233"/>
                  <a:pt x="70" y="234"/>
                  <a:pt x="70" y="234"/>
                </a:cubicBezTo>
                <a:cubicBezTo>
                  <a:pt x="69" y="235"/>
                  <a:pt x="69" y="235"/>
                  <a:pt x="69" y="235"/>
                </a:cubicBezTo>
                <a:cubicBezTo>
                  <a:pt x="69" y="235"/>
                  <a:pt x="69" y="236"/>
                  <a:pt x="69" y="236"/>
                </a:cubicBezTo>
                <a:cubicBezTo>
                  <a:pt x="69" y="237"/>
                  <a:pt x="71" y="237"/>
                  <a:pt x="71" y="237"/>
                </a:cubicBezTo>
                <a:cubicBezTo>
                  <a:pt x="71" y="237"/>
                  <a:pt x="71" y="239"/>
                  <a:pt x="71" y="239"/>
                </a:cubicBezTo>
                <a:cubicBezTo>
                  <a:pt x="73" y="243"/>
                  <a:pt x="73" y="243"/>
                  <a:pt x="73" y="243"/>
                </a:cubicBezTo>
                <a:cubicBezTo>
                  <a:pt x="73" y="243"/>
                  <a:pt x="73" y="244"/>
                  <a:pt x="73" y="245"/>
                </a:cubicBezTo>
                <a:cubicBezTo>
                  <a:pt x="73" y="245"/>
                  <a:pt x="74" y="247"/>
                  <a:pt x="74" y="247"/>
                </a:cubicBezTo>
                <a:cubicBezTo>
                  <a:pt x="74" y="247"/>
                  <a:pt x="76" y="248"/>
                  <a:pt x="76" y="248"/>
                </a:cubicBezTo>
                <a:cubicBezTo>
                  <a:pt x="76" y="248"/>
                  <a:pt x="77" y="248"/>
                  <a:pt x="77" y="248"/>
                </a:cubicBezTo>
                <a:cubicBezTo>
                  <a:pt x="77" y="248"/>
                  <a:pt x="78" y="247"/>
                  <a:pt x="78" y="247"/>
                </a:cubicBezTo>
                <a:cubicBezTo>
                  <a:pt x="78" y="247"/>
                  <a:pt x="77" y="246"/>
                  <a:pt x="77" y="246"/>
                </a:cubicBezTo>
                <a:cubicBezTo>
                  <a:pt x="77" y="246"/>
                  <a:pt x="76" y="245"/>
                  <a:pt x="76" y="245"/>
                </a:cubicBezTo>
                <a:cubicBezTo>
                  <a:pt x="78" y="245"/>
                  <a:pt x="78" y="245"/>
                  <a:pt x="78" y="245"/>
                </a:cubicBezTo>
                <a:cubicBezTo>
                  <a:pt x="78" y="245"/>
                  <a:pt x="79" y="247"/>
                  <a:pt x="79" y="248"/>
                </a:cubicBezTo>
                <a:cubicBezTo>
                  <a:pt x="79" y="248"/>
                  <a:pt x="80" y="249"/>
                  <a:pt x="80" y="249"/>
                </a:cubicBezTo>
                <a:cubicBezTo>
                  <a:pt x="82" y="249"/>
                  <a:pt x="82" y="249"/>
                  <a:pt x="82" y="249"/>
                </a:cubicBezTo>
                <a:cubicBezTo>
                  <a:pt x="82" y="249"/>
                  <a:pt x="82" y="249"/>
                  <a:pt x="82" y="249"/>
                </a:cubicBezTo>
                <a:cubicBezTo>
                  <a:pt x="82" y="249"/>
                  <a:pt x="81" y="247"/>
                  <a:pt x="81" y="247"/>
                </a:cubicBezTo>
                <a:cubicBezTo>
                  <a:pt x="81" y="247"/>
                  <a:pt x="82" y="244"/>
                  <a:pt x="82" y="244"/>
                </a:cubicBezTo>
                <a:cubicBezTo>
                  <a:pt x="82" y="244"/>
                  <a:pt x="85" y="240"/>
                  <a:pt x="85" y="240"/>
                </a:cubicBezTo>
                <a:cubicBezTo>
                  <a:pt x="87" y="238"/>
                  <a:pt x="87" y="238"/>
                  <a:pt x="87" y="238"/>
                </a:cubicBezTo>
                <a:cubicBezTo>
                  <a:pt x="87" y="238"/>
                  <a:pt x="92" y="239"/>
                  <a:pt x="92" y="239"/>
                </a:cubicBezTo>
                <a:cubicBezTo>
                  <a:pt x="92" y="239"/>
                  <a:pt x="99" y="243"/>
                  <a:pt x="99" y="243"/>
                </a:cubicBezTo>
                <a:cubicBezTo>
                  <a:pt x="99" y="243"/>
                  <a:pt x="103" y="246"/>
                  <a:pt x="103" y="246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6" y="241"/>
                  <a:pt x="106" y="241"/>
                  <a:pt x="106" y="241"/>
                </a:cubicBezTo>
                <a:cubicBezTo>
                  <a:pt x="106" y="241"/>
                  <a:pt x="104" y="236"/>
                  <a:pt x="104" y="236"/>
                </a:cubicBezTo>
                <a:cubicBezTo>
                  <a:pt x="104" y="236"/>
                  <a:pt x="104" y="232"/>
                  <a:pt x="105" y="231"/>
                </a:cubicBezTo>
                <a:cubicBezTo>
                  <a:pt x="105" y="231"/>
                  <a:pt x="106" y="230"/>
                  <a:pt x="106" y="230"/>
                </a:cubicBezTo>
                <a:cubicBezTo>
                  <a:pt x="106" y="230"/>
                  <a:pt x="109" y="231"/>
                  <a:pt x="109" y="230"/>
                </a:cubicBezTo>
                <a:cubicBezTo>
                  <a:pt x="109" y="230"/>
                  <a:pt x="110" y="230"/>
                  <a:pt x="111" y="229"/>
                </a:cubicBezTo>
                <a:cubicBezTo>
                  <a:pt x="111" y="229"/>
                  <a:pt x="113" y="228"/>
                  <a:pt x="113" y="228"/>
                </a:cubicBezTo>
                <a:cubicBezTo>
                  <a:pt x="114" y="228"/>
                  <a:pt x="117" y="228"/>
                  <a:pt x="118" y="228"/>
                </a:cubicBezTo>
                <a:cubicBezTo>
                  <a:pt x="118" y="228"/>
                  <a:pt x="119" y="227"/>
                  <a:pt x="119" y="227"/>
                </a:cubicBezTo>
                <a:cubicBezTo>
                  <a:pt x="119" y="225"/>
                  <a:pt x="119" y="225"/>
                  <a:pt x="119" y="225"/>
                </a:cubicBezTo>
                <a:cubicBezTo>
                  <a:pt x="119" y="225"/>
                  <a:pt x="117" y="223"/>
                  <a:pt x="117" y="223"/>
                </a:cubicBezTo>
                <a:cubicBezTo>
                  <a:pt x="117" y="223"/>
                  <a:pt x="116" y="220"/>
                  <a:pt x="116" y="220"/>
                </a:cubicBezTo>
                <a:cubicBezTo>
                  <a:pt x="116" y="220"/>
                  <a:pt x="117" y="219"/>
                  <a:pt x="117" y="218"/>
                </a:cubicBezTo>
                <a:cubicBezTo>
                  <a:pt x="117" y="218"/>
                  <a:pt x="121" y="214"/>
                  <a:pt x="121" y="214"/>
                </a:cubicBezTo>
                <a:cubicBezTo>
                  <a:pt x="118" y="213"/>
                  <a:pt x="118" y="213"/>
                  <a:pt x="118" y="213"/>
                </a:cubicBezTo>
                <a:cubicBezTo>
                  <a:pt x="120" y="212"/>
                  <a:pt x="120" y="212"/>
                  <a:pt x="120" y="212"/>
                </a:cubicBezTo>
                <a:cubicBezTo>
                  <a:pt x="120" y="212"/>
                  <a:pt x="120" y="211"/>
                  <a:pt x="120" y="211"/>
                </a:cubicBezTo>
                <a:cubicBezTo>
                  <a:pt x="119" y="210"/>
                  <a:pt x="118" y="209"/>
                  <a:pt x="118" y="209"/>
                </a:cubicBezTo>
                <a:cubicBezTo>
                  <a:pt x="118" y="209"/>
                  <a:pt x="119" y="207"/>
                  <a:pt x="119" y="208"/>
                </a:cubicBezTo>
                <a:cubicBezTo>
                  <a:pt x="119" y="208"/>
                  <a:pt x="120" y="209"/>
                  <a:pt x="120" y="209"/>
                </a:cubicBezTo>
                <a:cubicBezTo>
                  <a:pt x="121" y="206"/>
                  <a:pt x="121" y="206"/>
                  <a:pt x="121" y="206"/>
                </a:cubicBezTo>
                <a:cubicBezTo>
                  <a:pt x="121" y="203"/>
                  <a:pt x="121" y="203"/>
                  <a:pt x="121" y="203"/>
                </a:cubicBezTo>
                <a:cubicBezTo>
                  <a:pt x="120" y="202"/>
                  <a:pt x="120" y="202"/>
                  <a:pt x="120" y="202"/>
                </a:cubicBezTo>
                <a:cubicBezTo>
                  <a:pt x="122" y="202"/>
                  <a:pt x="122" y="202"/>
                  <a:pt x="122" y="202"/>
                </a:cubicBezTo>
                <a:cubicBezTo>
                  <a:pt x="122" y="202"/>
                  <a:pt x="123" y="201"/>
                  <a:pt x="123" y="201"/>
                </a:cubicBezTo>
                <a:cubicBezTo>
                  <a:pt x="123" y="201"/>
                  <a:pt x="121" y="200"/>
                  <a:pt x="121" y="200"/>
                </a:cubicBezTo>
                <a:cubicBezTo>
                  <a:pt x="121" y="200"/>
                  <a:pt x="123" y="199"/>
                  <a:pt x="123" y="199"/>
                </a:cubicBezTo>
                <a:cubicBezTo>
                  <a:pt x="123" y="199"/>
                  <a:pt x="124" y="197"/>
                  <a:pt x="124" y="197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196"/>
                  <a:pt x="122" y="195"/>
                  <a:pt x="122" y="194"/>
                </a:cubicBezTo>
                <a:cubicBezTo>
                  <a:pt x="122" y="194"/>
                  <a:pt x="122" y="193"/>
                  <a:pt x="122" y="193"/>
                </a:cubicBezTo>
                <a:cubicBezTo>
                  <a:pt x="123" y="194"/>
                  <a:pt x="123" y="194"/>
                  <a:pt x="123" y="194"/>
                </a:cubicBezTo>
                <a:cubicBezTo>
                  <a:pt x="123" y="191"/>
                  <a:pt x="123" y="191"/>
                  <a:pt x="123" y="191"/>
                </a:cubicBezTo>
                <a:cubicBezTo>
                  <a:pt x="124" y="192"/>
                  <a:pt x="124" y="192"/>
                  <a:pt x="124" y="192"/>
                </a:cubicBezTo>
                <a:cubicBezTo>
                  <a:pt x="126" y="191"/>
                  <a:pt x="126" y="191"/>
                  <a:pt x="126" y="191"/>
                </a:cubicBezTo>
                <a:cubicBezTo>
                  <a:pt x="127" y="192"/>
                  <a:pt x="127" y="192"/>
                  <a:pt x="127" y="192"/>
                </a:cubicBezTo>
                <a:cubicBezTo>
                  <a:pt x="127" y="189"/>
                  <a:pt x="127" y="189"/>
                  <a:pt x="127" y="189"/>
                </a:cubicBezTo>
                <a:cubicBezTo>
                  <a:pt x="130" y="186"/>
                  <a:pt x="130" y="186"/>
                  <a:pt x="130" y="186"/>
                </a:cubicBezTo>
                <a:cubicBezTo>
                  <a:pt x="130" y="184"/>
                  <a:pt x="130" y="184"/>
                  <a:pt x="130" y="184"/>
                </a:cubicBezTo>
                <a:cubicBezTo>
                  <a:pt x="132" y="183"/>
                  <a:pt x="132" y="183"/>
                  <a:pt x="132" y="183"/>
                </a:cubicBezTo>
                <a:cubicBezTo>
                  <a:pt x="133" y="182"/>
                  <a:pt x="133" y="182"/>
                  <a:pt x="133" y="182"/>
                </a:cubicBezTo>
                <a:cubicBezTo>
                  <a:pt x="133" y="182"/>
                  <a:pt x="133" y="181"/>
                  <a:pt x="133" y="181"/>
                </a:cubicBezTo>
                <a:cubicBezTo>
                  <a:pt x="133" y="181"/>
                  <a:pt x="133" y="180"/>
                  <a:pt x="133" y="180"/>
                </a:cubicBezTo>
                <a:cubicBezTo>
                  <a:pt x="135" y="179"/>
                  <a:pt x="135" y="179"/>
                  <a:pt x="135" y="179"/>
                </a:cubicBezTo>
                <a:cubicBezTo>
                  <a:pt x="135" y="177"/>
                  <a:pt x="135" y="177"/>
                  <a:pt x="135" y="177"/>
                </a:cubicBezTo>
                <a:cubicBezTo>
                  <a:pt x="135" y="176"/>
                  <a:pt x="135" y="176"/>
                  <a:pt x="135" y="176"/>
                </a:cubicBezTo>
                <a:cubicBezTo>
                  <a:pt x="137" y="175"/>
                  <a:pt x="137" y="175"/>
                  <a:pt x="137" y="175"/>
                </a:cubicBezTo>
                <a:cubicBezTo>
                  <a:pt x="139" y="172"/>
                  <a:pt x="139" y="172"/>
                  <a:pt x="139" y="172"/>
                </a:cubicBezTo>
                <a:lnTo>
                  <a:pt x="137" y="168"/>
                </a:lnTo>
                <a:close/>
              </a:path>
            </a:pathLst>
          </a:custGeom>
          <a:solidFill>
            <a:schemeClr val="accent4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8" name="Freeform 46">
            <a:extLst>
              <a:ext uri="{FF2B5EF4-FFF2-40B4-BE49-F238E27FC236}">
                <a16:creationId xmlns:a16="http://schemas.microsoft.com/office/drawing/2014/main" id="{8EBD296F-C63B-4E43-BE86-FE0A5508B553}"/>
              </a:ext>
            </a:extLst>
          </p:cNvPr>
          <p:cNvSpPr>
            <a:spLocks/>
          </p:cNvSpPr>
          <p:nvPr/>
        </p:nvSpPr>
        <p:spPr bwMode="auto">
          <a:xfrm>
            <a:off x="5019590" y="1258003"/>
            <a:ext cx="847581" cy="1372982"/>
          </a:xfrm>
          <a:custGeom>
            <a:avLst/>
            <a:gdLst>
              <a:gd name="T0" fmla="*/ 200 w 214"/>
              <a:gd name="T1" fmla="*/ 217 h 346"/>
              <a:gd name="T2" fmla="*/ 199 w 214"/>
              <a:gd name="T3" fmla="*/ 224 h 346"/>
              <a:gd name="T4" fmla="*/ 193 w 214"/>
              <a:gd name="T5" fmla="*/ 225 h 346"/>
              <a:gd name="T6" fmla="*/ 186 w 214"/>
              <a:gd name="T7" fmla="*/ 225 h 346"/>
              <a:gd name="T8" fmla="*/ 171 w 214"/>
              <a:gd name="T9" fmla="*/ 224 h 346"/>
              <a:gd name="T10" fmla="*/ 168 w 214"/>
              <a:gd name="T11" fmla="*/ 230 h 346"/>
              <a:gd name="T12" fmla="*/ 156 w 214"/>
              <a:gd name="T13" fmla="*/ 228 h 346"/>
              <a:gd name="T14" fmla="*/ 151 w 214"/>
              <a:gd name="T15" fmla="*/ 233 h 346"/>
              <a:gd name="T16" fmla="*/ 147 w 214"/>
              <a:gd name="T17" fmla="*/ 227 h 346"/>
              <a:gd name="T18" fmla="*/ 145 w 214"/>
              <a:gd name="T19" fmla="*/ 222 h 346"/>
              <a:gd name="T20" fmla="*/ 142 w 214"/>
              <a:gd name="T21" fmla="*/ 214 h 346"/>
              <a:gd name="T22" fmla="*/ 135 w 214"/>
              <a:gd name="T23" fmla="*/ 213 h 346"/>
              <a:gd name="T24" fmla="*/ 130 w 214"/>
              <a:gd name="T25" fmla="*/ 208 h 346"/>
              <a:gd name="T26" fmla="*/ 132 w 214"/>
              <a:gd name="T27" fmla="*/ 201 h 346"/>
              <a:gd name="T28" fmla="*/ 129 w 214"/>
              <a:gd name="T29" fmla="*/ 197 h 346"/>
              <a:gd name="T30" fmla="*/ 124 w 214"/>
              <a:gd name="T31" fmla="*/ 191 h 346"/>
              <a:gd name="T32" fmla="*/ 122 w 214"/>
              <a:gd name="T33" fmla="*/ 184 h 346"/>
              <a:gd name="T34" fmla="*/ 120 w 214"/>
              <a:gd name="T35" fmla="*/ 178 h 346"/>
              <a:gd name="T36" fmla="*/ 118 w 214"/>
              <a:gd name="T37" fmla="*/ 174 h 346"/>
              <a:gd name="T38" fmla="*/ 112 w 214"/>
              <a:gd name="T39" fmla="*/ 169 h 346"/>
              <a:gd name="T40" fmla="*/ 106 w 214"/>
              <a:gd name="T41" fmla="*/ 176 h 346"/>
              <a:gd name="T42" fmla="*/ 101 w 214"/>
              <a:gd name="T43" fmla="*/ 180 h 346"/>
              <a:gd name="T44" fmla="*/ 94 w 214"/>
              <a:gd name="T45" fmla="*/ 176 h 346"/>
              <a:gd name="T46" fmla="*/ 95 w 214"/>
              <a:gd name="T47" fmla="*/ 169 h 346"/>
              <a:gd name="T48" fmla="*/ 96 w 214"/>
              <a:gd name="T49" fmla="*/ 161 h 346"/>
              <a:gd name="T50" fmla="*/ 99 w 214"/>
              <a:gd name="T51" fmla="*/ 158 h 346"/>
              <a:gd name="T52" fmla="*/ 96 w 214"/>
              <a:gd name="T53" fmla="*/ 151 h 346"/>
              <a:gd name="T54" fmla="*/ 96 w 214"/>
              <a:gd name="T55" fmla="*/ 146 h 346"/>
              <a:gd name="T56" fmla="*/ 97 w 214"/>
              <a:gd name="T57" fmla="*/ 140 h 346"/>
              <a:gd name="T58" fmla="*/ 99 w 214"/>
              <a:gd name="T59" fmla="*/ 130 h 346"/>
              <a:gd name="T60" fmla="*/ 101 w 214"/>
              <a:gd name="T61" fmla="*/ 125 h 346"/>
              <a:gd name="T62" fmla="*/ 97 w 214"/>
              <a:gd name="T63" fmla="*/ 122 h 346"/>
              <a:gd name="T64" fmla="*/ 92 w 214"/>
              <a:gd name="T65" fmla="*/ 122 h 346"/>
              <a:gd name="T66" fmla="*/ 88 w 214"/>
              <a:gd name="T67" fmla="*/ 117 h 346"/>
              <a:gd name="T68" fmla="*/ 85 w 214"/>
              <a:gd name="T69" fmla="*/ 115 h 346"/>
              <a:gd name="T70" fmla="*/ 80 w 214"/>
              <a:gd name="T71" fmla="*/ 112 h 346"/>
              <a:gd name="T72" fmla="*/ 76 w 214"/>
              <a:gd name="T73" fmla="*/ 105 h 346"/>
              <a:gd name="T74" fmla="*/ 68 w 214"/>
              <a:gd name="T75" fmla="*/ 94 h 346"/>
              <a:gd name="T76" fmla="*/ 62 w 214"/>
              <a:gd name="T77" fmla="*/ 90 h 346"/>
              <a:gd name="T78" fmla="*/ 55 w 214"/>
              <a:gd name="T79" fmla="*/ 84 h 346"/>
              <a:gd name="T80" fmla="*/ 54 w 214"/>
              <a:gd name="T81" fmla="*/ 81 h 346"/>
              <a:gd name="T82" fmla="*/ 55 w 214"/>
              <a:gd name="T83" fmla="*/ 78 h 346"/>
              <a:gd name="T84" fmla="*/ 54 w 214"/>
              <a:gd name="T85" fmla="*/ 74 h 346"/>
              <a:gd name="T86" fmla="*/ 42 w 214"/>
              <a:gd name="T87" fmla="*/ 54 h 346"/>
              <a:gd name="T88" fmla="*/ 8 w 214"/>
              <a:gd name="T89" fmla="*/ 133 h 346"/>
              <a:gd name="T90" fmla="*/ 9 w 214"/>
              <a:gd name="T91" fmla="*/ 139 h 346"/>
              <a:gd name="T92" fmla="*/ 11 w 214"/>
              <a:gd name="T93" fmla="*/ 145 h 346"/>
              <a:gd name="T94" fmla="*/ 12 w 214"/>
              <a:gd name="T95" fmla="*/ 154 h 346"/>
              <a:gd name="T96" fmla="*/ 25 w 214"/>
              <a:gd name="T97" fmla="*/ 166 h 346"/>
              <a:gd name="T98" fmla="*/ 27 w 214"/>
              <a:gd name="T99" fmla="*/ 174 h 346"/>
              <a:gd name="T100" fmla="*/ 20 w 214"/>
              <a:gd name="T101" fmla="*/ 189 h 346"/>
              <a:gd name="T102" fmla="*/ 14 w 214"/>
              <a:gd name="T103" fmla="*/ 203 h 346"/>
              <a:gd name="T104" fmla="*/ 14 w 214"/>
              <a:gd name="T105" fmla="*/ 207 h 346"/>
              <a:gd name="T106" fmla="*/ 10 w 214"/>
              <a:gd name="T107" fmla="*/ 215 h 346"/>
              <a:gd name="T108" fmla="*/ 5 w 214"/>
              <a:gd name="T109" fmla="*/ 221 h 346"/>
              <a:gd name="T110" fmla="*/ 1 w 214"/>
              <a:gd name="T111" fmla="*/ 232 h 346"/>
              <a:gd name="T112" fmla="*/ 2 w 214"/>
              <a:gd name="T113" fmla="*/ 236 h 346"/>
              <a:gd name="T114" fmla="*/ 7 w 214"/>
              <a:gd name="T115" fmla="*/ 240 h 346"/>
              <a:gd name="T116" fmla="*/ 10 w 214"/>
              <a:gd name="T117" fmla="*/ 242 h 346"/>
              <a:gd name="T118" fmla="*/ 11 w 214"/>
              <a:gd name="T119" fmla="*/ 252 h 346"/>
              <a:gd name="T120" fmla="*/ 8 w 214"/>
              <a:gd name="T121" fmla="*/ 346 h 346"/>
              <a:gd name="T122" fmla="*/ 212 w 214"/>
              <a:gd name="T123" fmla="*/ 228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4" h="346">
                <a:moveTo>
                  <a:pt x="203" y="215"/>
                </a:moveTo>
                <a:cubicBezTo>
                  <a:pt x="203" y="214"/>
                  <a:pt x="202" y="216"/>
                  <a:pt x="202" y="217"/>
                </a:cubicBezTo>
                <a:cubicBezTo>
                  <a:pt x="201" y="217"/>
                  <a:pt x="201" y="217"/>
                  <a:pt x="200" y="217"/>
                </a:cubicBezTo>
                <a:cubicBezTo>
                  <a:pt x="199" y="218"/>
                  <a:pt x="199" y="218"/>
                  <a:pt x="199" y="219"/>
                </a:cubicBezTo>
                <a:cubicBezTo>
                  <a:pt x="199" y="220"/>
                  <a:pt x="199" y="221"/>
                  <a:pt x="198" y="222"/>
                </a:cubicBezTo>
                <a:cubicBezTo>
                  <a:pt x="198" y="222"/>
                  <a:pt x="199" y="223"/>
                  <a:pt x="199" y="224"/>
                </a:cubicBezTo>
                <a:cubicBezTo>
                  <a:pt x="199" y="225"/>
                  <a:pt x="200" y="225"/>
                  <a:pt x="199" y="225"/>
                </a:cubicBezTo>
                <a:cubicBezTo>
                  <a:pt x="199" y="225"/>
                  <a:pt x="197" y="225"/>
                  <a:pt x="197" y="225"/>
                </a:cubicBezTo>
                <a:cubicBezTo>
                  <a:pt x="196" y="225"/>
                  <a:pt x="194" y="224"/>
                  <a:pt x="193" y="225"/>
                </a:cubicBezTo>
                <a:cubicBezTo>
                  <a:pt x="191" y="225"/>
                  <a:pt x="190" y="226"/>
                  <a:pt x="189" y="226"/>
                </a:cubicBezTo>
                <a:cubicBezTo>
                  <a:pt x="188" y="227"/>
                  <a:pt x="187" y="227"/>
                  <a:pt x="187" y="227"/>
                </a:cubicBezTo>
                <a:cubicBezTo>
                  <a:pt x="187" y="227"/>
                  <a:pt x="186" y="225"/>
                  <a:pt x="186" y="225"/>
                </a:cubicBezTo>
                <a:cubicBezTo>
                  <a:pt x="186" y="225"/>
                  <a:pt x="184" y="225"/>
                  <a:pt x="183" y="225"/>
                </a:cubicBezTo>
                <a:cubicBezTo>
                  <a:pt x="183" y="225"/>
                  <a:pt x="179" y="226"/>
                  <a:pt x="179" y="226"/>
                </a:cubicBezTo>
                <a:cubicBezTo>
                  <a:pt x="178" y="226"/>
                  <a:pt x="172" y="224"/>
                  <a:pt x="171" y="224"/>
                </a:cubicBezTo>
                <a:cubicBezTo>
                  <a:pt x="171" y="224"/>
                  <a:pt x="170" y="224"/>
                  <a:pt x="170" y="224"/>
                </a:cubicBezTo>
                <a:cubicBezTo>
                  <a:pt x="169" y="224"/>
                  <a:pt x="169" y="227"/>
                  <a:pt x="169" y="228"/>
                </a:cubicBezTo>
                <a:cubicBezTo>
                  <a:pt x="168" y="229"/>
                  <a:pt x="168" y="230"/>
                  <a:pt x="168" y="230"/>
                </a:cubicBezTo>
                <a:cubicBezTo>
                  <a:pt x="168" y="230"/>
                  <a:pt x="166" y="230"/>
                  <a:pt x="165" y="229"/>
                </a:cubicBezTo>
                <a:cubicBezTo>
                  <a:pt x="163" y="229"/>
                  <a:pt x="161" y="229"/>
                  <a:pt x="159" y="228"/>
                </a:cubicBezTo>
                <a:cubicBezTo>
                  <a:pt x="157" y="227"/>
                  <a:pt x="157" y="228"/>
                  <a:pt x="156" y="228"/>
                </a:cubicBezTo>
                <a:cubicBezTo>
                  <a:pt x="155" y="229"/>
                  <a:pt x="154" y="229"/>
                  <a:pt x="153" y="230"/>
                </a:cubicBezTo>
                <a:cubicBezTo>
                  <a:pt x="153" y="231"/>
                  <a:pt x="153" y="233"/>
                  <a:pt x="153" y="234"/>
                </a:cubicBezTo>
                <a:cubicBezTo>
                  <a:pt x="153" y="234"/>
                  <a:pt x="152" y="234"/>
                  <a:pt x="151" y="233"/>
                </a:cubicBezTo>
                <a:cubicBezTo>
                  <a:pt x="150" y="232"/>
                  <a:pt x="149" y="232"/>
                  <a:pt x="148" y="231"/>
                </a:cubicBezTo>
                <a:cubicBezTo>
                  <a:pt x="148" y="230"/>
                  <a:pt x="147" y="230"/>
                  <a:pt x="147" y="229"/>
                </a:cubicBezTo>
                <a:cubicBezTo>
                  <a:pt x="146" y="228"/>
                  <a:pt x="147" y="228"/>
                  <a:pt x="147" y="227"/>
                </a:cubicBezTo>
                <a:cubicBezTo>
                  <a:pt x="147" y="226"/>
                  <a:pt x="146" y="226"/>
                  <a:pt x="146" y="225"/>
                </a:cubicBezTo>
                <a:cubicBezTo>
                  <a:pt x="146" y="224"/>
                  <a:pt x="144" y="223"/>
                  <a:pt x="144" y="223"/>
                </a:cubicBezTo>
                <a:cubicBezTo>
                  <a:pt x="144" y="223"/>
                  <a:pt x="145" y="222"/>
                  <a:pt x="145" y="222"/>
                </a:cubicBezTo>
                <a:cubicBezTo>
                  <a:pt x="145" y="221"/>
                  <a:pt x="145" y="221"/>
                  <a:pt x="145" y="220"/>
                </a:cubicBezTo>
                <a:cubicBezTo>
                  <a:pt x="144" y="219"/>
                  <a:pt x="144" y="218"/>
                  <a:pt x="144" y="217"/>
                </a:cubicBezTo>
                <a:cubicBezTo>
                  <a:pt x="143" y="216"/>
                  <a:pt x="142" y="215"/>
                  <a:pt x="142" y="214"/>
                </a:cubicBezTo>
                <a:cubicBezTo>
                  <a:pt x="141" y="214"/>
                  <a:pt x="140" y="213"/>
                  <a:pt x="139" y="212"/>
                </a:cubicBezTo>
                <a:cubicBezTo>
                  <a:pt x="138" y="212"/>
                  <a:pt x="138" y="212"/>
                  <a:pt x="137" y="212"/>
                </a:cubicBezTo>
                <a:cubicBezTo>
                  <a:pt x="136" y="213"/>
                  <a:pt x="135" y="213"/>
                  <a:pt x="135" y="213"/>
                </a:cubicBezTo>
                <a:cubicBezTo>
                  <a:pt x="135" y="213"/>
                  <a:pt x="134" y="212"/>
                  <a:pt x="134" y="212"/>
                </a:cubicBezTo>
                <a:cubicBezTo>
                  <a:pt x="134" y="211"/>
                  <a:pt x="133" y="211"/>
                  <a:pt x="133" y="210"/>
                </a:cubicBezTo>
                <a:cubicBezTo>
                  <a:pt x="132" y="210"/>
                  <a:pt x="131" y="208"/>
                  <a:pt x="130" y="208"/>
                </a:cubicBezTo>
                <a:cubicBezTo>
                  <a:pt x="130" y="207"/>
                  <a:pt x="130" y="206"/>
                  <a:pt x="130" y="206"/>
                </a:cubicBezTo>
                <a:cubicBezTo>
                  <a:pt x="130" y="205"/>
                  <a:pt x="132" y="205"/>
                  <a:pt x="132" y="205"/>
                </a:cubicBezTo>
                <a:cubicBezTo>
                  <a:pt x="132" y="205"/>
                  <a:pt x="132" y="202"/>
                  <a:pt x="132" y="201"/>
                </a:cubicBezTo>
                <a:cubicBezTo>
                  <a:pt x="132" y="200"/>
                  <a:pt x="131" y="200"/>
                  <a:pt x="131" y="200"/>
                </a:cubicBezTo>
                <a:cubicBezTo>
                  <a:pt x="131" y="199"/>
                  <a:pt x="130" y="199"/>
                  <a:pt x="130" y="199"/>
                </a:cubicBezTo>
                <a:cubicBezTo>
                  <a:pt x="130" y="199"/>
                  <a:pt x="129" y="198"/>
                  <a:pt x="129" y="197"/>
                </a:cubicBezTo>
                <a:cubicBezTo>
                  <a:pt x="129" y="197"/>
                  <a:pt x="128" y="197"/>
                  <a:pt x="127" y="196"/>
                </a:cubicBezTo>
                <a:cubicBezTo>
                  <a:pt x="127" y="196"/>
                  <a:pt x="126" y="195"/>
                  <a:pt x="126" y="194"/>
                </a:cubicBezTo>
                <a:cubicBezTo>
                  <a:pt x="125" y="194"/>
                  <a:pt x="125" y="192"/>
                  <a:pt x="124" y="191"/>
                </a:cubicBezTo>
                <a:cubicBezTo>
                  <a:pt x="123" y="190"/>
                  <a:pt x="123" y="189"/>
                  <a:pt x="123" y="188"/>
                </a:cubicBezTo>
                <a:cubicBezTo>
                  <a:pt x="122" y="187"/>
                  <a:pt x="122" y="186"/>
                  <a:pt x="122" y="185"/>
                </a:cubicBezTo>
                <a:cubicBezTo>
                  <a:pt x="122" y="184"/>
                  <a:pt x="122" y="184"/>
                  <a:pt x="122" y="184"/>
                </a:cubicBezTo>
                <a:cubicBezTo>
                  <a:pt x="121" y="184"/>
                  <a:pt x="121" y="183"/>
                  <a:pt x="120" y="182"/>
                </a:cubicBezTo>
                <a:cubicBezTo>
                  <a:pt x="120" y="182"/>
                  <a:pt x="120" y="181"/>
                  <a:pt x="120" y="180"/>
                </a:cubicBezTo>
                <a:cubicBezTo>
                  <a:pt x="121" y="180"/>
                  <a:pt x="120" y="179"/>
                  <a:pt x="120" y="178"/>
                </a:cubicBezTo>
                <a:cubicBezTo>
                  <a:pt x="120" y="178"/>
                  <a:pt x="120" y="178"/>
                  <a:pt x="119" y="177"/>
                </a:cubicBezTo>
                <a:cubicBezTo>
                  <a:pt x="118" y="177"/>
                  <a:pt x="118" y="176"/>
                  <a:pt x="118" y="176"/>
                </a:cubicBezTo>
                <a:cubicBezTo>
                  <a:pt x="119" y="176"/>
                  <a:pt x="119" y="174"/>
                  <a:pt x="118" y="174"/>
                </a:cubicBezTo>
                <a:cubicBezTo>
                  <a:pt x="118" y="173"/>
                  <a:pt x="118" y="173"/>
                  <a:pt x="117" y="173"/>
                </a:cubicBezTo>
                <a:cubicBezTo>
                  <a:pt x="116" y="173"/>
                  <a:pt x="115" y="172"/>
                  <a:pt x="115" y="171"/>
                </a:cubicBezTo>
                <a:cubicBezTo>
                  <a:pt x="115" y="171"/>
                  <a:pt x="114" y="169"/>
                  <a:pt x="112" y="169"/>
                </a:cubicBezTo>
                <a:cubicBezTo>
                  <a:pt x="111" y="169"/>
                  <a:pt x="112" y="170"/>
                  <a:pt x="112" y="171"/>
                </a:cubicBezTo>
                <a:cubicBezTo>
                  <a:pt x="112" y="172"/>
                  <a:pt x="111" y="173"/>
                  <a:pt x="110" y="173"/>
                </a:cubicBezTo>
                <a:cubicBezTo>
                  <a:pt x="110" y="174"/>
                  <a:pt x="107" y="176"/>
                  <a:pt x="106" y="176"/>
                </a:cubicBezTo>
                <a:cubicBezTo>
                  <a:pt x="105" y="176"/>
                  <a:pt x="104" y="176"/>
                  <a:pt x="104" y="177"/>
                </a:cubicBezTo>
                <a:cubicBezTo>
                  <a:pt x="104" y="177"/>
                  <a:pt x="104" y="179"/>
                  <a:pt x="103" y="179"/>
                </a:cubicBezTo>
                <a:cubicBezTo>
                  <a:pt x="102" y="179"/>
                  <a:pt x="101" y="180"/>
                  <a:pt x="101" y="180"/>
                </a:cubicBezTo>
                <a:cubicBezTo>
                  <a:pt x="100" y="180"/>
                  <a:pt x="99" y="179"/>
                  <a:pt x="98" y="179"/>
                </a:cubicBezTo>
                <a:cubicBezTo>
                  <a:pt x="97" y="178"/>
                  <a:pt x="97" y="177"/>
                  <a:pt x="97" y="176"/>
                </a:cubicBezTo>
                <a:cubicBezTo>
                  <a:pt x="96" y="176"/>
                  <a:pt x="95" y="176"/>
                  <a:pt x="94" y="176"/>
                </a:cubicBezTo>
                <a:cubicBezTo>
                  <a:pt x="93" y="176"/>
                  <a:pt x="93" y="175"/>
                  <a:pt x="93" y="174"/>
                </a:cubicBezTo>
                <a:cubicBezTo>
                  <a:pt x="93" y="173"/>
                  <a:pt x="94" y="172"/>
                  <a:pt x="94" y="172"/>
                </a:cubicBezTo>
                <a:cubicBezTo>
                  <a:pt x="95" y="171"/>
                  <a:pt x="95" y="169"/>
                  <a:pt x="95" y="169"/>
                </a:cubicBezTo>
                <a:cubicBezTo>
                  <a:pt x="95" y="168"/>
                  <a:pt x="93" y="166"/>
                  <a:pt x="93" y="165"/>
                </a:cubicBezTo>
                <a:cubicBezTo>
                  <a:pt x="93" y="164"/>
                  <a:pt x="94" y="164"/>
                  <a:pt x="94" y="163"/>
                </a:cubicBezTo>
                <a:cubicBezTo>
                  <a:pt x="95" y="162"/>
                  <a:pt x="95" y="162"/>
                  <a:pt x="96" y="161"/>
                </a:cubicBezTo>
                <a:cubicBezTo>
                  <a:pt x="96" y="161"/>
                  <a:pt x="97" y="161"/>
                  <a:pt x="98" y="161"/>
                </a:cubicBezTo>
                <a:cubicBezTo>
                  <a:pt x="99" y="161"/>
                  <a:pt x="99" y="161"/>
                  <a:pt x="99" y="160"/>
                </a:cubicBezTo>
                <a:cubicBezTo>
                  <a:pt x="99" y="159"/>
                  <a:pt x="99" y="159"/>
                  <a:pt x="99" y="158"/>
                </a:cubicBezTo>
                <a:cubicBezTo>
                  <a:pt x="98" y="156"/>
                  <a:pt x="98" y="155"/>
                  <a:pt x="98" y="155"/>
                </a:cubicBezTo>
                <a:cubicBezTo>
                  <a:pt x="97" y="154"/>
                  <a:pt x="96" y="154"/>
                  <a:pt x="96" y="153"/>
                </a:cubicBezTo>
                <a:cubicBezTo>
                  <a:pt x="96" y="153"/>
                  <a:pt x="96" y="151"/>
                  <a:pt x="96" y="151"/>
                </a:cubicBezTo>
                <a:cubicBezTo>
                  <a:pt x="96" y="151"/>
                  <a:pt x="96" y="150"/>
                  <a:pt x="96" y="149"/>
                </a:cubicBezTo>
                <a:cubicBezTo>
                  <a:pt x="96" y="149"/>
                  <a:pt x="95" y="148"/>
                  <a:pt x="95" y="147"/>
                </a:cubicBezTo>
                <a:cubicBezTo>
                  <a:pt x="95" y="147"/>
                  <a:pt x="95" y="146"/>
                  <a:pt x="96" y="146"/>
                </a:cubicBezTo>
                <a:cubicBezTo>
                  <a:pt x="97" y="146"/>
                  <a:pt x="97" y="145"/>
                  <a:pt x="97" y="145"/>
                </a:cubicBezTo>
                <a:cubicBezTo>
                  <a:pt x="97" y="144"/>
                  <a:pt x="97" y="143"/>
                  <a:pt x="96" y="143"/>
                </a:cubicBezTo>
                <a:cubicBezTo>
                  <a:pt x="96" y="142"/>
                  <a:pt x="96" y="141"/>
                  <a:pt x="97" y="140"/>
                </a:cubicBezTo>
                <a:cubicBezTo>
                  <a:pt x="97" y="140"/>
                  <a:pt x="98" y="138"/>
                  <a:pt x="98" y="138"/>
                </a:cubicBezTo>
                <a:cubicBezTo>
                  <a:pt x="98" y="137"/>
                  <a:pt x="99" y="135"/>
                  <a:pt x="99" y="134"/>
                </a:cubicBezTo>
                <a:cubicBezTo>
                  <a:pt x="99" y="133"/>
                  <a:pt x="99" y="131"/>
                  <a:pt x="99" y="130"/>
                </a:cubicBezTo>
                <a:cubicBezTo>
                  <a:pt x="99" y="130"/>
                  <a:pt x="99" y="129"/>
                  <a:pt x="99" y="129"/>
                </a:cubicBezTo>
                <a:cubicBezTo>
                  <a:pt x="99" y="129"/>
                  <a:pt x="100" y="128"/>
                  <a:pt x="100" y="128"/>
                </a:cubicBezTo>
                <a:cubicBezTo>
                  <a:pt x="101" y="128"/>
                  <a:pt x="101" y="125"/>
                  <a:pt x="101" y="125"/>
                </a:cubicBezTo>
                <a:cubicBezTo>
                  <a:pt x="101" y="125"/>
                  <a:pt x="101" y="122"/>
                  <a:pt x="101" y="122"/>
                </a:cubicBezTo>
                <a:cubicBezTo>
                  <a:pt x="101" y="121"/>
                  <a:pt x="100" y="121"/>
                  <a:pt x="100" y="121"/>
                </a:cubicBezTo>
                <a:cubicBezTo>
                  <a:pt x="100" y="121"/>
                  <a:pt x="98" y="122"/>
                  <a:pt x="97" y="122"/>
                </a:cubicBezTo>
                <a:cubicBezTo>
                  <a:pt x="97" y="123"/>
                  <a:pt x="96" y="122"/>
                  <a:pt x="96" y="122"/>
                </a:cubicBezTo>
                <a:cubicBezTo>
                  <a:pt x="95" y="122"/>
                  <a:pt x="94" y="122"/>
                  <a:pt x="94" y="122"/>
                </a:cubicBezTo>
                <a:cubicBezTo>
                  <a:pt x="94" y="122"/>
                  <a:pt x="92" y="122"/>
                  <a:pt x="92" y="122"/>
                </a:cubicBezTo>
                <a:cubicBezTo>
                  <a:pt x="92" y="122"/>
                  <a:pt x="91" y="121"/>
                  <a:pt x="91" y="120"/>
                </a:cubicBezTo>
                <a:cubicBezTo>
                  <a:pt x="90" y="119"/>
                  <a:pt x="90" y="118"/>
                  <a:pt x="90" y="118"/>
                </a:cubicBezTo>
                <a:cubicBezTo>
                  <a:pt x="90" y="117"/>
                  <a:pt x="89" y="117"/>
                  <a:pt x="88" y="117"/>
                </a:cubicBezTo>
                <a:cubicBezTo>
                  <a:pt x="88" y="117"/>
                  <a:pt x="87" y="119"/>
                  <a:pt x="86" y="119"/>
                </a:cubicBezTo>
                <a:cubicBezTo>
                  <a:pt x="86" y="119"/>
                  <a:pt x="86" y="118"/>
                  <a:pt x="86" y="117"/>
                </a:cubicBezTo>
                <a:cubicBezTo>
                  <a:pt x="86" y="116"/>
                  <a:pt x="86" y="116"/>
                  <a:pt x="85" y="115"/>
                </a:cubicBezTo>
                <a:cubicBezTo>
                  <a:pt x="85" y="115"/>
                  <a:pt x="84" y="114"/>
                  <a:pt x="83" y="113"/>
                </a:cubicBezTo>
                <a:cubicBezTo>
                  <a:pt x="83" y="113"/>
                  <a:pt x="82" y="114"/>
                  <a:pt x="82" y="114"/>
                </a:cubicBezTo>
                <a:cubicBezTo>
                  <a:pt x="81" y="114"/>
                  <a:pt x="80" y="112"/>
                  <a:pt x="80" y="112"/>
                </a:cubicBezTo>
                <a:cubicBezTo>
                  <a:pt x="80" y="111"/>
                  <a:pt x="80" y="109"/>
                  <a:pt x="80" y="108"/>
                </a:cubicBezTo>
                <a:cubicBezTo>
                  <a:pt x="80" y="107"/>
                  <a:pt x="79" y="106"/>
                  <a:pt x="78" y="106"/>
                </a:cubicBezTo>
                <a:cubicBezTo>
                  <a:pt x="77" y="105"/>
                  <a:pt x="76" y="105"/>
                  <a:pt x="76" y="105"/>
                </a:cubicBezTo>
                <a:cubicBezTo>
                  <a:pt x="75" y="104"/>
                  <a:pt x="74" y="101"/>
                  <a:pt x="74" y="101"/>
                </a:cubicBezTo>
                <a:cubicBezTo>
                  <a:pt x="74" y="100"/>
                  <a:pt x="73" y="99"/>
                  <a:pt x="72" y="98"/>
                </a:cubicBezTo>
                <a:cubicBezTo>
                  <a:pt x="72" y="98"/>
                  <a:pt x="68" y="95"/>
                  <a:pt x="68" y="94"/>
                </a:cubicBezTo>
                <a:cubicBezTo>
                  <a:pt x="67" y="94"/>
                  <a:pt x="67" y="92"/>
                  <a:pt x="67" y="91"/>
                </a:cubicBezTo>
                <a:cubicBezTo>
                  <a:pt x="67" y="91"/>
                  <a:pt x="66" y="91"/>
                  <a:pt x="65" y="90"/>
                </a:cubicBezTo>
                <a:cubicBezTo>
                  <a:pt x="65" y="90"/>
                  <a:pt x="63" y="90"/>
                  <a:pt x="62" y="90"/>
                </a:cubicBezTo>
                <a:cubicBezTo>
                  <a:pt x="61" y="89"/>
                  <a:pt x="61" y="89"/>
                  <a:pt x="60" y="89"/>
                </a:cubicBezTo>
                <a:cubicBezTo>
                  <a:pt x="59" y="88"/>
                  <a:pt x="58" y="86"/>
                  <a:pt x="57" y="85"/>
                </a:cubicBezTo>
                <a:cubicBezTo>
                  <a:pt x="57" y="84"/>
                  <a:pt x="56" y="84"/>
                  <a:pt x="55" y="84"/>
                </a:cubicBezTo>
                <a:cubicBezTo>
                  <a:pt x="55" y="83"/>
                  <a:pt x="53" y="83"/>
                  <a:pt x="53" y="83"/>
                </a:cubicBezTo>
                <a:cubicBezTo>
                  <a:pt x="52" y="82"/>
                  <a:pt x="52" y="82"/>
                  <a:pt x="52" y="82"/>
                </a:cubicBezTo>
                <a:cubicBezTo>
                  <a:pt x="52" y="82"/>
                  <a:pt x="54" y="81"/>
                  <a:pt x="54" y="81"/>
                </a:cubicBezTo>
                <a:cubicBezTo>
                  <a:pt x="55" y="81"/>
                  <a:pt x="56" y="80"/>
                  <a:pt x="56" y="80"/>
                </a:cubicBezTo>
                <a:cubicBezTo>
                  <a:pt x="56" y="80"/>
                  <a:pt x="56" y="80"/>
                  <a:pt x="56" y="79"/>
                </a:cubicBezTo>
                <a:cubicBezTo>
                  <a:pt x="56" y="79"/>
                  <a:pt x="55" y="79"/>
                  <a:pt x="55" y="78"/>
                </a:cubicBezTo>
                <a:cubicBezTo>
                  <a:pt x="54" y="78"/>
                  <a:pt x="52" y="76"/>
                  <a:pt x="52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74"/>
                  <a:pt x="54" y="71"/>
                  <a:pt x="54" y="71"/>
                </a:cubicBezTo>
                <a:cubicBezTo>
                  <a:pt x="54" y="70"/>
                  <a:pt x="52" y="67"/>
                  <a:pt x="52" y="67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0"/>
                  <a:pt x="42" y="0"/>
                  <a:pt x="42" y="0"/>
                </a:cubicBezTo>
                <a:cubicBezTo>
                  <a:pt x="8" y="0"/>
                  <a:pt x="8" y="0"/>
                  <a:pt x="8" y="0"/>
                </a:cubicBezTo>
                <a:cubicBezTo>
                  <a:pt x="8" y="133"/>
                  <a:pt x="8" y="133"/>
                  <a:pt x="8" y="133"/>
                </a:cubicBezTo>
                <a:cubicBezTo>
                  <a:pt x="8" y="133"/>
                  <a:pt x="7" y="135"/>
                  <a:pt x="7" y="135"/>
                </a:cubicBezTo>
                <a:cubicBezTo>
                  <a:pt x="7" y="136"/>
                  <a:pt x="7" y="136"/>
                  <a:pt x="7" y="137"/>
                </a:cubicBezTo>
                <a:cubicBezTo>
                  <a:pt x="7" y="137"/>
                  <a:pt x="8" y="138"/>
                  <a:pt x="9" y="139"/>
                </a:cubicBezTo>
                <a:cubicBezTo>
                  <a:pt x="10" y="139"/>
                  <a:pt x="10" y="140"/>
                  <a:pt x="10" y="141"/>
                </a:cubicBezTo>
                <a:cubicBezTo>
                  <a:pt x="10" y="141"/>
                  <a:pt x="10" y="143"/>
                  <a:pt x="10" y="144"/>
                </a:cubicBezTo>
                <a:cubicBezTo>
                  <a:pt x="10" y="145"/>
                  <a:pt x="11" y="145"/>
                  <a:pt x="11" y="145"/>
                </a:cubicBezTo>
                <a:cubicBezTo>
                  <a:pt x="12" y="145"/>
                  <a:pt x="11" y="146"/>
                  <a:pt x="11" y="147"/>
                </a:cubicBezTo>
                <a:cubicBezTo>
                  <a:pt x="11" y="147"/>
                  <a:pt x="9" y="150"/>
                  <a:pt x="9" y="150"/>
                </a:cubicBezTo>
                <a:cubicBezTo>
                  <a:pt x="12" y="154"/>
                  <a:pt x="12" y="154"/>
                  <a:pt x="12" y="154"/>
                </a:cubicBezTo>
                <a:cubicBezTo>
                  <a:pt x="17" y="162"/>
                  <a:pt x="17" y="162"/>
                  <a:pt x="17" y="162"/>
                </a:cubicBezTo>
                <a:cubicBezTo>
                  <a:pt x="17" y="162"/>
                  <a:pt x="20" y="164"/>
                  <a:pt x="21" y="164"/>
                </a:cubicBezTo>
                <a:cubicBezTo>
                  <a:pt x="21" y="164"/>
                  <a:pt x="25" y="166"/>
                  <a:pt x="25" y="166"/>
                </a:cubicBezTo>
                <a:cubicBezTo>
                  <a:pt x="25" y="166"/>
                  <a:pt x="25" y="168"/>
                  <a:pt x="25" y="169"/>
                </a:cubicBezTo>
                <a:cubicBezTo>
                  <a:pt x="25" y="169"/>
                  <a:pt x="26" y="171"/>
                  <a:pt x="26" y="171"/>
                </a:cubicBezTo>
                <a:cubicBezTo>
                  <a:pt x="27" y="174"/>
                  <a:pt x="27" y="174"/>
                  <a:pt x="27" y="174"/>
                </a:cubicBezTo>
                <a:cubicBezTo>
                  <a:pt x="27" y="174"/>
                  <a:pt x="26" y="177"/>
                  <a:pt x="25" y="177"/>
                </a:cubicBezTo>
                <a:cubicBezTo>
                  <a:pt x="25" y="178"/>
                  <a:pt x="25" y="179"/>
                  <a:pt x="25" y="179"/>
                </a:cubicBezTo>
                <a:cubicBezTo>
                  <a:pt x="25" y="179"/>
                  <a:pt x="20" y="189"/>
                  <a:pt x="20" y="189"/>
                </a:cubicBezTo>
                <a:cubicBezTo>
                  <a:pt x="20" y="189"/>
                  <a:pt x="18" y="196"/>
                  <a:pt x="18" y="196"/>
                </a:cubicBezTo>
                <a:cubicBezTo>
                  <a:pt x="14" y="202"/>
                  <a:pt x="14" y="202"/>
                  <a:pt x="14" y="202"/>
                </a:cubicBezTo>
                <a:cubicBezTo>
                  <a:pt x="14" y="203"/>
                  <a:pt x="14" y="203"/>
                  <a:pt x="14" y="203"/>
                </a:cubicBezTo>
                <a:cubicBezTo>
                  <a:pt x="15" y="204"/>
                  <a:pt x="15" y="204"/>
                  <a:pt x="15" y="204"/>
                </a:cubicBezTo>
                <a:cubicBezTo>
                  <a:pt x="15" y="205"/>
                  <a:pt x="15" y="205"/>
                  <a:pt x="15" y="205"/>
                </a:cubicBezTo>
                <a:cubicBezTo>
                  <a:pt x="14" y="206"/>
                  <a:pt x="14" y="206"/>
                  <a:pt x="14" y="207"/>
                </a:cubicBezTo>
                <a:cubicBezTo>
                  <a:pt x="14" y="208"/>
                  <a:pt x="14" y="209"/>
                  <a:pt x="13" y="210"/>
                </a:cubicBezTo>
                <a:cubicBezTo>
                  <a:pt x="12" y="211"/>
                  <a:pt x="12" y="212"/>
                  <a:pt x="11" y="213"/>
                </a:cubicBezTo>
                <a:cubicBezTo>
                  <a:pt x="11" y="214"/>
                  <a:pt x="11" y="214"/>
                  <a:pt x="10" y="215"/>
                </a:cubicBezTo>
                <a:cubicBezTo>
                  <a:pt x="9" y="215"/>
                  <a:pt x="8" y="215"/>
                  <a:pt x="8" y="216"/>
                </a:cubicBezTo>
                <a:cubicBezTo>
                  <a:pt x="7" y="216"/>
                  <a:pt x="7" y="216"/>
                  <a:pt x="7" y="217"/>
                </a:cubicBezTo>
                <a:cubicBezTo>
                  <a:pt x="6" y="218"/>
                  <a:pt x="6" y="220"/>
                  <a:pt x="5" y="221"/>
                </a:cubicBezTo>
                <a:cubicBezTo>
                  <a:pt x="5" y="222"/>
                  <a:pt x="5" y="224"/>
                  <a:pt x="4" y="225"/>
                </a:cubicBezTo>
                <a:cubicBezTo>
                  <a:pt x="3" y="227"/>
                  <a:pt x="2" y="227"/>
                  <a:pt x="1" y="229"/>
                </a:cubicBezTo>
                <a:cubicBezTo>
                  <a:pt x="1" y="230"/>
                  <a:pt x="2" y="231"/>
                  <a:pt x="1" y="232"/>
                </a:cubicBezTo>
                <a:cubicBezTo>
                  <a:pt x="1" y="232"/>
                  <a:pt x="0" y="232"/>
                  <a:pt x="0" y="233"/>
                </a:cubicBezTo>
                <a:cubicBezTo>
                  <a:pt x="0" y="233"/>
                  <a:pt x="1" y="233"/>
                  <a:pt x="1" y="234"/>
                </a:cubicBezTo>
                <a:cubicBezTo>
                  <a:pt x="2" y="234"/>
                  <a:pt x="2" y="235"/>
                  <a:pt x="2" y="236"/>
                </a:cubicBezTo>
                <a:cubicBezTo>
                  <a:pt x="2" y="236"/>
                  <a:pt x="2" y="237"/>
                  <a:pt x="2" y="237"/>
                </a:cubicBezTo>
                <a:cubicBezTo>
                  <a:pt x="2" y="238"/>
                  <a:pt x="4" y="239"/>
                  <a:pt x="4" y="238"/>
                </a:cubicBezTo>
                <a:cubicBezTo>
                  <a:pt x="5" y="238"/>
                  <a:pt x="6" y="239"/>
                  <a:pt x="7" y="240"/>
                </a:cubicBezTo>
                <a:cubicBezTo>
                  <a:pt x="8" y="240"/>
                  <a:pt x="8" y="240"/>
                  <a:pt x="8" y="240"/>
                </a:cubicBezTo>
                <a:cubicBezTo>
                  <a:pt x="9" y="240"/>
                  <a:pt x="9" y="239"/>
                  <a:pt x="10" y="240"/>
                </a:cubicBezTo>
                <a:cubicBezTo>
                  <a:pt x="10" y="240"/>
                  <a:pt x="10" y="242"/>
                  <a:pt x="10" y="242"/>
                </a:cubicBezTo>
                <a:cubicBezTo>
                  <a:pt x="10" y="243"/>
                  <a:pt x="11" y="243"/>
                  <a:pt x="12" y="243"/>
                </a:cubicBezTo>
                <a:cubicBezTo>
                  <a:pt x="13" y="244"/>
                  <a:pt x="11" y="247"/>
                  <a:pt x="10" y="247"/>
                </a:cubicBezTo>
                <a:cubicBezTo>
                  <a:pt x="9" y="249"/>
                  <a:pt x="11" y="250"/>
                  <a:pt x="11" y="252"/>
                </a:cubicBezTo>
                <a:cubicBezTo>
                  <a:pt x="11" y="253"/>
                  <a:pt x="10" y="254"/>
                  <a:pt x="10" y="256"/>
                </a:cubicBezTo>
                <a:cubicBezTo>
                  <a:pt x="9" y="257"/>
                  <a:pt x="9" y="259"/>
                  <a:pt x="8" y="259"/>
                </a:cubicBezTo>
                <a:cubicBezTo>
                  <a:pt x="8" y="346"/>
                  <a:pt x="8" y="346"/>
                  <a:pt x="8" y="346"/>
                </a:cubicBezTo>
                <a:cubicBezTo>
                  <a:pt x="214" y="346"/>
                  <a:pt x="214" y="346"/>
                  <a:pt x="214" y="346"/>
                </a:cubicBezTo>
                <a:cubicBezTo>
                  <a:pt x="214" y="229"/>
                  <a:pt x="214" y="229"/>
                  <a:pt x="214" y="229"/>
                </a:cubicBezTo>
                <a:cubicBezTo>
                  <a:pt x="212" y="228"/>
                  <a:pt x="212" y="228"/>
                  <a:pt x="212" y="228"/>
                </a:cubicBezTo>
                <a:cubicBezTo>
                  <a:pt x="212" y="228"/>
                  <a:pt x="204" y="215"/>
                  <a:pt x="203" y="215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9" name="Freeform 47">
            <a:extLst>
              <a:ext uri="{FF2B5EF4-FFF2-40B4-BE49-F238E27FC236}">
                <a16:creationId xmlns:a16="http://schemas.microsoft.com/office/drawing/2014/main" id="{BE6983CA-372C-4282-9E3A-245929C2AB7E}"/>
              </a:ext>
            </a:extLst>
          </p:cNvPr>
          <p:cNvSpPr>
            <a:spLocks/>
          </p:cNvSpPr>
          <p:nvPr/>
        </p:nvSpPr>
        <p:spPr bwMode="auto">
          <a:xfrm>
            <a:off x="9348363" y="3858574"/>
            <a:ext cx="652621" cy="758362"/>
          </a:xfrm>
          <a:custGeom>
            <a:avLst/>
            <a:gdLst>
              <a:gd name="T0" fmla="*/ 155 w 165"/>
              <a:gd name="T1" fmla="*/ 115 h 191"/>
              <a:gd name="T2" fmla="*/ 152 w 165"/>
              <a:gd name="T3" fmla="*/ 106 h 191"/>
              <a:gd name="T4" fmla="*/ 145 w 165"/>
              <a:gd name="T5" fmla="*/ 95 h 191"/>
              <a:gd name="T6" fmla="*/ 139 w 165"/>
              <a:gd name="T7" fmla="*/ 79 h 191"/>
              <a:gd name="T8" fmla="*/ 130 w 165"/>
              <a:gd name="T9" fmla="*/ 73 h 191"/>
              <a:gd name="T10" fmla="*/ 127 w 165"/>
              <a:gd name="T11" fmla="*/ 69 h 191"/>
              <a:gd name="T12" fmla="*/ 123 w 165"/>
              <a:gd name="T13" fmla="*/ 60 h 191"/>
              <a:gd name="T14" fmla="*/ 105 w 165"/>
              <a:gd name="T15" fmla="*/ 44 h 191"/>
              <a:gd name="T16" fmla="*/ 99 w 165"/>
              <a:gd name="T17" fmla="*/ 30 h 191"/>
              <a:gd name="T18" fmla="*/ 88 w 165"/>
              <a:gd name="T19" fmla="*/ 20 h 191"/>
              <a:gd name="T20" fmla="*/ 79 w 165"/>
              <a:gd name="T21" fmla="*/ 13 h 191"/>
              <a:gd name="T22" fmla="*/ 86 w 165"/>
              <a:gd name="T23" fmla="*/ 2 h 191"/>
              <a:gd name="T24" fmla="*/ 15 w 165"/>
              <a:gd name="T25" fmla="*/ 89 h 191"/>
              <a:gd name="T26" fmla="*/ 18 w 165"/>
              <a:gd name="T27" fmla="*/ 99 h 191"/>
              <a:gd name="T28" fmla="*/ 23 w 165"/>
              <a:gd name="T29" fmla="*/ 112 h 191"/>
              <a:gd name="T30" fmla="*/ 19 w 165"/>
              <a:gd name="T31" fmla="*/ 122 h 191"/>
              <a:gd name="T32" fmla="*/ 18 w 165"/>
              <a:gd name="T33" fmla="*/ 137 h 191"/>
              <a:gd name="T34" fmla="*/ 17 w 165"/>
              <a:gd name="T35" fmla="*/ 156 h 191"/>
              <a:gd name="T36" fmla="*/ 23 w 165"/>
              <a:gd name="T37" fmla="*/ 169 h 191"/>
              <a:gd name="T38" fmla="*/ 116 w 165"/>
              <a:gd name="T39" fmla="*/ 181 h 191"/>
              <a:gd name="T40" fmla="*/ 120 w 165"/>
              <a:gd name="T41" fmla="*/ 190 h 191"/>
              <a:gd name="T42" fmla="*/ 124 w 165"/>
              <a:gd name="T43" fmla="*/ 181 h 191"/>
              <a:gd name="T44" fmla="*/ 125 w 165"/>
              <a:gd name="T45" fmla="*/ 173 h 191"/>
              <a:gd name="T46" fmla="*/ 132 w 165"/>
              <a:gd name="T47" fmla="*/ 174 h 191"/>
              <a:gd name="T48" fmla="*/ 142 w 165"/>
              <a:gd name="T49" fmla="*/ 175 h 191"/>
              <a:gd name="T50" fmla="*/ 141 w 165"/>
              <a:gd name="T51" fmla="*/ 170 h 191"/>
              <a:gd name="T52" fmla="*/ 143 w 165"/>
              <a:gd name="T53" fmla="*/ 169 h 191"/>
              <a:gd name="T54" fmla="*/ 144 w 165"/>
              <a:gd name="T55" fmla="*/ 171 h 191"/>
              <a:gd name="T56" fmla="*/ 145 w 165"/>
              <a:gd name="T57" fmla="*/ 167 h 191"/>
              <a:gd name="T58" fmla="*/ 144 w 165"/>
              <a:gd name="T59" fmla="*/ 166 h 191"/>
              <a:gd name="T60" fmla="*/ 142 w 165"/>
              <a:gd name="T61" fmla="*/ 166 h 191"/>
              <a:gd name="T62" fmla="*/ 141 w 165"/>
              <a:gd name="T63" fmla="*/ 162 h 191"/>
              <a:gd name="T64" fmla="*/ 142 w 165"/>
              <a:gd name="T65" fmla="*/ 160 h 191"/>
              <a:gd name="T66" fmla="*/ 144 w 165"/>
              <a:gd name="T67" fmla="*/ 158 h 191"/>
              <a:gd name="T68" fmla="*/ 146 w 165"/>
              <a:gd name="T69" fmla="*/ 153 h 191"/>
              <a:gd name="T70" fmla="*/ 145 w 165"/>
              <a:gd name="T71" fmla="*/ 156 h 191"/>
              <a:gd name="T72" fmla="*/ 146 w 165"/>
              <a:gd name="T73" fmla="*/ 158 h 191"/>
              <a:gd name="T74" fmla="*/ 148 w 165"/>
              <a:gd name="T75" fmla="*/ 155 h 191"/>
              <a:gd name="T76" fmla="*/ 148 w 165"/>
              <a:gd name="T77" fmla="*/ 152 h 191"/>
              <a:gd name="T78" fmla="*/ 148 w 165"/>
              <a:gd name="T79" fmla="*/ 151 h 191"/>
              <a:gd name="T80" fmla="*/ 150 w 165"/>
              <a:gd name="T81" fmla="*/ 149 h 191"/>
              <a:gd name="T82" fmla="*/ 151 w 165"/>
              <a:gd name="T83" fmla="*/ 146 h 191"/>
              <a:gd name="T84" fmla="*/ 151 w 165"/>
              <a:gd name="T85" fmla="*/ 144 h 191"/>
              <a:gd name="T86" fmla="*/ 148 w 165"/>
              <a:gd name="T87" fmla="*/ 143 h 191"/>
              <a:gd name="T88" fmla="*/ 150 w 165"/>
              <a:gd name="T89" fmla="*/ 142 h 191"/>
              <a:gd name="T90" fmla="*/ 151 w 165"/>
              <a:gd name="T91" fmla="*/ 139 h 191"/>
              <a:gd name="T92" fmla="*/ 148 w 165"/>
              <a:gd name="T93" fmla="*/ 138 h 191"/>
              <a:gd name="T94" fmla="*/ 152 w 165"/>
              <a:gd name="T95" fmla="*/ 136 h 191"/>
              <a:gd name="T96" fmla="*/ 153 w 165"/>
              <a:gd name="T97" fmla="*/ 134 h 191"/>
              <a:gd name="T98" fmla="*/ 157 w 165"/>
              <a:gd name="T99" fmla="*/ 133 h 191"/>
              <a:gd name="T100" fmla="*/ 155 w 165"/>
              <a:gd name="T101" fmla="*/ 130 h 191"/>
              <a:gd name="T102" fmla="*/ 156 w 165"/>
              <a:gd name="T103" fmla="*/ 128 h 191"/>
              <a:gd name="T104" fmla="*/ 161 w 165"/>
              <a:gd name="T105" fmla="*/ 128 h 191"/>
              <a:gd name="T106" fmla="*/ 160 w 165"/>
              <a:gd name="T107" fmla="*/ 125 h 191"/>
              <a:gd name="T108" fmla="*/ 164 w 165"/>
              <a:gd name="T109" fmla="*/ 125 h 191"/>
              <a:gd name="T110" fmla="*/ 161 w 165"/>
              <a:gd name="T111" fmla="*/ 122 h 191"/>
              <a:gd name="T112" fmla="*/ 160 w 165"/>
              <a:gd name="T113" fmla="*/ 12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5" h="191">
                <a:moveTo>
                  <a:pt x="159" y="120"/>
                </a:moveTo>
                <a:cubicBezTo>
                  <a:pt x="159" y="120"/>
                  <a:pt x="157" y="120"/>
                  <a:pt x="157" y="120"/>
                </a:cubicBezTo>
                <a:cubicBezTo>
                  <a:pt x="156" y="120"/>
                  <a:pt x="155" y="120"/>
                  <a:pt x="155" y="119"/>
                </a:cubicBezTo>
                <a:cubicBezTo>
                  <a:pt x="155" y="119"/>
                  <a:pt x="155" y="116"/>
                  <a:pt x="155" y="115"/>
                </a:cubicBezTo>
                <a:cubicBezTo>
                  <a:pt x="155" y="115"/>
                  <a:pt x="155" y="113"/>
                  <a:pt x="155" y="112"/>
                </a:cubicBezTo>
                <a:cubicBezTo>
                  <a:pt x="155" y="111"/>
                  <a:pt x="155" y="111"/>
                  <a:pt x="154" y="110"/>
                </a:cubicBezTo>
                <a:cubicBezTo>
                  <a:pt x="153" y="109"/>
                  <a:pt x="153" y="108"/>
                  <a:pt x="153" y="108"/>
                </a:cubicBezTo>
                <a:cubicBezTo>
                  <a:pt x="152" y="108"/>
                  <a:pt x="152" y="107"/>
                  <a:pt x="152" y="106"/>
                </a:cubicBezTo>
                <a:cubicBezTo>
                  <a:pt x="152" y="106"/>
                  <a:pt x="152" y="105"/>
                  <a:pt x="152" y="105"/>
                </a:cubicBezTo>
                <a:cubicBezTo>
                  <a:pt x="152" y="105"/>
                  <a:pt x="145" y="99"/>
                  <a:pt x="145" y="99"/>
                </a:cubicBezTo>
                <a:cubicBezTo>
                  <a:pt x="145" y="98"/>
                  <a:pt x="145" y="97"/>
                  <a:pt x="145" y="97"/>
                </a:cubicBezTo>
                <a:cubicBezTo>
                  <a:pt x="145" y="96"/>
                  <a:pt x="145" y="95"/>
                  <a:pt x="145" y="95"/>
                </a:cubicBezTo>
                <a:cubicBezTo>
                  <a:pt x="144" y="95"/>
                  <a:pt x="145" y="91"/>
                  <a:pt x="144" y="90"/>
                </a:cubicBezTo>
                <a:cubicBezTo>
                  <a:pt x="144" y="90"/>
                  <a:pt x="143" y="88"/>
                  <a:pt x="142" y="88"/>
                </a:cubicBezTo>
                <a:cubicBezTo>
                  <a:pt x="142" y="87"/>
                  <a:pt x="142" y="83"/>
                  <a:pt x="142" y="83"/>
                </a:cubicBezTo>
                <a:cubicBezTo>
                  <a:pt x="141" y="82"/>
                  <a:pt x="139" y="80"/>
                  <a:pt x="139" y="79"/>
                </a:cubicBezTo>
                <a:cubicBezTo>
                  <a:pt x="138" y="79"/>
                  <a:pt x="134" y="77"/>
                  <a:pt x="134" y="77"/>
                </a:cubicBezTo>
                <a:cubicBezTo>
                  <a:pt x="133" y="77"/>
                  <a:pt x="133" y="77"/>
                  <a:pt x="133" y="76"/>
                </a:cubicBezTo>
                <a:cubicBezTo>
                  <a:pt x="133" y="76"/>
                  <a:pt x="133" y="74"/>
                  <a:pt x="132" y="74"/>
                </a:cubicBezTo>
                <a:cubicBezTo>
                  <a:pt x="132" y="74"/>
                  <a:pt x="131" y="73"/>
                  <a:pt x="130" y="73"/>
                </a:cubicBezTo>
                <a:cubicBezTo>
                  <a:pt x="130" y="73"/>
                  <a:pt x="130" y="72"/>
                  <a:pt x="130" y="72"/>
                </a:cubicBezTo>
                <a:cubicBezTo>
                  <a:pt x="130" y="72"/>
                  <a:pt x="129" y="71"/>
                  <a:pt x="129" y="71"/>
                </a:cubicBezTo>
                <a:cubicBezTo>
                  <a:pt x="129" y="70"/>
                  <a:pt x="130" y="70"/>
                  <a:pt x="129" y="70"/>
                </a:cubicBezTo>
                <a:cubicBezTo>
                  <a:pt x="128" y="69"/>
                  <a:pt x="127" y="69"/>
                  <a:pt x="127" y="69"/>
                </a:cubicBezTo>
                <a:cubicBezTo>
                  <a:pt x="127" y="69"/>
                  <a:pt x="126" y="67"/>
                  <a:pt x="126" y="67"/>
                </a:cubicBezTo>
                <a:cubicBezTo>
                  <a:pt x="126" y="66"/>
                  <a:pt x="127" y="65"/>
                  <a:pt x="127" y="65"/>
                </a:cubicBezTo>
                <a:cubicBezTo>
                  <a:pt x="127" y="65"/>
                  <a:pt x="127" y="64"/>
                  <a:pt x="126" y="63"/>
                </a:cubicBezTo>
                <a:cubicBezTo>
                  <a:pt x="125" y="63"/>
                  <a:pt x="124" y="61"/>
                  <a:pt x="123" y="60"/>
                </a:cubicBezTo>
                <a:cubicBezTo>
                  <a:pt x="122" y="60"/>
                  <a:pt x="118" y="58"/>
                  <a:pt x="118" y="57"/>
                </a:cubicBezTo>
                <a:cubicBezTo>
                  <a:pt x="117" y="57"/>
                  <a:pt x="117" y="54"/>
                  <a:pt x="117" y="53"/>
                </a:cubicBezTo>
                <a:cubicBezTo>
                  <a:pt x="117" y="53"/>
                  <a:pt x="114" y="49"/>
                  <a:pt x="113" y="48"/>
                </a:cubicBezTo>
                <a:cubicBezTo>
                  <a:pt x="112" y="48"/>
                  <a:pt x="106" y="44"/>
                  <a:pt x="105" y="44"/>
                </a:cubicBezTo>
                <a:cubicBezTo>
                  <a:pt x="105" y="43"/>
                  <a:pt x="104" y="41"/>
                  <a:pt x="104" y="40"/>
                </a:cubicBezTo>
                <a:cubicBezTo>
                  <a:pt x="103" y="39"/>
                  <a:pt x="102" y="37"/>
                  <a:pt x="101" y="36"/>
                </a:cubicBezTo>
                <a:cubicBezTo>
                  <a:pt x="101" y="36"/>
                  <a:pt x="99" y="36"/>
                  <a:pt x="99" y="34"/>
                </a:cubicBezTo>
                <a:cubicBezTo>
                  <a:pt x="99" y="33"/>
                  <a:pt x="99" y="31"/>
                  <a:pt x="99" y="30"/>
                </a:cubicBezTo>
                <a:cubicBezTo>
                  <a:pt x="98" y="30"/>
                  <a:pt x="96" y="27"/>
                  <a:pt x="96" y="27"/>
                </a:cubicBezTo>
                <a:cubicBezTo>
                  <a:pt x="96" y="26"/>
                  <a:pt x="95" y="24"/>
                  <a:pt x="95" y="23"/>
                </a:cubicBezTo>
                <a:cubicBezTo>
                  <a:pt x="95" y="22"/>
                  <a:pt x="95" y="21"/>
                  <a:pt x="93" y="21"/>
                </a:cubicBezTo>
                <a:cubicBezTo>
                  <a:pt x="91" y="21"/>
                  <a:pt x="89" y="21"/>
                  <a:pt x="88" y="20"/>
                </a:cubicBezTo>
                <a:cubicBezTo>
                  <a:pt x="87" y="19"/>
                  <a:pt x="86" y="18"/>
                  <a:pt x="85" y="18"/>
                </a:cubicBezTo>
                <a:cubicBezTo>
                  <a:pt x="85" y="17"/>
                  <a:pt x="86" y="16"/>
                  <a:pt x="84" y="16"/>
                </a:cubicBezTo>
                <a:cubicBezTo>
                  <a:pt x="82" y="16"/>
                  <a:pt x="81" y="15"/>
                  <a:pt x="80" y="15"/>
                </a:cubicBezTo>
                <a:cubicBezTo>
                  <a:pt x="80" y="14"/>
                  <a:pt x="79" y="14"/>
                  <a:pt x="79" y="13"/>
                </a:cubicBezTo>
                <a:cubicBezTo>
                  <a:pt x="78" y="13"/>
                  <a:pt x="77" y="13"/>
                  <a:pt x="78" y="12"/>
                </a:cubicBezTo>
                <a:cubicBezTo>
                  <a:pt x="78" y="11"/>
                  <a:pt x="78" y="8"/>
                  <a:pt x="79" y="8"/>
                </a:cubicBezTo>
                <a:cubicBezTo>
                  <a:pt x="80" y="7"/>
                  <a:pt x="81" y="6"/>
                  <a:pt x="81" y="5"/>
                </a:cubicBezTo>
                <a:cubicBezTo>
                  <a:pt x="82" y="5"/>
                  <a:pt x="86" y="2"/>
                  <a:pt x="86" y="2"/>
                </a:cubicBezTo>
                <a:cubicBezTo>
                  <a:pt x="86" y="0"/>
                  <a:pt x="86" y="0"/>
                  <a:pt x="86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5" y="88"/>
                  <a:pt x="15" y="89"/>
                </a:cubicBezTo>
                <a:cubicBezTo>
                  <a:pt x="15" y="89"/>
                  <a:pt x="16" y="91"/>
                  <a:pt x="16" y="92"/>
                </a:cubicBezTo>
                <a:cubicBezTo>
                  <a:pt x="16" y="92"/>
                  <a:pt x="16" y="93"/>
                  <a:pt x="16" y="93"/>
                </a:cubicBezTo>
                <a:cubicBezTo>
                  <a:pt x="17" y="94"/>
                  <a:pt x="17" y="95"/>
                  <a:pt x="17" y="96"/>
                </a:cubicBezTo>
                <a:cubicBezTo>
                  <a:pt x="17" y="97"/>
                  <a:pt x="18" y="98"/>
                  <a:pt x="18" y="99"/>
                </a:cubicBezTo>
                <a:cubicBezTo>
                  <a:pt x="18" y="100"/>
                  <a:pt x="21" y="105"/>
                  <a:pt x="21" y="105"/>
                </a:cubicBezTo>
                <a:cubicBezTo>
                  <a:pt x="22" y="105"/>
                  <a:pt x="22" y="107"/>
                  <a:pt x="21" y="108"/>
                </a:cubicBezTo>
                <a:cubicBezTo>
                  <a:pt x="21" y="108"/>
                  <a:pt x="21" y="109"/>
                  <a:pt x="21" y="110"/>
                </a:cubicBezTo>
                <a:cubicBezTo>
                  <a:pt x="21" y="111"/>
                  <a:pt x="22" y="111"/>
                  <a:pt x="23" y="112"/>
                </a:cubicBezTo>
                <a:cubicBezTo>
                  <a:pt x="23" y="112"/>
                  <a:pt x="24" y="113"/>
                  <a:pt x="24" y="113"/>
                </a:cubicBezTo>
                <a:cubicBezTo>
                  <a:pt x="24" y="113"/>
                  <a:pt x="22" y="115"/>
                  <a:pt x="22" y="115"/>
                </a:cubicBezTo>
                <a:cubicBezTo>
                  <a:pt x="22" y="116"/>
                  <a:pt x="19" y="118"/>
                  <a:pt x="19" y="119"/>
                </a:cubicBezTo>
                <a:cubicBezTo>
                  <a:pt x="19" y="120"/>
                  <a:pt x="19" y="121"/>
                  <a:pt x="19" y="122"/>
                </a:cubicBezTo>
                <a:cubicBezTo>
                  <a:pt x="19" y="123"/>
                  <a:pt x="18" y="124"/>
                  <a:pt x="18" y="125"/>
                </a:cubicBezTo>
                <a:cubicBezTo>
                  <a:pt x="17" y="126"/>
                  <a:pt x="16" y="128"/>
                  <a:pt x="16" y="129"/>
                </a:cubicBezTo>
                <a:cubicBezTo>
                  <a:pt x="16" y="129"/>
                  <a:pt x="16" y="132"/>
                  <a:pt x="16" y="133"/>
                </a:cubicBezTo>
                <a:cubicBezTo>
                  <a:pt x="16" y="134"/>
                  <a:pt x="17" y="137"/>
                  <a:pt x="18" y="137"/>
                </a:cubicBezTo>
                <a:cubicBezTo>
                  <a:pt x="18" y="138"/>
                  <a:pt x="19" y="143"/>
                  <a:pt x="19" y="144"/>
                </a:cubicBezTo>
                <a:cubicBezTo>
                  <a:pt x="19" y="144"/>
                  <a:pt x="19" y="148"/>
                  <a:pt x="18" y="149"/>
                </a:cubicBezTo>
                <a:cubicBezTo>
                  <a:pt x="18" y="149"/>
                  <a:pt x="17" y="152"/>
                  <a:pt x="17" y="152"/>
                </a:cubicBezTo>
                <a:cubicBezTo>
                  <a:pt x="17" y="152"/>
                  <a:pt x="17" y="155"/>
                  <a:pt x="17" y="156"/>
                </a:cubicBezTo>
                <a:cubicBezTo>
                  <a:pt x="17" y="156"/>
                  <a:pt x="18" y="157"/>
                  <a:pt x="18" y="158"/>
                </a:cubicBezTo>
                <a:cubicBezTo>
                  <a:pt x="19" y="159"/>
                  <a:pt x="20" y="160"/>
                  <a:pt x="20" y="160"/>
                </a:cubicBezTo>
                <a:cubicBezTo>
                  <a:pt x="20" y="161"/>
                  <a:pt x="21" y="164"/>
                  <a:pt x="21" y="164"/>
                </a:cubicBezTo>
                <a:cubicBezTo>
                  <a:pt x="23" y="169"/>
                  <a:pt x="23" y="169"/>
                  <a:pt x="23" y="169"/>
                </a:cubicBezTo>
                <a:cubicBezTo>
                  <a:pt x="23" y="169"/>
                  <a:pt x="23" y="172"/>
                  <a:pt x="23" y="172"/>
                </a:cubicBezTo>
                <a:cubicBezTo>
                  <a:pt x="23" y="173"/>
                  <a:pt x="24" y="174"/>
                  <a:pt x="24" y="174"/>
                </a:cubicBezTo>
                <a:cubicBezTo>
                  <a:pt x="24" y="175"/>
                  <a:pt x="27" y="176"/>
                  <a:pt x="27" y="176"/>
                </a:cubicBezTo>
                <a:cubicBezTo>
                  <a:pt x="27" y="176"/>
                  <a:pt x="116" y="181"/>
                  <a:pt x="116" y="181"/>
                </a:cubicBezTo>
                <a:cubicBezTo>
                  <a:pt x="116" y="181"/>
                  <a:pt x="117" y="183"/>
                  <a:pt x="117" y="183"/>
                </a:cubicBezTo>
                <a:cubicBezTo>
                  <a:pt x="117" y="184"/>
                  <a:pt x="117" y="186"/>
                  <a:pt x="117" y="186"/>
                </a:cubicBezTo>
                <a:cubicBezTo>
                  <a:pt x="117" y="187"/>
                  <a:pt x="117" y="188"/>
                  <a:pt x="118" y="189"/>
                </a:cubicBezTo>
                <a:cubicBezTo>
                  <a:pt x="118" y="189"/>
                  <a:pt x="119" y="190"/>
                  <a:pt x="120" y="190"/>
                </a:cubicBezTo>
                <a:cubicBezTo>
                  <a:pt x="121" y="190"/>
                  <a:pt x="122" y="191"/>
                  <a:pt x="122" y="190"/>
                </a:cubicBezTo>
                <a:cubicBezTo>
                  <a:pt x="122" y="190"/>
                  <a:pt x="123" y="188"/>
                  <a:pt x="124" y="188"/>
                </a:cubicBezTo>
                <a:cubicBezTo>
                  <a:pt x="124" y="187"/>
                  <a:pt x="123" y="185"/>
                  <a:pt x="124" y="184"/>
                </a:cubicBezTo>
                <a:cubicBezTo>
                  <a:pt x="124" y="184"/>
                  <a:pt x="124" y="182"/>
                  <a:pt x="124" y="181"/>
                </a:cubicBezTo>
                <a:cubicBezTo>
                  <a:pt x="124" y="181"/>
                  <a:pt x="123" y="179"/>
                  <a:pt x="123" y="178"/>
                </a:cubicBezTo>
                <a:cubicBezTo>
                  <a:pt x="123" y="178"/>
                  <a:pt x="123" y="177"/>
                  <a:pt x="123" y="176"/>
                </a:cubicBezTo>
                <a:cubicBezTo>
                  <a:pt x="123" y="175"/>
                  <a:pt x="123" y="174"/>
                  <a:pt x="123" y="173"/>
                </a:cubicBezTo>
                <a:cubicBezTo>
                  <a:pt x="123" y="173"/>
                  <a:pt x="124" y="173"/>
                  <a:pt x="125" y="173"/>
                </a:cubicBezTo>
                <a:cubicBezTo>
                  <a:pt x="125" y="173"/>
                  <a:pt x="125" y="173"/>
                  <a:pt x="126" y="172"/>
                </a:cubicBezTo>
                <a:cubicBezTo>
                  <a:pt x="126" y="172"/>
                  <a:pt x="127" y="171"/>
                  <a:pt x="127" y="171"/>
                </a:cubicBezTo>
                <a:cubicBezTo>
                  <a:pt x="127" y="171"/>
                  <a:pt x="129" y="172"/>
                  <a:pt x="129" y="172"/>
                </a:cubicBezTo>
                <a:cubicBezTo>
                  <a:pt x="129" y="172"/>
                  <a:pt x="131" y="173"/>
                  <a:pt x="132" y="174"/>
                </a:cubicBezTo>
                <a:cubicBezTo>
                  <a:pt x="132" y="174"/>
                  <a:pt x="134" y="174"/>
                  <a:pt x="134" y="174"/>
                </a:cubicBezTo>
                <a:cubicBezTo>
                  <a:pt x="135" y="175"/>
                  <a:pt x="138" y="176"/>
                  <a:pt x="138" y="176"/>
                </a:cubicBezTo>
                <a:cubicBezTo>
                  <a:pt x="138" y="176"/>
                  <a:pt x="140" y="176"/>
                  <a:pt x="142" y="176"/>
                </a:cubicBezTo>
                <a:cubicBezTo>
                  <a:pt x="142" y="175"/>
                  <a:pt x="142" y="175"/>
                  <a:pt x="142" y="175"/>
                </a:cubicBezTo>
                <a:cubicBezTo>
                  <a:pt x="142" y="174"/>
                  <a:pt x="142" y="174"/>
                  <a:pt x="142" y="173"/>
                </a:cubicBezTo>
                <a:cubicBezTo>
                  <a:pt x="141" y="173"/>
                  <a:pt x="141" y="173"/>
                  <a:pt x="141" y="172"/>
                </a:cubicBezTo>
                <a:cubicBezTo>
                  <a:pt x="141" y="172"/>
                  <a:pt x="141" y="172"/>
                  <a:pt x="141" y="171"/>
                </a:cubicBezTo>
                <a:cubicBezTo>
                  <a:pt x="141" y="171"/>
                  <a:pt x="141" y="171"/>
                  <a:pt x="141" y="170"/>
                </a:cubicBezTo>
                <a:cubicBezTo>
                  <a:pt x="141" y="170"/>
                  <a:pt x="141" y="170"/>
                  <a:pt x="141" y="169"/>
                </a:cubicBezTo>
                <a:cubicBezTo>
                  <a:pt x="141" y="169"/>
                  <a:pt x="142" y="168"/>
                  <a:pt x="142" y="168"/>
                </a:cubicBezTo>
                <a:cubicBezTo>
                  <a:pt x="142" y="168"/>
                  <a:pt x="143" y="168"/>
                  <a:pt x="143" y="168"/>
                </a:cubicBezTo>
                <a:cubicBezTo>
                  <a:pt x="143" y="169"/>
                  <a:pt x="143" y="169"/>
                  <a:pt x="143" y="169"/>
                </a:cubicBezTo>
                <a:cubicBezTo>
                  <a:pt x="143" y="169"/>
                  <a:pt x="143" y="170"/>
                  <a:pt x="143" y="170"/>
                </a:cubicBezTo>
                <a:cubicBezTo>
                  <a:pt x="143" y="171"/>
                  <a:pt x="143" y="171"/>
                  <a:pt x="143" y="172"/>
                </a:cubicBezTo>
                <a:cubicBezTo>
                  <a:pt x="143" y="172"/>
                  <a:pt x="143" y="171"/>
                  <a:pt x="144" y="171"/>
                </a:cubicBezTo>
                <a:cubicBezTo>
                  <a:pt x="144" y="171"/>
                  <a:pt x="144" y="171"/>
                  <a:pt x="144" y="171"/>
                </a:cubicBezTo>
                <a:cubicBezTo>
                  <a:pt x="144" y="170"/>
                  <a:pt x="144" y="170"/>
                  <a:pt x="145" y="170"/>
                </a:cubicBezTo>
                <a:cubicBezTo>
                  <a:pt x="145" y="169"/>
                  <a:pt x="145" y="169"/>
                  <a:pt x="145" y="169"/>
                </a:cubicBezTo>
                <a:cubicBezTo>
                  <a:pt x="146" y="169"/>
                  <a:pt x="146" y="168"/>
                  <a:pt x="146" y="168"/>
                </a:cubicBezTo>
                <a:cubicBezTo>
                  <a:pt x="146" y="167"/>
                  <a:pt x="146" y="168"/>
                  <a:pt x="145" y="167"/>
                </a:cubicBezTo>
                <a:cubicBezTo>
                  <a:pt x="145" y="167"/>
                  <a:pt x="145" y="167"/>
                  <a:pt x="145" y="167"/>
                </a:cubicBezTo>
                <a:cubicBezTo>
                  <a:pt x="145" y="167"/>
                  <a:pt x="145" y="166"/>
                  <a:pt x="145" y="166"/>
                </a:cubicBezTo>
                <a:cubicBezTo>
                  <a:pt x="145" y="166"/>
                  <a:pt x="144" y="166"/>
                  <a:pt x="144" y="166"/>
                </a:cubicBezTo>
                <a:cubicBezTo>
                  <a:pt x="144" y="166"/>
                  <a:pt x="144" y="166"/>
                  <a:pt x="144" y="166"/>
                </a:cubicBezTo>
                <a:cubicBezTo>
                  <a:pt x="144" y="167"/>
                  <a:pt x="144" y="167"/>
                  <a:pt x="144" y="167"/>
                </a:cubicBezTo>
                <a:cubicBezTo>
                  <a:pt x="144" y="167"/>
                  <a:pt x="144" y="167"/>
                  <a:pt x="143" y="167"/>
                </a:cubicBezTo>
                <a:cubicBezTo>
                  <a:pt x="143" y="167"/>
                  <a:pt x="143" y="167"/>
                  <a:pt x="143" y="167"/>
                </a:cubicBezTo>
                <a:cubicBezTo>
                  <a:pt x="142" y="167"/>
                  <a:pt x="142" y="167"/>
                  <a:pt x="142" y="166"/>
                </a:cubicBezTo>
                <a:cubicBezTo>
                  <a:pt x="142" y="166"/>
                  <a:pt x="141" y="166"/>
                  <a:pt x="141" y="165"/>
                </a:cubicBezTo>
                <a:cubicBezTo>
                  <a:pt x="141" y="165"/>
                  <a:pt x="142" y="164"/>
                  <a:pt x="142" y="164"/>
                </a:cubicBezTo>
                <a:cubicBezTo>
                  <a:pt x="142" y="164"/>
                  <a:pt x="142" y="163"/>
                  <a:pt x="142" y="163"/>
                </a:cubicBezTo>
                <a:cubicBezTo>
                  <a:pt x="142" y="162"/>
                  <a:pt x="141" y="162"/>
                  <a:pt x="141" y="162"/>
                </a:cubicBezTo>
                <a:cubicBezTo>
                  <a:pt x="140" y="162"/>
                  <a:pt x="140" y="161"/>
                  <a:pt x="141" y="161"/>
                </a:cubicBezTo>
                <a:cubicBezTo>
                  <a:pt x="141" y="161"/>
                  <a:pt x="141" y="161"/>
                  <a:pt x="142" y="161"/>
                </a:cubicBezTo>
                <a:cubicBezTo>
                  <a:pt x="142" y="161"/>
                  <a:pt x="142" y="161"/>
                  <a:pt x="143" y="160"/>
                </a:cubicBezTo>
                <a:cubicBezTo>
                  <a:pt x="143" y="160"/>
                  <a:pt x="142" y="160"/>
                  <a:pt x="142" y="160"/>
                </a:cubicBezTo>
                <a:cubicBezTo>
                  <a:pt x="142" y="160"/>
                  <a:pt x="141" y="160"/>
                  <a:pt x="141" y="159"/>
                </a:cubicBezTo>
                <a:cubicBezTo>
                  <a:pt x="141" y="159"/>
                  <a:pt x="142" y="159"/>
                  <a:pt x="142" y="159"/>
                </a:cubicBezTo>
                <a:cubicBezTo>
                  <a:pt x="142" y="159"/>
                  <a:pt x="142" y="159"/>
                  <a:pt x="142" y="158"/>
                </a:cubicBezTo>
                <a:cubicBezTo>
                  <a:pt x="143" y="158"/>
                  <a:pt x="143" y="158"/>
                  <a:pt x="144" y="158"/>
                </a:cubicBezTo>
                <a:cubicBezTo>
                  <a:pt x="144" y="158"/>
                  <a:pt x="144" y="157"/>
                  <a:pt x="144" y="156"/>
                </a:cubicBezTo>
                <a:cubicBezTo>
                  <a:pt x="144" y="156"/>
                  <a:pt x="144" y="155"/>
                  <a:pt x="144" y="155"/>
                </a:cubicBezTo>
                <a:cubicBezTo>
                  <a:pt x="144" y="155"/>
                  <a:pt x="145" y="154"/>
                  <a:pt x="145" y="154"/>
                </a:cubicBezTo>
                <a:cubicBezTo>
                  <a:pt x="145" y="154"/>
                  <a:pt x="146" y="153"/>
                  <a:pt x="146" y="153"/>
                </a:cubicBezTo>
                <a:cubicBezTo>
                  <a:pt x="146" y="153"/>
                  <a:pt x="146" y="154"/>
                  <a:pt x="146" y="154"/>
                </a:cubicBezTo>
                <a:cubicBezTo>
                  <a:pt x="146" y="154"/>
                  <a:pt x="146" y="154"/>
                  <a:pt x="146" y="155"/>
                </a:cubicBezTo>
                <a:cubicBezTo>
                  <a:pt x="146" y="155"/>
                  <a:pt x="146" y="155"/>
                  <a:pt x="146" y="155"/>
                </a:cubicBezTo>
                <a:cubicBezTo>
                  <a:pt x="146" y="156"/>
                  <a:pt x="145" y="156"/>
                  <a:pt x="145" y="156"/>
                </a:cubicBezTo>
                <a:cubicBezTo>
                  <a:pt x="145" y="156"/>
                  <a:pt x="145" y="157"/>
                  <a:pt x="145" y="157"/>
                </a:cubicBezTo>
                <a:cubicBezTo>
                  <a:pt x="146" y="158"/>
                  <a:pt x="146" y="158"/>
                  <a:pt x="146" y="158"/>
                </a:cubicBezTo>
                <a:cubicBezTo>
                  <a:pt x="146" y="159"/>
                  <a:pt x="146" y="159"/>
                  <a:pt x="146" y="159"/>
                </a:cubicBezTo>
                <a:cubicBezTo>
                  <a:pt x="146" y="159"/>
                  <a:pt x="146" y="159"/>
                  <a:pt x="146" y="158"/>
                </a:cubicBezTo>
                <a:cubicBezTo>
                  <a:pt x="146" y="158"/>
                  <a:pt x="146" y="158"/>
                  <a:pt x="147" y="158"/>
                </a:cubicBezTo>
                <a:cubicBezTo>
                  <a:pt x="147" y="158"/>
                  <a:pt x="147" y="157"/>
                  <a:pt x="147" y="157"/>
                </a:cubicBezTo>
                <a:cubicBezTo>
                  <a:pt x="147" y="157"/>
                  <a:pt x="147" y="156"/>
                  <a:pt x="147" y="156"/>
                </a:cubicBezTo>
                <a:cubicBezTo>
                  <a:pt x="147" y="156"/>
                  <a:pt x="148" y="156"/>
                  <a:pt x="148" y="155"/>
                </a:cubicBezTo>
                <a:cubicBezTo>
                  <a:pt x="148" y="155"/>
                  <a:pt x="148" y="155"/>
                  <a:pt x="148" y="154"/>
                </a:cubicBezTo>
                <a:cubicBezTo>
                  <a:pt x="148" y="154"/>
                  <a:pt x="148" y="154"/>
                  <a:pt x="149" y="153"/>
                </a:cubicBezTo>
                <a:cubicBezTo>
                  <a:pt x="149" y="153"/>
                  <a:pt x="149" y="152"/>
                  <a:pt x="149" y="152"/>
                </a:cubicBezTo>
                <a:cubicBezTo>
                  <a:pt x="149" y="152"/>
                  <a:pt x="148" y="152"/>
                  <a:pt x="148" y="152"/>
                </a:cubicBezTo>
                <a:cubicBezTo>
                  <a:pt x="147" y="152"/>
                  <a:pt x="147" y="152"/>
                  <a:pt x="146" y="152"/>
                </a:cubicBezTo>
                <a:cubicBezTo>
                  <a:pt x="146" y="152"/>
                  <a:pt x="146" y="152"/>
                  <a:pt x="146" y="152"/>
                </a:cubicBezTo>
                <a:cubicBezTo>
                  <a:pt x="146" y="151"/>
                  <a:pt x="147" y="151"/>
                  <a:pt x="147" y="151"/>
                </a:cubicBezTo>
                <a:cubicBezTo>
                  <a:pt x="147" y="151"/>
                  <a:pt x="148" y="151"/>
                  <a:pt x="148" y="151"/>
                </a:cubicBezTo>
                <a:cubicBezTo>
                  <a:pt x="148" y="151"/>
                  <a:pt x="148" y="151"/>
                  <a:pt x="148" y="151"/>
                </a:cubicBezTo>
                <a:cubicBezTo>
                  <a:pt x="148" y="151"/>
                  <a:pt x="149" y="151"/>
                  <a:pt x="149" y="151"/>
                </a:cubicBezTo>
                <a:cubicBezTo>
                  <a:pt x="149" y="151"/>
                  <a:pt x="149" y="151"/>
                  <a:pt x="149" y="150"/>
                </a:cubicBezTo>
                <a:cubicBezTo>
                  <a:pt x="149" y="150"/>
                  <a:pt x="149" y="149"/>
                  <a:pt x="150" y="149"/>
                </a:cubicBezTo>
                <a:cubicBezTo>
                  <a:pt x="150" y="149"/>
                  <a:pt x="150" y="149"/>
                  <a:pt x="150" y="148"/>
                </a:cubicBezTo>
                <a:cubicBezTo>
                  <a:pt x="150" y="148"/>
                  <a:pt x="151" y="148"/>
                  <a:pt x="151" y="147"/>
                </a:cubicBezTo>
                <a:cubicBezTo>
                  <a:pt x="151" y="147"/>
                  <a:pt x="151" y="147"/>
                  <a:pt x="151" y="147"/>
                </a:cubicBezTo>
                <a:cubicBezTo>
                  <a:pt x="151" y="146"/>
                  <a:pt x="151" y="146"/>
                  <a:pt x="151" y="146"/>
                </a:cubicBezTo>
                <a:cubicBezTo>
                  <a:pt x="152" y="145"/>
                  <a:pt x="151" y="145"/>
                  <a:pt x="152" y="144"/>
                </a:cubicBezTo>
                <a:cubicBezTo>
                  <a:pt x="152" y="144"/>
                  <a:pt x="153" y="143"/>
                  <a:pt x="152" y="143"/>
                </a:cubicBezTo>
                <a:cubicBezTo>
                  <a:pt x="152" y="143"/>
                  <a:pt x="152" y="144"/>
                  <a:pt x="152" y="144"/>
                </a:cubicBezTo>
                <a:cubicBezTo>
                  <a:pt x="151" y="144"/>
                  <a:pt x="151" y="144"/>
                  <a:pt x="151" y="144"/>
                </a:cubicBezTo>
                <a:cubicBezTo>
                  <a:pt x="150" y="144"/>
                  <a:pt x="150" y="144"/>
                  <a:pt x="150" y="144"/>
                </a:cubicBezTo>
                <a:cubicBezTo>
                  <a:pt x="150" y="144"/>
                  <a:pt x="150" y="144"/>
                  <a:pt x="150" y="144"/>
                </a:cubicBezTo>
                <a:cubicBezTo>
                  <a:pt x="149" y="144"/>
                  <a:pt x="149" y="144"/>
                  <a:pt x="149" y="144"/>
                </a:cubicBezTo>
                <a:cubicBezTo>
                  <a:pt x="149" y="143"/>
                  <a:pt x="149" y="143"/>
                  <a:pt x="148" y="143"/>
                </a:cubicBezTo>
                <a:cubicBezTo>
                  <a:pt x="148" y="143"/>
                  <a:pt x="147" y="142"/>
                  <a:pt x="147" y="142"/>
                </a:cubicBezTo>
                <a:cubicBezTo>
                  <a:pt x="147" y="142"/>
                  <a:pt x="148" y="142"/>
                  <a:pt x="148" y="142"/>
                </a:cubicBezTo>
                <a:cubicBezTo>
                  <a:pt x="149" y="142"/>
                  <a:pt x="149" y="142"/>
                  <a:pt x="149" y="142"/>
                </a:cubicBezTo>
                <a:cubicBezTo>
                  <a:pt x="150" y="142"/>
                  <a:pt x="150" y="142"/>
                  <a:pt x="150" y="142"/>
                </a:cubicBezTo>
                <a:cubicBezTo>
                  <a:pt x="151" y="142"/>
                  <a:pt x="151" y="142"/>
                  <a:pt x="151" y="141"/>
                </a:cubicBezTo>
                <a:cubicBezTo>
                  <a:pt x="151" y="141"/>
                  <a:pt x="151" y="141"/>
                  <a:pt x="151" y="141"/>
                </a:cubicBezTo>
                <a:cubicBezTo>
                  <a:pt x="152" y="140"/>
                  <a:pt x="152" y="140"/>
                  <a:pt x="152" y="140"/>
                </a:cubicBezTo>
                <a:cubicBezTo>
                  <a:pt x="152" y="139"/>
                  <a:pt x="151" y="139"/>
                  <a:pt x="151" y="139"/>
                </a:cubicBezTo>
                <a:cubicBezTo>
                  <a:pt x="150" y="139"/>
                  <a:pt x="149" y="139"/>
                  <a:pt x="149" y="139"/>
                </a:cubicBezTo>
                <a:cubicBezTo>
                  <a:pt x="148" y="139"/>
                  <a:pt x="148" y="139"/>
                  <a:pt x="148" y="138"/>
                </a:cubicBezTo>
                <a:cubicBezTo>
                  <a:pt x="148" y="138"/>
                  <a:pt x="147" y="138"/>
                  <a:pt x="147" y="138"/>
                </a:cubicBezTo>
                <a:cubicBezTo>
                  <a:pt x="147" y="138"/>
                  <a:pt x="147" y="138"/>
                  <a:pt x="148" y="138"/>
                </a:cubicBezTo>
                <a:cubicBezTo>
                  <a:pt x="148" y="138"/>
                  <a:pt x="149" y="138"/>
                  <a:pt x="149" y="137"/>
                </a:cubicBezTo>
                <a:cubicBezTo>
                  <a:pt x="150" y="137"/>
                  <a:pt x="150" y="137"/>
                  <a:pt x="151" y="137"/>
                </a:cubicBezTo>
                <a:cubicBezTo>
                  <a:pt x="151" y="137"/>
                  <a:pt x="152" y="137"/>
                  <a:pt x="152" y="137"/>
                </a:cubicBezTo>
                <a:cubicBezTo>
                  <a:pt x="152" y="136"/>
                  <a:pt x="152" y="136"/>
                  <a:pt x="152" y="136"/>
                </a:cubicBezTo>
                <a:cubicBezTo>
                  <a:pt x="152" y="136"/>
                  <a:pt x="152" y="136"/>
                  <a:pt x="152" y="135"/>
                </a:cubicBezTo>
                <a:cubicBezTo>
                  <a:pt x="152" y="135"/>
                  <a:pt x="151" y="135"/>
                  <a:pt x="151" y="135"/>
                </a:cubicBezTo>
                <a:cubicBezTo>
                  <a:pt x="151" y="135"/>
                  <a:pt x="151" y="134"/>
                  <a:pt x="151" y="134"/>
                </a:cubicBezTo>
                <a:cubicBezTo>
                  <a:pt x="151" y="134"/>
                  <a:pt x="152" y="134"/>
                  <a:pt x="153" y="134"/>
                </a:cubicBezTo>
                <a:cubicBezTo>
                  <a:pt x="153" y="134"/>
                  <a:pt x="154" y="134"/>
                  <a:pt x="154" y="134"/>
                </a:cubicBezTo>
                <a:cubicBezTo>
                  <a:pt x="154" y="134"/>
                  <a:pt x="154" y="135"/>
                  <a:pt x="154" y="135"/>
                </a:cubicBezTo>
                <a:cubicBezTo>
                  <a:pt x="154" y="136"/>
                  <a:pt x="155" y="135"/>
                  <a:pt x="155" y="135"/>
                </a:cubicBezTo>
                <a:cubicBezTo>
                  <a:pt x="156" y="134"/>
                  <a:pt x="156" y="134"/>
                  <a:pt x="157" y="133"/>
                </a:cubicBezTo>
                <a:cubicBezTo>
                  <a:pt x="157" y="133"/>
                  <a:pt x="159" y="131"/>
                  <a:pt x="157" y="131"/>
                </a:cubicBezTo>
                <a:cubicBezTo>
                  <a:pt x="157" y="131"/>
                  <a:pt x="157" y="131"/>
                  <a:pt x="156" y="131"/>
                </a:cubicBezTo>
                <a:cubicBezTo>
                  <a:pt x="156" y="131"/>
                  <a:pt x="156" y="131"/>
                  <a:pt x="156" y="130"/>
                </a:cubicBezTo>
                <a:cubicBezTo>
                  <a:pt x="156" y="130"/>
                  <a:pt x="155" y="130"/>
                  <a:pt x="155" y="130"/>
                </a:cubicBezTo>
                <a:cubicBezTo>
                  <a:pt x="154" y="130"/>
                  <a:pt x="155" y="130"/>
                  <a:pt x="155" y="129"/>
                </a:cubicBezTo>
                <a:cubicBezTo>
                  <a:pt x="155" y="129"/>
                  <a:pt x="155" y="129"/>
                  <a:pt x="155" y="129"/>
                </a:cubicBezTo>
                <a:cubicBezTo>
                  <a:pt x="155" y="128"/>
                  <a:pt x="155" y="128"/>
                  <a:pt x="155" y="128"/>
                </a:cubicBezTo>
                <a:cubicBezTo>
                  <a:pt x="155" y="127"/>
                  <a:pt x="156" y="127"/>
                  <a:pt x="156" y="128"/>
                </a:cubicBezTo>
                <a:cubicBezTo>
                  <a:pt x="156" y="128"/>
                  <a:pt x="157" y="128"/>
                  <a:pt x="157" y="129"/>
                </a:cubicBezTo>
                <a:cubicBezTo>
                  <a:pt x="158" y="129"/>
                  <a:pt x="158" y="129"/>
                  <a:pt x="158" y="129"/>
                </a:cubicBezTo>
                <a:cubicBezTo>
                  <a:pt x="159" y="129"/>
                  <a:pt x="159" y="129"/>
                  <a:pt x="160" y="129"/>
                </a:cubicBezTo>
                <a:cubicBezTo>
                  <a:pt x="160" y="128"/>
                  <a:pt x="160" y="128"/>
                  <a:pt x="161" y="128"/>
                </a:cubicBezTo>
                <a:cubicBezTo>
                  <a:pt x="161" y="127"/>
                  <a:pt x="160" y="127"/>
                  <a:pt x="160" y="127"/>
                </a:cubicBezTo>
                <a:cubicBezTo>
                  <a:pt x="159" y="126"/>
                  <a:pt x="159" y="126"/>
                  <a:pt x="159" y="126"/>
                </a:cubicBezTo>
                <a:cubicBezTo>
                  <a:pt x="159" y="126"/>
                  <a:pt x="158" y="126"/>
                  <a:pt x="159" y="125"/>
                </a:cubicBezTo>
                <a:cubicBezTo>
                  <a:pt x="159" y="125"/>
                  <a:pt x="159" y="125"/>
                  <a:pt x="160" y="125"/>
                </a:cubicBezTo>
                <a:cubicBezTo>
                  <a:pt x="160" y="126"/>
                  <a:pt x="160" y="126"/>
                  <a:pt x="160" y="126"/>
                </a:cubicBezTo>
                <a:cubicBezTo>
                  <a:pt x="161" y="126"/>
                  <a:pt x="161" y="126"/>
                  <a:pt x="162" y="126"/>
                </a:cubicBezTo>
                <a:cubicBezTo>
                  <a:pt x="162" y="126"/>
                  <a:pt x="163" y="126"/>
                  <a:pt x="163" y="126"/>
                </a:cubicBezTo>
                <a:cubicBezTo>
                  <a:pt x="164" y="125"/>
                  <a:pt x="164" y="125"/>
                  <a:pt x="164" y="125"/>
                </a:cubicBezTo>
                <a:cubicBezTo>
                  <a:pt x="165" y="124"/>
                  <a:pt x="164" y="124"/>
                  <a:pt x="164" y="123"/>
                </a:cubicBezTo>
                <a:cubicBezTo>
                  <a:pt x="164" y="123"/>
                  <a:pt x="164" y="123"/>
                  <a:pt x="163" y="123"/>
                </a:cubicBezTo>
                <a:cubicBezTo>
                  <a:pt x="163" y="123"/>
                  <a:pt x="163" y="123"/>
                  <a:pt x="162" y="123"/>
                </a:cubicBezTo>
                <a:cubicBezTo>
                  <a:pt x="162" y="123"/>
                  <a:pt x="161" y="122"/>
                  <a:pt x="161" y="122"/>
                </a:cubicBezTo>
                <a:cubicBezTo>
                  <a:pt x="161" y="122"/>
                  <a:pt x="160" y="122"/>
                  <a:pt x="160" y="122"/>
                </a:cubicBezTo>
                <a:cubicBezTo>
                  <a:pt x="160" y="122"/>
                  <a:pt x="160" y="122"/>
                  <a:pt x="160" y="122"/>
                </a:cubicBezTo>
                <a:cubicBezTo>
                  <a:pt x="159" y="121"/>
                  <a:pt x="160" y="121"/>
                  <a:pt x="160" y="121"/>
                </a:cubicBezTo>
                <a:cubicBezTo>
                  <a:pt x="160" y="121"/>
                  <a:pt x="160" y="121"/>
                  <a:pt x="160" y="121"/>
                </a:cubicBezTo>
                <a:cubicBezTo>
                  <a:pt x="160" y="121"/>
                  <a:pt x="160" y="120"/>
                  <a:pt x="159" y="12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0" name="Freeform 48">
            <a:extLst>
              <a:ext uri="{FF2B5EF4-FFF2-40B4-BE49-F238E27FC236}">
                <a16:creationId xmlns:a16="http://schemas.microsoft.com/office/drawing/2014/main" id="{5CE0A6D3-D06C-4401-A1D1-322F9DC5C0B0}"/>
              </a:ext>
            </a:extLst>
          </p:cNvPr>
          <p:cNvSpPr>
            <a:spLocks noEditPoints="1"/>
          </p:cNvSpPr>
          <p:nvPr/>
        </p:nvSpPr>
        <p:spPr bwMode="auto">
          <a:xfrm>
            <a:off x="9070793" y="4509543"/>
            <a:ext cx="1042541" cy="915322"/>
          </a:xfrm>
          <a:custGeom>
            <a:avLst/>
            <a:gdLst>
              <a:gd name="T0" fmla="*/ 251 w 263"/>
              <a:gd name="T1" fmla="*/ 230 h 231"/>
              <a:gd name="T2" fmla="*/ 193 w 263"/>
              <a:gd name="T3" fmla="*/ 12 h 231"/>
              <a:gd name="T4" fmla="*/ 187 w 263"/>
              <a:gd name="T5" fmla="*/ 19 h 231"/>
              <a:gd name="T6" fmla="*/ 0 w 263"/>
              <a:gd name="T7" fmla="*/ 6 h 231"/>
              <a:gd name="T8" fmla="*/ 9 w 263"/>
              <a:gd name="T9" fmla="*/ 22 h 231"/>
              <a:gd name="T10" fmla="*/ 11 w 263"/>
              <a:gd name="T11" fmla="*/ 27 h 231"/>
              <a:gd name="T12" fmla="*/ 18 w 263"/>
              <a:gd name="T13" fmla="*/ 22 h 231"/>
              <a:gd name="T14" fmla="*/ 22 w 263"/>
              <a:gd name="T15" fmla="*/ 21 h 231"/>
              <a:gd name="T16" fmla="*/ 35 w 263"/>
              <a:gd name="T17" fmla="*/ 25 h 231"/>
              <a:gd name="T18" fmla="*/ 46 w 263"/>
              <a:gd name="T19" fmla="*/ 22 h 231"/>
              <a:gd name="T20" fmla="*/ 50 w 263"/>
              <a:gd name="T21" fmla="*/ 26 h 231"/>
              <a:gd name="T22" fmla="*/ 65 w 263"/>
              <a:gd name="T23" fmla="*/ 35 h 231"/>
              <a:gd name="T24" fmla="*/ 69 w 263"/>
              <a:gd name="T25" fmla="*/ 37 h 231"/>
              <a:gd name="T26" fmla="*/ 81 w 263"/>
              <a:gd name="T27" fmla="*/ 53 h 231"/>
              <a:gd name="T28" fmla="*/ 94 w 263"/>
              <a:gd name="T29" fmla="*/ 50 h 231"/>
              <a:gd name="T30" fmla="*/ 104 w 263"/>
              <a:gd name="T31" fmla="*/ 46 h 231"/>
              <a:gd name="T32" fmla="*/ 116 w 263"/>
              <a:gd name="T33" fmla="*/ 38 h 231"/>
              <a:gd name="T34" fmla="*/ 133 w 263"/>
              <a:gd name="T35" fmla="*/ 42 h 231"/>
              <a:gd name="T36" fmla="*/ 150 w 263"/>
              <a:gd name="T37" fmla="*/ 62 h 231"/>
              <a:gd name="T38" fmla="*/ 157 w 263"/>
              <a:gd name="T39" fmla="*/ 68 h 231"/>
              <a:gd name="T40" fmla="*/ 168 w 263"/>
              <a:gd name="T41" fmla="*/ 78 h 231"/>
              <a:gd name="T42" fmla="*/ 171 w 263"/>
              <a:gd name="T43" fmla="*/ 88 h 231"/>
              <a:gd name="T44" fmla="*/ 169 w 263"/>
              <a:gd name="T45" fmla="*/ 110 h 231"/>
              <a:gd name="T46" fmla="*/ 169 w 263"/>
              <a:gd name="T47" fmla="*/ 129 h 231"/>
              <a:gd name="T48" fmla="*/ 171 w 263"/>
              <a:gd name="T49" fmla="*/ 122 h 231"/>
              <a:gd name="T50" fmla="*/ 178 w 263"/>
              <a:gd name="T51" fmla="*/ 126 h 231"/>
              <a:gd name="T52" fmla="*/ 181 w 263"/>
              <a:gd name="T53" fmla="*/ 126 h 231"/>
              <a:gd name="T54" fmla="*/ 175 w 263"/>
              <a:gd name="T55" fmla="*/ 137 h 231"/>
              <a:gd name="T56" fmla="*/ 173 w 263"/>
              <a:gd name="T57" fmla="*/ 142 h 231"/>
              <a:gd name="T58" fmla="*/ 182 w 263"/>
              <a:gd name="T59" fmla="*/ 160 h 231"/>
              <a:gd name="T60" fmla="*/ 189 w 263"/>
              <a:gd name="T61" fmla="*/ 164 h 231"/>
              <a:gd name="T62" fmla="*/ 195 w 263"/>
              <a:gd name="T63" fmla="*/ 159 h 231"/>
              <a:gd name="T64" fmla="*/ 192 w 263"/>
              <a:gd name="T65" fmla="*/ 170 h 231"/>
              <a:gd name="T66" fmla="*/ 192 w 263"/>
              <a:gd name="T67" fmla="*/ 178 h 231"/>
              <a:gd name="T68" fmla="*/ 198 w 263"/>
              <a:gd name="T69" fmla="*/ 181 h 231"/>
              <a:gd name="T70" fmla="*/ 202 w 263"/>
              <a:gd name="T71" fmla="*/ 194 h 231"/>
              <a:gd name="T72" fmla="*/ 213 w 263"/>
              <a:gd name="T73" fmla="*/ 204 h 231"/>
              <a:gd name="T74" fmla="*/ 222 w 263"/>
              <a:gd name="T75" fmla="*/ 217 h 231"/>
              <a:gd name="T76" fmla="*/ 224 w 263"/>
              <a:gd name="T77" fmla="*/ 222 h 231"/>
              <a:gd name="T78" fmla="*/ 234 w 263"/>
              <a:gd name="T79" fmla="*/ 229 h 231"/>
              <a:gd name="T80" fmla="*/ 252 w 263"/>
              <a:gd name="T81" fmla="*/ 222 h 231"/>
              <a:gd name="T82" fmla="*/ 255 w 263"/>
              <a:gd name="T83" fmla="*/ 210 h 231"/>
              <a:gd name="T84" fmla="*/ 259 w 263"/>
              <a:gd name="T85" fmla="*/ 200 h 231"/>
              <a:gd name="T86" fmla="*/ 262 w 263"/>
              <a:gd name="T87" fmla="*/ 179 h 231"/>
              <a:gd name="T88" fmla="*/ 261 w 263"/>
              <a:gd name="T89" fmla="*/ 160 h 231"/>
              <a:gd name="T90" fmla="*/ 256 w 263"/>
              <a:gd name="T91" fmla="*/ 151 h 231"/>
              <a:gd name="T92" fmla="*/ 255 w 263"/>
              <a:gd name="T93" fmla="*/ 147 h 231"/>
              <a:gd name="T94" fmla="*/ 252 w 263"/>
              <a:gd name="T95" fmla="*/ 140 h 231"/>
              <a:gd name="T96" fmla="*/ 250 w 263"/>
              <a:gd name="T97" fmla="*/ 131 h 231"/>
              <a:gd name="T98" fmla="*/ 245 w 263"/>
              <a:gd name="T99" fmla="*/ 120 h 231"/>
              <a:gd name="T100" fmla="*/ 239 w 263"/>
              <a:gd name="T101" fmla="*/ 107 h 231"/>
              <a:gd name="T102" fmla="*/ 242 w 263"/>
              <a:gd name="T103" fmla="*/ 100 h 231"/>
              <a:gd name="T104" fmla="*/ 245 w 263"/>
              <a:gd name="T105" fmla="*/ 101 h 231"/>
              <a:gd name="T106" fmla="*/ 236 w 263"/>
              <a:gd name="T107" fmla="*/ 88 h 231"/>
              <a:gd name="T108" fmla="*/ 231 w 263"/>
              <a:gd name="T109" fmla="*/ 76 h 231"/>
              <a:gd name="T110" fmla="*/ 228 w 263"/>
              <a:gd name="T111" fmla="*/ 69 h 231"/>
              <a:gd name="T112" fmla="*/ 225 w 263"/>
              <a:gd name="T113" fmla="*/ 63 h 231"/>
              <a:gd name="T114" fmla="*/ 219 w 263"/>
              <a:gd name="T115" fmla="*/ 46 h 231"/>
              <a:gd name="T116" fmla="*/ 217 w 263"/>
              <a:gd name="T117" fmla="*/ 34 h 231"/>
              <a:gd name="T118" fmla="*/ 216 w 263"/>
              <a:gd name="T119" fmla="*/ 26 h 231"/>
              <a:gd name="T120" fmla="*/ 214 w 263"/>
              <a:gd name="T121" fmla="*/ 22 h 231"/>
              <a:gd name="T122" fmla="*/ 213 w 263"/>
              <a:gd name="T123" fmla="*/ 17 h 231"/>
              <a:gd name="T124" fmla="*/ 212 w 263"/>
              <a:gd name="T125" fmla="*/ 1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3" h="231">
                <a:moveTo>
                  <a:pt x="249" y="231"/>
                </a:moveTo>
                <a:cubicBezTo>
                  <a:pt x="249" y="229"/>
                  <a:pt x="249" y="229"/>
                  <a:pt x="250" y="228"/>
                </a:cubicBezTo>
                <a:cubicBezTo>
                  <a:pt x="251" y="227"/>
                  <a:pt x="252" y="226"/>
                  <a:pt x="252" y="225"/>
                </a:cubicBezTo>
                <a:cubicBezTo>
                  <a:pt x="252" y="224"/>
                  <a:pt x="253" y="223"/>
                  <a:pt x="254" y="223"/>
                </a:cubicBezTo>
                <a:cubicBezTo>
                  <a:pt x="254" y="223"/>
                  <a:pt x="254" y="224"/>
                  <a:pt x="254" y="225"/>
                </a:cubicBezTo>
                <a:cubicBezTo>
                  <a:pt x="253" y="225"/>
                  <a:pt x="253" y="226"/>
                  <a:pt x="253" y="227"/>
                </a:cubicBezTo>
                <a:cubicBezTo>
                  <a:pt x="252" y="227"/>
                  <a:pt x="252" y="228"/>
                  <a:pt x="252" y="228"/>
                </a:cubicBezTo>
                <a:cubicBezTo>
                  <a:pt x="252" y="229"/>
                  <a:pt x="251" y="229"/>
                  <a:pt x="251" y="229"/>
                </a:cubicBezTo>
                <a:cubicBezTo>
                  <a:pt x="251" y="230"/>
                  <a:pt x="251" y="230"/>
                  <a:pt x="251" y="230"/>
                </a:cubicBezTo>
                <a:cubicBezTo>
                  <a:pt x="250" y="231"/>
                  <a:pt x="250" y="231"/>
                  <a:pt x="249" y="231"/>
                </a:cubicBezTo>
                <a:close/>
                <a:moveTo>
                  <a:pt x="204" y="10"/>
                </a:moveTo>
                <a:cubicBezTo>
                  <a:pt x="204" y="10"/>
                  <a:pt x="202" y="10"/>
                  <a:pt x="202" y="10"/>
                </a:cubicBezTo>
                <a:cubicBezTo>
                  <a:pt x="201" y="9"/>
                  <a:pt x="199" y="8"/>
                  <a:pt x="199" y="8"/>
                </a:cubicBezTo>
                <a:cubicBezTo>
                  <a:pt x="199" y="8"/>
                  <a:pt x="197" y="7"/>
                  <a:pt x="197" y="7"/>
                </a:cubicBezTo>
                <a:cubicBezTo>
                  <a:pt x="197" y="7"/>
                  <a:pt x="196" y="8"/>
                  <a:pt x="196" y="8"/>
                </a:cubicBezTo>
                <a:cubicBezTo>
                  <a:pt x="195" y="9"/>
                  <a:pt x="195" y="9"/>
                  <a:pt x="195" y="9"/>
                </a:cubicBezTo>
                <a:cubicBezTo>
                  <a:pt x="194" y="9"/>
                  <a:pt x="193" y="9"/>
                  <a:pt x="193" y="9"/>
                </a:cubicBezTo>
                <a:cubicBezTo>
                  <a:pt x="193" y="10"/>
                  <a:pt x="193" y="11"/>
                  <a:pt x="193" y="12"/>
                </a:cubicBezTo>
                <a:cubicBezTo>
                  <a:pt x="193" y="13"/>
                  <a:pt x="193" y="14"/>
                  <a:pt x="193" y="14"/>
                </a:cubicBezTo>
                <a:cubicBezTo>
                  <a:pt x="193" y="15"/>
                  <a:pt x="194" y="17"/>
                  <a:pt x="194" y="17"/>
                </a:cubicBezTo>
                <a:cubicBezTo>
                  <a:pt x="194" y="18"/>
                  <a:pt x="194" y="20"/>
                  <a:pt x="194" y="20"/>
                </a:cubicBezTo>
                <a:cubicBezTo>
                  <a:pt x="193" y="21"/>
                  <a:pt x="194" y="23"/>
                  <a:pt x="194" y="24"/>
                </a:cubicBezTo>
                <a:cubicBezTo>
                  <a:pt x="193" y="24"/>
                  <a:pt x="192" y="26"/>
                  <a:pt x="192" y="26"/>
                </a:cubicBezTo>
                <a:cubicBezTo>
                  <a:pt x="192" y="27"/>
                  <a:pt x="191" y="26"/>
                  <a:pt x="190" y="26"/>
                </a:cubicBezTo>
                <a:cubicBezTo>
                  <a:pt x="189" y="26"/>
                  <a:pt x="188" y="25"/>
                  <a:pt x="188" y="25"/>
                </a:cubicBezTo>
                <a:cubicBezTo>
                  <a:pt x="187" y="24"/>
                  <a:pt x="187" y="23"/>
                  <a:pt x="187" y="22"/>
                </a:cubicBezTo>
                <a:cubicBezTo>
                  <a:pt x="187" y="22"/>
                  <a:pt x="187" y="20"/>
                  <a:pt x="187" y="19"/>
                </a:cubicBezTo>
                <a:cubicBezTo>
                  <a:pt x="187" y="19"/>
                  <a:pt x="186" y="17"/>
                  <a:pt x="186" y="17"/>
                </a:cubicBezTo>
                <a:cubicBezTo>
                  <a:pt x="186" y="17"/>
                  <a:pt x="97" y="12"/>
                  <a:pt x="97" y="12"/>
                </a:cubicBezTo>
                <a:cubicBezTo>
                  <a:pt x="97" y="12"/>
                  <a:pt x="94" y="11"/>
                  <a:pt x="94" y="10"/>
                </a:cubicBezTo>
                <a:cubicBezTo>
                  <a:pt x="94" y="10"/>
                  <a:pt x="93" y="9"/>
                  <a:pt x="93" y="8"/>
                </a:cubicBezTo>
                <a:cubicBezTo>
                  <a:pt x="93" y="8"/>
                  <a:pt x="93" y="5"/>
                  <a:pt x="93" y="5"/>
                </a:cubicBezTo>
                <a:cubicBezTo>
                  <a:pt x="91" y="0"/>
                  <a:pt x="91" y="0"/>
                  <a:pt x="91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3"/>
                  <a:pt x="1" y="3"/>
                  <a:pt x="1" y="3"/>
                </a:cubicBezTo>
                <a:cubicBezTo>
                  <a:pt x="0" y="6"/>
                  <a:pt x="0" y="6"/>
                  <a:pt x="0" y="6"/>
                </a:cubicBezTo>
                <a:cubicBezTo>
                  <a:pt x="0" y="6"/>
                  <a:pt x="2" y="8"/>
                  <a:pt x="2" y="8"/>
                </a:cubicBezTo>
                <a:cubicBezTo>
                  <a:pt x="2" y="9"/>
                  <a:pt x="4" y="10"/>
                  <a:pt x="4" y="10"/>
                </a:cubicBezTo>
                <a:cubicBezTo>
                  <a:pt x="4" y="11"/>
                  <a:pt x="4" y="12"/>
                  <a:pt x="5" y="12"/>
                </a:cubicBezTo>
                <a:cubicBezTo>
                  <a:pt x="5" y="12"/>
                  <a:pt x="8" y="13"/>
                  <a:pt x="8" y="13"/>
                </a:cubicBezTo>
                <a:cubicBezTo>
                  <a:pt x="8" y="13"/>
                  <a:pt x="8" y="15"/>
                  <a:pt x="8" y="15"/>
                </a:cubicBezTo>
                <a:cubicBezTo>
                  <a:pt x="8" y="15"/>
                  <a:pt x="7" y="17"/>
                  <a:pt x="7" y="17"/>
                </a:cubicBezTo>
                <a:cubicBezTo>
                  <a:pt x="7" y="18"/>
                  <a:pt x="7" y="19"/>
                  <a:pt x="7" y="19"/>
                </a:cubicBezTo>
                <a:cubicBezTo>
                  <a:pt x="7" y="19"/>
                  <a:pt x="7" y="20"/>
                  <a:pt x="7" y="21"/>
                </a:cubicBezTo>
                <a:cubicBezTo>
                  <a:pt x="8" y="21"/>
                  <a:pt x="8" y="22"/>
                  <a:pt x="9" y="22"/>
                </a:cubicBezTo>
                <a:cubicBezTo>
                  <a:pt x="9" y="22"/>
                  <a:pt x="10" y="22"/>
                  <a:pt x="10" y="23"/>
                </a:cubicBezTo>
                <a:cubicBezTo>
                  <a:pt x="10" y="24"/>
                  <a:pt x="9" y="24"/>
                  <a:pt x="8" y="25"/>
                </a:cubicBezTo>
                <a:cubicBezTo>
                  <a:pt x="8" y="25"/>
                  <a:pt x="8" y="25"/>
                  <a:pt x="8" y="26"/>
                </a:cubicBezTo>
                <a:cubicBezTo>
                  <a:pt x="7" y="26"/>
                  <a:pt x="7" y="26"/>
                  <a:pt x="7" y="27"/>
                </a:cubicBezTo>
                <a:cubicBezTo>
                  <a:pt x="6" y="27"/>
                  <a:pt x="6" y="28"/>
                  <a:pt x="6" y="29"/>
                </a:cubicBezTo>
                <a:cubicBezTo>
                  <a:pt x="6" y="29"/>
                  <a:pt x="6" y="29"/>
                  <a:pt x="7" y="29"/>
                </a:cubicBezTo>
                <a:cubicBezTo>
                  <a:pt x="7" y="28"/>
                  <a:pt x="8" y="28"/>
                  <a:pt x="8" y="28"/>
                </a:cubicBezTo>
                <a:cubicBezTo>
                  <a:pt x="9" y="28"/>
                  <a:pt x="10" y="28"/>
                  <a:pt x="11" y="28"/>
                </a:cubicBezTo>
                <a:cubicBezTo>
                  <a:pt x="11" y="27"/>
                  <a:pt x="11" y="27"/>
                  <a:pt x="11" y="27"/>
                </a:cubicBezTo>
                <a:cubicBezTo>
                  <a:pt x="12" y="27"/>
                  <a:pt x="12" y="27"/>
                  <a:pt x="12" y="27"/>
                </a:cubicBezTo>
                <a:cubicBezTo>
                  <a:pt x="13" y="26"/>
                  <a:pt x="13" y="26"/>
                  <a:pt x="13" y="25"/>
                </a:cubicBezTo>
                <a:cubicBezTo>
                  <a:pt x="13" y="25"/>
                  <a:pt x="14" y="25"/>
                  <a:pt x="14" y="25"/>
                </a:cubicBezTo>
                <a:cubicBezTo>
                  <a:pt x="15" y="25"/>
                  <a:pt x="16" y="24"/>
                  <a:pt x="16" y="23"/>
                </a:cubicBezTo>
                <a:cubicBezTo>
                  <a:pt x="16" y="22"/>
                  <a:pt x="17" y="21"/>
                  <a:pt x="17" y="20"/>
                </a:cubicBezTo>
                <a:cubicBezTo>
                  <a:pt x="17" y="20"/>
                  <a:pt x="17" y="19"/>
                  <a:pt x="17" y="19"/>
                </a:cubicBezTo>
                <a:cubicBezTo>
                  <a:pt x="17" y="19"/>
                  <a:pt x="18" y="19"/>
                  <a:pt x="18" y="20"/>
                </a:cubicBezTo>
                <a:cubicBezTo>
                  <a:pt x="18" y="20"/>
                  <a:pt x="18" y="20"/>
                  <a:pt x="18" y="21"/>
                </a:cubicBezTo>
                <a:cubicBezTo>
                  <a:pt x="18" y="21"/>
                  <a:pt x="18" y="22"/>
                  <a:pt x="18" y="22"/>
                </a:cubicBezTo>
                <a:cubicBezTo>
                  <a:pt x="19" y="22"/>
                  <a:pt x="19" y="22"/>
                  <a:pt x="19" y="21"/>
                </a:cubicBezTo>
                <a:cubicBezTo>
                  <a:pt x="20" y="21"/>
                  <a:pt x="20" y="21"/>
                  <a:pt x="20" y="2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19"/>
                  <a:pt x="20" y="19"/>
                  <a:pt x="21" y="18"/>
                </a:cubicBezTo>
                <a:cubicBezTo>
                  <a:pt x="21" y="18"/>
                  <a:pt x="21" y="18"/>
                  <a:pt x="21" y="18"/>
                </a:cubicBezTo>
                <a:cubicBezTo>
                  <a:pt x="21" y="18"/>
                  <a:pt x="21" y="19"/>
                  <a:pt x="21" y="19"/>
                </a:cubicBezTo>
                <a:cubicBezTo>
                  <a:pt x="21" y="19"/>
                  <a:pt x="21" y="20"/>
                  <a:pt x="21" y="20"/>
                </a:cubicBezTo>
                <a:cubicBezTo>
                  <a:pt x="21" y="20"/>
                  <a:pt x="21" y="20"/>
                  <a:pt x="22" y="21"/>
                </a:cubicBezTo>
                <a:cubicBezTo>
                  <a:pt x="22" y="21"/>
                  <a:pt x="22" y="21"/>
                  <a:pt x="22" y="21"/>
                </a:cubicBezTo>
                <a:cubicBezTo>
                  <a:pt x="23" y="22"/>
                  <a:pt x="24" y="21"/>
                  <a:pt x="24" y="22"/>
                </a:cubicBezTo>
                <a:cubicBezTo>
                  <a:pt x="25" y="23"/>
                  <a:pt x="22" y="23"/>
                  <a:pt x="22" y="24"/>
                </a:cubicBezTo>
                <a:cubicBezTo>
                  <a:pt x="21" y="24"/>
                  <a:pt x="21" y="24"/>
                  <a:pt x="20" y="25"/>
                </a:cubicBezTo>
                <a:cubicBezTo>
                  <a:pt x="20" y="25"/>
                  <a:pt x="18" y="25"/>
                  <a:pt x="18" y="26"/>
                </a:cubicBezTo>
                <a:cubicBezTo>
                  <a:pt x="19" y="26"/>
                  <a:pt x="20" y="26"/>
                  <a:pt x="20" y="26"/>
                </a:cubicBezTo>
                <a:cubicBezTo>
                  <a:pt x="21" y="25"/>
                  <a:pt x="22" y="25"/>
                  <a:pt x="23" y="25"/>
                </a:cubicBezTo>
                <a:cubicBezTo>
                  <a:pt x="23" y="25"/>
                  <a:pt x="24" y="25"/>
                  <a:pt x="25" y="25"/>
                </a:cubicBezTo>
                <a:cubicBezTo>
                  <a:pt x="26" y="25"/>
                  <a:pt x="28" y="25"/>
                  <a:pt x="29" y="25"/>
                </a:cubicBezTo>
                <a:cubicBezTo>
                  <a:pt x="31" y="24"/>
                  <a:pt x="33" y="25"/>
                  <a:pt x="35" y="25"/>
                </a:cubicBezTo>
                <a:cubicBezTo>
                  <a:pt x="35" y="25"/>
                  <a:pt x="36" y="25"/>
                  <a:pt x="36" y="24"/>
                </a:cubicBezTo>
                <a:cubicBezTo>
                  <a:pt x="36" y="24"/>
                  <a:pt x="36" y="24"/>
                  <a:pt x="36" y="24"/>
                </a:cubicBezTo>
                <a:cubicBezTo>
                  <a:pt x="36" y="23"/>
                  <a:pt x="36" y="23"/>
                  <a:pt x="37" y="23"/>
                </a:cubicBezTo>
                <a:cubicBezTo>
                  <a:pt x="37" y="23"/>
                  <a:pt x="37" y="23"/>
                  <a:pt x="38" y="23"/>
                </a:cubicBezTo>
                <a:cubicBezTo>
                  <a:pt x="38" y="22"/>
                  <a:pt x="39" y="22"/>
                  <a:pt x="40" y="21"/>
                </a:cubicBezTo>
                <a:cubicBezTo>
                  <a:pt x="40" y="21"/>
                  <a:pt x="41" y="21"/>
                  <a:pt x="42" y="21"/>
                </a:cubicBezTo>
                <a:cubicBezTo>
                  <a:pt x="42" y="21"/>
                  <a:pt x="42" y="22"/>
                  <a:pt x="42" y="22"/>
                </a:cubicBezTo>
                <a:cubicBezTo>
                  <a:pt x="43" y="22"/>
                  <a:pt x="44" y="22"/>
                  <a:pt x="44" y="22"/>
                </a:cubicBezTo>
                <a:cubicBezTo>
                  <a:pt x="45" y="22"/>
                  <a:pt x="45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7" y="22"/>
                  <a:pt x="48" y="22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50" y="21"/>
                  <a:pt x="50" y="21"/>
                  <a:pt x="50" y="22"/>
                </a:cubicBezTo>
                <a:cubicBezTo>
                  <a:pt x="50" y="22"/>
                  <a:pt x="51" y="23"/>
                  <a:pt x="51" y="23"/>
                </a:cubicBezTo>
                <a:cubicBezTo>
                  <a:pt x="52" y="23"/>
                  <a:pt x="52" y="24"/>
                  <a:pt x="52" y="24"/>
                </a:cubicBezTo>
                <a:cubicBezTo>
                  <a:pt x="52" y="24"/>
                  <a:pt x="52" y="24"/>
                  <a:pt x="52" y="25"/>
                </a:cubicBezTo>
                <a:cubicBezTo>
                  <a:pt x="53" y="25"/>
                  <a:pt x="53" y="25"/>
                  <a:pt x="52" y="25"/>
                </a:cubicBezTo>
                <a:cubicBezTo>
                  <a:pt x="51" y="26"/>
                  <a:pt x="51" y="26"/>
                  <a:pt x="50" y="26"/>
                </a:cubicBezTo>
                <a:cubicBezTo>
                  <a:pt x="48" y="26"/>
                  <a:pt x="47" y="26"/>
                  <a:pt x="45" y="25"/>
                </a:cubicBezTo>
                <a:cubicBezTo>
                  <a:pt x="45" y="25"/>
                  <a:pt x="42" y="25"/>
                  <a:pt x="42" y="25"/>
                </a:cubicBezTo>
                <a:cubicBezTo>
                  <a:pt x="43" y="25"/>
                  <a:pt x="45" y="26"/>
                  <a:pt x="46" y="26"/>
                </a:cubicBezTo>
                <a:cubicBezTo>
                  <a:pt x="48" y="27"/>
                  <a:pt x="50" y="27"/>
                  <a:pt x="52" y="28"/>
                </a:cubicBezTo>
                <a:cubicBezTo>
                  <a:pt x="53" y="29"/>
                  <a:pt x="55" y="29"/>
                  <a:pt x="56" y="30"/>
                </a:cubicBezTo>
                <a:cubicBezTo>
                  <a:pt x="58" y="30"/>
                  <a:pt x="59" y="31"/>
                  <a:pt x="60" y="32"/>
                </a:cubicBezTo>
                <a:cubicBezTo>
                  <a:pt x="61" y="32"/>
                  <a:pt x="61" y="32"/>
                  <a:pt x="62" y="33"/>
                </a:cubicBezTo>
                <a:cubicBezTo>
                  <a:pt x="62" y="33"/>
                  <a:pt x="63" y="33"/>
                  <a:pt x="63" y="33"/>
                </a:cubicBezTo>
                <a:cubicBezTo>
                  <a:pt x="63" y="34"/>
                  <a:pt x="64" y="34"/>
                  <a:pt x="65" y="35"/>
                </a:cubicBezTo>
                <a:cubicBezTo>
                  <a:pt x="65" y="35"/>
                  <a:pt x="65" y="35"/>
                  <a:pt x="66" y="35"/>
                </a:cubicBezTo>
                <a:cubicBezTo>
                  <a:pt x="66" y="35"/>
                  <a:pt x="66" y="35"/>
                  <a:pt x="66" y="34"/>
                </a:cubicBezTo>
                <a:cubicBezTo>
                  <a:pt x="67" y="34"/>
                  <a:pt x="67" y="34"/>
                  <a:pt x="68" y="34"/>
                </a:cubicBezTo>
                <a:cubicBezTo>
                  <a:pt x="68" y="35"/>
                  <a:pt x="69" y="35"/>
                  <a:pt x="69" y="35"/>
                </a:cubicBezTo>
                <a:cubicBezTo>
                  <a:pt x="70" y="35"/>
                  <a:pt x="71" y="35"/>
                  <a:pt x="72" y="35"/>
                </a:cubicBezTo>
                <a:cubicBezTo>
                  <a:pt x="72" y="35"/>
                  <a:pt x="72" y="36"/>
                  <a:pt x="72" y="36"/>
                </a:cubicBezTo>
                <a:cubicBezTo>
                  <a:pt x="72" y="37"/>
                  <a:pt x="72" y="37"/>
                  <a:pt x="72" y="37"/>
                </a:cubicBezTo>
                <a:cubicBezTo>
                  <a:pt x="71" y="37"/>
                  <a:pt x="71" y="37"/>
                  <a:pt x="70" y="37"/>
                </a:cubicBezTo>
                <a:cubicBezTo>
                  <a:pt x="70" y="37"/>
                  <a:pt x="69" y="36"/>
                  <a:pt x="69" y="37"/>
                </a:cubicBezTo>
                <a:cubicBezTo>
                  <a:pt x="68" y="37"/>
                  <a:pt x="70" y="38"/>
                  <a:pt x="70" y="38"/>
                </a:cubicBezTo>
                <a:cubicBezTo>
                  <a:pt x="71" y="38"/>
                  <a:pt x="71" y="39"/>
                  <a:pt x="72" y="40"/>
                </a:cubicBezTo>
                <a:cubicBezTo>
                  <a:pt x="73" y="40"/>
                  <a:pt x="73" y="41"/>
                  <a:pt x="74" y="42"/>
                </a:cubicBezTo>
                <a:cubicBezTo>
                  <a:pt x="75" y="43"/>
                  <a:pt x="76" y="43"/>
                  <a:pt x="77" y="44"/>
                </a:cubicBezTo>
                <a:cubicBezTo>
                  <a:pt x="78" y="44"/>
                  <a:pt x="78" y="44"/>
                  <a:pt x="78" y="45"/>
                </a:cubicBezTo>
                <a:cubicBezTo>
                  <a:pt x="78" y="45"/>
                  <a:pt x="78" y="46"/>
                  <a:pt x="79" y="46"/>
                </a:cubicBezTo>
                <a:cubicBezTo>
                  <a:pt x="79" y="47"/>
                  <a:pt x="80" y="48"/>
                  <a:pt x="80" y="49"/>
                </a:cubicBezTo>
                <a:cubicBezTo>
                  <a:pt x="80" y="50"/>
                  <a:pt x="81" y="50"/>
                  <a:pt x="81" y="51"/>
                </a:cubicBezTo>
                <a:cubicBezTo>
                  <a:pt x="81" y="52"/>
                  <a:pt x="80" y="52"/>
                  <a:pt x="81" y="53"/>
                </a:cubicBezTo>
                <a:cubicBezTo>
                  <a:pt x="81" y="54"/>
                  <a:pt x="82" y="53"/>
                  <a:pt x="82" y="53"/>
                </a:cubicBezTo>
                <a:cubicBezTo>
                  <a:pt x="83" y="53"/>
                  <a:pt x="84" y="53"/>
                  <a:pt x="85" y="53"/>
                </a:cubicBezTo>
                <a:cubicBezTo>
                  <a:pt x="85" y="52"/>
                  <a:pt x="85" y="52"/>
                  <a:pt x="86" y="52"/>
                </a:cubicBezTo>
                <a:cubicBezTo>
                  <a:pt x="86" y="52"/>
                  <a:pt x="87" y="52"/>
                  <a:pt x="87" y="52"/>
                </a:cubicBezTo>
                <a:cubicBezTo>
                  <a:pt x="88" y="52"/>
                  <a:pt x="88" y="52"/>
                  <a:pt x="89" y="52"/>
                </a:cubicBezTo>
                <a:cubicBezTo>
                  <a:pt x="90" y="52"/>
                  <a:pt x="91" y="52"/>
                  <a:pt x="91" y="52"/>
                </a:cubicBezTo>
                <a:cubicBezTo>
                  <a:pt x="92" y="52"/>
                  <a:pt x="92" y="52"/>
                  <a:pt x="92" y="51"/>
                </a:cubicBezTo>
                <a:cubicBezTo>
                  <a:pt x="93" y="51"/>
                  <a:pt x="93" y="51"/>
                  <a:pt x="93" y="51"/>
                </a:cubicBezTo>
                <a:cubicBezTo>
                  <a:pt x="94" y="51"/>
                  <a:pt x="94" y="51"/>
                  <a:pt x="94" y="50"/>
                </a:cubicBezTo>
                <a:cubicBezTo>
                  <a:pt x="95" y="50"/>
                  <a:pt x="95" y="50"/>
                  <a:pt x="95" y="50"/>
                </a:cubicBezTo>
                <a:cubicBezTo>
                  <a:pt x="96" y="50"/>
                  <a:pt x="95" y="50"/>
                  <a:pt x="95" y="51"/>
                </a:cubicBezTo>
                <a:cubicBezTo>
                  <a:pt x="95" y="51"/>
                  <a:pt x="95" y="51"/>
                  <a:pt x="96" y="51"/>
                </a:cubicBezTo>
                <a:cubicBezTo>
                  <a:pt x="96" y="51"/>
                  <a:pt x="97" y="50"/>
                  <a:pt x="97" y="50"/>
                </a:cubicBezTo>
                <a:cubicBezTo>
                  <a:pt x="98" y="50"/>
                  <a:pt x="98" y="49"/>
                  <a:pt x="99" y="49"/>
                </a:cubicBezTo>
                <a:cubicBezTo>
                  <a:pt x="99" y="49"/>
                  <a:pt x="100" y="49"/>
                  <a:pt x="100" y="48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2" y="47"/>
                  <a:pt x="102" y="47"/>
                  <a:pt x="102" y="47"/>
                </a:cubicBezTo>
                <a:cubicBezTo>
                  <a:pt x="103" y="47"/>
                  <a:pt x="104" y="47"/>
                  <a:pt x="104" y="46"/>
                </a:cubicBezTo>
                <a:cubicBezTo>
                  <a:pt x="104" y="46"/>
                  <a:pt x="105" y="46"/>
                  <a:pt x="105" y="46"/>
                </a:cubicBezTo>
                <a:cubicBezTo>
                  <a:pt x="106" y="45"/>
                  <a:pt x="106" y="44"/>
                  <a:pt x="107" y="44"/>
                </a:cubicBezTo>
                <a:cubicBezTo>
                  <a:pt x="108" y="44"/>
                  <a:pt x="110" y="44"/>
                  <a:pt x="111" y="44"/>
                </a:cubicBezTo>
                <a:cubicBezTo>
                  <a:pt x="112" y="44"/>
                  <a:pt x="114" y="45"/>
                  <a:pt x="114" y="43"/>
                </a:cubicBezTo>
                <a:cubicBezTo>
                  <a:pt x="114" y="43"/>
                  <a:pt x="113" y="43"/>
                  <a:pt x="112" y="43"/>
                </a:cubicBezTo>
                <a:cubicBezTo>
                  <a:pt x="112" y="42"/>
                  <a:pt x="113" y="42"/>
                  <a:pt x="113" y="41"/>
                </a:cubicBezTo>
                <a:cubicBezTo>
                  <a:pt x="113" y="41"/>
                  <a:pt x="113" y="40"/>
                  <a:pt x="113" y="40"/>
                </a:cubicBezTo>
                <a:cubicBezTo>
                  <a:pt x="113" y="39"/>
                  <a:pt x="114" y="39"/>
                  <a:pt x="114" y="38"/>
                </a:cubicBezTo>
                <a:cubicBezTo>
                  <a:pt x="115" y="38"/>
                  <a:pt x="115" y="38"/>
                  <a:pt x="116" y="38"/>
                </a:cubicBezTo>
                <a:cubicBezTo>
                  <a:pt x="116" y="37"/>
                  <a:pt x="116" y="37"/>
                  <a:pt x="117" y="37"/>
                </a:cubicBezTo>
                <a:cubicBezTo>
                  <a:pt x="117" y="37"/>
                  <a:pt x="118" y="37"/>
                  <a:pt x="119" y="37"/>
                </a:cubicBezTo>
                <a:cubicBezTo>
                  <a:pt x="119" y="38"/>
                  <a:pt x="120" y="38"/>
                  <a:pt x="120" y="38"/>
                </a:cubicBezTo>
                <a:cubicBezTo>
                  <a:pt x="121" y="37"/>
                  <a:pt x="121" y="37"/>
                  <a:pt x="122" y="37"/>
                </a:cubicBezTo>
                <a:cubicBezTo>
                  <a:pt x="122" y="37"/>
                  <a:pt x="123" y="37"/>
                  <a:pt x="123" y="37"/>
                </a:cubicBezTo>
                <a:cubicBezTo>
                  <a:pt x="124" y="37"/>
                  <a:pt x="124" y="37"/>
                  <a:pt x="125" y="37"/>
                </a:cubicBezTo>
                <a:cubicBezTo>
                  <a:pt x="125" y="37"/>
                  <a:pt x="126" y="37"/>
                  <a:pt x="126" y="38"/>
                </a:cubicBezTo>
                <a:cubicBezTo>
                  <a:pt x="127" y="39"/>
                  <a:pt x="129" y="39"/>
                  <a:pt x="130" y="40"/>
                </a:cubicBezTo>
                <a:cubicBezTo>
                  <a:pt x="131" y="41"/>
                  <a:pt x="132" y="41"/>
                  <a:pt x="133" y="42"/>
                </a:cubicBezTo>
                <a:cubicBezTo>
                  <a:pt x="134" y="42"/>
                  <a:pt x="135" y="43"/>
                  <a:pt x="136" y="43"/>
                </a:cubicBezTo>
                <a:cubicBezTo>
                  <a:pt x="137" y="45"/>
                  <a:pt x="138" y="46"/>
                  <a:pt x="139" y="47"/>
                </a:cubicBezTo>
                <a:cubicBezTo>
                  <a:pt x="140" y="49"/>
                  <a:pt x="140" y="50"/>
                  <a:pt x="141" y="51"/>
                </a:cubicBezTo>
                <a:cubicBezTo>
                  <a:pt x="142" y="52"/>
                  <a:pt x="142" y="52"/>
                  <a:pt x="143" y="53"/>
                </a:cubicBezTo>
                <a:cubicBezTo>
                  <a:pt x="143" y="53"/>
                  <a:pt x="143" y="53"/>
                  <a:pt x="144" y="53"/>
                </a:cubicBezTo>
                <a:cubicBezTo>
                  <a:pt x="144" y="53"/>
                  <a:pt x="145" y="53"/>
                  <a:pt x="145" y="54"/>
                </a:cubicBezTo>
                <a:cubicBezTo>
                  <a:pt x="145" y="54"/>
                  <a:pt x="146" y="54"/>
                  <a:pt x="147" y="55"/>
                </a:cubicBezTo>
                <a:cubicBezTo>
                  <a:pt x="147" y="57"/>
                  <a:pt x="147" y="58"/>
                  <a:pt x="147" y="60"/>
                </a:cubicBezTo>
                <a:cubicBezTo>
                  <a:pt x="147" y="61"/>
                  <a:pt x="149" y="62"/>
                  <a:pt x="150" y="62"/>
                </a:cubicBezTo>
                <a:cubicBezTo>
                  <a:pt x="151" y="63"/>
                  <a:pt x="153" y="64"/>
                  <a:pt x="153" y="65"/>
                </a:cubicBezTo>
                <a:cubicBezTo>
                  <a:pt x="154" y="65"/>
                  <a:pt x="154" y="66"/>
                  <a:pt x="154" y="66"/>
                </a:cubicBezTo>
                <a:cubicBezTo>
                  <a:pt x="154" y="67"/>
                  <a:pt x="154" y="67"/>
                  <a:pt x="154" y="67"/>
                </a:cubicBezTo>
                <a:cubicBezTo>
                  <a:pt x="155" y="68"/>
                  <a:pt x="155" y="68"/>
                  <a:pt x="156" y="68"/>
                </a:cubicBezTo>
                <a:cubicBezTo>
                  <a:pt x="156" y="67"/>
                  <a:pt x="156" y="67"/>
                  <a:pt x="156" y="67"/>
                </a:cubicBezTo>
                <a:cubicBezTo>
                  <a:pt x="157" y="66"/>
                  <a:pt x="157" y="66"/>
                  <a:pt x="157" y="66"/>
                </a:cubicBezTo>
                <a:cubicBezTo>
                  <a:pt x="158" y="66"/>
                  <a:pt x="158" y="66"/>
                  <a:pt x="158" y="67"/>
                </a:cubicBezTo>
                <a:cubicBezTo>
                  <a:pt x="158" y="67"/>
                  <a:pt x="157" y="67"/>
                  <a:pt x="157" y="68"/>
                </a:cubicBezTo>
                <a:cubicBezTo>
                  <a:pt x="157" y="68"/>
                  <a:pt x="157" y="68"/>
                  <a:pt x="157" y="68"/>
                </a:cubicBezTo>
                <a:cubicBezTo>
                  <a:pt x="156" y="69"/>
                  <a:pt x="156" y="70"/>
                  <a:pt x="157" y="70"/>
                </a:cubicBezTo>
                <a:cubicBezTo>
                  <a:pt x="157" y="71"/>
                  <a:pt x="157" y="71"/>
                  <a:pt x="158" y="72"/>
                </a:cubicBezTo>
                <a:cubicBezTo>
                  <a:pt x="158" y="73"/>
                  <a:pt x="158" y="73"/>
                  <a:pt x="159" y="74"/>
                </a:cubicBezTo>
                <a:cubicBezTo>
                  <a:pt x="159" y="74"/>
                  <a:pt x="159" y="74"/>
                  <a:pt x="159" y="74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4"/>
                  <a:pt x="162" y="74"/>
                  <a:pt x="163" y="74"/>
                </a:cubicBezTo>
                <a:cubicBezTo>
                  <a:pt x="164" y="74"/>
                  <a:pt x="165" y="74"/>
                  <a:pt x="166" y="74"/>
                </a:cubicBezTo>
                <a:cubicBezTo>
                  <a:pt x="167" y="74"/>
                  <a:pt x="167" y="74"/>
                  <a:pt x="167" y="75"/>
                </a:cubicBezTo>
                <a:cubicBezTo>
                  <a:pt x="167" y="76"/>
                  <a:pt x="167" y="77"/>
                  <a:pt x="168" y="78"/>
                </a:cubicBezTo>
                <a:cubicBezTo>
                  <a:pt x="168" y="79"/>
                  <a:pt x="168" y="79"/>
                  <a:pt x="169" y="80"/>
                </a:cubicBezTo>
                <a:cubicBezTo>
                  <a:pt x="169" y="80"/>
                  <a:pt x="169" y="80"/>
                  <a:pt x="169" y="81"/>
                </a:cubicBezTo>
                <a:cubicBezTo>
                  <a:pt x="169" y="81"/>
                  <a:pt x="170" y="82"/>
                  <a:pt x="170" y="83"/>
                </a:cubicBezTo>
                <a:cubicBezTo>
                  <a:pt x="171" y="83"/>
                  <a:pt x="171" y="84"/>
                  <a:pt x="171" y="84"/>
                </a:cubicBezTo>
                <a:cubicBezTo>
                  <a:pt x="172" y="85"/>
                  <a:pt x="172" y="85"/>
                  <a:pt x="171" y="85"/>
                </a:cubicBezTo>
                <a:cubicBezTo>
                  <a:pt x="171" y="86"/>
                  <a:pt x="171" y="86"/>
                  <a:pt x="171" y="86"/>
                </a:cubicBezTo>
                <a:cubicBezTo>
                  <a:pt x="170" y="86"/>
                  <a:pt x="170" y="86"/>
                  <a:pt x="170" y="86"/>
                </a:cubicBezTo>
                <a:cubicBezTo>
                  <a:pt x="170" y="86"/>
                  <a:pt x="170" y="87"/>
                  <a:pt x="170" y="87"/>
                </a:cubicBezTo>
                <a:cubicBezTo>
                  <a:pt x="170" y="87"/>
                  <a:pt x="171" y="87"/>
                  <a:pt x="171" y="88"/>
                </a:cubicBezTo>
                <a:cubicBezTo>
                  <a:pt x="171" y="88"/>
                  <a:pt x="171" y="89"/>
                  <a:pt x="171" y="89"/>
                </a:cubicBezTo>
                <a:cubicBezTo>
                  <a:pt x="172" y="90"/>
                  <a:pt x="172" y="90"/>
                  <a:pt x="172" y="91"/>
                </a:cubicBezTo>
                <a:cubicBezTo>
                  <a:pt x="172" y="91"/>
                  <a:pt x="172" y="92"/>
                  <a:pt x="172" y="92"/>
                </a:cubicBezTo>
                <a:cubicBezTo>
                  <a:pt x="172" y="94"/>
                  <a:pt x="172" y="96"/>
                  <a:pt x="172" y="98"/>
                </a:cubicBezTo>
                <a:cubicBezTo>
                  <a:pt x="172" y="99"/>
                  <a:pt x="172" y="99"/>
                  <a:pt x="172" y="100"/>
                </a:cubicBezTo>
                <a:cubicBezTo>
                  <a:pt x="171" y="101"/>
                  <a:pt x="171" y="101"/>
                  <a:pt x="171" y="102"/>
                </a:cubicBezTo>
                <a:cubicBezTo>
                  <a:pt x="171" y="103"/>
                  <a:pt x="171" y="103"/>
                  <a:pt x="171" y="104"/>
                </a:cubicBezTo>
                <a:cubicBezTo>
                  <a:pt x="171" y="105"/>
                  <a:pt x="171" y="106"/>
                  <a:pt x="170" y="107"/>
                </a:cubicBezTo>
                <a:cubicBezTo>
                  <a:pt x="170" y="108"/>
                  <a:pt x="169" y="109"/>
                  <a:pt x="169" y="110"/>
                </a:cubicBezTo>
                <a:cubicBezTo>
                  <a:pt x="169" y="111"/>
                  <a:pt x="168" y="112"/>
                  <a:pt x="168" y="114"/>
                </a:cubicBezTo>
                <a:cubicBezTo>
                  <a:pt x="167" y="115"/>
                  <a:pt x="168" y="116"/>
                  <a:pt x="168" y="117"/>
                </a:cubicBezTo>
                <a:cubicBezTo>
                  <a:pt x="168" y="118"/>
                  <a:pt x="168" y="119"/>
                  <a:pt x="167" y="120"/>
                </a:cubicBezTo>
                <a:cubicBezTo>
                  <a:pt x="167" y="120"/>
                  <a:pt x="167" y="121"/>
                  <a:pt x="166" y="121"/>
                </a:cubicBezTo>
                <a:cubicBezTo>
                  <a:pt x="166" y="121"/>
                  <a:pt x="166" y="122"/>
                  <a:pt x="166" y="122"/>
                </a:cubicBezTo>
                <a:cubicBezTo>
                  <a:pt x="166" y="123"/>
                  <a:pt x="165" y="123"/>
                  <a:pt x="165" y="123"/>
                </a:cubicBezTo>
                <a:cubicBezTo>
                  <a:pt x="165" y="124"/>
                  <a:pt x="165" y="125"/>
                  <a:pt x="166" y="125"/>
                </a:cubicBezTo>
                <a:cubicBezTo>
                  <a:pt x="166" y="126"/>
                  <a:pt x="167" y="127"/>
                  <a:pt x="168" y="127"/>
                </a:cubicBezTo>
                <a:cubicBezTo>
                  <a:pt x="168" y="128"/>
                  <a:pt x="169" y="128"/>
                  <a:pt x="169" y="129"/>
                </a:cubicBezTo>
                <a:cubicBezTo>
                  <a:pt x="169" y="129"/>
                  <a:pt x="169" y="130"/>
                  <a:pt x="170" y="130"/>
                </a:cubicBezTo>
                <a:cubicBezTo>
                  <a:pt x="170" y="131"/>
                  <a:pt x="172" y="131"/>
                  <a:pt x="172" y="131"/>
                </a:cubicBezTo>
                <a:cubicBezTo>
                  <a:pt x="173" y="131"/>
                  <a:pt x="173" y="129"/>
                  <a:pt x="173" y="129"/>
                </a:cubicBezTo>
                <a:cubicBezTo>
                  <a:pt x="173" y="128"/>
                  <a:pt x="174" y="128"/>
                  <a:pt x="174" y="128"/>
                </a:cubicBezTo>
                <a:cubicBezTo>
                  <a:pt x="174" y="127"/>
                  <a:pt x="174" y="127"/>
                  <a:pt x="174" y="126"/>
                </a:cubicBezTo>
                <a:cubicBezTo>
                  <a:pt x="174" y="126"/>
                  <a:pt x="174" y="125"/>
                  <a:pt x="173" y="124"/>
                </a:cubicBezTo>
                <a:cubicBezTo>
                  <a:pt x="173" y="124"/>
                  <a:pt x="172" y="124"/>
                  <a:pt x="172" y="124"/>
                </a:cubicBezTo>
                <a:cubicBezTo>
                  <a:pt x="172" y="123"/>
                  <a:pt x="172" y="123"/>
                  <a:pt x="171" y="123"/>
                </a:cubicBezTo>
                <a:cubicBezTo>
                  <a:pt x="171" y="123"/>
                  <a:pt x="171" y="123"/>
                  <a:pt x="171" y="122"/>
                </a:cubicBezTo>
                <a:cubicBezTo>
                  <a:pt x="170" y="122"/>
                  <a:pt x="170" y="122"/>
                  <a:pt x="170" y="122"/>
                </a:cubicBezTo>
                <a:cubicBezTo>
                  <a:pt x="170" y="122"/>
                  <a:pt x="171" y="122"/>
                  <a:pt x="171" y="121"/>
                </a:cubicBezTo>
                <a:cubicBezTo>
                  <a:pt x="171" y="121"/>
                  <a:pt x="171" y="120"/>
                  <a:pt x="172" y="120"/>
                </a:cubicBezTo>
                <a:cubicBezTo>
                  <a:pt x="173" y="119"/>
                  <a:pt x="173" y="120"/>
                  <a:pt x="174" y="120"/>
                </a:cubicBezTo>
                <a:cubicBezTo>
                  <a:pt x="174" y="121"/>
                  <a:pt x="175" y="121"/>
                  <a:pt x="176" y="122"/>
                </a:cubicBezTo>
                <a:cubicBezTo>
                  <a:pt x="176" y="122"/>
                  <a:pt x="176" y="122"/>
                  <a:pt x="176" y="123"/>
                </a:cubicBezTo>
                <a:cubicBezTo>
                  <a:pt x="176" y="123"/>
                  <a:pt x="176" y="124"/>
                  <a:pt x="176" y="124"/>
                </a:cubicBezTo>
                <a:cubicBezTo>
                  <a:pt x="176" y="125"/>
                  <a:pt x="176" y="126"/>
                  <a:pt x="177" y="126"/>
                </a:cubicBezTo>
                <a:cubicBezTo>
                  <a:pt x="177" y="126"/>
                  <a:pt x="178" y="126"/>
                  <a:pt x="178" y="126"/>
                </a:cubicBezTo>
                <a:cubicBezTo>
                  <a:pt x="178" y="126"/>
                  <a:pt x="178" y="125"/>
                  <a:pt x="178" y="125"/>
                </a:cubicBezTo>
                <a:cubicBezTo>
                  <a:pt x="178" y="125"/>
                  <a:pt x="178" y="124"/>
                  <a:pt x="178" y="124"/>
                </a:cubicBezTo>
                <a:cubicBezTo>
                  <a:pt x="178" y="124"/>
                  <a:pt x="178" y="124"/>
                  <a:pt x="177" y="123"/>
                </a:cubicBezTo>
                <a:cubicBezTo>
                  <a:pt x="177" y="123"/>
                  <a:pt x="178" y="123"/>
                  <a:pt x="178" y="123"/>
                </a:cubicBezTo>
                <a:cubicBezTo>
                  <a:pt x="179" y="123"/>
                  <a:pt x="179" y="122"/>
                  <a:pt x="179" y="122"/>
                </a:cubicBezTo>
                <a:cubicBezTo>
                  <a:pt x="179" y="122"/>
                  <a:pt x="180" y="122"/>
                  <a:pt x="180" y="122"/>
                </a:cubicBezTo>
                <a:cubicBezTo>
                  <a:pt x="181" y="122"/>
                  <a:pt x="181" y="122"/>
                  <a:pt x="181" y="123"/>
                </a:cubicBezTo>
                <a:cubicBezTo>
                  <a:pt x="181" y="124"/>
                  <a:pt x="181" y="124"/>
                  <a:pt x="181" y="125"/>
                </a:cubicBezTo>
                <a:cubicBezTo>
                  <a:pt x="181" y="125"/>
                  <a:pt x="181" y="126"/>
                  <a:pt x="181" y="126"/>
                </a:cubicBezTo>
                <a:cubicBezTo>
                  <a:pt x="181" y="127"/>
                  <a:pt x="181" y="127"/>
                  <a:pt x="181" y="127"/>
                </a:cubicBezTo>
                <a:cubicBezTo>
                  <a:pt x="180" y="128"/>
                  <a:pt x="179" y="128"/>
                  <a:pt x="179" y="129"/>
                </a:cubicBezTo>
                <a:cubicBezTo>
                  <a:pt x="179" y="129"/>
                  <a:pt x="178" y="130"/>
                  <a:pt x="178" y="130"/>
                </a:cubicBezTo>
                <a:cubicBezTo>
                  <a:pt x="178" y="131"/>
                  <a:pt x="178" y="131"/>
                  <a:pt x="178" y="131"/>
                </a:cubicBezTo>
                <a:cubicBezTo>
                  <a:pt x="177" y="131"/>
                  <a:pt x="177" y="132"/>
                  <a:pt x="177" y="132"/>
                </a:cubicBezTo>
                <a:cubicBezTo>
                  <a:pt x="177" y="133"/>
                  <a:pt x="177" y="133"/>
                  <a:pt x="176" y="133"/>
                </a:cubicBezTo>
                <a:cubicBezTo>
                  <a:pt x="176" y="134"/>
                  <a:pt x="176" y="135"/>
                  <a:pt x="176" y="135"/>
                </a:cubicBezTo>
                <a:cubicBezTo>
                  <a:pt x="175" y="135"/>
                  <a:pt x="175" y="135"/>
                  <a:pt x="175" y="136"/>
                </a:cubicBezTo>
                <a:cubicBezTo>
                  <a:pt x="175" y="136"/>
                  <a:pt x="175" y="136"/>
                  <a:pt x="175" y="137"/>
                </a:cubicBezTo>
                <a:cubicBezTo>
                  <a:pt x="175" y="137"/>
                  <a:pt x="175" y="137"/>
                  <a:pt x="175" y="137"/>
                </a:cubicBezTo>
                <a:cubicBezTo>
                  <a:pt x="175" y="138"/>
                  <a:pt x="175" y="138"/>
                  <a:pt x="175" y="138"/>
                </a:cubicBezTo>
                <a:cubicBezTo>
                  <a:pt x="175" y="139"/>
                  <a:pt x="176" y="138"/>
                  <a:pt x="176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6" y="139"/>
                  <a:pt x="176" y="139"/>
                  <a:pt x="176" y="139"/>
                </a:cubicBezTo>
                <a:cubicBezTo>
                  <a:pt x="175" y="139"/>
                  <a:pt x="175" y="139"/>
                  <a:pt x="174" y="139"/>
                </a:cubicBezTo>
                <a:cubicBezTo>
                  <a:pt x="174" y="139"/>
                  <a:pt x="173" y="139"/>
                  <a:pt x="172" y="139"/>
                </a:cubicBezTo>
                <a:cubicBezTo>
                  <a:pt x="171" y="140"/>
                  <a:pt x="172" y="141"/>
                  <a:pt x="172" y="141"/>
                </a:cubicBezTo>
                <a:cubicBezTo>
                  <a:pt x="173" y="142"/>
                  <a:pt x="173" y="142"/>
                  <a:pt x="173" y="142"/>
                </a:cubicBezTo>
                <a:cubicBezTo>
                  <a:pt x="174" y="142"/>
                  <a:pt x="175" y="143"/>
                  <a:pt x="175" y="143"/>
                </a:cubicBezTo>
                <a:cubicBezTo>
                  <a:pt x="176" y="144"/>
                  <a:pt x="175" y="145"/>
                  <a:pt x="175" y="146"/>
                </a:cubicBezTo>
                <a:cubicBezTo>
                  <a:pt x="175" y="147"/>
                  <a:pt x="176" y="148"/>
                  <a:pt x="176" y="149"/>
                </a:cubicBezTo>
                <a:cubicBezTo>
                  <a:pt x="177" y="149"/>
                  <a:pt x="177" y="150"/>
                  <a:pt x="178" y="151"/>
                </a:cubicBezTo>
                <a:cubicBezTo>
                  <a:pt x="178" y="152"/>
                  <a:pt x="178" y="153"/>
                  <a:pt x="178" y="154"/>
                </a:cubicBezTo>
                <a:cubicBezTo>
                  <a:pt x="179" y="154"/>
                  <a:pt x="179" y="155"/>
                  <a:pt x="179" y="155"/>
                </a:cubicBezTo>
                <a:cubicBezTo>
                  <a:pt x="179" y="155"/>
                  <a:pt x="179" y="156"/>
                  <a:pt x="179" y="156"/>
                </a:cubicBezTo>
                <a:cubicBezTo>
                  <a:pt x="180" y="157"/>
                  <a:pt x="180" y="157"/>
                  <a:pt x="180" y="158"/>
                </a:cubicBezTo>
                <a:cubicBezTo>
                  <a:pt x="181" y="159"/>
                  <a:pt x="181" y="159"/>
                  <a:pt x="182" y="160"/>
                </a:cubicBezTo>
                <a:cubicBezTo>
                  <a:pt x="183" y="161"/>
                  <a:pt x="183" y="161"/>
                  <a:pt x="183" y="162"/>
                </a:cubicBezTo>
                <a:cubicBezTo>
                  <a:pt x="184" y="163"/>
                  <a:pt x="184" y="163"/>
                  <a:pt x="184" y="163"/>
                </a:cubicBezTo>
                <a:cubicBezTo>
                  <a:pt x="185" y="164"/>
                  <a:pt x="185" y="164"/>
                  <a:pt x="185" y="164"/>
                </a:cubicBezTo>
                <a:cubicBezTo>
                  <a:pt x="185" y="164"/>
                  <a:pt x="185" y="164"/>
                  <a:pt x="185" y="165"/>
                </a:cubicBezTo>
                <a:cubicBezTo>
                  <a:pt x="185" y="165"/>
                  <a:pt x="186" y="166"/>
                  <a:pt x="186" y="166"/>
                </a:cubicBezTo>
                <a:cubicBezTo>
                  <a:pt x="187" y="166"/>
                  <a:pt x="187" y="167"/>
                  <a:pt x="188" y="166"/>
                </a:cubicBezTo>
                <a:cubicBezTo>
                  <a:pt x="188" y="166"/>
                  <a:pt x="189" y="166"/>
                  <a:pt x="189" y="165"/>
                </a:cubicBezTo>
                <a:cubicBezTo>
                  <a:pt x="189" y="165"/>
                  <a:pt x="190" y="165"/>
                  <a:pt x="189" y="165"/>
                </a:cubicBezTo>
                <a:cubicBezTo>
                  <a:pt x="189" y="164"/>
                  <a:pt x="189" y="164"/>
                  <a:pt x="189" y="164"/>
                </a:cubicBezTo>
                <a:cubicBezTo>
                  <a:pt x="189" y="164"/>
                  <a:pt x="189" y="164"/>
                  <a:pt x="189" y="163"/>
                </a:cubicBezTo>
                <a:cubicBezTo>
                  <a:pt x="189" y="163"/>
                  <a:pt x="189" y="162"/>
                  <a:pt x="188" y="162"/>
                </a:cubicBezTo>
                <a:cubicBezTo>
                  <a:pt x="188" y="161"/>
                  <a:pt x="187" y="160"/>
                  <a:pt x="187" y="159"/>
                </a:cubicBezTo>
                <a:cubicBezTo>
                  <a:pt x="187" y="159"/>
                  <a:pt x="188" y="159"/>
                  <a:pt x="188" y="160"/>
                </a:cubicBezTo>
                <a:cubicBezTo>
                  <a:pt x="188" y="160"/>
                  <a:pt x="189" y="161"/>
                  <a:pt x="189" y="161"/>
                </a:cubicBezTo>
                <a:cubicBezTo>
                  <a:pt x="190" y="161"/>
                  <a:pt x="191" y="161"/>
                  <a:pt x="192" y="161"/>
                </a:cubicBezTo>
                <a:cubicBezTo>
                  <a:pt x="193" y="160"/>
                  <a:pt x="193" y="160"/>
                  <a:pt x="193" y="159"/>
                </a:cubicBezTo>
                <a:cubicBezTo>
                  <a:pt x="194" y="159"/>
                  <a:pt x="194" y="159"/>
                  <a:pt x="194" y="159"/>
                </a:cubicBezTo>
                <a:cubicBezTo>
                  <a:pt x="194" y="159"/>
                  <a:pt x="195" y="159"/>
                  <a:pt x="195" y="159"/>
                </a:cubicBezTo>
                <a:cubicBezTo>
                  <a:pt x="195" y="160"/>
                  <a:pt x="194" y="160"/>
                  <a:pt x="194" y="160"/>
                </a:cubicBezTo>
                <a:cubicBezTo>
                  <a:pt x="193" y="160"/>
                  <a:pt x="193" y="161"/>
                  <a:pt x="193" y="161"/>
                </a:cubicBezTo>
                <a:cubicBezTo>
                  <a:pt x="193" y="161"/>
                  <a:pt x="193" y="161"/>
                  <a:pt x="193" y="162"/>
                </a:cubicBezTo>
                <a:cubicBezTo>
                  <a:pt x="192" y="162"/>
                  <a:pt x="192" y="162"/>
                  <a:pt x="192" y="163"/>
                </a:cubicBezTo>
                <a:cubicBezTo>
                  <a:pt x="192" y="163"/>
                  <a:pt x="192" y="164"/>
                  <a:pt x="192" y="164"/>
                </a:cubicBezTo>
                <a:cubicBezTo>
                  <a:pt x="192" y="165"/>
                  <a:pt x="192" y="166"/>
                  <a:pt x="192" y="166"/>
                </a:cubicBezTo>
                <a:cubicBezTo>
                  <a:pt x="193" y="167"/>
                  <a:pt x="193" y="167"/>
                  <a:pt x="193" y="168"/>
                </a:cubicBezTo>
                <a:cubicBezTo>
                  <a:pt x="193" y="168"/>
                  <a:pt x="192" y="168"/>
                  <a:pt x="192" y="169"/>
                </a:cubicBezTo>
                <a:cubicBezTo>
                  <a:pt x="192" y="169"/>
                  <a:pt x="192" y="170"/>
                  <a:pt x="192" y="170"/>
                </a:cubicBezTo>
                <a:cubicBezTo>
                  <a:pt x="192" y="171"/>
                  <a:pt x="192" y="172"/>
                  <a:pt x="191" y="172"/>
                </a:cubicBezTo>
                <a:cubicBezTo>
                  <a:pt x="190" y="172"/>
                  <a:pt x="190" y="171"/>
                  <a:pt x="190" y="170"/>
                </a:cubicBezTo>
                <a:cubicBezTo>
                  <a:pt x="190" y="170"/>
                  <a:pt x="188" y="170"/>
                  <a:pt x="189" y="171"/>
                </a:cubicBezTo>
                <a:cubicBezTo>
                  <a:pt x="189" y="171"/>
                  <a:pt x="189" y="172"/>
                  <a:pt x="189" y="172"/>
                </a:cubicBezTo>
                <a:cubicBezTo>
                  <a:pt x="190" y="172"/>
                  <a:pt x="190" y="173"/>
                  <a:pt x="190" y="173"/>
                </a:cubicBezTo>
                <a:cubicBezTo>
                  <a:pt x="190" y="173"/>
                  <a:pt x="191" y="174"/>
                  <a:pt x="191" y="174"/>
                </a:cubicBezTo>
                <a:cubicBezTo>
                  <a:pt x="190" y="175"/>
                  <a:pt x="190" y="175"/>
                  <a:pt x="190" y="176"/>
                </a:cubicBezTo>
                <a:cubicBezTo>
                  <a:pt x="191" y="176"/>
                  <a:pt x="191" y="176"/>
                  <a:pt x="191" y="176"/>
                </a:cubicBezTo>
                <a:cubicBezTo>
                  <a:pt x="191" y="177"/>
                  <a:pt x="191" y="178"/>
                  <a:pt x="192" y="178"/>
                </a:cubicBezTo>
                <a:cubicBezTo>
                  <a:pt x="192" y="178"/>
                  <a:pt x="193" y="178"/>
                  <a:pt x="193" y="177"/>
                </a:cubicBezTo>
                <a:cubicBezTo>
                  <a:pt x="192" y="177"/>
                  <a:pt x="192" y="177"/>
                  <a:pt x="192" y="177"/>
                </a:cubicBezTo>
                <a:cubicBezTo>
                  <a:pt x="192" y="176"/>
                  <a:pt x="192" y="176"/>
                  <a:pt x="193" y="176"/>
                </a:cubicBezTo>
                <a:cubicBezTo>
                  <a:pt x="193" y="176"/>
                  <a:pt x="194" y="176"/>
                  <a:pt x="194" y="176"/>
                </a:cubicBezTo>
                <a:cubicBezTo>
                  <a:pt x="195" y="177"/>
                  <a:pt x="196" y="176"/>
                  <a:pt x="195" y="177"/>
                </a:cubicBezTo>
                <a:cubicBezTo>
                  <a:pt x="195" y="178"/>
                  <a:pt x="194" y="178"/>
                  <a:pt x="195" y="179"/>
                </a:cubicBezTo>
                <a:cubicBezTo>
                  <a:pt x="195" y="179"/>
                  <a:pt x="195" y="179"/>
                  <a:pt x="196" y="179"/>
                </a:cubicBezTo>
                <a:cubicBezTo>
                  <a:pt x="196" y="179"/>
                  <a:pt x="196" y="180"/>
                  <a:pt x="196" y="180"/>
                </a:cubicBezTo>
                <a:cubicBezTo>
                  <a:pt x="197" y="181"/>
                  <a:pt x="198" y="181"/>
                  <a:pt x="198" y="181"/>
                </a:cubicBezTo>
                <a:cubicBezTo>
                  <a:pt x="198" y="182"/>
                  <a:pt x="199" y="182"/>
                  <a:pt x="199" y="181"/>
                </a:cubicBezTo>
                <a:cubicBezTo>
                  <a:pt x="199" y="181"/>
                  <a:pt x="198" y="181"/>
                  <a:pt x="198" y="181"/>
                </a:cubicBezTo>
                <a:cubicBezTo>
                  <a:pt x="198" y="180"/>
                  <a:pt x="198" y="180"/>
                  <a:pt x="199" y="180"/>
                </a:cubicBezTo>
                <a:cubicBezTo>
                  <a:pt x="200" y="180"/>
                  <a:pt x="200" y="181"/>
                  <a:pt x="200" y="181"/>
                </a:cubicBezTo>
                <a:cubicBezTo>
                  <a:pt x="200" y="182"/>
                  <a:pt x="200" y="182"/>
                  <a:pt x="200" y="183"/>
                </a:cubicBezTo>
                <a:cubicBezTo>
                  <a:pt x="200" y="183"/>
                  <a:pt x="200" y="184"/>
                  <a:pt x="200" y="184"/>
                </a:cubicBezTo>
                <a:cubicBezTo>
                  <a:pt x="201" y="186"/>
                  <a:pt x="200" y="187"/>
                  <a:pt x="201" y="189"/>
                </a:cubicBezTo>
                <a:cubicBezTo>
                  <a:pt x="201" y="190"/>
                  <a:pt x="201" y="191"/>
                  <a:pt x="201" y="193"/>
                </a:cubicBezTo>
                <a:cubicBezTo>
                  <a:pt x="201" y="193"/>
                  <a:pt x="202" y="193"/>
                  <a:pt x="202" y="194"/>
                </a:cubicBezTo>
                <a:cubicBezTo>
                  <a:pt x="202" y="195"/>
                  <a:pt x="202" y="195"/>
                  <a:pt x="202" y="196"/>
                </a:cubicBezTo>
                <a:cubicBezTo>
                  <a:pt x="203" y="196"/>
                  <a:pt x="203" y="196"/>
                  <a:pt x="203" y="197"/>
                </a:cubicBezTo>
                <a:cubicBezTo>
                  <a:pt x="204" y="198"/>
                  <a:pt x="204" y="198"/>
                  <a:pt x="204" y="199"/>
                </a:cubicBezTo>
                <a:cubicBezTo>
                  <a:pt x="205" y="199"/>
                  <a:pt x="205" y="201"/>
                  <a:pt x="206" y="201"/>
                </a:cubicBezTo>
                <a:cubicBezTo>
                  <a:pt x="207" y="201"/>
                  <a:pt x="207" y="199"/>
                  <a:pt x="208" y="200"/>
                </a:cubicBezTo>
                <a:cubicBezTo>
                  <a:pt x="208" y="200"/>
                  <a:pt x="208" y="200"/>
                  <a:pt x="209" y="200"/>
                </a:cubicBezTo>
                <a:cubicBezTo>
                  <a:pt x="209" y="201"/>
                  <a:pt x="210" y="201"/>
                  <a:pt x="210" y="201"/>
                </a:cubicBezTo>
                <a:cubicBezTo>
                  <a:pt x="211" y="202"/>
                  <a:pt x="211" y="203"/>
                  <a:pt x="212" y="204"/>
                </a:cubicBezTo>
                <a:cubicBezTo>
                  <a:pt x="212" y="204"/>
                  <a:pt x="213" y="204"/>
                  <a:pt x="213" y="204"/>
                </a:cubicBezTo>
                <a:cubicBezTo>
                  <a:pt x="213" y="204"/>
                  <a:pt x="213" y="204"/>
                  <a:pt x="214" y="204"/>
                </a:cubicBezTo>
                <a:cubicBezTo>
                  <a:pt x="214" y="203"/>
                  <a:pt x="215" y="202"/>
                  <a:pt x="215" y="202"/>
                </a:cubicBezTo>
                <a:cubicBezTo>
                  <a:pt x="216" y="202"/>
                  <a:pt x="216" y="203"/>
                  <a:pt x="217" y="204"/>
                </a:cubicBezTo>
                <a:cubicBezTo>
                  <a:pt x="217" y="205"/>
                  <a:pt x="217" y="206"/>
                  <a:pt x="217" y="207"/>
                </a:cubicBezTo>
                <a:cubicBezTo>
                  <a:pt x="217" y="207"/>
                  <a:pt x="217" y="208"/>
                  <a:pt x="217" y="208"/>
                </a:cubicBezTo>
                <a:cubicBezTo>
                  <a:pt x="217" y="209"/>
                  <a:pt x="218" y="209"/>
                  <a:pt x="219" y="210"/>
                </a:cubicBezTo>
                <a:cubicBezTo>
                  <a:pt x="220" y="211"/>
                  <a:pt x="221" y="212"/>
                  <a:pt x="221" y="213"/>
                </a:cubicBezTo>
                <a:cubicBezTo>
                  <a:pt x="221" y="214"/>
                  <a:pt x="221" y="214"/>
                  <a:pt x="221" y="215"/>
                </a:cubicBezTo>
                <a:cubicBezTo>
                  <a:pt x="221" y="216"/>
                  <a:pt x="222" y="216"/>
                  <a:pt x="222" y="217"/>
                </a:cubicBezTo>
                <a:cubicBezTo>
                  <a:pt x="223" y="218"/>
                  <a:pt x="224" y="219"/>
                  <a:pt x="225" y="219"/>
                </a:cubicBezTo>
                <a:cubicBezTo>
                  <a:pt x="225" y="219"/>
                  <a:pt x="227" y="219"/>
                  <a:pt x="228" y="219"/>
                </a:cubicBezTo>
                <a:cubicBezTo>
                  <a:pt x="228" y="219"/>
                  <a:pt x="228" y="218"/>
                  <a:pt x="229" y="218"/>
                </a:cubicBezTo>
                <a:cubicBezTo>
                  <a:pt x="229" y="218"/>
                  <a:pt x="230" y="218"/>
                  <a:pt x="230" y="218"/>
                </a:cubicBezTo>
                <a:cubicBezTo>
                  <a:pt x="231" y="218"/>
                  <a:pt x="231" y="219"/>
                  <a:pt x="231" y="219"/>
                </a:cubicBezTo>
                <a:cubicBezTo>
                  <a:pt x="230" y="220"/>
                  <a:pt x="229" y="220"/>
                  <a:pt x="229" y="220"/>
                </a:cubicBezTo>
                <a:cubicBezTo>
                  <a:pt x="228" y="220"/>
                  <a:pt x="226" y="220"/>
                  <a:pt x="225" y="220"/>
                </a:cubicBezTo>
                <a:cubicBezTo>
                  <a:pt x="225" y="220"/>
                  <a:pt x="224" y="220"/>
                  <a:pt x="224" y="220"/>
                </a:cubicBezTo>
                <a:cubicBezTo>
                  <a:pt x="224" y="221"/>
                  <a:pt x="224" y="222"/>
                  <a:pt x="224" y="222"/>
                </a:cubicBezTo>
                <a:cubicBezTo>
                  <a:pt x="224" y="223"/>
                  <a:pt x="224" y="223"/>
                  <a:pt x="223" y="224"/>
                </a:cubicBezTo>
                <a:cubicBezTo>
                  <a:pt x="223" y="224"/>
                  <a:pt x="223" y="225"/>
                  <a:pt x="223" y="225"/>
                </a:cubicBezTo>
                <a:cubicBezTo>
                  <a:pt x="223" y="226"/>
                  <a:pt x="223" y="226"/>
                  <a:pt x="223" y="227"/>
                </a:cubicBezTo>
                <a:cubicBezTo>
                  <a:pt x="224" y="227"/>
                  <a:pt x="224" y="227"/>
                  <a:pt x="224" y="228"/>
                </a:cubicBezTo>
                <a:cubicBezTo>
                  <a:pt x="224" y="228"/>
                  <a:pt x="225" y="229"/>
                  <a:pt x="225" y="230"/>
                </a:cubicBezTo>
                <a:cubicBezTo>
                  <a:pt x="226" y="230"/>
                  <a:pt x="227" y="230"/>
                  <a:pt x="228" y="230"/>
                </a:cubicBezTo>
                <a:cubicBezTo>
                  <a:pt x="229" y="230"/>
                  <a:pt x="231" y="230"/>
                  <a:pt x="232" y="230"/>
                </a:cubicBezTo>
                <a:cubicBezTo>
                  <a:pt x="232" y="230"/>
                  <a:pt x="233" y="230"/>
                  <a:pt x="233" y="229"/>
                </a:cubicBezTo>
                <a:cubicBezTo>
                  <a:pt x="233" y="229"/>
                  <a:pt x="233" y="229"/>
                  <a:pt x="234" y="229"/>
                </a:cubicBezTo>
                <a:cubicBezTo>
                  <a:pt x="235" y="229"/>
                  <a:pt x="236" y="229"/>
                  <a:pt x="237" y="229"/>
                </a:cubicBezTo>
                <a:cubicBezTo>
                  <a:pt x="238" y="229"/>
                  <a:pt x="239" y="229"/>
                  <a:pt x="240" y="229"/>
                </a:cubicBezTo>
                <a:cubicBezTo>
                  <a:pt x="240" y="229"/>
                  <a:pt x="241" y="229"/>
                  <a:pt x="242" y="228"/>
                </a:cubicBezTo>
                <a:cubicBezTo>
                  <a:pt x="242" y="228"/>
                  <a:pt x="243" y="228"/>
                  <a:pt x="243" y="228"/>
                </a:cubicBezTo>
                <a:cubicBezTo>
                  <a:pt x="244" y="227"/>
                  <a:pt x="245" y="226"/>
                  <a:pt x="246" y="227"/>
                </a:cubicBezTo>
                <a:cubicBezTo>
                  <a:pt x="247" y="227"/>
                  <a:pt x="247" y="227"/>
                  <a:pt x="247" y="227"/>
                </a:cubicBezTo>
                <a:cubicBezTo>
                  <a:pt x="248" y="227"/>
                  <a:pt x="248" y="226"/>
                  <a:pt x="248" y="226"/>
                </a:cubicBezTo>
                <a:cubicBezTo>
                  <a:pt x="249" y="225"/>
                  <a:pt x="250" y="224"/>
                  <a:pt x="251" y="224"/>
                </a:cubicBezTo>
                <a:cubicBezTo>
                  <a:pt x="251" y="223"/>
                  <a:pt x="252" y="223"/>
                  <a:pt x="252" y="222"/>
                </a:cubicBezTo>
                <a:cubicBezTo>
                  <a:pt x="253" y="221"/>
                  <a:pt x="253" y="221"/>
                  <a:pt x="252" y="220"/>
                </a:cubicBezTo>
                <a:cubicBezTo>
                  <a:pt x="252" y="219"/>
                  <a:pt x="252" y="219"/>
                  <a:pt x="252" y="218"/>
                </a:cubicBezTo>
                <a:cubicBezTo>
                  <a:pt x="252" y="218"/>
                  <a:pt x="252" y="217"/>
                  <a:pt x="253" y="217"/>
                </a:cubicBezTo>
                <a:cubicBezTo>
                  <a:pt x="253" y="216"/>
                  <a:pt x="253" y="216"/>
                  <a:pt x="253" y="215"/>
                </a:cubicBezTo>
                <a:cubicBezTo>
                  <a:pt x="253" y="215"/>
                  <a:pt x="253" y="214"/>
                  <a:pt x="253" y="214"/>
                </a:cubicBezTo>
                <a:cubicBezTo>
                  <a:pt x="253" y="214"/>
                  <a:pt x="253" y="214"/>
                  <a:pt x="253" y="213"/>
                </a:cubicBezTo>
                <a:cubicBezTo>
                  <a:pt x="253" y="213"/>
                  <a:pt x="253" y="212"/>
                  <a:pt x="253" y="212"/>
                </a:cubicBezTo>
                <a:cubicBezTo>
                  <a:pt x="253" y="212"/>
                  <a:pt x="254" y="211"/>
                  <a:pt x="254" y="211"/>
                </a:cubicBezTo>
                <a:cubicBezTo>
                  <a:pt x="254" y="211"/>
                  <a:pt x="255" y="211"/>
                  <a:pt x="255" y="210"/>
                </a:cubicBezTo>
                <a:cubicBezTo>
                  <a:pt x="255" y="210"/>
                  <a:pt x="255" y="209"/>
                  <a:pt x="255" y="209"/>
                </a:cubicBezTo>
                <a:cubicBezTo>
                  <a:pt x="256" y="209"/>
                  <a:pt x="256" y="208"/>
                  <a:pt x="256" y="208"/>
                </a:cubicBezTo>
                <a:cubicBezTo>
                  <a:pt x="257" y="207"/>
                  <a:pt x="257" y="207"/>
                  <a:pt x="257" y="206"/>
                </a:cubicBezTo>
                <a:cubicBezTo>
                  <a:pt x="258" y="206"/>
                  <a:pt x="258" y="206"/>
                  <a:pt x="258" y="205"/>
                </a:cubicBezTo>
                <a:cubicBezTo>
                  <a:pt x="258" y="205"/>
                  <a:pt x="259" y="205"/>
                  <a:pt x="259" y="204"/>
                </a:cubicBezTo>
                <a:cubicBezTo>
                  <a:pt x="259" y="204"/>
                  <a:pt x="260" y="203"/>
                  <a:pt x="259" y="202"/>
                </a:cubicBezTo>
                <a:cubicBezTo>
                  <a:pt x="259" y="202"/>
                  <a:pt x="258" y="202"/>
                  <a:pt x="258" y="201"/>
                </a:cubicBezTo>
                <a:cubicBezTo>
                  <a:pt x="258" y="201"/>
                  <a:pt x="259" y="201"/>
                  <a:pt x="259" y="201"/>
                </a:cubicBezTo>
                <a:cubicBezTo>
                  <a:pt x="259" y="200"/>
                  <a:pt x="259" y="200"/>
                  <a:pt x="259" y="200"/>
                </a:cubicBezTo>
                <a:cubicBezTo>
                  <a:pt x="259" y="199"/>
                  <a:pt x="259" y="198"/>
                  <a:pt x="259" y="198"/>
                </a:cubicBezTo>
                <a:cubicBezTo>
                  <a:pt x="259" y="197"/>
                  <a:pt x="259" y="195"/>
                  <a:pt x="260" y="195"/>
                </a:cubicBezTo>
                <a:cubicBezTo>
                  <a:pt x="260" y="193"/>
                  <a:pt x="260" y="192"/>
                  <a:pt x="260" y="191"/>
                </a:cubicBezTo>
                <a:cubicBezTo>
                  <a:pt x="260" y="190"/>
                  <a:pt x="260" y="190"/>
                  <a:pt x="260" y="189"/>
                </a:cubicBezTo>
                <a:cubicBezTo>
                  <a:pt x="261" y="188"/>
                  <a:pt x="261" y="188"/>
                  <a:pt x="261" y="188"/>
                </a:cubicBezTo>
                <a:cubicBezTo>
                  <a:pt x="261" y="187"/>
                  <a:pt x="261" y="187"/>
                  <a:pt x="261" y="186"/>
                </a:cubicBezTo>
                <a:cubicBezTo>
                  <a:pt x="261" y="186"/>
                  <a:pt x="261" y="185"/>
                  <a:pt x="261" y="184"/>
                </a:cubicBezTo>
                <a:cubicBezTo>
                  <a:pt x="261" y="183"/>
                  <a:pt x="261" y="182"/>
                  <a:pt x="261" y="182"/>
                </a:cubicBezTo>
                <a:cubicBezTo>
                  <a:pt x="262" y="181"/>
                  <a:pt x="262" y="180"/>
                  <a:pt x="262" y="179"/>
                </a:cubicBezTo>
                <a:cubicBezTo>
                  <a:pt x="262" y="178"/>
                  <a:pt x="262" y="177"/>
                  <a:pt x="262" y="177"/>
                </a:cubicBezTo>
                <a:cubicBezTo>
                  <a:pt x="262" y="176"/>
                  <a:pt x="263" y="176"/>
                  <a:pt x="263" y="175"/>
                </a:cubicBezTo>
                <a:cubicBezTo>
                  <a:pt x="263" y="175"/>
                  <a:pt x="263" y="174"/>
                  <a:pt x="263" y="173"/>
                </a:cubicBezTo>
                <a:cubicBezTo>
                  <a:pt x="263" y="172"/>
                  <a:pt x="263" y="171"/>
                  <a:pt x="263" y="170"/>
                </a:cubicBezTo>
                <a:cubicBezTo>
                  <a:pt x="263" y="169"/>
                  <a:pt x="262" y="168"/>
                  <a:pt x="262" y="168"/>
                </a:cubicBezTo>
                <a:cubicBezTo>
                  <a:pt x="262" y="167"/>
                  <a:pt x="262" y="166"/>
                  <a:pt x="262" y="165"/>
                </a:cubicBezTo>
                <a:cubicBezTo>
                  <a:pt x="262" y="164"/>
                  <a:pt x="262" y="163"/>
                  <a:pt x="262" y="162"/>
                </a:cubicBezTo>
                <a:cubicBezTo>
                  <a:pt x="262" y="162"/>
                  <a:pt x="262" y="162"/>
                  <a:pt x="262" y="161"/>
                </a:cubicBezTo>
                <a:cubicBezTo>
                  <a:pt x="262" y="161"/>
                  <a:pt x="261" y="161"/>
                  <a:pt x="261" y="160"/>
                </a:cubicBezTo>
                <a:cubicBezTo>
                  <a:pt x="261" y="160"/>
                  <a:pt x="261" y="159"/>
                  <a:pt x="261" y="159"/>
                </a:cubicBezTo>
                <a:cubicBezTo>
                  <a:pt x="261" y="158"/>
                  <a:pt x="260" y="158"/>
                  <a:pt x="260" y="158"/>
                </a:cubicBezTo>
                <a:cubicBezTo>
                  <a:pt x="260" y="157"/>
                  <a:pt x="260" y="157"/>
                  <a:pt x="260" y="157"/>
                </a:cubicBezTo>
                <a:cubicBezTo>
                  <a:pt x="260" y="156"/>
                  <a:pt x="259" y="156"/>
                  <a:pt x="259" y="156"/>
                </a:cubicBezTo>
                <a:cubicBezTo>
                  <a:pt x="259" y="155"/>
                  <a:pt x="259" y="155"/>
                  <a:pt x="259" y="155"/>
                </a:cubicBezTo>
                <a:cubicBezTo>
                  <a:pt x="259" y="154"/>
                  <a:pt x="258" y="154"/>
                  <a:pt x="258" y="154"/>
                </a:cubicBezTo>
                <a:cubicBezTo>
                  <a:pt x="258" y="153"/>
                  <a:pt x="258" y="153"/>
                  <a:pt x="258" y="153"/>
                </a:cubicBezTo>
                <a:cubicBezTo>
                  <a:pt x="258" y="152"/>
                  <a:pt x="257" y="152"/>
                  <a:pt x="257" y="151"/>
                </a:cubicBezTo>
                <a:cubicBezTo>
                  <a:pt x="256" y="151"/>
                  <a:pt x="256" y="151"/>
                  <a:pt x="256" y="151"/>
                </a:cubicBezTo>
                <a:cubicBezTo>
                  <a:pt x="256" y="151"/>
                  <a:pt x="255" y="151"/>
                  <a:pt x="255" y="151"/>
                </a:cubicBezTo>
                <a:cubicBezTo>
                  <a:pt x="255" y="152"/>
                  <a:pt x="254" y="151"/>
                  <a:pt x="254" y="150"/>
                </a:cubicBezTo>
                <a:cubicBezTo>
                  <a:pt x="254" y="150"/>
                  <a:pt x="254" y="150"/>
                  <a:pt x="253" y="150"/>
                </a:cubicBezTo>
                <a:cubicBezTo>
                  <a:pt x="253" y="150"/>
                  <a:pt x="253" y="150"/>
                  <a:pt x="253" y="149"/>
                </a:cubicBezTo>
                <a:cubicBezTo>
                  <a:pt x="253" y="149"/>
                  <a:pt x="253" y="149"/>
                  <a:pt x="253" y="149"/>
                </a:cubicBezTo>
                <a:cubicBezTo>
                  <a:pt x="254" y="149"/>
                  <a:pt x="254" y="149"/>
                  <a:pt x="254" y="150"/>
                </a:cubicBezTo>
                <a:cubicBezTo>
                  <a:pt x="254" y="150"/>
                  <a:pt x="255" y="150"/>
                  <a:pt x="256" y="150"/>
                </a:cubicBezTo>
                <a:cubicBezTo>
                  <a:pt x="256" y="149"/>
                  <a:pt x="256" y="149"/>
                  <a:pt x="256" y="149"/>
                </a:cubicBezTo>
                <a:cubicBezTo>
                  <a:pt x="255" y="148"/>
                  <a:pt x="255" y="148"/>
                  <a:pt x="255" y="147"/>
                </a:cubicBezTo>
                <a:cubicBezTo>
                  <a:pt x="255" y="147"/>
                  <a:pt x="255" y="147"/>
                  <a:pt x="255" y="147"/>
                </a:cubicBezTo>
                <a:cubicBezTo>
                  <a:pt x="255" y="146"/>
                  <a:pt x="255" y="146"/>
                  <a:pt x="255" y="146"/>
                </a:cubicBezTo>
                <a:cubicBezTo>
                  <a:pt x="254" y="145"/>
                  <a:pt x="254" y="145"/>
                  <a:pt x="254" y="144"/>
                </a:cubicBezTo>
                <a:cubicBezTo>
                  <a:pt x="254" y="144"/>
                  <a:pt x="254" y="143"/>
                  <a:pt x="254" y="143"/>
                </a:cubicBezTo>
                <a:cubicBezTo>
                  <a:pt x="253" y="142"/>
                  <a:pt x="253" y="142"/>
                  <a:pt x="253" y="142"/>
                </a:cubicBezTo>
                <a:cubicBezTo>
                  <a:pt x="253" y="141"/>
                  <a:pt x="253" y="141"/>
                  <a:pt x="253" y="140"/>
                </a:cubicBezTo>
                <a:cubicBezTo>
                  <a:pt x="253" y="140"/>
                  <a:pt x="254" y="140"/>
                  <a:pt x="254" y="139"/>
                </a:cubicBezTo>
                <a:cubicBezTo>
                  <a:pt x="254" y="139"/>
                  <a:pt x="253" y="139"/>
                  <a:pt x="253" y="139"/>
                </a:cubicBezTo>
                <a:cubicBezTo>
                  <a:pt x="252" y="139"/>
                  <a:pt x="253" y="139"/>
                  <a:pt x="252" y="140"/>
                </a:cubicBezTo>
                <a:cubicBezTo>
                  <a:pt x="252" y="139"/>
                  <a:pt x="252" y="139"/>
                  <a:pt x="252" y="139"/>
                </a:cubicBezTo>
                <a:cubicBezTo>
                  <a:pt x="252" y="138"/>
                  <a:pt x="252" y="138"/>
                  <a:pt x="252" y="137"/>
                </a:cubicBezTo>
                <a:cubicBezTo>
                  <a:pt x="252" y="137"/>
                  <a:pt x="253" y="137"/>
                  <a:pt x="253" y="137"/>
                </a:cubicBezTo>
                <a:cubicBezTo>
                  <a:pt x="252" y="136"/>
                  <a:pt x="252" y="136"/>
                  <a:pt x="252" y="136"/>
                </a:cubicBezTo>
                <a:cubicBezTo>
                  <a:pt x="252" y="136"/>
                  <a:pt x="252" y="135"/>
                  <a:pt x="252" y="135"/>
                </a:cubicBezTo>
                <a:cubicBezTo>
                  <a:pt x="252" y="134"/>
                  <a:pt x="252" y="134"/>
                  <a:pt x="251" y="133"/>
                </a:cubicBezTo>
                <a:cubicBezTo>
                  <a:pt x="251" y="133"/>
                  <a:pt x="251" y="132"/>
                  <a:pt x="251" y="132"/>
                </a:cubicBezTo>
                <a:cubicBezTo>
                  <a:pt x="251" y="132"/>
                  <a:pt x="250" y="132"/>
                  <a:pt x="250" y="131"/>
                </a:cubicBezTo>
                <a:cubicBezTo>
                  <a:pt x="250" y="131"/>
                  <a:pt x="250" y="131"/>
                  <a:pt x="250" y="131"/>
                </a:cubicBezTo>
                <a:cubicBezTo>
                  <a:pt x="249" y="130"/>
                  <a:pt x="249" y="130"/>
                  <a:pt x="249" y="129"/>
                </a:cubicBezTo>
                <a:cubicBezTo>
                  <a:pt x="249" y="129"/>
                  <a:pt x="248" y="128"/>
                  <a:pt x="248" y="127"/>
                </a:cubicBezTo>
                <a:cubicBezTo>
                  <a:pt x="248" y="127"/>
                  <a:pt x="247" y="126"/>
                  <a:pt x="247" y="125"/>
                </a:cubicBezTo>
                <a:cubicBezTo>
                  <a:pt x="247" y="125"/>
                  <a:pt x="247" y="125"/>
                  <a:pt x="246" y="124"/>
                </a:cubicBezTo>
                <a:cubicBezTo>
                  <a:pt x="246" y="124"/>
                  <a:pt x="246" y="124"/>
                  <a:pt x="246" y="123"/>
                </a:cubicBezTo>
                <a:cubicBezTo>
                  <a:pt x="246" y="123"/>
                  <a:pt x="246" y="123"/>
                  <a:pt x="246" y="122"/>
                </a:cubicBezTo>
                <a:cubicBezTo>
                  <a:pt x="246" y="122"/>
                  <a:pt x="245" y="122"/>
                  <a:pt x="245" y="121"/>
                </a:cubicBezTo>
                <a:cubicBezTo>
                  <a:pt x="245" y="121"/>
                  <a:pt x="245" y="121"/>
                  <a:pt x="245" y="121"/>
                </a:cubicBezTo>
                <a:cubicBezTo>
                  <a:pt x="245" y="120"/>
                  <a:pt x="245" y="120"/>
                  <a:pt x="245" y="120"/>
                </a:cubicBezTo>
                <a:cubicBezTo>
                  <a:pt x="245" y="119"/>
                  <a:pt x="244" y="119"/>
                  <a:pt x="244" y="118"/>
                </a:cubicBezTo>
                <a:cubicBezTo>
                  <a:pt x="244" y="118"/>
                  <a:pt x="244" y="118"/>
                  <a:pt x="244" y="117"/>
                </a:cubicBezTo>
                <a:cubicBezTo>
                  <a:pt x="243" y="117"/>
                  <a:pt x="243" y="116"/>
                  <a:pt x="243" y="116"/>
                </a:cubicBezTo>
                <a:cubicBezTo>
                  <a:pt x="243" y="115"/>
                  <a:pt x="243" y="115"/>
                  <a:pt x="242" y="114"/>
                </a:cubicBezTo>
                <a:cubicBezTo>
                  <a:pt x="242" y="114"/>
                  <a:pt x="242" y="114"/>
                  <a:pt x="242" y="113"/>
                </a:cubicBezTo>
                <a:cubicBezTo>
                  <a:pt x="242" y="113"/>
                  <a:pt x="242" y="113"/>
                  <a:pt x="242" y="112"/>
                </a:cubicBezTo>
                <a:cubicBezTo>
                  <a:pt x="241" y="112"/>
                  <a:pt x="241" y="111"/>
                  <a:pt x="241" y="110"/>
                </a:cubicBezTo>
                <a:cubicBezTo>
                  <a:pt x="240" y="110"/>
                  <a:pt x="240" y="109"/>
                  <a:pt x="240" y="109"/>
                </a:cubicBezTo>
                <a:cubicBezTo>
                  <a:pt x="240" y="108"/>
                  <a:pt x="240" y="108"/>
                  <a:pt x="239" y="107"/>
                </a:cubicBezTo>
                <a:cubicBezTo>
                  <a:pt x="239" y="107"/>
                  <a:pt x="239" y="106"/>
                  <a:pt x="239" y="106"/>
                </a:cubicBezTo>
                <a:cubicBezTo>
                  <a:pt x="239" y="106"/>
                  <a:pt x="240" y="106"/>
                  <a:pt x="240" y="106"/>
                </a:cubicBezTo>
                <a:cubicBezTo>
                  <a:pt x="240" y="107"/>
                  <a:pt x="240" y="107"/>
                  <a:pt x="240" y="107"/>
                </a:cubicBezTo>
                <a:cubicBezTo>
                  <a:pt x="240" y="107"/>
                  <a:pt x="241" y="107"/>
                  <a:pt x="241" y="107"/>
                </a:cubicBezTo>
                <a:cubicBezTo>
                  <a:pt x="241" y="106"/>
                  <a:pt x="241" y="106"/>
                  <a:pt x="241" y="105"/>
                </a:cubicBezTo>
                <a:cubicBezTo>
                  <a:pt x="241" y="104"/>
                  <a:pt x="241" y="104"/>
                  <a:pt x="241" y="103"/>
                </a:cubicBezTo>
                <a:cubicBezTo>
                  <a:pt x="241" y="103"/>
                  <a:pt x="241" y="102"/>
                  <a:pt x="241" y="102"/>
                </a:cubicBezTo>
                <a:cubicBezTo>
                  <a:pt x="242" y="101"/>
                  <a:pt x="242" y="101"/>
                  <a:pt x="242" y="101"/>
                </a:cubicBezTo>
                <a:cubicBezTo>
                  <a:pt x="242" y="101"/>
                  <a:pt x="242" y="100"/>
                  <a:pt x="242" y="100"/>
                </a:cubicBezTo>
                <a:cubicBezTo>
                  <a:pt x="242" y="100"/>
                  <a:pt x="242" y="99"/>
                  <a:pt x="243" y="99"/>
                </a:cubicBezTo>
                <a:cubicBezTo>
                  <a:pt x="243" y="100"/>
                  <a:pt x="243" y="100"/>
                  <a:pt x="243" y="101"/>
                </a:cubicBezTo>
                <a:cubicBezTo>
                  <a:pt x="243" y="101"/>
                  <a:pt x="243" y="101"/>
                  <a:pt x="243" y="101"/>
                </a:cubicBezTo>
                <a:cubicBezTo>
                  <a:pt x="243" y="101"/>
                  <a:pt x="243" y="102"/>
                  <a:pt x="243" y="102"/>
                </a:cubicBezTo>
                <a:cubicBezTo>
                  <a:pt x="243" y="102"/>
                  <a:pt x="242" y="102"/>
                  <a:pt x="242" y="103"/>
                </a:cubicBezTo>
                <a:cubicBezTo>
                  <a:pt x="242" y="103"/>
                  <a:pt x="242" y="104"/>
                  <a:pt x="243" y="104"/>
                </a:cubicBezTo>
                <a:cubicBezTo>
                  <a:pt x="243" y="104"/>
                  <a:pt x="244" y="103"/>
                  <a:pt x="244" y="103"/>
                </a:cubicBezTo>
                <a:cubicBezTo>
                  <a:pt x="245" y="103"/>
                  <a:pt x="246" y="102"/>
                  <a:pt x="246" y="102"/>
                </a:cubicBezTo>
                <a:cubicBezTo>
                  <a:pt x="246" y="101"/>
                  <a:pt x="245" y="101"/>
                  <a:pt x="245" y="101"/>
                </a:cubicBezTo>
                <a:cubicBezTo>
                  <a:pt x="245" y="101"/>
                  <a:pt x="245" y="100"/>
                  <a:pt x="245" y="100"/>
                </a:cubicBezTo>
                <a:cubicBezTo>
                  <a:pt x="245" y="99"/>
                  <a:pt x="244" y="99"/>
                  <a:pt x="244" y="98"/>
                </a:cubicBezTo>
                <a:cubicBezTo>
                  <a:pt x="244" y="98"/>
                  <a:pt x="244" y="97"/>
                  <a:pt x="244" y="97"/>
                </a:cubicBezTo>
                <a:cubicBezTo>
                  <a:pt x="244" y="97"/>
                  <a:pt x="244" y="96"/>
                  <a:pt x="244" y="96"/>
                </a:cubicBezTo>
                <a:cubicBezTo>
                  <a:pt x="243" y="96"/>
                  <a:pt x="243" y="96"/>
                  <a:pt x="243" y="95"/>
                </a:cubicBezTo>
                <a:cubicBezTo>
                  <a:pt x="243" y="95"/>
                  <a:pt x="242" y="94"/>
                  <a:pt x="241" y="94"/>
                </a:cubicBezTo>
                <a:cubicBezTo>
                  <a:pt x="241" y="93"/>
                  <a:pt x="240" y="93"/>
                  <a:pt x="240" y="93"/>
                </a:cubicBezTo>
                <a:cubicBezTo>
                  <a:pt x="239" y="92"/>
                  <a:pt x="239" y="92"/>
                  <a:pt x="238" y="91"/>
                </a:cubicBezTo>
                <a:cubicBezTo>
                  <a:pt x="237" y="90"/>
                  <a:pt x="236" y="89"/>
                  <a:pt x="236" y="88"/>
                </a:cubicBezTo>
                <a:cubicBezTo>
                  <a:pt x="235" y="86"/>
                  <a:pt x="235" y="85"/>
                  <a:pt x="235" y="84"/>
                </a:cubicBezTo>
                <a:cubicBezTo>
                  <a:pt x="235" y="83"/>
                  <a:pt x="235" y="83"/>
                  <a:pt x="235" y="82"/>
                </a:cubicBezTo>
                <a:cubicBezTo>
                  <a:pt x="234" y="82"/>
                  <a:pt x="234" y="81"/>
                  <a:pt x="234" y="81"/>
                </a:cubicBezTo>
                <a:cubicBezTo>
                  <a:pt x="234" y="80"/>
                  <a:pt x="233" y="80"/>
                  <a:pt x="233" y="79"/>
                </a:cubicBezTo>
                <a:cubicBezTo>
                  <a:pt x="233" y="79"/>
                  <a:pt x="233" y="79"/>
                  <a:pt x="233" y="79"/>
                </a:cubicBezTo>
                <a:cubicBezTo>
                  <a:pt x="233" y="79"/>
                  <a:pt x="233" y="78"/>
                  <a:pt x="233" y="78"/>
                </a:cubicBezTo>
                <a:cubicBezTo>
                  <a:pt x="232" y="78"/>
                  <a:pt x="232" y="78"/>
                  <a:pt x="232" y="78"/>
                </a:cubicBezTo>
                <a:cubicBezTo>
                  <a:pt x="232" y="77"/>
                  <a:pt x="232" y="77"/>
                  <a:pt x="232" y="77"/>
                </a:cubicBezTo>
                <a:cubicBezTo>
                  <a:pt x="232" y="76"/>
                  <a:pt x="231" y="76"/>
                  <a:pt x="231" y="76"/>
                </a:cubicBezTo>
                <a:cubicBezTo>
                  <a:pt x="231" y="75"/>
                  <a:pt x="231" y="75"/>
                  <a:pt x="230" y="75"/>
                </a:cubicBezTo>
                <a:cubicBezTo>
                  <a:pt x="230" y="75"/>
                  <a:pt x="230" y="74"/>
                  <a:pt x="230" y="74"/>
                </a:cubicBezTo>
                <a:cubicBezTo>
                  <a:pt x="230" y="74"/>
                  <a:pt x="230" y="73"/>
                  <a:pt x="230" y="73"/>
                </a:cubicBezTo>
                <a:cubicBezTo>
                  <a:pt x="230" y="72"/>
                  <a:pt x="230" y="72"/>
                  <a:pt x="229" y="72"/>
                </a:cubicBezTo>
                <a:cubicBezTo>
                  <a:pt x="229" y="72"/>
                  <a:pt x="229" y="72"/>
                  <a:pt x="229" y="71"/>
                </a:cubicBezTo>
                <a:cubicBezTo>
                  <a:pt x="229" y="71"/>
                  <a:pt x="228" y="71"/>
                  <a:pt x="228" y="71"/>
                </a:cubicBezTo>
                <a:cubicBezTo>
                  <a:pt x="228" y="71"/>
                  <a:pt x="228" y="71"/>
                  <a:pt x="228" y="71"/>
                </a:cubicBezTo>
                <a:cubicBezTo>
                  <a:pt x="227" y="70"/>
                  <a:pt x="228" y="70"/>
                  <a:pt x="229" y="69"/>
                </a:cubicBezTo>
                <a:cubicBezTo>
                  <a:pt x="229" y="69"/>
                  <a:pt x="228" y="69"/>
                  <a:pt x="228" y="69"/>
                </a:cubicBezTo>
                <a:cubicBezTo>
                  <a:pt x="228" y="69"/>
                  <a:pt x="227" y="68"/>
                  <a:pt x="227" y="68"/>
                </a:cubicBezTo>
                <a:cubicBezTo>
                  <a:pt x="227" y="68"/>
                  <a:pt x="228" y="68"/>
                  <a:pt x="228" y="68"/>
                </a:cubicBezTo>
                <a:cubicBezTo>
                  <a:pt x="228" y="68"/>
                  <a:pt x="228" y="67"/>
                  <a:pt x="228" y="67"/>
                </a:cubicBezTo>
                <a:cubicBezTo>
                  <a:pt x="227" y="67"/>
                  <a:pt x="226" y="67"/>
                  <a:pt x="226" y="67"/>
                </a:cubicBezTo>
                <a:cubicBezTo>
                  <a:pt x="227" y="67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6" y="66"/>
                  <a:pt x="226" y="66"/>
                </a:cubicBezTo>
                <a:cubicBezTo>
                  <a:pt x="226" y="65"/>
                  <a:pt x="226" y="65"/>
                  <a:pt x="226" y="65"/>
                </a:cubicBezTo>
                <a:cubicBezTo>
                  <a:pt x="226" y="64"/>
                  <a:pt x="225" y="63"/>
                  <a:pt x="225" y="63"/>
                </a:cubicBezTo>
                <a:cubicBezTo>
                  <a:pt x="224" y="61"/>
                  <a:pt x="224" y="60"/>
                  <a:pt x="223" y="59"/>
                </a:cubicBezTo>
                <a:cubicBezTo>
                  <a:pt x="223" y="58"/>
                  <a:pt x="223" y="57"/>
                  <a:pt x="223" y="57"/>
                </a:cubicBezTo>
                <a:cubicBezTo>
                  <a:pt x="223" y="56"/>
                  <a:pt x="222" y="55"/>
                  <a:pt x="222" y="55"/>
                </a:cubicBezTo>
                <a:cubicBezTo>
                  <a:pt x="222" y="54"/>
                  <a:pt x="222" y="54"/>
                  <a:pt x="222" y="53"/>
                </a:cubicBezTo>
                <a:cubicBezTo>
                  <a:pt x="222" y="53"/>
                  <a:pt x="222" y="53"/>
                  <a:pt x="221" y="52"/>
                </a:cubicBezTo>
                <a:cubicBezTo>
                  <a:pt x="221" y="51"/>
                  <a:pt x="220" y="51"/>
                  <a:pt x="220" y="50"/>
                </a:cubicBezTo>
                <a:cubicBezTo>
                  <a:pt x="220" y="49"/>
                  <a:pt x="219" y="49"/>
                  <a:pt x="219" y="48"/>
                </a:cubicBezTo>
                <a:cubicBezTo>
                  <a:pt x="219" y="48"/>
                  <a:pt x="219" y="47"/>
                  <a:pt x="219" y="47"/>
                </a:cubicBezTo>
                <a:cubicBezTo>
                  <a:pt x="219" y="47"/>
                  <a:pt x="219" y="46"/>
                  <a:pt x="219" y="46"/>
                </a:cubicBezTo>
                <a:cubicBezTo>
                  <a:pt x="219" y="46"/>
                  <a:pt x="219" y="45"/>
                  <a:pt x="219" y="45"/>
                </a:cubicBezTo>
                <a:cubicBezTo>
                  <a:pt x="219" y="44"/>
                  <a:pt x="219" y="44"/>
                  <a:pt x="219" y="43"/>
                </a:cubicBezTo>
                <a:cubicBezTo>
                  <a:pt x="219" y="42"/>
                  <a:pt x="219" y="42"/>
                  <a:pt x="218" y="41"/>
                </a:cubicBezTo>
                <a:cubicBezTo>
                  <a:pt x="218" y="41"/>
                  <a:pt x="218" y="40"/>
                  <a:pt x="218" y="39"/>
                </a:cubicBezTo>
                <a:cubicBezTo>
                  <a:pt x="218" y="39"/>
                  <a:pt x="218" y="38"/>
                  <a:pt x="218" y="38"/>
                </a:cubicBezTo>
                <a:cubicBezTo>
                  <a:pt x="218" y="37"/>
                  <a:pt x="218" y="37"/>
                  <a:pt x="217" y="37"/>
                </a:cubicBezTo>
                <a:cubicBezTo>
                  <a:pt x="217" y="36"/>
                  <a:pt x="217" y="36"/>
                  <a:pt x="217" y="36"/>
                </a:cubicBezTo>
                <a:cubicBezTo>
                  <a:pt x="217" y="36"/>
                  <a:pt x="217" y="36"/>
                  <a:pt x="217" y="35"/>
                </a:cubicBezTo>
                <a:cubicBezTo>
                  <a:pt x="217" y="35"/>
                  <a:pt x="217" y="35"/>
                  <a:pt x="217" y="34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7" y="33"/>
                  <a:pt x="217" y="33"/>
                  <a:pt x="217" y="33"/>
                </a:cubicBezTo>
                <a:cubicBezTo>
                  <a:pt x="217" y="33"/>
                  <a:pt x="216" y="33"/>
                  <a:pt x="216" y="32"/>
                </a:cubicBezTo>
                <a:cubicBezTo>
                  <a:pt x="216" y="32"/>
                  <a:pt x="216" y="31"/>
                  <a:pt x="216" y="30"/>
                </a:cubicBezTo>
                <a:cubicBezTo>
                  <a:pt x="216" y="30"/>
                  <a:pt x="216" y="30"/>
                  <a:pt x="216" y="30"/>
                </a:cubicBezTo>
                <a:cubicBezTo>
                  <a:pt x="216" y="29"/>
                  <a:pt x="216" y="29"/>
                  <a:pt x="216" y="29"/>
                </a:cubicBezTo>
                <a:cubicBezTo>
                  <a:pt x="216" y="29"/>
                  <a:pt x="216" y="28"/>
                  <a:pt x="216" y="28"/>
                </a:cubicBezTo>
                <a:cubicBezTo>
                  <a:pt x="216" y="27"/>
                  <a:pt x="216" y="27"/>
                  <a:pt x="216" y="26"/>
                </a:cubicBezTo>
                <a:cubicBezTo>
                  <a:pt x="216" y="26"/>
                  <a:pt x="216" y="25"/>
                  <a:pt x="216" y="25"/>
                </a:cubicBezTo>
                <a:cubicBezTo>
                  <a:pt x="216" y="25"/>
                  <a:pt x="215" y="25"/>
                  <a:pt x="215" y="25"/>
                </a:cubicBezTo>
                <a:cubicBezTo>
                  <a:pt x="215" y="25"/>
                  <a:pt x="214" y="25"/>
                  <a:pt x="214" y="25"/>
                </a:cubicBezTo>
                <a:cubicBezTo>
                  <a:pt x="213" y="25"/>
                  <a:pt x="213" y="25"/>
                  <a:pt x="212" y="24"/>
                </a:cubicBezTo>
                <a:cubicBezTo>
                  <a:pt x="212" y="24"/>
                  <a:pt x="212" y="24"/>
                  <a:pt x="212" y="24"/>
                </a:cubicBezTo>
                <a:cubicBezTo>
                  <a:pt x="212" y="24"/>
                  <a:pt x="212" y="24"/>
                  <a:pt x="212" y="23"/>
                </a:cubicBezTo>
                <a:cubicBezTo>
                  <a:pt x="213" y="23"/>
                  <a:pt x="213" y="23"/>
                  <a:pt x="213" y="23"/>
                </a:cubicBezTo>
                <a:cubicBezTo>
                  <a:pt x="213" y="23"/>
                  <a:pt x="214" y="23"/>
                  <a:pt x="214" y="23"/>
                </a:cubicBezTo>
                <a:cubicBezTo>
                  <a:pt x="214" y="23"/>
                  <a:pt x="214" y="23"/>
                  <a:pt x="214" y="22"/>
                </a:cubicBezTo>
                <a:cubicBezTo>
                  <a:pt x="213" y="22"/>
                  <a:pt x="213" y="22"/>
                  <a:pt x="213" y="21"/>
                </a:cubicBezTo>
                <a:cubicBezTo>
                  <a:pt x="213" y="21"/>
                  <a:pt x="213" y="20"/>
                  <a:pt x="213" y="20"/>
                </a:cubicBezTo>
                <a:cubicBezTo>
                  <a:pt x="212" y="20"/>
                  <a:pt x="212" y="20"/>
                  <a:pt x="212" y="19"/>
                </a:cubicBezTo>
                <a:cubicBezTo>
                  <a:pt x="212" y="19"/>
                  <a:pt x="212" y="19"/>
                  <a:pt x="212" y="19"/>
                </a:cubicBezTo>
                <a:cubicBezTo>
                  <a:pt x="212" y="19"/>
                  <a:pt x="212" y="19"/>
                  <a:pt x="212" y="19"/>
                </a:cubicBezTo>
                <a:cubicBezTo>
                  <a:pt x="212" y="19"/>
                  <a:pt x="212" y="19"/>
                  <a:pt x="213" y="18"/>
                </a:cubicBezTo>
                <a:cubicBezTo>
                  <a:pt x="213" y="18"/>
                  <a:pt x="213" y="18"/>
                  <a:pt x="213" y="17"/>
                </a:cubicBezTo>
                <a:cubicBezTo>
                  <a:pt x="212" y="17"/>
                  <a:pt x="213" y="16"/>
                  <a:pt x="213" y="16"/>
                </a:cubicBezTo>
                <a:cubicBezTo>
                  <a:pt x="213" y="17"/>
                  <a:pt x="213" y="17"/>
                  <a:pt x="213" y="17"/>
                </a:cubicBezTo>
                <a:cubicBezTo>
                  <a:pt x="213" y="18"/>
                  <a:pt x="213" y="19"/>
                  <a:pt x="213" y="19"/>
                </a:cubicBezTo>
                <a:cubicBezTo>
                  <a:pt x="214" y="20"/>
                  <a:pt x="214" y="19"/>
                  <a:pt x="214" y="18"/>
                </a:cubicBezTo>
                <a:cubicBezTo>
                  <a:pt x="214" y="18"/>
                  <a:pt x="214" y="17"/>
                  <a:pt x="214" y="17"/>
                </a:cubicBezTo>
                <a:cubicBezTo>
                  <a:pt x="214" y="17"/>
                  <a:pt x="214" y="16"/>
                  <a:pt x="214" y="16"/>
                </a:cubicBezTo>
                <a:cubicBezTo>
                  <a:pt x="214" y="15"/>
                  <a:pt x="214" y="15"/>
                  <a:pt x="214" y="14"/>
                </a:cubicBezTo>
                <a:cubicBezTo>
                  <a:pt x="214" y="14"/>
                  <a:pt x="214" y="14"/>
                  <a:pt x="214" y="13"/>
                </a:cubicBezTo>
                <a:cubicBezTo>
                  <a:pt x="214" y="13"/>
                  <a:pt x="213" y="13"/>
                  <a:pt x="213" y="13"/>
                </a:cubicBezTo>
                <a:cubicBezTo>
                  <a:pt x="213" y="13"/>
                  <a:pt x="213" y="13"/>
                  <a:pt x="213" y="13"/>
                </a:cubicBezTo>
                <a:cubicBezTo>
                  <a:pt x="212" y="13"/>
                  <a:pt x="213" y="13"/>
                  <a:pt x="212" y="12"/>
                </a:cubicBezTo>
                <a:cubicBezTo>
                  <a:pt x="212" y="12"/>
                  <a:pt x="212" y="12"/>
                  <a:pt x="212" y="12"/>
                </a:cubicBezTo>
                <a:cubicBezTo>
                  <a:pt x="210" y="12"/>
                  <a:pt x="208" y="12"/>
                  <a:pt x="208" y="12"/>
                </a:cubicBezTo>
                <a:cubicBezTo>
                  <a:pt x="208" y="12"/>
                  <a:pt x="205" y="11"/>
                  <a:pt x="204" y="10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1" name="Freeform 49">
            <a:extLst>
              <a:ext uri="{FF2B5EF4-FFF2-40B4-BE49-F238E27FC236}">
                <a16:creationId xmlns:a16="http://schemas.microsoft.com/office/drawing/2014/main" id="{ED219636-5FC8-4031-A2FE-21A05903F0C6}"/>
              </a:ext>
            </a:extLst>
          </p:cNvPr>
          <p:cNvSpPr>
            <a:spLocks/>
          </p:cNvSpPr>
          <p:nvPr/>
        </p:nvSpPr>
        <p:spPr bwMode="auto">
          <a:xfrm>
            <a:off x="10691604" y="3022558"/>
            <a:ext cx="102437" cy="242874"/>
          </a:xfrm>
          <a:custGeom>
            <a:avLst/>
            <a:gdLst>
              <a:gd name="T0" fmla="*/ 3 w 26"/>
              <a:gd name="T1" fmla="*/ 61 h 61"/>
              <a:gd name="T2" fmla="*/ 26 w 26"/>
              <a:gd name="T3" fmla="*/ 61 h 61"/>
              <a:gd name="T4" fmla="*/ 26 w 26"/>
              <a:gd name="T5" fmla="*/ 59 h 61"/>
              <a:gd name="T6" fmla="*/ 25 w 26"/>
              <a:gd name="T7" fmla="*/ 57 h 61"/>
              <a:gd name="T8" fmla="*/ 22 w 26"/>
              <a:gd name="T9" fmla="*/ 57 h 61"/>
              <a:gd name="T10" fmla="*/ 22 w 26"/>
              <a:gd name="T11" fmla="*/ 55 h 61"/>
              <a:gd name="T12" fmla="*/ 23 w 26"/>
              <a:gd name="T13" fmla="*/ 52 h 61"/>
              <a:gd name="T14" fmla="*/ 24 w 26"/>
              <a:gd name="T15" fmla="*/ 51 h 61"/>
              <a:gd name="T16" fmla="*/ 23 w 26"/>
              <a:gd name="T17" fmla="*/ 48 h 61"/>
              <a:gd name="T18" fmla="*/ 22 w 26"/>
              <a:gd name="T19" fmla="*/ 47 h 61"/>
              <a:gd name="T20" fmla="*/ 21 w 26"/>
              <a:gd name="T21" fmla="*/ 46 h 61"/>
              <a:gd name="T22" fmla="*/ 19 w 26"/>
              <a:gd name="T23" fmla="*/ 44 h 61"/>
              <a:gd name="T24" fmla="*/ 18 w 26"/>
              <a:gd name="T25" fmla="*/ 43 h 61"/>
              <a:gd name="T26" fmla="*/ 17 w 26"/>
              <a:gd name="T27" fmla="*/ 40 h 61"/>
              <a:gd name="T28" fmla="*/ 15 w 26"/>
              <a:gd name="T29" fmla="*/ 37 h 61"/>
              <a:gd name="T30" fmla="*/ 14 w 26"/>
              <a:gd name="T31" fmla="*/ 35 h 61"/>
              <a:gd name="T32" fmla="*/ 13 w 26"/>
              <a:gd name="T33" fmla="*/ 30 h 61"/>
              <a:gd name="T34" fmla="*/ 13 w 26"/>
              <a:gd name="T35" fmla="*/ 27 h 61"/>
              <a:gd name="T36" fmla="*/ 12 w 26"/>
              <a:gd name="T37" fmla="*/ 27 h 61"/>
              <a:gd name="T38" fmla="*/ 12 w 26"/>
              <a:gd name="T39" fmla="*/ 28 h 61"/>
              <a:gd name="T40" fmla="*/ 10 w 26"/>
              <a:gd name="T41" fmla="*/ 27 h 61"/>
              <a:gd name="T42" fmla="*/ 9 w 26"/>
              <a:gd name="T43" fmla="*/ 26 h 61"/>
              <a:gd name="T44" fmla="*/ 11 w 26"/>
              <a:gd name="T45" fmla="*/ 26 h 61"/>
              <a:gd name="T46" fmla="*/ 11 w 26"/>
              <a:gd name="T47" fmla="*/ 25 h 61"/>
              <a:gd name="T48" fmla="*/ 10 w 26"/>
              <a:gd name="T49" fmla="*/ 23 h 61"/>
              <a:gd name="T50" fmla="*/ 9 w 26"/>
              <a:gd name="T51" fmla="*/ 19 h 61"/>
              <a:gd name="T52" fmla="*/ 7 w 26"/>
              <a:gd name="T53" fmla="*/ 16 h 61"/>
              <a:gd name="T54" fmla="*/ 7 w 26"/>
              <a:gd name="T55" fmla="*/ 12 h 61"/>
              <a:gd name="T56" fmla="*/ 7 w 26"/>
              <a:gd name="T57" fmla="*/ 9 h 61"/>
              <a:gd name="T58" fmla="*/ 10 w 26"/>
              <a:gd name="T59" fmla="*/ 4 h 61"/>
              <a:gd name="T60" fmla="*/ 13 w 26"/>
              <a:gd name="T61" fmla="*/ 1 h 61"/>
              <a:gd name="T62" fmla="*/ 0 w 26"/>
              <a:gd name="T63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6" h="61">
                <a:moveTo>
                  <a:pt x="0" y="5"/>
                </a:moveTo>
                <a:cubicBezTo>
                  <a:pt x="3" y="61"/>
                  <a:pt x="3" y="61"/>
                  <a:pt x="3" y="61"/>
                </a:cubicBezTo>
                <a:cubicBezTo>
                  <a:pt x="26" y="61"/>
                  <a:pt x="26" y="61"/>
                  <a:pt x="26" y="61"/>
                </a:cubicBezTo>
                <a:cubicBezTo>
                  <a:pt x="26" y="61"/>
                  <a:pt x="26" y="61"/>
                  <a:pt x="26" y="61"/>
                </a:cubicBezTo>
                <a:cubicBezTo>
                  <a:pt x="26" y="60"/>
                  <a:pt x="26" y="60"/>
                  <a:pt x="26" y="59"/>
                </a:cubicBezTo>
                <a:cubicBezTo>
                  <a:pt x="26" y="59"/>
                  <a:pt x="26" y="59"/>
                  <a:pt x="26" y="59"/>
                </a:cubicBezTo>
                <a:cubicBezTo>
                  <a:pt x="26" y="58"/>
                  <a:pt x="25" y="58"/>
                  <a:pt x="25" y="58"/>
                </a:cubicBezTo>
                <a:cubicBezTo>
                  <a:pt x="25" y="58"/>
                  <a:pt x="25" y="57"/>
                  <a:pt x="25" y="57"/>
                </a:cubicBezTo>
                <a:cubicBezTo>
                  <a:pt x="25" y="57"/>
                  <a:pt x="24" y="57"/>
                  <a:pt x="23" y="57"/>
                </a:cubicBezTo>
                <a:cubicBezTo>
                  <a:pt x="23" y="56"/>
                  <a:pt x="23" y="57"/>
                  <a:pt x="22" y="57"/>
                </a:cubicBezTo>
                <a:cubicBezTo>
                  <a:pt x="22" y="57"/>
                  <a:pt x="21" y="57"/>
                  <a:pt x="21" y="56"/>
                </a:cubicBezTo>
                <a:cubicBezTo>
                  <a:pt x="21" y="56"/>
                  <a:pt x="22" y="55"/>
                  <a:pt x="22" y="55"/>
                </a:cubicBezTo>
                <a:cubicBezTo>
                  <a:pt x="23" y="55"/>
                  <a:pt x="23" y="54"/>
                  <a:pt x="23" y="54"/>
                </a:cubicBezTo>
                <a:cubicBezTo>
                  <a:pt x="23" y="53"/>
                  <a:pt x="23" y="52"/>
                  <a:pt x="23" y="52"/>
                </a:cubicBezTo>
                <a:cubicBezTo>
                  <a:pt x="23" y="52"/>
                  <a:pt x="23" y="51"/>
                  <a:pt x="23" y="51"/>
                </a:cubicBezTo>
                <a:cubicBezTo>
                  <a:pt x="23" y="51"/>
                  <a:pt x="24" y="51"/>
                  <a:pt x="24" y="51"/>
                </a:cubicBezTo>
                <a:cubicBezTo>
                  <a:pt x="24" y="51"/>
                  <a:pt x="24" y="50"/>
                  <a:pt x="24" y="50"/>
                </a:cubicBezTo>
                <a:cubicBezTo>
                  <a:pt x="24" y="49"/>
                  <a:pt x="24" y="48"/>
                  <a:pt x="23" y="48"/>
                </a:cubicBezTo>
                <a:cubicBezTo>
                  <a:pt x="23" y="48"/>
                  <a:pt x="23" y="48"/>
                  <a:pt x="23" y="48"/>
                </a:cubicBezTo>
                <a:cubicBezTo>
                  <a:pt x="23" y="47"/>
                  <a:pt x="23" y="47"/>
                  <a:pt x="22" y="47"/>
                </a:cubicBezTo>
                <a:cubicBezTo>
                  <a:pt x="22" y="47"/>
                  <a:pt x="22" y="47"/>
                  <a:pt x="22" y="47"/>
                </a:cubicBezTo>
                <a:cubicBezTo>
                  <a:pt x="21" y="47"/>
                  <a:pt x="21" y="47"/>
                  <a:pt x="21" y="46"/>
                </a:cubicBezTo>
                <a:cubicBezTo>
                  <a:pt x="20" y="46"/>
                  <a:pt x="20" y="46"/>
                  <a:pt x="20" y="46"/>
                </a:cubicBezTo>
                <a:cubicBezTo>
                  <a:pt x="20" y="45"/>
                  <a:pt x="20" y="45"/>
                  <a:pt x="19" y="44"/>
                </a:cubicBezTo>
                <a:cubicBezTo>
                  <a:pt x="19" y="44"/>
                  <a:pt x="19" y="44"/>
                  <a:pt x="18" y="44"/>
                </a:cubicBezTo>
                <a:cubicBezTo>
                  <a:pt x="18" y="43"/>
                  <a:pt x="18" y="43"/>
                  <a:pt x="18" y="43"/>
                </a:cubicBezTo>
                <a:cubicBezTo>
                  <a:pt x="17" y="42"/>
                  <a:pt x="17" y="42"/>
                  <a:pt x="17" y="42"/>
                </a:cubicBezTo>
                <a:cubicBezTo>
                  <a:pt x="16" y="41"/>
                  <a:pt x="16" y="41"/>
                  <a:pt x="17" y="40"/>
                </a:cubicBezTo>
                <a:cubicBezTo>
                  <a:pt x="17" y="39"/>
                  <a:pt x="17" y="39"/>
                  <a:pt x="16" y="38"/>
                </a:cubicBezTo>
                <a:cubicBezTo>
                  <a:pt x="16" y="38"/>
                  <a:pt x="15" y="37"/>
                  <a:pt x="15" y="37"/>
                </a:cubicBezTo>
                <a:cubicBezTo>
                  <a:pt x="15" y="37"/>
                  <a:pt x="14" y="36"/>
                  <a:pt x="14" y="36"/>
                </a:cubicBezTo>
                <a:cubicBezTo>
                  <a:pt x="14" y="36"/>
                  <a:pt x="14" y="35"/>
                  <a:pt x="14" y="35"/>
                </a:cubicBezTo>
                <a:cubicBezTo>
                  <a:pt x="14" y="35"/>
                  <a:pt x="13" y="35"/>
                  <a:pt x="13" y="34"/>
                </a:cubicBezTo>
                <a:cubicBezTo>
                  <a:pt x="13" y="33"/>
                  <a:pt x="13" y="31"/>
                  <a:pt x="13" y="30"/>
                </a:cubicBezTo>
                <a:cubicBezTo>
                  <a:pt x="13" y="29"/>
                  <a:pt x="13" y="29"/>
                  <a:pt x="13" y="28"/>
                </a:cubicBezTo>
                <a:cubicBezTo>
                  <a:pt x="13" y="28"/>
                  <a:pt x="13" y="27"/>
                  <a:pt x="13" y="27"/>
                </a:cubicBezTo>
                <a:cubicBezTo>
                  <a:pt x="13" y="26"/>
                  <a:pt x="13" y="26"/>
                  <a:pt x="13" y="26"/>
                </a:cubicBezTo>
                <a:cubicBezTo>
                  <a:pt x="13" y="26"/>
                  <a:pt x="12" y="26"/>
                  <a:pt x="12" y="27"/>
                </a:cubicBezTo>
                <a:cubicBezTo>
                  <a:pt x="12" y="27"/>
                  <a:pt x="13" y="28"/>
                  <a:pt x="13" y="28"/>
                </a:cubicBezTo>
                <a:cubicBezTo>
                  <a:pt x="12" y="29"/>
                  <a:pt x="12" y="28"/>
                  <a:pt x="12" y="28"/>
                </a:cubicBezTo>
                <a:cubicBezTo>
                  <a:pt x="11" y="28"/>
                  <a:pt x="11" y="28"/>
                  <a:pt x="11" y="27"/>
                </a:cubicBezTo>
                <a:cubicBezTo>
                  <a:pt x="10" y="27"/>
                  <a:pt x="10" y="27"/>
                  <a:pt x="10" y="27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27"/>
                  <a:pt x="8" y="26"/>
                  <a:pt x="9" y="26"/>
                </a:cubicBezTo>
                <a:cubicBezTo>
                  <a:pt x="9" y="26"/>
                  <a:pt x="10" y="26"/>
                  <a:pt x="10" y="26"/>
                </a:cubicBezTo>
                <a:cubicBezTo>
                  <a:pt x="10" y="26"/>
                  <a:pt x="11" y="26"/>
                  <a:pt x="11" y="26"/>
                </a:cubicBezTo>
                <a:cubicBezTo>
                  <a:pt x="11" y="26"/>
                  <a:pt x="12" y="26"/>
                  <a:pt x="12" y="26"/>
                </a:cubicBezTo>
                <a:cubicBezTo>
                  <a:pt x="12" y="26"/>
                  <a:pt x="12" y="25"/>
                  <a:pt x="11" y="25"/>
                </a:cubicBezTo>
                <a:cubicBezTo>
                  <a:pt x="11" y="25"/>
                  <a:pt x="11" y="24"/>
                  <a:pt x="11" y="24"/>
                </a:cubicBezTo>
                <a:cubicBezTo>
                  <a:pt x="10" y="23"/>
                  <a:pt x="10" y="23"/>
                  <a:pt x="10" y="23"/>
                </a:cubicBezTo>
                <a:cubicBezTo>
                  <a:pt x="10" y="22"/>
                  <a:pt x="10" y="22"/>
                  <a:pt x="9" y="21"/>
                </a:cubicBezTo>
                <a:cubicBezTo>
                  <a:pt x="9" y="20"/>
                  <a:pt x="9" y="19"/>
                  <a:pt x="9" y="19"/>
                </a:cubicBezTo>
                <a:cubicBezTo>
                  <a:pt x="8" y="18"/>
                  <a:pt x="7" y="18"/>
                  <a:pt x="7" y="17"/>
                </a:cubicBezTo>
                <a:cubicBezTo>
                  <a:pt x="7" y="17"/>
                  <a:pt x="7" y="16"/>
                  <a:pt x="7" y="16"/>
                </a:cubicBezTo>
                <a:cubicBezTo>
                  <a:pt x="7" y="15"/>
                  <a:pt x="8" y="14"/>
                  <a:pt x="8" y="13"/>
                </a:cubicBezTo>
                <a:cubicBezTo>
                  <a:pt x="8" y="12"/>
                  <a:pt x="7" y="12"/>
                  <a:pt x="7" y="12"/>
                </a:cubicBezTo>
                <a:cubicBezTo>
                  <a:pt x="7" y="11"/>
                  <a:pt x="7" y="11"/>
                  <a:pt x="7" y="11"/>
                </a:cubicBezTo>
                <a:cubicBezTo>
                  <a:pt x="7" y="10"/>
                  <a:pt x="7" y="9"/>
                  <a:pt x="7" y="9"/>
                </a:cubicBezTo>
                <a:cubicBezTo>
                  <a:pt x="8" y="8"/>
                  <a:pt x="8" y="7"/>
                  <a:pt x="9" y="7"/>
                </a:cubicBezTo>
                <a:cubicBezTo>
                  <a:pt x="9" y="6"/>
                  <a:pt x="9" y="5"/>
                  <a:pt x="10" y="4"/>
                </a:cubicBezTo>
                <a:cubicBezTo>
                  <a:pt x="10" y="3"/>
                  <a:pt x="11" y="2"/>
                  <a:pt x="12" y="1"/>
                </a:cubicBezTo>
                <a:cubicBezTo>
                  <a:pt x="12" y="1"/>
                  <a:pt x="12" y="1"/>
                  <a:pt x="13" y="1"/>
                </a:cubicBezTo>
                <a:cubicBezTo>
                  <a:pt x="6" y="0"/>
                  <a:pt x="6" y="0"/>
                  <a:pt x="6" y="0"/>
                </a:cubicBezTo>
                <a:lnTo>
                  <a:pt x="0" y="5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2" name="Freeform 50">
            <a:extLst>
              <a:ext uri="{FF2B5EF4-FFF2-40B4-BE49-F238E27FC236}">
                <a16:creationId xmlns:a16="http://schemas.microsoft.com/office/drawing/2014/main" id="{9D0CF75E-E958-4A35-BDA0-FD20D0A9AECE}"/>
              </a:ext>
            </a:extLst>
          </p:cNvPr>
          <p:cNvSpPr>
            <a:spLocks/>
          </p:cNvSpPr>
          <p:nvPr/>
        </p:nvSpPr>
        <p:spPr bwMode="auto">
          <a:xfrm>
            <a:off x="10972479" y="2622724"/>
            <a:ext cx="261048" cy="193307"/>
          </a:xfrm>
          <a:custGeom>
            <a:avLst/>
            <a:gdLst>
              <a:gd name="T0" fmla="*/ 33 w 66"/>
              <a:gd name="T1" fmla="*/ 0 h 49"/>
              <a:gd name="T2" fmla="*/ 33 w 66"/>
              <a:gd name="T3" fmla="*/ 2 h 49"/>
              <a:gd name="T4" fmla="*/ 31 w 66"/>
              <a:gd name="T5" fmla="*/ 2 h 49"/>
              <a:gd name="T6" fmla="*/ 31 w 66"/>
              <a:gd name="T7" fmla="*/ 0 h 49"/>
              <a:gd name="T8" fmla="*/ 8 w 66"/>
              <a:gd name="T9" fmla="*/ 0 h 49"/>
              <a:gd name="T10" fmla="*/ 7 w 66"/>
              <a:gd name="T11" fmla="*/ 19 h 49"/>
              <a:gd name="T12" fmla="*/ 6 w 66"/>
              <a:gd name="T13" fmla="*/ 34 h 49"/>
              <a:gd name="T14" fmla="*/ 7 w 66"/>
              <a:gd name="T15" fmla="*/ 36 h 49"/>
              <a:gd name="T16" fmla="*/ 8 w 66"/>
              <a:gd name="T17" fmla="*/ 39 h 49"/>
              <a:gd name="T18" fmla="*/ 2 w 66"/>
              <a:gd name="T19" fmla="*/ 42 h 49"/>
              <a:gd name="T20" fmla="*/ 0 w 66"/>
              <a:gd name="T21" fmla="*/ 44 h 49"/>
              <a:gd name="T22" fmla="*/ 0 w 66"/>
              <a:gd name="T23" fmla="*/ 46 h 49"/>
              <a:gd name="T24" fmla="*/ 3 w 66"/>
              <a:gd name="T25" fmla="*/ 49 h 49"/>
              <a:gd name="T26" fmla="*/ 3 w 66"/>
              <a:gd name="T27" fmla="*/ 48 h 49"/>
              <a:gd name="T28" fmla="*/ 5 w 66"/>
              <a:gd name="T29" fmla="*/ 48 h 49"/>
              <a:gd name="T30" fmla="*/ 8 w 66"/>
              <a:gd name="T31" fmla="*/ 47 h 49"/>
              <a:gd name="T32" fmla="*/ 9 w 66"/>
              <a:gd name="T33" fmla="*/ 46 h 49"/>
              <a:gd name="T34" fmla="*/ 10 w 66"/>
              <a:gd name="T35" fmla="*/ 45 h 49"/>
              <a:gd name="T36" fmla="*/ 11 w 66"/>
              <a:gd name="T37" fmla="*/ 44 h 49"/>
              <a:gd name="T38" fmla="*/ 12 w 66"/>
              <a:gd name="T39" fmla="*/ 44 h 49"/>
              <a:gd name="T40" fmla="*/ 14 w 66"/>
              <a:gd name="T41" fmla="*/ 43 h 49"/>
              <a:gd name="T42" fmla="*/ 16 w 66"/>
              <a:gd name="T43" fmla="*/ 42 h 49"/>
              <a:gd name="T44" fmla="*/ 17 w 66"/>
              <a:gd name="T45" fmla="*/ 42 h 49"/>
              <a:gd name="T46" fmla="*/ 19 w 66"/>
              <a:gd name="T47" fmla="*/ 42 h 49"/>
              <a:gd name="T48" fmla="*/ 20 w 66"/>
              <a:gd name="T49" fmla="*/ 41 h 49"/>
              <a:gd name="T50" fmla="*/ 21 w 66"/>
              <a:gd name="T51" fmla="*/ 41 h 49"/>
              <a:gd name="T52" fmla="*/ 22 w 66"/>
              <a:gd name="T53" fmla="*/ 40 h 49"/>
              <a:gd name="T54" fmla="*/ 24 w 66"/>
              <a:gd name="T55" fmla="*/ 39 h 49"/>
              <a:gd name="T56" fmla="*/ 25 w 66"/>
              <a:gd name="T57" fmla="*/ 38 h 49"/>
              <a:gd name="T58" fmla="*/ 26 w 66"/>
              <a:gd name="T59" fmla="*/ 37 h 49"/>
              <a:gd name="T60" fmla="*/ 27 w 66"/>
              <a:gd name="T61" fmla="*/ 37 h 49"/>
              <a:gd name="T62" fmla="*/ 27 w 66"/>
              <a:gd name="T63" fmla="*/ 36 h 49"/>
              <a:gd name="T64" fmla="*/ 28 w 66"/>
              <a:gd name="T65" fmla="*/ 35 h 49"/>
              <a:gd name="T66" fmla="*/ 29 w 66"/>
              <a:gd name="T67" fmla="*/ 36 h 49"/>
              <a:gd name="T68" fmla="*/ 30 w 66"/>
              <a:gd name="T69" fmla="*/ 37 h 49"/>
              <a:gd name="T70" fmla="*/ 30 w 66"/>
              <a:gd name="T71" fmla="*/ 37 h 49"/>
              <a:gd name="T72" fmla="*/ 31 w 66"/>
              <a:gd name="T73" fmla="*/ 37 h 49"/>
              <a:gd name="T74" fmla="*/ 33 w 66"/>
              <a:gd name="T75" fmla="*/ 36 h 49"/>
              <a:gd name="T76" fmla="*/ 37 w 66"/>
              <a:gd name="T77" fmla="*/ 36 h 49"/>
              <a:gd name="T78" fmla="*/ 44 w 66"/>
              <a:gd name="T79" fmla="*/ 36 h 49"/>
              <a:gd name="T80" fmla="*/ 45 w 66"/>
              <a:gd name="T81" fmla="*/ 36 h 49"/>
              <a:gd name="T82" fmla="*/ 46 w 66"/>
              <a:gd name="T83" fmla="*/ 36 h 49"/>
              <a:gd name="T84" fmla="*/ 47 w 66"/>
              <a:gd name="T85" fmla="*/ 35 h 49"/>
              <a:gd name="T86" fmla="*/ 48 w 66"/>
              <a:gd name="T87" fmla="*/ 35 h 49"/>
              <a:gd name="T88" fmla="*/ 49 w 66"/>
              <a:gd name="T89" fmla="*/ 35 h 49"/>
              <a:gd name="T90" fmla="*/ 50 w 66"/>
              <a:gd name="T91" fmla="*/ 35 h 49"/>
              <a:gd name="T92" fmla="*/ 51 w 66"/>
              <a:gd name="T93" fmla="*/ 35 h 49"/>
              <a:gd name="T94" fmla="*/ 53 w 66"/>
              <a:gd name="T95" fmla="*/ 35 h 49"/>
              <a:gd name="T96" fmla="*/ 54 w 66"/>
              <a:gd name="T97" fmla="*/ 35 h 49"/>
              <a:gd name="T98" fmla="*/ 55 w 66"/>
              <a:gd name="T99" fmla="*/ 34 h 49"/>
              <a:gd name="T100" fmla="*/ 57 w 66"/>
              <a:gd name="T101" fmla="*/ 34 h 49"/>
              <a:gd name="T102" fmla="*/ 57 w 66"/>
              <a:gd name="T103" fmla="*/ 33 h 49"/>
              <a:gd name="T104" fmla="*/ 57 w 66"/>
              <a:gd name="T105" fmla="*/ 33 h 49"/>
              <a:gd name="T106" fmla="*/ 58 w 66"/>
              <a:gd name="T107" fmla="*/ 33 h 49"/>
              <a:gd name="T108" fmla="*/ 62 w 66"/>
              <a:gd name="T109" fmla="*/ 33 h 49"/>
              <a:gd name="T110" fmla="*/ 64 w 66"/>
              <a:gd name="T111" fmla="*/ 33 h 49"/>
              <a:gd name="T112" fmla="*/ 65 w 66"/>
              <a:gd name="T113" fmla="*/ 33 h 49"/>
              <a:gd name="T114" fmla="*/ 65 w 66"/>
              <a:gd name="T115" fmla="*/ 33 h 49"/>
              <a:gd name="T116" fmla="*/ 65 w 66"/>
              <a:gd name="T117" fmla="*/ 31 h 49"/>
              <a:gd name="T118" fmla="*/ 66 w 66"/>
              <a:gd name="T119" fmla="*/ 27 h 49"/>
              <a:gd name="T120" fmla="*/ 66 w 66"/>
              <a:gd name="T121" fmla="*/ 1 h 49"/>
              <a:gd name="T122" fmla="*/ 33 w 66"/>
              <a:gd name="T123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" h="49">
                <a:moveTo>
                  <a:pt x="33" y="0"/>
                </a:moveTo>
                <a:cubicBezTo>
                  <a:pt x="33" y="2"/>
                  <a:pt x="33" y="2"/>
                  <a:pt x="33" y="2"/>
                </a:cubicBezTo>
                <a:cubicBezTo>
                  <a:pt x="31" y="2"/>
                  <a:pt x="31" y="2"/>
                  <a:pt x="31" y="2"/>
                </a:cubicBezTo>
                <a:cubicBezTo>
                  <a:pt x="31" y="0"/>
                  <a:pt x="31" y="0"/>
                  <a:pt x="31" y="0"/>
                </a:cubicBezTo>
                <a:cubicBezTo>
                  <a:pt x="8" y="0"/>
                  <a:pt x="8" y="0"/>
                  <a:pt x="8" y="0"/>
                </a:cubicBezTo>
                <a:cubicBezTo>
                  <a:pt x="7" y="19"/>
                  <a:pt x="7" y="19"/>
                  <a:pt x="7" y="19"/>
                </a:cubicBezTo>
                <a:cubicBezTo>
                  <a:pt x="6" y="34"/>
                  <a:pt x="6" y="34"/>
                  <a:pt x="6" y="34"/>
                </a:cubicBezTo>
                <a:cubicBezTo>
                  <a:pt x="6" y="34"/>
                  <a:pt x="7" y="36"/>
                  <a:pt x="7" y="36"/>
                </a:cubicBezTo>
                <a:cubicBezTo>
                  <a:pt x="7" y="36"/>
                  <a:pt x="8" y="39"/>
                  <a:pt x="8" y="39"/>
                </a:cubicBezTo>
                <a:cubicBezTo>
                  <a:pt x="2" y="42"/>
                  <a:pt x="2" y="42"/>
                  <a:pt x="2" y="42"/>
                </a:cubicBezTo>
                <a:cubicBezTo>
                  <a:pt x="2" y="42"/>
                  <a:pt x="0" y="44"/>
                  <a:pt x="0" y="44"/>
                </a:cubicBezTo>
                <a:cubicBezTo>
                  <a:pt x="0" y="45"/>
                  <a:pt x="0" y="46"/>
                  <a:pt x="0" y="46"/>
                </a:cubicBezTo>
                <a:cubicBezTo>
                  <a:pt x="3" y="49"/>
                  <a:pt x="3" y="49"/>
                  <a:pt x="3" y="49"/>
                </a:cubicBezTo>
                <a:cubicBezTo>
                  <a:pt x="3" y="48"/>
                  <a:pt x="3" y="48"/>
                  <a:pt x="3" y="48"/>
                </a:cubicBezTo>
                <a:cubicBezTo>
                  <a:pt x="4" y="48"/>
                  <a:pt x="4" y="48"/>
                  <a:pt x="5" y="48"/>
                </a:cubicBezTo>
                <a:cubicBezTo>
                  <a:pt x="6" y="47"/>
                  <a:pt x="7" y="47"/>
                  <a:pt x="8" y="47"/>
                </a:cubicBezTo>
                <a:cubicBezTo>
                  <a:pt x="9" y="46"/>
                  <a:pt x="9" y="46"/>
                  <a:pt x="9" y="46"/>
                </a:cubicBezTo>
                <a:cubicBezTo>
                  <a:pt x="10" y="46"/>
                  <a:pt x="10" y="45"/>
                  <a:pt x="10" y="45"/>
                </a:cubicBezTo>
                <a:cubicBezTo>
                  <a:pt x="11" y="45"/>
                  <a:pt x="11" y="45"/>
                  <a:pt x="11" y="44"/>
                </a:cubicBezTo>
                <a:cubicBezTo>
                  <a:pt x="12" y="44"/>
                  <a:pt x="12" y="44"/>
                  <a:pt x="12" y="44"/>
                </a:cubicBezTo>
                <a:cubicBezTo>
                  <a:pt x="13" y="43"/>
                  <a:pt x="14" y="44"/>
                  <a:pt x="14" y="43"/>
                </a:cubicBezTo>
                <a:cubicBezTo>
                  <a:pt x="15" y="43"/>
                  <a:pt x="16" y="43"/>
                  <a:pt x="16" y="42"/>
                </a:cubicBezTo>
                <a:cubicBezTo>
                  <a:pt x="16" y="42"/>
                  <a:pt x="17" y="42"/>
                  <a:pt x="17" y="42"/>
                </a:cubicBezTo>
                <a:cubicBezTo>
                  <a:pt x="18" y="41"/>
                  <a:pt x="19" y="42"/>
                  <a:pt x="19" y="42"/>
                </a:cubicBezTo>
                <a:cubicBezTo>
                  <a:pt x="20" y="42"/>
                  <a:pt x="20" y="42"/>
                  <a:pt x="20" y="41"/>
                </a:cubicBezTo>
                <a:cubicBezTo>
                  <a:pt x="20" y="41"/>
                  <a:pt x="21" y="41"/>
                  <a:pt x="21" y="41"/>
                </a:cubicBezTo>
                <a:cubicBezTo>
                  <a:pt x="21" y="41"/>
                  <a:pt x="22" y="41"/>
                  <a:pt x="22" y="40"/>
                </a:cubicBezTo>
                <a:cubicBezTo>
                  <a:pt x="23" y="40"/>
                  <a:pt x="23" y="40"/>
                  <a:pt x="24" y="39"/>
                </a:cubicBezTo>
                <a:cubicBezTo>
                  <a:pt x="24" y="39"/>
                  <a:pt x="24" y="39"/>
                  <a:pt x="25" y="38"/>
                </a:cubicBezTo>
                <a:cubicBezTo>
                  <a:pt x="25" y="38"/>
                  <a:pt x="25" y="38"/>
                  <a:pt x="26" y="37"/>
                </a:cubicBezTo>
                <a:cubicBezTo>
                  <a:pt x="26" y="37"/>
                  <a:pt x="27" y="37"/>
                  <a:pt x="27" y="37"/>
                </a:cubicBezTo>
                <a:cubicBezTo>
                  <a:pt x="27" y="37"/>
                  <a:pt x="27" y="36"/>
                  <a:pt x="27" y="36"/>
                </a:cubicBezTo>
                <a:cubicBezTo>
                  <a:pt x="28" y="36"/>
                  <a:pt x="28" y="35"/>
                  <a:pt x="28" y="35"/>
                </a:cubicBezTo>
                <a:cubicBezTo>
                  <a:pt x="29" y="35"/>
                  <a:pt x="29" y="36"/>
                  <a:pt x="29" y="36"/>
                </a:cubicBezTo>
                <a:cubicBezTo>
                  <a:pt x="29" y="36"/>
                  <a:pt x="30" y="36"/>
                  <a:pt x="30" y="37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37"/>
                  <a:pt x="30" y="37"/>
                  <a:pt x="31" y="37"/>
                </a:cubicBezTo>
                <a:cubicBezTo>
                  <a:pt x="31" y="36"/>
                  <a:pt x="32" y="36"/>
                  <a:pt x="33" y="36"/>
                </a:cubicBezTo>
                <a:cubicBezTo>
                  <a:pt x="34" y="36"/>
                  <a:pt x="35" y="36"/>
                  <a:pt x="37" y="36"/>
                </a:cubicBezTo>
                <a:cubicBezTo>
                  <a:pt x="39" y="36"/>
                  <a:pt x="41" y="36"/>
                  <a:pt x="44" y="36"/>
                </a:cubicBezTo>
                <a:cubicBezTo>
                  <a:pt x="44" y="36"/>
                  <a:pt x="45" y="36"/>
                  <a:pt x="45" y="36"/>
                </a:cubicBezTo>
                <a:cubicBezTo>
                  <a:pt x="45" y="36"/>
                  <a:pt x="45" y="36"/>
                  <a:pt x="46" y="36"/>
                </a:cubicBezTo>
                <a:cubicBezTo>
                  <a:pt x="46" y="35"/>
                  <a:pt x="47" y="35"/>
                  <a:pt x="47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1" y="35"/>
                  <a:pt x="51" y="35"/>
                </a:cubicBezTo>
                <a:cubicBezTo>
                  <a:pt x="52" y="35"/>
                  <a:pt x="52" y="35"/>
                  <a:pt x="53" y="35"/>
                </a:cubicBezTo>
                <a:cubicBezTo>
                  <a:pt x="53" y="35"/>
                  <a:pt x="54" y="35"/>
                  <a:pt x="54" y="35"/>
                </a:cubicBezTo>
                <a:cubicBezTo>
                  <a:pt x="55" y="35"/>
                  <a:pt x="55" y="35"/>
                  <a:pt x="55" y="34"/>
                </a:cubicBezTo>
                <a:cubicBezTo>
                  <a:pt x="56" y="34"/>
                  <a:pt x="56" y="34"/>
                  <a:pt x="57" y="34"/>
                </a:cubicBezTo>
                <a:cubicBezTo>
                  <a:pt x="57" y="34"/>
                  <a:pt x="57" y="34"/>
                  <a:pt x="57" y="33"/>
                </a:cubicBezTo>
                <a:cubicBezTo>
                  <a:pt x="57" y="33"/>
                  <a:pt x="57" y="33"/>
                  <a:pt x="57" y="33"/>
                </a:cubicBezTo>
                <a:cubicBezTo>
                  <a:pt x="58" y="33"/>
                  <a:pt x="58" y="33"/>
                  <a:pt x="58" y="33"/>
                </a:cubicBezTo>
                <a:cubicBezTo>
                  <a:pt x="59" y="33"/>
                  <a:pt x="61" y="33"/>
                  <a:pt x="62" y="33"/>
                </a:cubicBezTo>
                <a:cubicBezTo>
                  <a:pt x="62" y="33"/>
                  <a:pt x="63" y="33"/>
                  <a:pt x="64" y="33"/>
                </a:cubicBezTo>
                <a:cubicBezTo>
                  <a:pt x="64" y="33"/>
                  <a:pt x="64" y="33"/>
                  <a:pt x="65" y="33"/>
                </a:cubicBezTo>
                <a:cubicBezTo>
                  <a:pt x="65" y="33"/>
                  <a:pt x="65" y="33"/>
                  <a:pt x="65" y="33"/>
                </a:cubicBezTo>
                <a:cubicBezTo>
                  <a:pt x="65" y="31"/>
                  <a:pt x="65" y="31"/>
                  <a:pt x="65" y="31"/>
                </a:cubicBezTo>
                <a:cubicBezTo>
                  <a:pt x="66" y="27"/>
                  <a:pt x="66" y="27"/>
                  <a:pt x="66" y="27"/>
                </a:cubicBezTo>
                <a:cubicBezTo>
                  <a:pt x="66" y="1"/>
                  <a:pt x="66" y="1"/>
                  <a:pt x="66" y="1"/>
                </a:cubicBezTo>
                <a:lnTo>
                  <a:pt x="33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3" name="Freeform 51">
            <a:extLst>
              <a:ext uri="{FF2B5EF4-FFF2-40B4-BE49-F238E27FC236}">
                <a16:creationId xmlns:a16="http://schemas.microsoft.com/office/drawing/2014/main" id="{BE616193-01C7-4996-A7B2-34B7BC171411}"/>
              </a:ext>
            </a:extLst>
          </p:cNvPr>
          <p:cNvSpPr>
            <a:spLocks/>
          </p:cNvSpPr>
          <p:nvPr/>
        </p:nvSpPr>
        <p:spPr bwMode="auto">
          <a:xfrm>
            <a:off x="6139784" y="2812727"/>
            <a:ext cx="958278" cy="705491"/>
          </a:xfrm>
          <a:custGeom>
            <a:avLst/>
            <a:gdLst>
              <a:gd name="T0" fmla="*/ 580 w 580"/>
              <a:gd name="T1" fmla="*/ 0 h 427"/>
              <a:gd name="T2" fmla="*/ 0 w 580"/>
              <a:gd name="T3" fmla="*/ 0 h 427"/>
              <a:gd name="T4" fmla="*/ 2 w 580"/>
              <a:gd name="T5" fmla="*/ 427 h 427"/>
              <a:gd name="T6" fmla="*/ 580 w 580"/>
              <a:gd name="T7" fmla="*/ 427 h 427"/>
              <a:gd name="T8" fmla="*/ 580 w 580"/>
              <a:gd name="T9" fmla="*/ 108 h 427"/>
              <a:gd name="T10" fmla="*/ 580 w 580"/>
              <a:gd name="T11" fmla="*/ 0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0" h="427">
                <a:moveTo>
                  <a:pt x="580" y="0"/>
                </a:moveTo>
                <a:lnTo>
                  <a:pt x="0" y="0"/>
                </a:lnTo>
                <a:lnTo>
                  <a:pt x="2" y="427"/>
                </a:lnTo>
                <a:lnTo>
                  <a:pt x="580" y="427"/>
                </a:lnTo>
                <a:lnTo>
                  <a:pt x="580" y="108"/>
                </a:lnTo>
                <a:lnTo>
                  <a:pt x="58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4" name="Freeform 52">
            <a:extLst>
              <a:ext uri="{FF2B5EF4-FFF2-40B4-BE49-F238E27FC236}">
                <a16:creationId xmlns:a16="http://schemas.microsoft.com/office/drawing/2014/main" id="{75273034-D5F2-4400-BE5A-6665C3FE6688}"/>
              </a:ext>
            </a:extLst>
          </p:cNvPr>
          <p:cNvSpPr>
            <a:spLocks noEditPoints="1"/>
          </p:cNvSpPr>
          <p:nvPr/>
        </p:nvSpPr>
        <p:spPr bwMode="auto">
          <a:xfrm>
            <a:off x="4044789" y="2630985"/>
            <a:ext cx="1397764" cy="1632379"/>
          </a:xfrm>
          <a:custGeom>
            <a:avLst/>
            <a:gdLst>
              <a:gd name="T0" fmla="*/ 207 w 353"/>
              <a:gd name="T1" fmla="*/ 380 h 412"/>
              <a:gd name="T2" fmla="*/ 204 w 353"/>
              <a:gd name="T3" fmla="*/ 377 h 412"/>
              <a:gd name="T4" fmla="*/ 168 w 353"/>
              <a:gd name="T5" fmla="*/ 383 h 412"/>
              <a:gd name="T6" fmla="*/ 145 w 353"/>
              <a:gd name="T7" fmla="*/ 353 h 412"/>
              <a:gd name="T8" fmla="*/ 161 w 353"/>
              <a:gd name="T9" fmla="*/ 353 h 412"/>
              <a:gd name="T10" fmla="*/ 159 w 353"/>
              <a:gd name="T11" fmla="*/ 349 h 412"/>
              <a:gd name="T12" fmla="*/ 161 w 353"/>
              <a:gd name="T13" fmla="*/ 353 h 412"/>
              <a:gd name="T14" fmla="*/ 336 w 353"/>
              <a:gd name="T15" fmla="*/ 383 h 412"/>
              <a:gd name="T16" fmla="*/ 344 w 353"/>
              <a:gd name="T17" fmla="*/ 350 h 412"/>
              <a:gd name="T18" fmla="*/ 337 w 353"/>
              <a:gd name="T19" fmla="*/ 314 h 412"/>
              <a:gd name="T20" fmla="*/ 6 w 353"/>
              <a:gd name="T21" fmla="*/ 5 h 412"/>
              <a:gd name="T22" fmla="*/ 9 w 353"/>
              <a:gd name="T23" fmla="*/ 15 h 412"/>
              <a:gd name="T24" fmla="*/ 11 w 353"/>
              <a:gd name="T25" fmla="*/ 26 h 412"/>
              <a:gd name="T26" fmla="*/ 8 w 353"/>
              <a:gd name="T27" fmla="*/ 39 h 412"/>
              <a:gd name="T28" fmla="*/ 8 w 353"/>
              <a:gd name="T29" fmla="*/ 53 h 412"/>
              <a:gd name="T30" fmla="*/ 7 w 353"/>
              <a:gd name="T31" fmla="*/ 64 h 412"/>
              <a:gd name="T32" fmla="*/ 0 w 353"/>
              <a:gd name="T33" fmla="*/ 73 h 412"/>
              <a:gd name="T34" fmla="*/ 6 w 353"/>
              <a:gd name="T35" fmla="*/ 85 h 412"/>
              <a:gd name="T36" fmla="*/ 19 w 353"/>
              <a:gd name="T37" fmla="*/ 100 h 412"/>
              <a:gd name="T38" fmla="*/ 20 w 353"/>
              <a:gd name="T39" fmla="*/ 120 h 412"/>
              <a:gd name="T40" fmla="*/ 23 w 353"/>
              <a:gd name="T41" fmla="*/ 132 h 412"/>
              <a:gd name="T42" fmla="*/ 34 w 353"/>
              <a:gd name="T43" fmla="*/ 152 h 412"/>
              <a:gd name="T44" fmla="*/ 49 w 353"/>
              <a:gd name="T45" fmla="*/ 169 h 412"/>
              <a:gd name="T46" fmla="*/ 49 w 353"/>
              <a:gd name="T47" fmla="*/ 172 h 412"/>
              <a:gd name="T48" fmla="*/ 53 w 353"/>
              <a:gd name="T49" fmla="*/ 181 h 412"/>
              <a:gd name="T50" fmla="*/ 65 w 353"/>
              <a:gd name="T51" fmla="*/ 188 h 412"/>
              <a:gd name="T52" fmla="*/ 69 w 353"/>
              <a:gd name="T53" fmla="*/ 175 h 412"/>
              <a:gd name="T54" fmla="*/ 83 w 353"/>
              <a:gd name="T55" fmla="*/ 177 h 412"/>
              <a:gd name="T56" fmla="*/ 92 w 353"/>
              <a:gd name="T57" fmla="*/ 178 h 412"/>
              <a:gd name="T58" fmla="*/ 99 w 353"/>
              <a:gd name="T59" fmla="*/ 179 h 412"/>
              <a:gd name="T60" fmla="*/ 87 w 353"/>
              <a:gd name="T61" fmla="*/ 179 h 412"/>
              <a:gd name="T62" fmla="*/ 72 w 353"/>
              <a:gd name="T63" fmla="*/ 180 h 412"/>
              <a:gd name="T64" fmla="*/ 77 w 353"/>
              <a:gd name="T65" fmla="*/ 197 h 412"/>
              <a:gd name="T66" fmla="*/ 70 w 353"/>
              <a:gd name="T67" fmla="*/ 195 h 412"/>
              <a:gd name="T68" fmla="*/ 65 w 353"/>
              <a:gd name="T69" fmla="*/ 200 h 412"/>
              <a:gd name="T70" fmla="*/ 68 w 353"/>
              <a:gd name="T71" fmla="*/ 212 h 412"/>
              <a:gd name="T72" fmla="*/ 72 w 353"/>
              <a:gd name="T73" fmla="*/ 221 h 412"/>
              <a:gd name="T74" fmla="*/ 83 w 353"/>
              <a:gd name="T75" fmla="*/ 226 h 412"/>
              <a:gd name="T76" fmla="*/ 89 w 353"/>
              <a:gd name="T77" fmla="*/ 231 h 412"/>
              <a:gd name="T78" fmla="*/ 84 w 353"/>
              <a:gd name="T79" fmla="*/ 241 h 412"/>
              <a:gd name="T80" fmla="*/ 86 w 353"/>
              <a:gd name="T81" fmla="*/ 253 h 412"/>
              <a:gd name="T82" fmla="*/ 94 w 353"/>
              <a:gd name="T83" fmla="*/ 260 h 412"/>
              <a:gd name="T84" fmla="*/ 99 w 353"/>
              <a:gd name="T85" fmla="*/ 267 h 412"/>
              <a:gd name="T86" fmla="*/ 106 w 353"/>
              <a:gd name="T87" fmla="*/ 278 h 412"/>
              <a:gd name="T88" fmla="*/ 113 w 353"/>
              <a:gd name="T89" fmla="*/ 285 h 412"/>
              <a:gd name="T90" fmla="*/ 121 w 353"/>
              <a:gd name="T91" fmla="*/ 292 h 412"/>
              <a:gd name="T92" fmla="*/ 122 w 353"/>
              <a:gd name="T93" fmla="*/ 300 h 412"/>
              <a:gd name="T94" fmla="*/ 130 w 353"/>
              <a:gd name="T95" fmla="*/ 309 h 412"/>
              <a:gd name="T96" fmla="*/ 130 w 353"/>
              <a:gd name="T97" fmla="*/ 320 h 412"/>
              <a:gd name="T98" fmla="*/ 130 w 353"/>
              <a:gd name="T99" fmla="*/ 326 h 412"/>
              <a:gd name="T100" fmla="*/ 135 w 353"/>
              <a:gd name="T101" fmla="*/ 332 h 412"/>
              <a:gd name="T102" fmla="*/ 142 w 353"/>
              <a:gd name="T103" fmla="*/ 332 h 412"/>
              <a:gd name="T104" fmla="*/ 176 w 353"/>
              <a:gd name="T105" fmla="*/ 341 h 412"/>
              <a:gd name="T106" fmla="*/ 193 w 353"/>
              <a:gd name="T107" fmla="*/ 351 h 412"/>
              <a:gd name="T108" fmla="*/ 204 w 353"/>
              <a:gd name="T109" fmla="*/ 351 h 412"/>
              <a:gd name="T110" fmla="*/ 211 w 353"/>
              <a:gd name="T111" fmla="*/ 363 h 412"/>
              <a:gd name="T112" fmla="*/ 246 w 353"/>
              <a:gd name="T113" fmla="*/ 39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53" h="412">
                <a:moveTo>
                  <a:pt x="205" y="400"/>
                </a:moveTo>
                <a:cubicBezTo>
                  <a:pt x="204" y="399"/>
                  <a:pt x="203" y="398"/>
                  <a:pt x="202" y="397"/>
                </a:cubicBezTo>
                <a:cubicBezTo>
                  <a:pt x="202" y="396"/>
                  <a:pt x="201" y="395"/>
                  <a:pt x="201" y="394"/>
                </a:cubicBezTo>
                <a:cubicBezTo>
                  <a:pt x="201" y="393"/>
                  <a:pt x="201" y="393"/>
                  <a:pt x="202" y="393"/>
                </a:cubicBezTo>
                <a:cubicBezTo>
                  <a:pt x="202" y="394"/>
                  <a:pt x="202" y="394"/>
                  <a:pt x="203" y="394"/>
                </a:cubicBezTo>
                <a:cubicBezTo>
                  <a:pt x="203" y="395"/>
                  <a:pt x="203" y="395"/>
                  <a:pt x="204" y="395"/>
                </a:cubicBezTo>
                <a:cubicBezTo>
                  <a:pt x="205" y="396"/>
                  <a:pt x="206" y="397"/>
                  <a:pt x="207" y="399"/>
                </a:cubicBezTo>
                <a:cubicBezTo>
                  <a:pt x="207" y="399"/>
                  <a:pt x="208" y="400"/>
                  <a:pt x="208" y="400"/>
                </a:cubicBezTo>
                <a:cubicBezTo>
                  <a:pt x="208" y="401"/>
                  <a:pt x="206" y="400"/>
                  <a:pt x="205" y="400"/>
                </a:cubicBezTo>
                <a:close/>
                <a:moveTo>
                  <a:pt x="207" y="380"/>
                </a:moveTo>
                <a:cubicBezTo>
                  <a:pt x="207" y="380"/>
                  <a:pt x="208" y="380"/>
                  <a:pt x="209" y="380"/>
                </a:cubicBezTo>
                <a:cubicBezTo>
                  <a:pt x="211" y="380"/>
                  <a:pt x="209" y="378"/>
                  <a:pt x="209" y="378"/>
                </a:cubicBezTo>
                <a:cubicBezTo>
                  <a:pt x="208" y="377"/>
                  <a:pt x="208" y="376"/>
                  <a:pt x="208" y="376"/>
                </a:cubicBezTo>
                <a:cubicBezTo>
                  <a:pt x="207" y="376"/>
                  <a:pt x="207" y="375"/>
                  <a:pt x="207" y="375"/>
                </a:cubicBezTo>
                <a:cubicBezTo>
                  <a:pt x="206" y="375"/>
                  <a:pt x="206" y="375"/>
                  <a:pt x="205" y="375"/>
                </a:cubicBezTo>
                <a:cubicBezTo>
                  <a:pt x="205" y="375"/>
                  <a:pt x="204" y="374"/>
                  <a:pt x="204" y="374"/>
                </a:cubicBezTo>
                <a:cubicBezTo>
                  <a:pt x="203" y="373"/>
                  <a:pt x="202" y="373"/>
                  <a:pt x="202" y="374"/>
                </a:cubicBezTo>
                <a:cubicBezTo>
                  <a:pt x="202" y="374"/>
                  <a:pt x="202" y="375"/>
                  <a:pt x="202" y="375"/>
                </a:cubicBezTo>
                <a:cubicBezTo>
                  <a:pt x="202" y="375"/>
                  <a:pt x="202" y="376"/>
                  <a:pt x="202" y="376"/>
                </a:cubicBezTo>
                <a:cubicBezTo>
                  <a:pt x="203" y="376"/>
                  <a:pt x="204" y="376"/>
                  <a:pt x="204" y="377"/>
                </a:cubicBezTo>
                <a:cubicBezTo>
                  <a:pt x="204" y="377"/>
                  <a:pt x="204" y="377"/>
                  <a:pt x="204" y="377"/>
                </a:cubicBezTo>
                <a:cubicBezTo>
                  <a:pt x="204" y="378"/>
                  <a:pt x="204" y="378"/>
                  <a:pt x="204" y="378"/>
                </a:cubicBezTo>
                <a:cubicBezTo>
                  <a:pt x="205" y="378"/>
                  <a:pt x="205" y="379"/>
                  <a:pt x="205" y="380"/>
                </a:cubicBezTo>
                <a:cubicBezTo>
                  <a:pt x="205" y="380"/>
                  <a:pt x="206" y="380"/>
                  <a:pt x="207" y="380"/>
                </a:cubicBezTo>
                <a:close/>
                <a:moveTo>
                  <a:pt x="170" y="383"/>
                </a:moveTo>
                <a:cubicBezTo>
                  <a:pt x="170" y="382"/>
                  <a:pt x="170" y="382"/>
                  <a:pt x="170" y="382"/>
                </a:cubicBezTo>
                <a:cubicBezTo>
                  <a:pt x="170" y="382"/>
                  <a:pt x="169" y="382"/>
                  <a:pt x="169" y="382"/>
                </a:cubicBezTo>
                <a:cubicBezTo>
                  <a:pt x="169" y="382"/>
                  <a:pt x="169" y="381"/>
                  <a:pt x="168" y="381"/>
                </a:cubicBezTo>
                <a:cubicBezTo>
                  <a:pt x="168" y="381"/>
                  <a:pt x="167" y="382"/>
                  <a:pt x="167" y="382"/>
                </a:cubicBezTo>
                <a:cubicBezTo>
                  <a:pt x="167" y="383"/>
                  <a:pt x="168" y="383"/>
                  <a:pt x="168" y="383"/>
                </a:cubicBezTo>
                <a:cubicBezTo>
                  <a:pt x="169" y="383"/>
                  <a:pt x="171" y="384"/>
                  <a:pt x="170" y="383"/>
                </a:cubicBezTo>
                <a:close/>
                <a:moveTo>
                  <a:pt x="152" y="353"/>
                </a:moveTo>
                <a:cubicBezTo>
                  <a:pt x="152" y="352"/>
                  <a:pt x="151" y="352"/>
                  <a:pt x="150" y="352"/>
                </a:cubicBezTo>
                <a:cubicBezTo>
                  <a:pt x="150" y="351"/>
                  <a:pt x="149" y="351"/>
                  <a:pt x="149" y="351"/>
                </a:cubicBezTo>
                <a:cubicBezTo>
                  <a:pt x="149" y="350"/>
                  <a:pt x="148" y="350"/>
                  <a:pt x="148" y="350"/>
                </a:cubicBezTo>
                <a:cubicBezTo>
                  <a:pt x="147" y="350"/>
                  <a:pt x="147" y="350"/>
                  <a:pt x="146" y="351"/>
                </a:cubicBezTo>
                <a:cubicBezTo>
                  <a:pt x="146" y="351"/>
                  <a:pt x="146" y="351"/>
                  <a:pt x="146" y="351"/>
                </a:cubicBezTo>
                <a:cubicBezTo>
                  <a:pt x="145" y="351"/>
                  <a:pt x="144" y="351"/>
                  <a:pt x="144" y="352"/>
                </a:cubicBezTo>
                <a:cubicBezTo>
                  <a:pt x="144" y="352"/>
                  <a:pt x="145" y="353"/>
                  <a:pt x="145" y="353"/>
                </a:cubicBezTo>
                <a:cubicBezTo>
                  <a:pt x="145" y="353"/>
                  <a:pt x="145" y="353"/>
                  <a:pt x="145" y="353"/>
                </a:cubicBezTo>
                <a:cubicBezTo>
                  <a:pt x="145" y="354"/>
                  <a:pt x="145" y="354"/>
                  <a:pt x="146" y="354"/>
                </a:cubicBezTo>
                <a:cubicBezTo>
                  <a:pt x="146" y="354"/>
                  <a:pt x="146" y="355"/>
                  <a:pt x="146" y="355"/>
                </a:cubicBezTo>
                <a:cubicBezTo>
                  <a:pt x="146" y="355"/>
                  <a:pt x="147" y="355"/>
                  <a:pt x="147" y="355"/>
                </a:cubicBezTo>
                <a:cubicBezTo>
                  <a:pt x="147" y="355"/>
                  <a:pt x="147" y="356"/>
                  <a:pt x="147" y="356"/>
                </a:cubicBezTo>
                <a:cubicBezTo>
                  <a:pt x="148" y="356"/>
                  <a:pt x="148" y="356"/>
                  <a:pt x="148" y="356"/>
                </a:cubicBezTo>
                <a:cubicBezTo>
                  <a:pt x="149" y="355"/>
                  <a:pt x="149" y="355"/>
                  <a:pt x="149" y="355"/>
                </a:cubicBezTo>
                <a:cubicBezTo>
                  <a:pt x="150" y="355"/>
                  <a:pt x="150" y="354"/>
                  <a:pt x="150" y="354"/>
                </a:cubicBezTo>
                <a:cubicBezTo>
                  <a:pt x="151" y="354"/>
                  <a:pt x="151" y="354"/>
                  <a:pt x="152" y="354"/>
                </a:cubicBezTo>
                <a:cubicBezTo>
                  <a:pt x="152" y="353"/>
                  <a:pt x="152" y="353"/>
                  <a:pt x="152" y="353"/>
                </a:cubicBezTo>
                <a:close/>
                <a:moveTo>
                  <a:pt x="161" y="353"/>
                </a:moveTo>
                <a:cubicBezTo>
                  <a:pt x="162" y="353"/>
                  <a:pt x="162" y="353"/>
                  <a:pt x="163" y="353"/>
                </a:cubicBezTo>
                <a:cubicBezTo>
                  <a:pt x="164" y="353"/>
                  <a:pt x="165" y="352"/>
                  <a:pt x="166" y="352"/>
                </a:cubicBezTo>
                <a:cubicBezTo>
                  <a:pt x="166" y="352"/>
                  <a:pt x="166" y="352"/>
                  <a:pt x="167" y="352"/>
                </a:cubicBezTo>
                <a:cubicBezTo>
                  <a:pt x="167" y="352"/>
                  <a:pt x="167" y="351"/>
                  <a:pt x="167" y="351"/>
                </a:cubicBezTo>
                <a:cubicBezTo>
                  <a:pt x="167" y="351"/>
                  <a:pt x="168" y="350"/>
                  <a:pt x="167" y="350"/>
                </a:cubicBezTo>
                <a:cubicBezTo>
                  <a:pt x="167" y="349"/>
                  <a:pt x="166" y="350"/>
                  <a:pt x="166" y="350"/>
                </a:cubicBezTo>
                <a:cubicBezTo>
                  <a:pt x="165" y="350"/>
                  <a:pt x="165" y="350"/>
                  <a:pt x="164" y="350"/>
                </a:cubicBezTo>
                <a:cubicBezTo>
                  <a:pt x="163" y="350"/>
                  <a:pt x="162" y="350"/>
                  <a:pt x="162" y="350"/>
                </a:cubicBezTo>
                <a:cubicBezTo>
                  <a:pt x="161" y="350"/>
                  <a:pt x="161" y="350"/>
                  <a:pt x="161" y="350"/>
                </a:cubicBezTo>
                <a:cubicBezTo>
                  <a:pt x="160" y="349"/>
                  <a:pt x="160" y="349"/>
                  <a:pt x="159" y="349"/>
                </a:cubicBezTo>
                <a:cubicBezTo>
                  <a:pt x="159" y="349"/>
                  <a:pt x="158" y="349"/>
                  <a:pt x="158" y="349"/>
                </a:cubicBezTo>
                <a:cubicBezTo>
                  <a:pt x="157" y="349"/>
                  <a:pt x="157" y="349"/>
                  <a:pt x="156" y="349"/>
                </a:cubicBezTo>
                <a:cubicBezTo>
                  <a:pt x="156" y="349"/>
                  <a:pt x="156" y="348"/>
                  <a:pt x="156" y="348"/>
                </a:cubicBezTo>
                <a:cubicBezTo>
                  <a:pt x="155" y="348"/>
                  <a:pt x="155" y="348"/>
                  <a:pt x="154" y="349"/>
                </a:cubicBezTo>
                <a:cubicBezTo>
                  <a:pt x="154" y="349"/>
                  <a:pt x="155" y="349"/>
                  <a:pt x="155" y="350"/>
                </a:cubicBezTo>
                <a:cubicBezTo>
                  <a:pt x="155" y="350"/>
                  <a:pt x="155" y="350"/>
                  <a:pt x="155" y="351"/>
                </a:cubicBezTo>
                <a:cubicBezTo>
                  <a:pt x="156" y="351"/>
                  <a:pt x="155" y="351"/>
                  <a:pt x="156" y="352"/>
                </a:cubicBezTo>
                <a:cubicBezTo>
                  <a:pt x="156" y="352"/>
                  <a:pt x="156" y="353"/>
                  <a:pt x="157" y="353"/>
                </a:cubicBezTo>
                <a:cubicBezTo>
                  <a:pt x="158" y="353"/>
                  <a:pt x="158" y="353"/>
                  <a:pt x="158" y="353"/>
                </a:cubicBezTo>
                <a:cubicBezTo>
                  <a:pt x="159" y="353"/>
                  <a:pt x="160" y="353"/>
                  <a:pt x="161" y="353"/>
                </a:cubicBezTo>
                <a:close/>
                <a:moveTo>
                  <a:pt x="340" y="403"/>
                </a:moveTo>
                <a:cubicBezTo>
                  <a:pt x="340" y="400"/>
                  <a:pt x="340" y="400"/>
                  <a:pt x="340" y="400"/>
                </a:cubicBezTo>
                <a:cubicBezTo>
                  <a:pt x="340" y="400"/>
                  <a:pt x="342" y="399"/>
                  <a:pt x="342" y="399"/>
                </a:cubicBezTo>
                <a:cubicBezTo>
                  <a:pt x="342" y="399"/>
                  <a:pt x="343" y="394"/>
                  <a:pt x="343" y="394"/>
                </a:cubicBezTo>
                <a:cubicBezTo>
                  <a:pt x="341" y="393"/>
                  <a:pt x="341" y="393"/>
                  <a:pt x="341" y="393"/>
                </a:cubicBezTo>
                <a:cubicBezTo>
                  <a:pt x="341" y="393"/>
                  <a:pt x="341" y="392"/>
                  <a:pt x="341" y="392"/>
                </a:cubicBezTo>
                <a:cubicBezTo>
                  <a:pt x="341" y="391"/>
                  <a:pt x="335" y="392"/>
                  <a:pt x="335" y="392"/>
                </a:cubicBezTo>
                <a:cubicBezTo>
                  <a:pt x="335" y="392"/>
                  <a:pt x="335" y="390"/>
                  <a:pt x="335" y="390"/>
                </a:cubicBezTo>
                <a:cubicBezTo>
                  <a:pt x="334" y="390"/>
                  <a:pt x="334" y="388"/>
                  <a:pt x="334" y="388"/>
                </a:cubicBezTo>
                <a:cubicBezTo>
                  <a:pt x="334" y="387"/>
                  <a:pt x="336" y="383"/>
                  <a:pt x="336" y="383"/>
                </a:cubicBezTo>
                <a:cubicBezTo>
                  <a:pt x="336" y="383"/>
                  <a:pt x="336" y="382"/>
                  <a:pt x="335" y="382"/>
                </a:cubicBezTo>
                <a:cubicBezTo>
                  <a:pt x="335" y="381"/>
                  <a:pt x="333" y="381"/>
                  <a:pt x="333" y="380"/>
                </a:cubicBezTo>
                <a:cubicBezTo>
                  <a:pt x="333" y="380"/>
                  <a:pt x="334" y="379"/>
                  <a:pt x="334" y="379"/>
                </a:cubicBezTo>
                <a:cubicBezTo>
                  <a:pt x="334" y="376"/>
                  <a:pt x="334" y="376"/>
                  <a:pt x="334" y="376"/>
                </a:cubicBezTo>
                <a:cubicBezTo>
                  <a:pt x="337" y="375"/>
                  <a:pt x="337" y="375"/>
                  <a:pt x="337" y="375"/>
                </a:cubicBezTo>
                <a:cubicBezTo>
                  <a:pt x="341" y="370"/>
                  <a:pt x="341" y="370"/>
                  <a:pt x="341" y="370"/>
                </a:cubicBezTo>
                <a:cubicBezTo>
                  <a:pt x="340" y="366"/>
                  <a:pt x="340" y="366"/>
                  <a:pt x="340" y="366"/>
                </a:cubicBezTo>
                <a:cubicBezTo>
                  <a:pt x="342" y="363"/>
                  <a:pt x="342" y="363"/>
                  <a:pt x="342" y="363"/>
                </a:cubicBezTo>
                <a:cubicBezTo>
                  <a:pt x="340" y="353"/>
                  <a:pt x="340" y="353"/>
                  <a:pt x="340" y="353"/>
                </a:cubicBezTo>
                <a:cubicBezTo>
                  <a:pt x="344" y="350"/>
                  <a:pt x="344" y="350"/>
                  <a:pt x="344" y="350"/>
                </a:cubicBezTo>
                <a:cubicBezTo>
                  <a:pt x="344" y="347"/>
                  <a:pt x="344" y="347"/>
                  <a:pt x="344" y="347"/>
                </a:cubicBezTo>
                <a:cubicBezTo>
                  <a:pt x="348" y="345"/>
                  <a:pt x="348" y="345"/>
                  <a:pt x="348" y="345"/>
                </a:cubicBezTo>
                <a:cubicBezTo>
                  <a:pt x="353" y="341"/>
                  <a:pt x="353" y="341"/>
                  <a:pt x="353" y="341"/>
                </a:cubicBezTo>
                <a:cubicBezTo>
                  <a:pt x="353" y="341"/>
                  <a:pt x="353" y="339"/>
                  <a:pt x="353" y="339"/>
                </a:cubicBezTo>
                <a:cubicBezTo>
                  <a:pt x="353" y="339"/>
                  <a:pt x="353" y="337"/>
                  <a:pt x="353" y="337"/>
                </a:cubicBezTo>
                <a:cubicBezTo>
                  <a:pt x="353" y="336"/>
                  <a:pt x="348" y="332"/>
                  <a:pt x="348" y="332"/>
                </a:cubicBezTo>
                <a:cubicBezTo>
                  <a:pt x="347" y="332"/>
                  <a:pt x="346" y="333"/>
                  <a:pt x="345" y="332"/>
                </a:cubicBezTo>
                <a:cubicBezTo>
                  <a:pt x="345" y="332"/>
                  <a:pt x="345" y="328"/>
                  <a:pt x="345" y="328"/>
                </a:cubicBezTo>
                <a:cubicBezTo>
                  <a:pt x="341" y="320"/>
                  <a:pt x="341" y="320"/>
                  <a:pt x="341" y="320"/>
                </a:cubicBezTo>
                <a:cubicBezTo>
                  <a:pt x="341" y="320"/>
                  <a:pt x="337" y="315"/>
                  <a:pt x="337" y="314"/>
                </a:cubicBezTo>
                <a:cubicBezTo>
                  <a:pt x="336" y="314"/>
                  <a:pt x="337" y="309"/>
                  <a:pt x="337" y="309"/>
                </a:cubicBezTo>
                <a:cubicBezTo>
                  <a:pt x="191" y="171"/>
                  <a:pt x="191" y="171"/>
                  <a:pt x="191" y="171"/>
                </a:cubicBezTo>
                <a:cubicBezTo>
                  <a:pt x="151" y="137"/>
                  <a:pt x="151" y="137"/>
                  <a:pt x="151" y="137"/>
                </a:cubicBezTo>
                <a:cubicBezTo>
                  <a:pt x="151" y="0"/>
                  <a:pt x="151" y="0"/>
                  <a:pt x="151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1"/>
                  <a:pt x="6" y="1"/>
                  <a:pt x="6" y="1"/>
                </a:cubicBezTo>
                <a:cubicBezTo>
                  <a:pt x="6" y="1"/>
                  <a:pt x="6" y="2"/>
                  <a:pt x="6" y="2"/>
                </a:cubicBezTo>
                <a:cubicBezTo>
                  <a:pt x="6" y="3"/>
                  <a:pt x="6" y="3"/>
                  <a:pt x="6" y="4"/>
                </a:cubicBezTo>
                <a:cubicBezTo>
                  <a:pt x="6" y="4"/>
                  <a:pt x="6" y="4"/>
                  <a:pt x="6" y="5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6" y="6"/>
                  <a:pt x="6" y="6"/>
                </a:cubicBezTo>
                <a:cubicBezTo>
                  <a:pt x="6" y="6"/>
                  <a:pt x="6" y="6"/>
                  <a:pt x="6" y="6"/>
                </a:cubicBezTo>
                <a:cubicBezTo>
                  <a:pt x="6" y="7"/>
                  <a:pt x="6" y="8"/>
                  <a:pt x="6" y="8"/>
                </a:cubicBezTo>
                <a:cubicBezTo>
                  <a:pt x="6" y="8"/>
                  <a:pt x="6" y="9"/>
                  <a:pt x="6" y="9"/>
                </a:cubicBezTo>
                <a:cubicBezTo>
                  <a:pt x="5" y="9"/>
                  <a:pt x="5" y="9"/>
                  <a:pt x="5" y="10"/>
                </a:cubicBezTo>
                <a:cubicBezTo>
                  <a:pt x="5" y="10"/>
                  <a:pt x="5" y="11"/>
                  <a:pt x="5" y="11"/>
                </a:cubicBezTo>
                <a:cubicBezTo>
                  <a:pt x="5" y="11"/>
                  <a:pt x="6" y="11"/>
                  <a:pt x="7" y="11"/>
                </a:cubicBezTo>
                <a:cubicBezTo>
                  <a:pt x="7" y="12"/>
                  <a:pt x="7" y="12"/>
                  <a:pt x="8" y="13"/>
                </a:cubicBezTo>
                <a:cubicBezTo>
                  <a:pt x="8" y="13"/>
                  <a:pt x="8" y="13"/>
                  <a:pt x="8" y="14"/>
                </a:cubicBezTo>
                <a:cubicBezTo>
                  <a:pt x="8" y="14"/>
                  <a:pt x="9" y="14"/>
                  <a:pt x="9" y="15"/>
                </a:cubicBezTo>
                <a:cubicBezTo>
                  <a:pt x="9" y="15"/>
                  <a:pt x="9" y="15"/>
                  <a:pt x="9" y="16"/>
                </a:cubicBezTo>
                <a:cubicBezTo>
                  <a:pt x="9" y="16"/>
                  <a:pt x="9" y="17"/>
                  <a:pt x="9" y="17"/>
                </a:cubicBezTo>
                <a:cubicBezTo>
                  <a:pt x="9" y="18"/>
                  <a:pt x="9" y="18"/>
                  <a:pt x="9" y="19"/>
                </a:cubicBezTo>
                <a:cubicBezTo>
                  <a:pt x="9" y="19"/>
                  <a:pt x="9" y="20"/>
                  <a:pt x="10" y="20"/>
                </a:cubicBezTo>
                <a:cubicBezTo>
                  <a:pt x="10" y="20"/>
                  <a:pt x="10" y="20"/>
                  <a:pt x="10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22"/>
                  <a:pt x="12" y="22"/>
                  <a:pt x="12" y="22"/>
                </a:cubicBezTo>
                <a:cubicBezTo>
                  <a:pt x="12" y="23"/>
                  <a:pt x="12" y="24"/>
                  <a:pt x="12" y="24"/>
                </a:cubicBezTo>
                <a:cubicBezTo>
                  <a:pt x="11" y="24"/>
                  <a:pt x="11" y="24"/>
                  <a:pt x="11" y="24"/>
                </a:cubicBezTo>
                <a:cubicBezTo>
                  <a:pt x="11" y="25"/>
                  <a:pt x="11" y="25"/>
                  <a:pt x="11" y="26"/>
                </a:cubicBezTo>
                <a:cubicBezTo>
                  <a:pt x="11" y="26"/>
                  <a:pt x="11" y="27"/>
                  <a:pt x="11" y="27"/>
                </a:cubicBezTo>
                <a:cubicBezTo>
                  <a:pt x="11" y="28"/>
                  <a:pt x="11" y="28"/>
                  <a:pt x="11" y="29"/>
                </a:cubicBezTo>
                <a:cubicBezTo>
                  <a:pt x="11" y="29"/>
                  <a:pt x="11" y="29"/>
                  <a:pt x="11" y="30"/>
                </a:cubicBezTo>
                <a:cubicBezTo>
                  <a:pt x="10" y="31"/>
                  <a:pt x="11" y="32"/>
                  <a:pt x="11" y="32"/>
                </a:cubicBezTo>
                <a:cubicBezTo>
                  <a:pt x="11" y="33"/>
                  <a:pt x="11" y="33"/>
                  <a:pt x="10" y="34"/>
                </a:cubicBezTo>
                <a:cubicBezTo>
                  <a:pt x="10" y="34"/>
                  <a:pt x="10" y="34"/>
                  <a:pt x="10" y="34"/>
                </a:cubicBezTo>
                <a:cubicBezTo>
                  <a:pt x="10" y="35"/>
                  <a:pt x="10" y="35"/>
                  <a:pt x="10" y="35"/>
                </a:cubicBezTo>
                <a:cubicBezTo>
                  <a:pt x="10" y="35"/>
                  <a:pt x="10" y="36"/>
                  <a:pt x="10" y="36"/>
                </a:cubicBezTo>
                <a:cubicBezTo>
                  <a:pt x="10" y="37"/>
                  <a:pt x="10" y="37"/>
                  <a:pt x="9" y="38"/>
                </a:cubicBezTo>
                <a:cubicBezTo>
                  <a:pt x="9" y="39"/>
                  <a:pt x="8" y="39"/>
                  <a:pt x="8" y="39"/>
                </a:cubicBezTo>
                <a:cubicBezTo>
                  <a:pt x="8" y="40"/>
                  <a:pt x="8" y="40"/>
                  <a:pt x="8" y="41"/>
                </a:cubicBezTo>
                <a:cubicBezTo>
                  <a:pt x="8" y="42"/>
                  <a:pt x="9" y="42"/>
                  <a:pt x="9" y="42"/>
                </a:cubicBezTo>
                <a:cubicBezTo>
                  <a:pt x="9" y="43"/>
                  <a:pt x="9" y="43"/>
                  <a:pt x="9" y="44"/>
                </a:cubicBezTo>
                <a:cubicBezTo>
                  <a:pt x="9" y="44"/>
                  <a:pt x="9" y="45"/>
                  <a:pt x="9" y="45"/>
                </a:cubicBezTo>
                <a:cubicBezTo>
                  <a:pt x="10" y="46"/>
                  <a:pt x="10" y="47"/>
                  <a:pt x="9" y="47"/>
                </a:cubicBezTo>
                <a:cubicBezTo>
                  <a:pt x="9" y="48"/>
                  <a:pt x="9" y="48"/>
                  <a:pt x="9" y="48"/>
                </a:cubicBezTo>
                <a:cubicBezTo>
                  <a:pt x="9" y="49"/>
                  <a:pt x="9" y="49"/>
                  <a:pt x="9" y="49"/>
                </a:cubicBezTo>
                <a:cubicBezTo>
                  <a:pt x="9" y="50"/>
                  <a:pt x="8" y="51"/>
                  <a:pt x="8" y="52"/>
                </a:cubicBezTo>
                <a:cubicBezTo>
                  <a:pt x="8" y="52"/>
                  <a:pt x="8" y="52"/>
                  <a:pt x="8" y="53"/>
                </a:cubicBezTo>
                <a:cubicBezTo>
                  <a:pt x="8" y="53"/>
                  <a:pt x="8" y="53"/>
                  <a:pt x="8" y="53"/>
                </a:cubicBezTo>
                <a:cubicBezTo>
                  <a:pt x="7" y="54"/>
                  <a:pt x="7" y="55"/>
                  <a:pt x="7" y="55"/>
                </a:cubicBezTo>
                <a:cubicBezTo>
                  <a:pt x="7" y="55"/>
                  <a:pt x="7" y="56"/>
                  <a:pt x="7" y="56"/>
                </a:cubicBezTo>
                <a:cubicBezTo>
                  <a:pt x="7" y="56"/>
                  <a:pt x="7" y="57"/>
                  <a:pt x="7" y="58"/>
                </a:cubicBezTo>
                <a:cubicBezTo>
                  <a:pt x="6" y="58"/>
                  <a:pt x="6" y="58"/>
                  <a:pt x="6" y="59"/>
                </a:cubicBezTo>
                <a:cubicBezTo>
                  <a:pt x="6" y="59"/>
                  <a:pt x="6" y="60"/>
                  <a:pt x="6" y="60"/>
                </a:cubicBezTo>
                <a:cubicBezTo>
                  <a:pt x="6" y="61"/>
                  <a:pt x="4" y="61"/>
                  <a:pt x="3" y="62"/>
                </a:cubicBezTo>
                <a:cubicBezTo>
                  <a:pt x="3" y="62"/>
                  <a:pt x="3" y="63"/>
                  <a:pt x="3" y="63"/>
                </a:cubicBezTo>
                <a:cubicBezTo>
                  <a:pt x="4" y="63"/>
                  <a:pt x="4" y="63"/>
                  <a:pt x="5" y="63"/>
                </a:cubicBezTo>
                <a:cubicBezTo>
                  <a:pt x="5" y="64"/>
                  <a:pt x="6" y="64"/>
                  <a:pt x="6" y="64"/>
                </a:cubicBezTo>
                <a:cubicBezTo>
                  <a:pt x="7" y="64"/>
                  <a:pt x="7" y="64"/>
                  <a:pt x="7" y="64"/>
                </a:cubicBezTo>
                <a:cubicBezTo>
                  <a:pt x="7" y="64"/>
                  <a:pt x="9" y="64"/>
                  <a:pt x="8" y="65"/>
                </a:cubicBezTo>
                <a:cubicBezTo>
                  <a:pt x="8" y="65"/>
                  <a:pt x="7" y="65"/>
                  <a:pt x="7" y="65"/>
                </a:cubicBezTo>
                <a:cubicBezTo>
                  <a:pt x="7" y="65"/>
                  <a:pt x="6" y="64"/>
                  <a:pt x="6" y="64"/>
                </a:cubicBezTo>
                <a:cubicBezTo>
                  <a:pt x="6" y="64"/>
                  <a:pt x="5" y="64"/>
                  <a:pt x="5" y="64"/>
                </a:cubicBezTo>
                <a:cubicBezTo>
                  <a:pt x="4" y="64"/>
                  <a:pt x="3" y="64"/>
                  <a:pt x="3" y="64"/>
                </a:cubicBezTo>
                <a:cubicBezTo>
                  <a:pt x="2" y="65"/>
                  <a:pt x="2" y="65"/>
                  <a:pt x="2" y="65"/>
                </a:cubicBezTo>
                <a:cubicBezTo>
                  <a:pt x="2" y="67"/>
                  <a:pt x="2" y="67"/>
                  <a:pt x="1" y="68"/>
                </a:cubicBezTo>
                <a:cubicBezTo>
                  <a:pt x="1" y="69"/>
                  <a:pt x="0" y="69"/>
                  <a:pt x="0" y="70"/>
                </a:cubicBezTo>
                <a:cubicBezTo>
                  <a:pt x="0" y="70"/>
                  <a:pt x="0" y="71"/>
                  <a:pt x="0" y="72"/>
                </a:cubicBezTo>
                <a:cubicBezTo>
                  <a:pt x="0" y="72"/>
                  <a:pt x="0" y="73"/>
                  <a:pt x="0" y="73"/>
                </a:cubicBezTo>
                <a:cubicBezTo>
                  <a:pt x="0" y="73"/>
                  <a:pt x="0" y="74"/>
                  <a:pt x="0" y="74"/>
                </a:cubicBezTo>
                <a:cubicBezTo>
                  <a:pt x="1" y="74"/>
                  <a:pt x="1" y="75"/>
                  <a:pt x="1" y="76"/>
                </a:cubicBezTo>
                <a:cubicBezTo>
                  <a:pt x="1" y="76"/>
                  <a:pt x="1" y="77"/>
                  <a:pt x="1" y="77"/>
                </a:cubicBezTo>
                <a:cubicBezTo>
                  <a:pt x="1" y="78"/>
                  <a:pt x="1" y="79"/>
                  <a:pt x="1" y="80"/>
                </a:cubicBezTo>
                <a:cubicBezTo>
                  <a:pt x="1" y="80"/>
                  <a:pt x="1" y="80"/>
                  <a:pt x="1" y="81"/>
                </a:cubicBezTo>
                <a:cubicBezTo>
                  <a:pt x="1" y="81"/>
                  <a:pt x="2" y="81"/>
                  <a:pt x="2" y="82"/>
                </a:cubicBezTo>
                <a:cubicBezTo>
                  <a:pt x="2" y="82"/>
                  <a:pt x="3" y="83"/>
                  <a:pt x="3" y="83"/>
                </a:cubicBezTo>
                <a:cubicBezTo>
                  <a:pt x="4" y="83"/>
                  <a:pt x="4" y="83"/>
                  <a:pt x="5" y="84"/>
                </a:cubicBezTo>
                <a:cubicBezTo>
                  <a:pt x="5" y="84"/>
                  <a:pt x="5" y="84"/>
                  <a:pt x="5" y="84"/>
                </a:cubicBezTo>
                <a:cubicBezTo>
                  <a:pt x="5" y="84"/>
                  <a:pt x="6" y="84"/>
                  <a:pt x="6" y="85"/>
                </a:cubicBezTo>
                <a:cubicBezTo>
                  <a:pt x="6" y="85"/>
                  <a:pt x="6" y="85"/>
                  <a:pt x="7" y="86"/>
                </a:cubicBezTo>
                <a:cubicBezTo>
                  <a:pt x="7" y="87"/>
                  <a:pt x="8" y="86"/>
                  <a:pt x="9" y="87"/>
                </a:cubicBezTo>
                <a:cubicBezTo>
                  <a:pt x="9" y="87"/>
                  <a:pt x="10" y="88"/>
                  <a:pt x="10" y="88"/>
                </a:cubicBezTo>
                <a:cubicBezTo>
                  <a:pt x="10" y="89"/>
                  <a:pt x="10" y="90"/>
                  <a:pt x="11" y="91"/>
                </a:cubicBezTo>
                <a:cubicBezTo>
                  <a:pt x="12" y="92"/>
                  <a:pt x="14" y="93"/>
                  <a:pt x="14" y="94"/>
                </a:cubicBezTo>
                <a:cubicBezTo>
                  <a:pt x="14" y="94"/>
                  <a:pt x="15" y="95"/>
                  <a:pt x="15" y="95"/>
                </a:cubicBezTo>
                <a:cubicBezTo>
                  <a:pt x="15" y="95"/>
                  <a:pt x="15" y="96"/>
                  <a:pt x="16" y="96"/>
                </a:cubicBezTo>
                <a:cubicBezTo>
                  <a:pt x="16" y="96"/>
                  <a:pt x="16" y="96"/>
                  <a:pt x="16" y="97"/>
                </a:cubicBezTo>
                <a:cubicBezTo>
                  <a:pt x="16" y="97"/>
                  <a:pt x="16" y="97"/>
                  <a:pt x="16" y="97"/>
                </a:cubicBezTo>
                <a:cubicBezTo>
                  <a:pt x="17" y="98"/>
                  <a:pt x="18" y="99"/>
                  <a:pt x="19" y="100"/>
                </a:cubicBezTo>
                <a:cubicBezTo>
                  <a:pt x="19" y="100"/>
                  <a:pt x="19" y="101"/>
                  <a:pt x="19" y="101"/>
                </a:cubicBezTo>
                <a:cubicBezTo>
                  <a:pt x="19" y="101"/>
                  <a:pt x="19" y="101"/>
                  <a:pt x="19" y="102"/>
                </a:cubicBezTo>
                <a:cubicBezTo>
                  <a:pt x="20" y="102"/>
                  <a:pt x="19" y="103"/>
                  <a:pt x="19" y="103"/>
                </a:cubicBezTo>
                <a:cubicBezTo>
                  <a:pt x="20" y="104"/>
                  <a:pt x="20" y="105"/>
                  <a:pt x="20" y="106"/>
                </a:cubicBezTo>
                <a:cubicBezTo>
                  <a:pt x="20" y="106"/>
                  <a:pt x="20" y="107"/>
                  <a:pt x="20" y="107"/>
                </a:cubicBezTo>
                <a:cubicBezTo>
                  <a:pt x="20" y="108"/>
                  <a:pt x="21" y="108"/>
                  <a:pt x="21" y="108"/>
                </a:cubicBezTo>
                <a:cubicBezTo>
                  <a:pt x="21" y="109"/>
                  <a:pt x="21" y="110"/>
                  <a:pt x="21" y="110"/>
                </a:cubicBezTo>
                <a:cubicBezTo>
                  <a:pt x="21" y="111"/>
                  <a:pt x="21" y="112"/>
                  <a:pt x="21" y="113"/>
                </a:cubicBezTo>
                <a:cubicBezTo>
                  <a:pt x="21" y="113"/>
                  <a:pt x="20" y="113"/>
                  <a:pt x="20" y="113"/>
                </a:cubicBezTo>
                <a:cubicBezTo>
                  <a:pt x="20" y="120"/>
                  <a:pt x="20" y="120"/>
                  <a:pt x="20" y="120"/>
                </a:cubicBezTo>
                <a:cubicBezTo>
                  <a:pt x="20" y="121"/>
                  <a:pt x="20" y="121"/>
                  <a:pt x="20" y="122"/>
                </a:cubicBezTo>
                <a:cubicBezTo>
                  <a:pt x="20" y="122"/>
                  <a:pt x="21" y="122"/>
                  <a:pt x="21" y="123"/>
                </a:cubicBezTo>
                <a:cubicBezTo>
                  <a:pt x="21" y="123"/>
                  <a:pt x="21" y="123"/>
                  <a:pt x="21" y="123"/>
                </a:cubicBezTo>
                <a:cubicBezTo>
                  <a:pt x="21" y="125"/>
                  <a:pt x="21" y="125"/>
                  <a:pt x="21" y="125"/>
                </a:cubicBezTo>
                <a:cubicBezTo>
                  <a:pt x="21" y="125"/>
                  <a:pt x="21" y="125"/>
                  <a:pt x="21" y="125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1" y="127"/>
                  <a:pt x="21" y="128"/>
                  <a:pt x="22" y="129"/>
                </a:cubicBezTo>
                <a:cubicBezTo>
                  <a:pt x="22" y="129"/>
                  <a:pt x="22" y="129"/>
                  <a:pt x="22" y="130"/>
                </a:cubicBezTo>
                <a:cubicBezTo>
                  <a:pt x="22" y="130"/>
                  <a:pt x="22" y="130"/>
                  <a:pt x="23" y="131"/>
                </a:cubicBezTo>
                <a:cubicBezTo>
                  <a:pt x="23" y="131"/>
                  <a:pt x="23" y="132"/>
                  <a:pt x="23" y="132"/>
                </a:cubicBezTo>
                <a:cubicBezTo>
                  <a:pt x="23" y="133"/>
                  <a:pt x="23" y="133"/>
                  <a:pt x="23" y="133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4" y="135"/>
                  <a:pt x="24" y="136"/>
                  <a:pt x="24" y="137"/>
                </a:cubicBezTo>
                <a:cubicBezTo>
                  <a:pt x="24" y="138"/>
                  <a:pt x="23" y="139"/>
                  <a:pt x="23" y="140"/>
                </a:cubicBezTo>
                <a:cubicBezTo>
                  <a:pt x="24" y="141"/>
                  <a:pt x="24" y="141"/>
                  <a:pt x="24" y="142"/>
                </a:cubicBezTo>
                <a:cubicBezTo>
                  <a:pt x="25" y="143"/>
                  <a:pt x="26" y="144"/>
                  <a:pt x="27" y="145"/>
                </a:cubicBezTo>
                <a:cubicBezTo>
                  <a:pt x="28" y="146"/>
                  <a:pt x="29" y="147"/>
                  <a:pt x="30" y="148"/>
                </a:cubicBezTo>
                <a:cubicBezTo>
                  <a:pt x="31" y="148"/>
                  <a:pt x="31" y="149"/>
                  <a:pt x="32" y="149"/>
                </a:cubicBezTo>
                <a:cubicBezTo>
                  <a:pt x="32" y="150"/>
                  <a:pt x="33" y="150"/>
                  <a:pt x="33" y="151"/>
                </a:cubicBezTo>
                <a:cubicBezTo>
                  <a:pt x="34" y="151"/>
                  <a:pt x="34" y="152"/>
                  <a:pt x="34" y="152"/>
                </a:cubicBezTo>
                <a:cubicBezTo>
                  <a:pt x="34" y="153"/>
                  <a:pt x="35" y="153"/>
                  <a:pt x="35" y="154"/>
                </a:cubicBezTo>
                <a:cubicBezTo>
                  <a:pt x="36" y="154"/>
                  <a:pt x="36" y="155"/>
                  <a:pt x="36" y="155"/>
                </a:cubicBezTo>
                <a:cubicBezTo>
                  <a:pt x="36" y="155"/>
                  <a:pt x="37" y="156"/>
                  <a:pt x="37" y="156"/>
                </a:cubicBezTo>
                <a:cubicBezTo>
                  <a:pt x="38" y="157"/>
                  <a:pt x="38" y="158"/>
                  <a:pt x="39" y="158"/>
                </a:cubicBezTo>
                <a:cubicBezTo>
                  <a:pt x="41" y="159"/>
                  <a:pt x="42" y="160"/>
                  <a:pt x="43" y="161"/>
                </a:cubicBezTo>
                <a:cubicBezTo>
                  <a:pt x="44" y="162"/>
                  <a:pt x="44" y="163"/>
                  <a:pt x="44" y="164"/>
                </a:cubicBezTo>
                <a:cubicBezTo>
                  <a:pt x="45" y="164"/>
                  <a:pt x="45" y="165"/>
                  <a:pt x="45" y="166"/>
                </a:cubicBezTo>
                <a:cubicBezTo>
                  <a:pt x="45" y="166"/>
                  <a:pt x="45" y="167"/>
                  <a:pt x="45" y="167"/>
                </a:cubicBezTo>
                <a:cubicBezTo>
                  <a:pt x="46" y="167"/>
                  <a:pt x="47" y="167"/>
                  <a:pt x="47" y="168"/>
                </a:cubicBezTo>
                <a:cubicBezTo>
                  <a:pt x="48" y="168"/>
                  <a:pt x="48" y="168"/>
                  <a:pt x="49" y="169"/>
                </a:cubicBezTo>
                <a:cubicBezTo>
                  <a:pt x="49" y="169"/>
                  <a:pt x="49" y="170"/>
                  <a:pt x="50" y="170"/>
                </a:cubicBezTo>
                <a:cubicBezTo>
                  <a:pt x="50" y="171"/>
                  <a:pt x="51" y="172"/>
                  <a:pt x="52" y="173"/>
                </a:cubicBezTo>
                <a:cubicBezTo>
                  <a:pt x="52" y="174"/>
                  <a:pt x="53" y="174"/>
                  <a:pt x="53" y="174"/>
                </a:cubicBezTo>
                <a:cubicBezTo>
                  <a:pt x="53" y="175"/>
                  <a:pt x="53" y="175"/>
                  <a:pt x="53" y="175"/>
                </a:cubicBezTo>
                <a:cubicBezTo>
                  <a:pt x="53" y="176"/>
                  <a:pt x="53" y="176"/>
                  <a:pt x="53" y="176"/>
                </a:cubicBezTo>
                <a:cubicBezTo>
                  <a:pt x="52" y="175"/>
                  <a:pt x="52" y="175"/>
                  <a:pt x="51" y="174"/>
                </a:cubicBezTo>
                <a:cubicBezTo>
                  <a:pt x="51" y="174"/>
                  <a:pt x="50" y="173"/>
                  <a:pt x="50" y="172"/>
                </a:cubicBezTo>
                <a:cubicBezTo>
                  <a:pt x="50" y="172"/>
                  <a:pt x="49" y="172"/>
                  <a:pt x="49" y="171"/>
                </a:cubicBezTo>
                <a:cubicBezTo>
                  <a:pt x="49" y="171"/>
                  <a:pt x="49" y="171"/>
                  <a:pt x="49" y="171"/>
                </a:cubicBezTo>
                <a:cubicBezTo>
                  <a:pt x="48" y="171"/>
                  <a:pt x="49" y="172"/>
                  <a:pt x="49" y="172"/>
                </a:cubicBezTo>
                <a:cubicBezTo>
                  <a:pt x="49" y="173"/>
                  <a:pt x="50" y="173"/>
                  <a:pt x="50" y="174"/>
                </a:cubicBezTo>
                <a:cubicBezTo>
                  <a:pt x="50" y="174"/>
                  <a:pt x="50" y="175"/>
                  <a:pt x="50" y="175"/>
                </a:cubicBezTo>
                <a:cubicBezTo>
                  <a:pt x="50" y="175"/>
                  <a:pt x="49" y="175"/>
                  <a:pt x="49" y="175"/>
                </a:cubicBezTo>
                <a:cubicBezTo>
                  <a:pt x="49" y="176"/>
                  <a:pt x="49" y="177"/>
                  <a:pt x="49" y="178"/>
                </a:cubicBezTo>
                <a:cubicBezTo>
                  <a:pt x="49" y="178"/>
                  <a:pt x="49" y="179"/>
                  <a:pt x="48" y="179"/>
                </a:cubicBezTo>
                <a:cubicBezTo>
                  <a:pt x="48" y="179"/>
                  <a:pt x="48" y="180"/>
                  <a:pt x="48" y="180"/>
                </a:cubicBezTo>
                <a:cubicBezTo>
                  <a:pt x="48" y="181"/>
                  <a:pt x="49" y="181"/>
                  <a:pt x="50" y="181"/>
                </a:cubicBezTo>
                <a:cubicBezTo>
                  <a:pt x="50" y="180"/>
                  <a:pt x="50" y="180"/>
                  <a:pt x="51" y="180"/>
                </a:cubicBezTo>
                <a:cubicBezTo>
                  <a:pt x="51" y="180"/>
                  <a:pt x="51" y="180"/>
                  <a:pt x="52" y="180"/>
                </a:cubicBezTo>
                <a:cubicBezTo>
                  <a:pt x="52" y="180"/>
                  <a:pt x="53" y="180"/>
                  <a:pt x="53" y="181"/>
                </a:cubicBezTo>
                <a:cubicBezTo>
                  <a:pt x="53" y="181"/>
                  <a:pt x="54" y="181"/>
                  <a:pt x="54" y="182"/>
                </a:cubicBezTo>
                <a:cubicBezTo>
                  <a:pt x="55" y="182"/>
                  <a:pt x="55" y="183"/>
                  <a:pt x="55" y="183"/>
                </a:cubicBezTo>
                <a:cubicBezTo>
                  <a:pt x="56" y="184"/>
                  <a:pt x="57" y="184"/>
                  <a:pt x="57" y="185"/>
                </a:cubicBezTo>
                <a:cubicBezTo>
                  <a:pt x="58" y="185"/>
                  <a:pt x="58" y="185"/>
                  <a:pt x="58" y="185"/>
                </a:cubicBezTo>
                <a:cubicBezTo>
                  <a:pt x="58" y="185"/>
                  <a:pt x="59" y="185"/>
                  <a:pt x="59" y="185"/>
                </a:cubicBezTo>
                <a:cubicBezTo>
                  <a:pt x="60" y="185"/>
                  <a:pt x="60" y="185"/>
                  <a:pt x="61" y="185"/>
                </a:cubicBezTo>
                <a:cubicBezTo>
                  <a:pt x="61" y="185"/>
                  <a:pt x="61" y="186"/>
                  <a:pt x="62" y="186"/>
                </a:cubicBezTo>
                <a:cubicBezTo>
                  <a:pt x="62" y="186"/>
                  <a:pt x="63" y="187"/>
                  <a:pt x="63" y="187"/>
                </a:cubicBezTo>
                <a:cubicBezTo>
                  <a:pt x="64" y="188"/>
                  <a:pt x="64" y="188"/>
                  <a:pt x="64" y="188"/>
                </a:cubicBezTo>
                <a:cubicBezTo>
                  <a:pt x="65" y="188"/>
                  <a:pt x="65" y="188"/>
                  <a:pt x="65" y="188"/>
                </a:cubicBezTo>
                <a:cubicBezTo>
                  <a:pt x="66" y="187"/>
                  <a:pt x="67" y="187"/>
                  <a:pt x="67" y="186"/>
                </a:cubicBezTo>
                <a:cubicBezTo>
                  <a:pt x="67" y="185"/>
                  <a:pt x="66" y="184"/>
                  <a:pt x="66" y="184"/>
                </a:cubicBezTo>
                <a:cubicBezTo>
                  <a:pt x="65" y="183"/>
                  <a:pt x="65" y="182"/>
                  <a:pt x="65" y="181"/>
                </a:cubicBezTo>
                <a:cubicBezTo>
                  <a:pt x="65" y="181"/>
                  <a:pt x="65" y="180"/>
                  <a:pt x="65" y="180"/>
                </a:cubicBezTo>
                <a:cubicBezTo>
                  <a:pt x="66" y="179"/>
                  <a:pt x="66" y="179"/>
                  <a:pt x="66" y="178"/>
                </a:cubicBezTo>
                <a:cubicBezTo>
                  <a:pt x="65" y="178"/>
                  <a:pt x="65" y="177"/>
                  <a:pt x="65" y="177"/>
                </a:cubicBezTo>
                <a:cubicBezTo>
                  <a:pt x="65" y="177"/>
                  <a:pt x="65" y="177"/>
                  <a:pt x="65" y="177"/>
                </a:cubicBezTo>
                <a:cubicBezTo>
                  <a:pt x="65" y="176"/>
                  <a:pt x="65" y="176"/>
                  <a:pt x="65" y="176"/>
                </a:cubicBezTo>
                <a:cubicBezTo>
                  <a:pt x="66" y="175"/>
                  <a:pt x="67" y="175"/>
                  <a:pt x="67" y="176"/>
                </a:cubicBezTo>
                <a:cubicBezTo>
                  <a:pt x="68" y="176"/>
                  <a:pt x="68" y="176"/>
                  <a:pt x="69" y="175"/>
                </a:cubicBezTo>
                <a:cubicBezTo>
                  <a:pt x="69" y="175"/>
                  <a:pt x="70" y="176"/>
                  <a:pt x="70" y="176"/>
                </a:cubicBezTo>
                <a:cubicBezTo>
                  <a:pt x="71" y="176"/>
                  <a:pt x="71" y="177"/>
                  <a:pt x="72" y="177"/>
                </a:cubicBezTo>
                <a:cubicBezTo>
                  <a:pt x="72" y="177"/>
                  <a:pt x="73" y="177"/>
                  <a:pt x="73" y="177"/>
                </a:cubicBezTo>
                <a:cubicBezTo>
                  <a:pt x="73" y="177"/>
                  <a:pt x="74" y="177"/>
                  <a:pt x="74" y="177"/>
                </a:cubicBezTo>
                <a:cubicBezTo>
                  <a:pt x="75" y="177"/>
                  <a:pt x="75" y="177"/>
                  <a:pt x="76" y="177"/>
                </a:cubicBezTo>
                <a:cubicBezTo>
                  <a:pt x="77" y="177"/>
                  <a:pt x="78" y="177"/>
                  <a:pt x="79" y="176"/>
                </a:cubicBezTo>
                <a:cubicBezTo>
                  <a:pt x="79" y="176"/>
                  <a:pt x="81" y="174"/>
                  <a:pt x="81" y="175"/>
                </a:cubicBezTo>
                <a:cubicBezTo>
                  <a:pt x="81" y="176"/>
                  <a:pt x="81" y="176"/>
                  <a:pt x="82" y="176"/>
                </a:cubicBezTo>
                <a:cubicBezTo>
                  <a:pt x="82" y="177"/>
                  <a:pt x="82" y="177"/>
                  <a:pt x="83" y="177"/>
                </a:cubicBezTo>
                <a:cubicBezTo>
                  <a:pt x="83" y="177"/>
                  <a:pt x="83" y="177"/>
                  <a:pt x="83" y="177"/>
                </a:cubicBezTo>
                <a:cubicBezTo>
                  <a:pt x="83" y="177"/>
                  <a:pt x="83" y="177"/>
                  <a:pt x="84" y="177"/>
                </a:cubicBezTo>
                <a:cubicBezTo>
                  <a:pt x="84" y="178"/>
                  <a:pt x="84" y="178"/>
                  <a:pt x="85" y="178"/>
                </a:cubicBezTo>
                <a:cubicBezTo>
                  <a:pt x="85" y="178"/>
                  <a:pt x="86" y="178"/>
                  <a:pt x="87" y="178"/>
                </a:cubicBezTo>
                <a:cubicBezTo>
                  <a:pt x="88" y="178"/>
                  <a:pt x="88" y="178"/>
                  <a:pt x="89" y="177"/>
                </a:cubicBezTo>
                <a:cubicBezTo>
                  <a:pt x="89" y="177"/>
                  <a:pt x="90" y="177"/>
                  <a:pt x="91" y="177"/>
                </a:cubicBezTo>
                <a:cubicBezTo>
                  <a:pt x="91" y="176"/>
                  <a:pt x="92" y="176"/>
                  <a:pt x="92" y="176"/>
                </a:cubicBezTo>
                <a:cubicBezTo>
                  <a:pt x="92" y="177"/>
                  <a:pt x="92" y="177"/>
                  <a:pt x="92" y="177"/>
                </a:cubicBezTo>
                <a:cubicBezTo>
                  <a:pt x="92" y="177"/>
                  <a:pt x="92" y="177"/>
                  <a:pt x="92" y="178"/>
                </a:cubicBezTo>
                <a:cubicBezTo>
                  <a:pt x="91" y="178"/>
                  <a:pt x="91" y="178"/>
                  <a:pt x="91" y="178"/>
                </a:cubicBezTo>
                <a:cubicBezTo>
                  <a:pt x="91" y="179"/>
                  <a:pt x="92" y="179"/>
                  <a:pt x="92" y="178"/>
                </a:cubicBezTo>
                <a:cubicBezTo>
                  <a:pt x="93" y="178"/>
                  <a:pt x="93" y="177"/>
                  <a:pt x="94" y="176"/>
                </a:cubicBezTo>
                <a:cubicBezTo>
                  <a:pt x="94" y="176"/>
                  <a:pt x="95" y="176"/>
                  <a:pt x="95" y="176"/>
                </a:cubicBezTo>
                <a:cubicBezTo>
                  <a:pt x="96" y="176"/>
                  <a:pt x="97" y="176"/>
                  <a:pt x="97" y="176"/>
                </a:cubicBezTo>
                <a:cubicBezTo>
                  <a:pt x="98" y="176"/>
                  <a:pt x="98" y="176"/>
                  <a:pt x="99" y="177"/>
                </a:cubicBezTo>
                <a:cubicBezTo>
                  <a:pt x="100" y="178"/>
                  <a:pt x="101" y="178"/>
                  <a:pt x="103" y="179"/>
                </a:cubicBezTo>
                <a:cubicBezTo>
                  <a:pt x="103" y="179"/>
                  <a:pt x="105" y="181"/>
                  <a:pt x="103" y="181"/>
                </a:cubicBezTo>
                <a:cubicBezTo>
                  <a:pt x="103" y="181"/>
                  <a:pt x="103" y="181"/>
                  <a:pt x="102" y="181"/>
                </a:cubicBezTo>
                <a:cubicBezTo>
                  <a:pt x="102" y="181"/>
                  <a:pt x="102" y="181"/>
                  <a:pt x="101" y="181"/>
                </a:cubicBezTo>
                <a:cubicBezTo>
                  <a:pt x="101" y="180"/>
                  <a:pt x="101" y="180"/>
                  <a:pt x="100" y="180"/>
                </a:cubicBezTo>
                <a:cubicBezTo>
                  <a:pt x="100" y="180"/>
                  <a:pt x="99" y="179"/>
                  <a:pt x="99" y="179"/>
                </a:cubicBezTo>
                <a:cubicBezTo>
                  <a:pt x="98" y="179"/>
                  <a:pt x="98" y="178"/>
                  <a:pt x="97" y="178"/>
                </a:cubicBezTo>
                <a:cubicBezTo>
                  <a:pt x="97" y="178"/>
                  <a:pt x="96" y="178"/>
                  <a:pt x="96" y="177"/>
                </a:cubicBezTo>
                <a:cubicBezTo>
                  <a:pt x="95" y="177"/>
                  <a:pt x="95" y="177"/>
                  <a:pt x="95" y="177"/>
                </a:cubicBezTo>
                <a:cubicBezTo>
                  <a:pt x="94" y="176"/>
                  <a:pt x="94" y="178"/>
                  <a:pt x="94" y="178"/>
                </a:cubicBezTo>
                <a:cubicBezTo>
                  <a:pt x="94" y="179"/>
                  <a:pt x="94" y="179"/>
                  <a:pt x="94" y="180"/>
                </a:cubicBezTo>
                <a:cubicBezTo>
                  <a:pt x="94" y="180"/>
                  <a:pt x="93" y="180"/>
                  <a:pt x="93" y="180"/>
                </a:cubicBezTo>
                <a:cubicBezTo>
                  <a:pt x="92" y="180"/>
                  <a:pt x="92" y="180"/>
                  <a:pt x="92" y="180"/>
                </a:cubicBezTo>
                <a:cubicBezTo>
                  <a:pt x="91" y="180"/>
                  <a:pt x="91" y="180"/>
                  <a:pt x="91" y="180"/>
                </a:cubicBezTo>
                <a:cubicBezTo>
                  <a:pt x="90" y="180"/>
                  <a:pt x="89" y="180"/>
                  <a:pt x="89" y="180"/>
                </a:cubicBezTo>
                <a:cubicBezTo>
                  <a:pt x="88" y="180"/>
                  <a:pt x="87" y="179"/>
                  <a:pt x="87" y="179"/>
                </a:cubicBezTo>
                <a:cubicBezTo>
                  <a:pt x="86" y="179"/>
                  <a:pt x="86" y="179"/>
                  <a:pt x="85" y="179"/>
                </a:cubicBezTo>
                <a:cubicBezTo>
                  <a:pt x="84" y="179"/>
                  <a:pt x="84" y="179"/>
                  <a:pt x="83" y="179"/>
                </a:cubicBezTo>
                <a:cubicBezTo>
                  <a:pt x="83" y="178"/>
                  <a:pt x="83" y="178"/>
                  <a:pt x="82" y="178"/>
                </a:cubicBezTo>
                <a:cubicBezTo>
                  <a:pt x="82" y="178"/>
                  <a:pt x="82" y="178"/>
                  <a:pt x="81" y="178"/>
                </a:cubicBezTo>
                <a:cubicBezTo>
                  <a:pt x="81" y="178"/>
                  <a:pt x="80" y="179"/>
                  <a:pt x="80" y="179"/>
                </a:cubicBezTo>
                <a:cubicBezTo>
                  <a:pt x="79" y="179"/>
                  <a:pt x="79" y="179"/>
                  <a:pt x="78" y="179"/>
                </a:cubicBezTo>
                <a:cubicBezTo>
                  <a:pt x="78" y="180"/>
                  <a:pt x="77" y="180"/>
                  <a:pt x="77" y="179"/>
                </a:cubicBezTo>
                <a:cubicBezTo>
                  <a:pt x="76" y="179"/>
                  <a:pt x="76" y="179"/>
                  <a:pt x="75" y="179"/>
                </a:cubicBezTo>
                <a:cubicBezTo>
                  <a:pt x="75" y="179"/>
                  <a:pt x="74" y="179"/>
                  <a:pt x="74" y="179"/>
                </a:cubicBezTo>
                <a:cubicBezTo>
                  <a:pt x="73" y="180"/>
                  <a:pt x="73" y="180"/>
                  <a:pt x="72" y="180"/>
                </a:cubicBezTo>
                <a:cubicBezTo>
                  <a:pt x="72" y="180"/>
                  <a:pt x="71" y="181"/>
                  <a:pt x="71" y="181"/>
                </a:cubicBezTo>
                <a:cubicBezTo>
                  <a:pt x="70" y="181"/>
                  <a:pt x="69" y="181"/>
                  <a:pt x="69" y="182"/>
                </a:cubicBezTo>
                <a:cubicBezTo>
                  <a:pt x="68" y="183"/>
                  <a:pt x="69" y="183"/>
                  <a:pt x="70" y="184"/>
                </a:cubicBezTo>
                <a:cubicBezTo>
                  <a:pt x="70" y="184"/>
                  <a:pt x="70" y="184"/>
                  <a:pt x="70" y="185"/>
                </a:cubicBezTo>
                <a:cubicBezTo>
                  <a:pt x="71" y="186"/>
                  <a:pt x="71" y="187"/>
                  <a:pt x="71" y="188"/>
                </a:cubicBezTo>
                <a:cubicBezTo>
                  <a:pt x="71" y="189"/>
                  <a:pt x="72" y="190"/>
                  <a:pt x="73" y="191"/>
                </a:cubicBezTo>
                <a:cubicBezTo>
                  <a:pt x="73" y="192"/>
                  <a:pt x="74" y="192"/>
                  <a:pt x="75" y="193"/>
                </a:cubicBezTo>
                <a:cubicBezTo>
                  <a:pt x="75" y="193"/>
                  <a:pt x="76" y="194"/>
                  <a:pt x="76" y="194"/>
                </a:cubicBezTo>
                <a:cubicBezTo>
                  <a:pt x="77" y="195"/>
                  <a:pt x="76" y="196"/>
                  <a:pt x="77" y="196"/>
                </a:cubicBezTo>
                <a:cubicBezTo>
                  <a:pt x="77" y="196"/>
                  <a:pt x="77" y="197"/>
                  <a:pt x="77" y="197"/>
                </a:cubicBezTo>
                <a:cubicBezTo>
                  <a:pt x="77" y="197"/>
                  <a:pt x="77" y="198"/>
                  <a:pt x="77" y="198"/>
                </a:cubicBezTo>
                <a:cubicBezTo>
                  <a:pt x="77" y="198"/>
                  <a:pt x="78" y="199"/>
                  <a:pt x="78" y="199"/>
                </a:cubicBezTo>
                <a:cubicBezTo>
                  <a:pt x="78" y="200"/>
                  <a:pt x="78" y="200"/>
                  <a:pt x="78" y="201"/>
                </a:cubicBezTo>
                <a:cubicBezTo>
                  <a:pt x="79" y="201"/>
                  <a:pt x="79" y="202"/>
                  <a:pt x="79" y="202"/>
                </a:cubicBezTo>
                <a:cubicBezTo>
                  <a:pt x="79" y="203"/>
                  <a:pt x="79" y="203"/>
                  <a:pt x="78" y="203"/>
                </a:cubicBezTo>
                <a:cubicBezTo>
                  <a:pt x="78" y="203"/>
                  <a:pt x="77" y="203"/>
                  <a:pt x="77" y="203"/>
                </a:cubicBezTo>
                <a:cubicBezTo>
                  <a:pt x="77" y="203"/>
                  <a:pt x="76" y="202"/>
                  <a:pt x="76" y="202"/>
                </a:cubicBezTo>
                <a:cubicBezTo>
                  <a:pt x="76" y="202"/>
                  <a:pt x="75" y="201"/>
                  <a:pt x="75" y="201"/>
                </a:cubicBezTo>
                <a:cubicBezTo>
                  <a:pt x="74" y="200"/>
                  <a:pt x="73" y="200"/>
                  <a:pt x="72" y="199"/>
                </a:cubicBezTo>
                <a:cubicBezTo>
                  <a:pt x="70" y="199"/>
                  <a:pt x="70" y="196"/>
                  <a:pt x="70" y="195"/>
                </a:cubicBezTo>
                <a:cubicBezTo>
                  <a:pt x="70" y="194"/>
                  <a:pt x="70" y="193"/>
                  <a:pt x="70" y="193"/>
                </a:cubicBezTo>
                <a:cubicBezTo>
                  <a:pt x="70" y="192"/>
                  <a:pt x="70" y="191"/>
                  <a:pt x="70" y="191"/>
                </a:cubicBezTo>
                <a:cubicBezTo>
                  <a:pt x="70" y="190"/>
                  <a:pt x="70" y="190"/>
                  <a:pt x="69" y="190"/>
                </a:cubicBezTo>
                <a:cubicBezTo>
                  <a:pt x="69" y="190"/>
                  <a:pt x="69" y="190"/>
                  <a:pt x="68" y="190"/>
                </a:cubicBezTo>
                <a:cubicBezTo>
                  <a:pt x="68" y="190"/>
                  <a:pt x="67" y="189"/>
                  <a:pt x="67" y="189"/>
                </a:cubicBezTo>
                <a:cubicBezTo>
                  <a:pt x="66" y="189"/>
                  <a:pt x="66" y="190"/>
                  <a:pt x="66" y="191"/>
                </a:cubicBezTo>
                <a:cubicBezTo>
                  <a:pt x="66" y="191"/>
                  <a:pt x="66" y="191"/>
                  <a:pt x="66" y="192"/>
                </a:cubicBezTo>
                <a:cubicBezTo>
                  <a:pt x="66" y="192"/>
                  <a:pt x="65" y="192"/>
                  <a:pt x="65" y="193"/>
                </a:cubicBezTo>
                <a:cubicBezTo>
                  <a:pt x="65" y="193"/>
                  <a:pt x="65" y="193"/>
                  <a:pt x="65" y="193"/>
                </a:cubicBezTo>
                <a:cubicBezTo>
                  <a:pt x="65" y="200"/>
                  <a:pt x="65" y="200"/>
                  <a:pt x="65" y="200"/>
                </a:cubicBezTo>
                <a:cubicBezTo>
                  <a:pt x="65" y="201"/>
                  <a:pt x="65" y="201"/>
                  <a:pt x="65" y="201"/>
                </a:cubicBezTo>
                <a:cubicBezTo>
                  <a:pt x="65" y="202"/>
                  <a:pt x="66" y="202"/>
                  <a:pt x="66" y="203"/>
                </a:cubicBezTo>
                <a:cubicBezTo>
                  <a:pt x="66" y="203"/>
                  <a:pt x="66" y="204"/>
                  <a:pt x="67" y="204"/>
                </a:cubicBezTo>
                <a:cubicBezTo>
                  <a:pt x="67" y="204"/>
                  <a:pt x="67" y="205"/>
                  <a:pt x="67" y="205"/>
                </a:cubicBezTo>
                <a:cubicBezTo>
                  <a:pt x="67" y="205"/>
                  <a:pt x="67" y="206"/>
                  <a:pt x="68" y="206"/>
                </a:cubicBezTo>
                <a:cubicBezTo>
                  <a:pt x="68" y="206"/>
                  <a:pt x="68" y="206"/>
                  <a:pt x="68" y="206"/>
                </a:cubicBezTo>
                <a:cubicBezTo>
                  <a:pt x="68" y="207"/>
                  <a:pt x="68" y="207"/>
                  <a:pt x="68" y="208"/>
                </a:cubicBezTo>
                <a:cubicBezTo>
                  <a:pt x="68" y="208"/>
                  <a:pt x="68" y="209"/>
                  <a:pt x="69" y="209"/>
                </a:cubicBezTo>
                <a:cubicBezTo>
                  <a:pt x="69" y="210"/>
                  <a:pt x="69" y="210"/>
                  <a:pt x="69" y="210"/>
                </a:cubicBezTo>
                <a:cubicBezTo>
                  <a:pt x="69" y="211"/>
                  <a:pt x="69" y="211"/>
                  <a:pt x="68" y="212"/>
                </a:cubicBezTo>
                <a:cubicBezTo>
                  <a:pt x="68" y="212"/>
                  <a:pt x="68" y="212"/>
                  <a:pt x="68" y="213"/>
                </a:cubicBezTo>
                <a:cubicBezTo>
                  <a:pt x="68" y="213"/>
                  <a:pt x="68" y="213"/>
                  <a:pt x="68" y="214"/>
                </a:cubicBezTo>
                <a:cubicBezTo>
                  <a:pt x="68" y="214"/>
                  <a:pt x="68" y="214"/>
                  <a:pt x="68" y="215"/>
                </a:cubicBezTo>
                <a:cubicBezTo>
                  <a:pt x="69" y="215"/>
                  <a:pt x="69" y="215"/>
                  <a:pt x="69" y="215"/>
                </a:cubicBezTo>
                <a:cubicBezTo>
                  <a:pt x="69" y="215"/>
                  <a:pt x="69" y="215"/>
                  <a:pt x="69" y="216"/>
                </a:cubicBezTo>
                <a:cubicBezTo>
                  <a:pt x="69" y="216"/>
                  <a:pt x="69" y="216"/>
                  <a:pt x="69" y="217"/>
                </a:cubicBezTo>
                <a:cubicBezTo>
                  <a:pt x="70" y="217"/>
                  <a:pt x="69" y="217"/>
                  <a:pt x="70" y="217"/>
                </a:cubicBezTo>
                <a:cubicBezTo>
                  <a:pt x="70" y="218"/>
                  <a:pt x="70" y="218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ubicBezTo>
                  <a:pt x="71" y="220"/>
                  <a:pt x="72" y="220"/>
                  <a:pt x="72" y="221"/>
                </a:cubicBezTo>
                <a:cubicBezTo>
                  <a:pt x="72" y="221"/>
                  <a:pt x="73" y="221"/>
                  <a:pt x="73" y="222"/>
                </a:cubicBezTo>
                <a:cubicBezTo>
                  <a:pt x="74" y="222"/>
                  <a:pt x="74" y="222"/>
                  <a:pt x="74" y="223"/>
                </a:cubicBezTo>
                <a:cubicBezTo>
                  <a:pt x="74" y="223"/>
                  <a:pt x="75" y="223"/>
                  <a:pt x="75" y="223"/>
                </a:cubicBezTo>
                <a:cubicBezTo>
                  <a:pt x="75" y="223"/>
                  <a:pt x="76" y="223"/>
                  <a:pt x="76" y="224"/>
                </a:cubicBezTo>
                <a:cubicBezTo>
                  <a:pt x="76" y="224"/>
                  <a:pt x="76" y="224"/>
                  <a:pt x="77" y="225"/>
                </a:cubicBezTo>
                <a:cubicBezTo>
                  <a:pt x="77" y="225"/>
                  <a:pt x="78" y="225"/>
                  <a:pt x="78" y="225"/>
                </a:cubicBezTo>
                <a:cubicBezTo>
                  <a:pt x="78" y="225"/>
                  <a:pt x="78" y="226"/>
                  <a:pt x="78" y="226"/>
                </a:cubicBezTo>
                <a:cubicBezTo>
                  <a:pt x="79" y="226"/>
                  <a:pt x="79" y="226"/>
                  <a:pt x="79" y="226"/>
                </a:cubicBezTo>
                <a:cubicBezTo>
                  <a:pt x="80" y="226"/>
                  <a:pt x="81" y="226"/>
                  <a:pt x="82" y="226"/>
                </a:cubicBezTo>
                <a:cubicBezTo>
                  <a:pt x="82" y="226"/>
                  <a:pt x="83" y="226"/>
                  <a:pt x="83" y="226"/>
                </a:cubicBezTo>
                <a:cubicBezTo>
                  <a:pt x="84" y="226"/>
                  <a:pt x="84" y="226"/>
                  <a:pt x="84" y="226"/>
                </a:cubicBezTo>
                <a:cubicBezTo>
                  <a:pt x="85" y="225"/>
                  <a:pt x="85" y="226"/>
                  <a:pt x="86" y="226"/>
                </a:cubicBezTo>
                <a:cubicBezTo>
                  <a:pt x="86" y="226"/>
                  <a:pt x="86" y="226"/>
                  <a:pt x="86" y="226"/>
                </a:cubicBezTo>
                <a:cubicBezTo>
                  <a:pt x="86" y="227"/>
                  <a:pt x="87" y="227"/>
                  <a:pt x="87" y="227"/>
                </a:cubicBezTo>
                <a:cubicBezTo>
                  <a:pt x="87" y="227"/>
                  <a:pt x="88" y="227"/>
                  <a:pt x="88" y="227"/>
                </a:cubicBezTo>
                <a:cubicBezTo>
                  <a:pt x="88" y="228"/>
                  <a:pt x="88" y="228"/>
                  <a:pt x="88" y="228"/>
                </a:cubicBezTo>
                <a:cubicBezTo>
                  <a:pt x="88" y="228"/>
                  <a:pt x="89" y="229"/>
                  <a:pt x="89" y="229"/>
                </a:cubicBezTo>
                <a:cubicBezTo>
                  <a:pt x="89" y="229"/>
                  <a:pt x="89" y="229"/>
                  <a:pt x="89" y="229"/>
                </a:cubicBezTo>
                <a:cubicBezTo>
                  <a:pt x="89" y="230"/>
                  <a:pt x="89" y="230"/>
                  <a:pt x="89" y="230"/>
                </a:cubicBezTo>
                <a:cubicBezTo>
                  <a:pt x="89" y="231"/>
                  <a:pt x="89" y="231"/>
                  <a:pt x="89" y="231"/>
                </a:cubicBezTo>
                <a:cubicBezTo>
                  <a:pt x="89" y="231"/>
                  <a:pt x="90" y="231"/>
                  <a:pt x="90" y="232"/>
                </a:cubicBezTo>
                <a:cubicBezTo>
                  <a:pt x="90" y="232"/>
                  <a:pt x="90" y="232"/>
                  <a:pt x="90" y="233"/>
                </a:cubicBezTo>
                <a:cubicBezTo>
                  <a:pt x="90" y="233"/>
                  <a:pt x="90" y="233"/>
                  <a:pt x="90" y="234"/>
                </a:cubicBezTo>
                <a:cubicBezTo>
                  <a:pt x="90" y="234"/>
                  <a:pt x="90" y="234"/>
                  <a:pt x="89" y="234"/>
                </a:cubicBezTo>
                <a:cubicBezTo>
                  <a:pt x="89" y="237"/>
                  <a:pt x="89" y="237"/>
                  <a:pt x="89" y="237"/>
                </a:cubicBezTo>
                <a:cubicBezTo>
                  <a:pt x="89" y="237"/>
                  <a:pt x="89" y="237"/>
                  <a:pt x="89" y="238"/>
                </a:cubicBezTo>
                <a:cubicBezTo>
                  <a:pt x="89" y="238"/>
                  <a:pt x="89" y="238"/>
                  <a:pt x="89" y="239"/>
                </a:cubicBezTo>
                <a:cubicBezTo>
                  <a:pt x="88" y="239"/>
                  <a:pt x="88" y="240"/>
                  <a:pt x="88" y="241"/>
                </a:cubicBezTo>
                <a:cubicBezTo>
                  <a:pt x="88" y="241"/>
                  <a:pt x="88" y="241"/>
                  <a:pt x="88" y="241"/>
                </a:cubicBezTo>
                <a:cubicBezTo>
                  <a:pt x="84" y="241"/>
                  <a:pt x="84" y="241"/>
                  <a:pt x="84" y="241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3"/>
                  <a:pt x="84" y="243"/>
                  <a:pt x="84" y="244"/>
                </a:cubicBezTo>
                <a:cubicBezTo>
                  <a:pt x="84" y="244"/>
                  <a:pt x="84" y="244"/>
                  <a:pt x="84" y="245"/>
                </a:cubicBezTo>
                <a:cubicBezTo>
                  <a:pt x="84" y="245"/>
                  <a:pt x="85" y="245"/>
                  <a:pt x="85" y="245"/>
                </a:cubicBezTo>
                <a:cubicBezTo>
                  <a:pt x="85" y="246"/>
                  <a:pt x="85" y="247"/>
                  <a:pt x="85" y="247"/>
                </a:cubicBezTo>
                <a:cubicBezTo>
                  <a:pt x="85" y="248"/>
                  <a:pt x="85" y="248"/>
                  <a:pt x="85" y="248"/>
                </a:cubicBezTo>
                <a:cubicBezTo>
                  <a:pt x="85" y="249"/>
                  <a:pt x="85" y="249"/>
                  <a:pt x="85" y="249"/>
                </a:cubicBezTo>
                <a:cubicBezTo>
                  <a:pt x="85" y="249"/>
                  <a:pt x="85" y="250"/>
                  <a:pt x="86" y="251"/>
                </a:cubicBezTo>
                <a:cubicBezTo>
                  <a:pt x="86" y="253"/>
                  <a:pt x="86" y="253"/>
                  <a:pt x="86" y="253"/>
                </a:cubicBezTo>
                <a:cubicBezTo>
                  <a:pt x="86" y="253"/>
                  <a:pt x="86" y="253"/>
                  <a:pt x="86" y="253"/>
                </a:cubicBezTo>
                <a:cubicBezTo>
                  <a:pt x="86" y="253"/>
                  <a:pt x="86" y="253"/>
                  <a:pt x="86" y="254"/>
                </a:cubicBezTo>
                <a:cubicBezTo>
                  <a:pt x="86" y="254"/>
                  <a:pt x="86" y="255"/>
                  <a:pt x="87" y="255"/>
                </a:cubicBezTo>
                <a:cubicBezTo>
                  <a:pt x="87" y="255"/>
                  <a:pt x="87" y="255"/>
                  <a:pt x="87" y="255"/>
                </a:cubicBezTo>
                <a:cubicBezTo>
                  <a:pt x="88" y="255"/>
                  <a:pt x="88" y="255"/>
                  <a:pt x="88" y="256"/>
                </a:cubicBezTo>
                <a:cubicBezTo>
                  <a:pt x="88" y="256"/>
                  <a:pt x="89" y="256"/>
                  <a:pt x="89" y="257"/>
                </a:cubicBezTo>
                <a:cubicBezTo>
                  <a:pt x="90" y="257"/>
                  <a:pt x="90" y="258"/>
                  <a:pt x="90" y="258"/>
                </a:cubicBezTo>
                <a:cubicBezTo>
                  <a:pt x="91" y="258"/>
                  <a:pt x="91" y="259"/>
                  <a:pt x="91" y="259"/>
                </a:cubicBezTo>
                <a:cubicBezTo>
                  <a:pt x="91" y="259"/>
                  <a:pt x="92" y="259"/>
                  <a:pt x="92" y="259"/>
                </a:cubicBezTo>
                <a:cubicBezTo>
                  <a:pt x="92" y="260"/>
                  <a:pt x="93" y="260"/>
                  <a:pt x="93" y="260"/>
                </a:cubicBezTo>
                <a:cubicBezTo>
                  <a:pt x="93" y="260"/>
                  <a:pt x="93" y="260"/>
                  <a:pt x="94" y="260"/>
                </a:cubicBezTo>
                <a:cubicBezTo>
                  <a:pt x="94" y="261"/>
                  <a:pt x="95" y="262"/>
                  <a:pt x="95" y="262"/>
                </a:cubicBezTo>
                <a:cubicBezTo>
                  <a:pt x="95" y="263"/>
                  <a:pt x="96" y="263"/>
                  <a:pt x="96" y="263"/>
                </a:cubicBezTo>
                <a:cubicBezTo>
                  <a:pt x="96" y="264"/>
                  <a:pt x="96" y="264"/>
                  <a:pt x="96" y="264"/>
                </a:cubicBezTo>
                <a:cubicBezTo>
                  <a:pt x="96" y="264"/>
                  <a:pt x="96" y="265"/>
                  <a:pt x="97" y="265"/>
                </a:cubicBezTo>
                <a:cubicBezTo>
                  <a:pt x="97" y="265"/>
                  <a:pt x="97" y="265"/>
                  <a:pt x="97" y="266"/>
                </a:cubicBezTo>
                <a:cubicBezTo>
                  <a:pt x="97" y="266"/>
                  <a:pt x="97" y="266"/>
                  <a:pt x="97" y="266"/>
                </a:cubicBezTo>
                <a:cubicBezTo>
                  <a:pt x="97" y="266"/>
                  <a:pt x="97" y="266"/>
                  <a:pt x="97" y="266"/>
                </a:cubicBezTo>
                <a:cubicBezTo>
                  <a:pt x="97" y="266"/>
                  <a:pt x="98" y="266"/>
                  <a:pt x="98" y="267"/>
                </a:cubicBezTo>
                <a:cubicBezTo>
                  <a:pt x="98" y="267"/>
                  <a:pt x="98" y="267"/>
                  <a:pt x="99" y="267"/>
                </a:cubicBezTo>
                <a:cubicBezTo>
                  <a:pt x="99" y="267"/>
                  <a:pt x="99" y="267"/>
                  <a:pt x="99" y="267"/>
                </a:cubicBezTo>
                <a:cubicBezTo>
                  <a:pt x="99" y="267"/>
                  <a:pt x="99" y="267"/>
                  <a:pt x="100" y="267"/>
                </a:cubicBezTo>
                <a:cubicBezTo>
                  <a:pt x="100" y="268"/>
                  <a:pt x="100" y="268"/>
                  <a:pt x="100" y="268"/>
                </a:cubicBezTo>
                <a:cubicBezTo>
                  <a:pt x="100" y="268"/>
                  <a:pt x="100" y="268"/>
                  <a:pt x="100" y="269"/>
                </a:cubicBezTo>
                <a:cubicBezTo>
                  <a:pt x="101" y="269"/>
                  <a:pt x="101" y="270"/>
                  <a:pt x="101" y="270"/>
                </a:cubicBezTo>
                <a:cubicBezTo>
                  <a:pt x="101" y="271"/>
                  <a:pt x="101" y="271"/>
                  <a:pt x="101" y="271"/>
                </a:cubicBezTo>
                <a:cubicBezTo>
                  <a:pt x="101" y="272"/>
                  <a:pt x="101" y="272"/>
                  <a:pt x="101" y="273"/>
                </a:cubicBezTo>
                <a:cubicBezTo>
                  <a:pt x="102" y="273"/>
                  <a:pt x="102" y="273"/>
                  <a:pt x="102" y="274"/>
                </a:cubicBezTo>
                <a:cubicBezTo>
                  <a:pt x="103" y="274"/>
                  <a:pt x="103" y="275"/>
                  <a:pt x="103" y="275"/>
                </a:cubicBezTo>
                <a:cubicBezTo>
                  <a:pt x="104" y="275"/>
                  <a:pt x="104" y="276"/>
                  <a:pt x="105" y="276"/>
                </a:cubicBezTo>
                <a:cubicBezTo>
                  <a:pt x="105" y="276"/>
                  <a:pt x="106" y="277"/>
                  <a:pt x="106" y="278"/>
                </a:cubicBezTo>
                <a:cubicBezTo>
                  <a:pt x="106" y="278"/>
                  <a:pt x="106" y="278"/>
                  <a:pt x="106" y="278"/>
                </a:cubicBezTo>
                <a:cubicBezTo>
                  <a:pt x="106" y="279"/>
                  <a:pt x="106" y="279"/>
                  <a:pt x="106" y="279"/>
                </a:cubicBezTo>
                <a:cubicBezTo>
                  <a:pt x="107" y="279"/>
                  <a:pt x="107" y="280"/>
                  <a:pt x="107" y="280"/>
                </a:cubicBezTo>
                <a:cubicBezTo>
                  <a:pt x="107" y="281"/>
                  <a:pt x="107" y="281"/>
                  <a:pt x="107" y="281"/>
                </a:cubicBezTo>
                <a:cubicBezTo>
                  <a:pt x="108" y="282"/>
                  <a:pt x="108" y="282"/>
                  <a:pt x="109" y="282"/>
                </a:cubicBezTo>
                <a:cubicBezTo>
                  <a:pt x="109" y="283"/>
                  <a:pt x="110" y="282"/>
                  <a:pt x="110" y="283"/>
                </a:cubicBezTo>
                <a:cubicBezTo>
                  <a:pt x="111" y="283"/>
                  <a:pt x="111" y="283"/>
                  <a:pt x="111" y="283"/>
                </a:cubicBezTo>
                <a:cubicBezTo>
                  <a:pt x="111" y="283"/>
                  <a:pt x="111" y="283"/>
                  <a:pt x="112" y="283"/>
                </a:cubicBezTo>
                <a:cubicBezTo>
                  <a:pt x="112" y="284"/>
                  <a:pt x="112" y="284"/>
                  <a:pt x="113" y="284"/>
                </a:cubicBezTo>
                <a:cubicBezTo>
                  <a:pt x="113" y="285"/>
                  <a:pt x="113" y="285"/>
                  <a:pt x="113" y="285"/>
                </a:cubicBezTo>
                <a:cubicBezTo>
                  <a:pt x="113" y="286"/>
                  <a:pt x="114" y="286"/>
                  <a:pt x="114" y="286"/>
                </a:cubicBezTo>
                <a:cubicBezTo>
                  <a:pt x="114" y="287"/>
                  <a:pt x="114" y="287"/>
                  <a:pt x="114" y="287"/>
                </a:cubicBezTo>
                <a:cubicBezTo>
                  <a:pt x="115" y="288"/>
                  <a:pt x="115" y="288"/>
                  <a:pt x="115" y="288"/>
                </a:cubicBezTo>
                <a:cubicBezTo>
                  <a:pt x="116" y="288"/>
                  <a:pt x="116" y="288"/>
                  <a:pt x="116" y="289"/>
                </a:cubicBezTo>
                <a:cubicBezTo>
                  <a:pt x="117" y="289"/>
                  <a:pt x="117" y="289"/>
                  <a:pt x="117" y="289"/>
                </a:cubicBezTo>
                <a:cubicBezTo>
                  <a:pt x="117" y="289"/>
                  <a:pt x="117" y="289"/>
                  <a:pt x="117" y="290"/>
                </a:cubicBezTo>
                <a:cubicBezTo>
                  <a:pt x="118" y="290"/>
                  <a:pt x="118" y="290"/>
                  <a:pt x="118" y="290"/>
                </a:cubicBezTo>
                <a:cubicBezTo>
                  <a:pt x="119" y="290"/>
                  <a:pt x="119" y="290"/>
                  <a:pt x="119" y="290"/>
                </a:cubicBezTo>
                <a:cubicBezTo>
                  <a:pt x="119" y="291"/>
                  <a:pt x="120" y="291"/>
                  <a:pt x="120" y="291"/>
                </a:cubicBezTo>
                <a:cubicBezTo>
                  <a:pt x="121" y="291"/>
                  <a:pt x="121" y="291"/>
                  <a:pt x="121" y="292"/>
                </a:cubicBezTo>
                <a:cubicBezTo>
                  <a:pt x="121" y="292"/>
                  <a:pt x="121" y="292"/>
                  <a:pt x="121" y="292"/>
                </a:cubicBezTo>
                <a:cubicBezTo>
                  <a:pt x="121" y="292"/>
                  <a:pt x="121" y="293"/>
                  <a:pt x="121" y="293"/>
                </a:cubicBezTo>
                <a:cubicBezTo>
                  <a:pt x="122" y="293"/>
                  <a:pt x="122" y="293"/>
                  <a:pt x="122" y="293"/>
                </a:cubicBezTo>
                <a:cubicBezTo>
                  <a:pt x="122" y="295"/>
                  <a:pt x="122" y="295"/>
                  <a:pt x="122" y="295"/>
                </a:cubicBezTo>
                <a:cubicBezTo>
                  <a:pt x="122" y="296"/>
                  <a:pt x="121" y="296"/>
                  <a:pt x="121" y="296"/>
                </a:cubicBezTo>
                <a:cubicBezTo>
                  <a:pt x="121" y="296"/>
                  <a:pt x="121" y="297"/>
                  <a:pt x="121" y="297"/>
                </a:cubicBezTo>
                <a:cubicBezTo>
                  <a:pt x="121" y="298"/>
                  <a:pt x="121" y="298"/>
                  <a:pt x="121" y="299"/>
                </a:cubicBezTo>
                <a:cubicBezTo>
                  <a:pt x="121" y="299"/>
                  <a:pt x="121" y="299"/>
                  <a:pt x="121" y="299"/>
                </a:cubicBezTo>
                <a:cubicBezTo>
                  <a:pt x="121" y="299"/>
                  <a:pt x="121" y="300"/>
                  <a:pt x="121" y="300"/>
                </a:cubicBezTo>
                <a:cubicBezTo>
                  <a:pt x="121" y="300"/>
                  <a:pt x="122" y="300"/>
                  <a:pt x="122" y="300"/>
                </a:cubicBezTo>
                <a:cubicBezTo>
                  <a:pt x="122" y="300"/>
                  <a:pt x="122" y="300"/>
                  <a:pt x="122" y="300"/>
                </a:cubicBezTo>
                <a:cubicBezTo>
                  <a:pt x="123" y="300"/>
                  <a:pt x="123" y="301"/>
                  <a:pt x="123" y="301"/>
                </a:cubicBezTo>
                <a:cubicBezTo>
                  <a:pt x="123" y="301"/>
                  <a:pt x="123" y="301"/>
                  <a:pt x="124" y="301"/>
                </a:cubicBezTo>
                <a:cubicBezTo>
                  <a:pt x="124" y="301"/>
                  <a:pt x="124" y="302"/>
                  <a:pt x="124" y="302"/>
                </a:cubicBezTo>
                <a:cubicBezTo>
                  <a:pt x="124" y="302"/>
                  <a:pt x="125" y="302"/>
                  <a:pt x="125" y="302"/>
                </a:cubicBezTo>
                <a:cubicBezTo>
                  <a:pt x="125" y="302"/>
                  <a:pt x="126" y="303"/>
                  <a:pt x="126" y="303"/>
                </a:cubicBezTo>
                <a:cubicBezTo>
                  <a:pt x="127" y="303"/>
                  <a:pt x="127" y="303"/>
                  <a:pt x="128" y="304"/>
                </a:cubicBezTo>
                <a:cubicBezTo>
                  <a:pt x="128" y="304"/>
                  <a:pt x="129" y="304"/>
                  <a:pt x="129" y="304"/>
                </a:cubicBezTo>
                <a:cubicBezTo>
                  <a:pt x="129" y="309"/>
                  <a:pt x="129" y="309"/>
                  <a:pt x="129" y="309"/>
                </a:cubicBezTo>
                <a:cubicBezTo>
                  <a:pt x="129" y="309"/>
                  <a:pt x="129" y="309"/>
                  <a:pt x="130" y="309"/>
                </a:cubicBezTo>
                <a:cubicBezTo>
                  <a:pt x="129" y="310"/>
                  <a:pt x="129" y="310"/>
                  <a:pt x="129" y="310"/>
                </a:cubicBezTo>
                <a:cubicBezTo>
                  <a:pt x="129" y="312"/>
                  <a:pt x="129" y="312"/>
                  <a:pt x="129" y="312"/>
                </a:cubicBezTo>
                <a:cubicBezTo>
                  <a:pt x="129" y="313"/>
                  <a:pt x="129" y="313"/>
                  <a:pt x="129" y="313"/>
                </a:cubicBezTo>
                <a:cubicBezTo>
                  <a:pt x="129" y="313"/>
                  <a:pt x="129" y="314"/>
                  <a:pt x="129" y="314"/>
                </a:cubicBezTo>
                <a:cubicBezTo>
                  <a:pt x="129" y="314"/>
                  <a:pt x="130" y="314"/>
                  <a:pt x="130" y="315"/>
                </a:cubicBezTo>
                <a:cubicBezTo>
                  <a:pt x="130" y="315"/>
                  <a:pt x="130" y="316"/>
                  <a:pt x="130" y="317"/>
                </a:cubicBezTo>
                <a:cubicBezTo>
                  <a:pt x="131" y="317"/>
                  <a:pt x="131" y="318"/>
                  <a:pt x="130" y="318"/>
                </a:cubicBezTo>
                <a:cubicBezTo>
                  <a:pt x="130" y="319"/>
                  <a:pt x="129" y="319"/>
                  <a:pt x="130" y="319"/>
                </a:cubicBezTo>
                <a:cubicBezTo>
                  <a:pt x="130" y="319"/>
                  <a:pt x="130" y="319"/>
                  <a:pt x="130" y="319"/>
                </a:cubicBezTo>
                <a:cubicBezTo>
                  <a:pt x="130" y="320"/>
                  <a:pt x="130" y="320"/>
                  <a:pt x="130" y="320"/>
                </a:cubicBezTo>
                <a:cubicBezTo>
                  <a:pt x="130" y="320"/>
                  <a:pt x="130" y="321"/>
                  <a:pt x="130" y="321"/>
                </a:cubicBezTo>
                <a:cubicBezTo>
                  <a:pt x="131" y="321"/>
                  <a:pt x="131" y="321"/>
                  <a:pt x="131" y="322"/>
                </a:cubicBezTo>
                <a:cubicBezTo>
                  <a:pt x="131" y="322"/>
                  <a:pt x="131" y="322"/>
                  <a:pt x="131" y="322"/>
                </a:cubicBezTo>
                <a:cubicBezTo>
                  <a:pt x="131" y="323"/>
                  <a:pt x="130" y="322"/>
                  <a:pt x="130" y="323"/>
                </a:cubicBezTo>
                <a:cubicBezTo>
                  <a:pt x="130" y="323"/>
                  <a:pt x="130" y="324"/>
                  <a:pt x="130" y="324"/>
                </a:cubicBezTo>
                <a:cubicBezTo>
                  <a:pt x="130" y="324"/>
                  <a:pt x="131" y="325"/>
                  <a:pt x="130" y="325"/>
                </a:cubicBezTo>
                <a:cubicBezTo>
                  <a:pt x="130" y="325"/>
                  <a:pt x="130" y="326"/>
                  <a:pt x="130" y="326"/>
                </a:cubicBezTo>
                <a:cubicBezTo>
                  <a:pt x="130" y="326"/>
                  <a:pt x="130" y="326"/>
                  <a:pt x="130" y="326"/>
                </a:cubicBezTo>
                <a:cubicBezTo>
                  <a:pt x="130" y="326"/>
                  <a:pt x="130" y="326"/>
                  <a:pt x="130" y="326"/>
                </a:cubicBezTo>
                <a:cubicBezTo>
                  <a:pt x="130" y="326"/>
                  <a:pt x="130" y="326"/>
                  <a:pt x="130" y="326"/>
                </a:cubicBezTo>
                <a:cubicBezTo>
                  <a:pt x="129" y="327"/>
                  <a:pt x="129" y="327"/>
                  <a:pt x="129" y="327"/>
                </a:cubicBezTo>
                <a:cubicBezTo>
                  <a:pt x="129" y="328"/>
                  <a:pt x="129" y="328"/>
                  <a:pt x="130" y="328"/>
                </a:cubicBezTo>
                <a:cubicBezTo>
                  <a:pt x="130" y="328"/>
                  <a:pt x="131" y="328"/>
                  <a:pt x="131" y="328"/>
                </a:cubicBezTo>
                <a:cubicBezTo>
                  <a:pt x="131" y="329"/>
                  <a:pt x="131" y="329"/>
                  <a:pt x="131" y="329"/>
                </a:cubicBezTo>
                <a:cubicBezTo>
                  <a:pt x="131" y="329"/>
                  <a:pt x="132" y="329"/>
                  <a:pt x="132" y="329"/>
                </a:cubicBezTo>
                <a:cubicBezTo>
                  <a:pt x="132" y="329"/>
                  <a:pt x="132" y="329"/>
                  <a:pt x="132" y="329"/>
                </a:cubicBezTo>
                <a:cubicBezTo>
                  <a:pt x="132" y="329"/>
                  <a:pt x="132" y="329"/>
                  <a:pt x="132" y="329"/>
                </a:cubicBezTo>
                <a:cubicBezTo>
                  <a:pt x="133" y="329"/>
                  <a:pt x="133" y="329"/>
                  <a:pt x="133" y="329"/>
                </a:cubicBezTo>
                <a:cubicBezTo>
                  <a:pt x="134" y="330"/>
                  <a:pt x="134" y="330"/>
                  <a:pt x="134" y="331"/>
                </a:cubicBezTo>
                <a:cubicBezTo>
                  <a:pt x="134" y="331"/>
                  <a:pt x="135" y="331"/>
                  <a:pt x="135" y="332"/>
                </a:cubicBezTo>
                <a:cubicBezTo>
                  <a:pt x="134" y="332"/>
                  <a:pt x="134" y="332"/>
                  <a:pt x="134" y="332"/>
                </a:cubicBezTo>
                <a:cubicBezTo>
                  <a:pt x="135" y="332"/>
                  <a:pt x="135" y="332"/>
                  <a:pt x="135" y="332"/>
                </a:cubicBezTo>
                <a:cubicBezTo>
                  <a:pt x="135" y="332"/>
                  <a:pt x="135" y="332"/>
                  <a:pt x="135" y="333"/>
                </a:cubicBezTo>
                <a:cubicBezTo>
                  <a:pt x="135" y="333"/>
                  <a:pt x="136" y="333"/>
                  <a:pt x="136" y="333"/>
                </a:cubicBezTo>
                <a:cubicBezTo>
                  <a:pt x="136" y="333"/>
                  <a:pt x="136" y="333"/>
                  <a:pt x="136" y="332"/>
                </a:cubicBezTo>
                <a:cubicBezTo>
                  <a:pt x="137" y="332"/>
                  <a:pt x="137" y="332"/>
                  <a:pt x="138" y="332"/>
                </a:cubicBezTo>
                <a:cubicBezTo>
                  <a:pt x="138" y="332"/>
                  <a:pt x="139" y="332"/>
                  <a:pt x="139" y="332"/>
                </a:cubicBezTo>
                <a:cubicBezTo>
                  <a:pt x="140" y="332"/>
                  <a:pt x="140" y="332"/>
                  <a:pt x="140" y="332"/>
                </a:cubicBezTo>
                <a:cubicBezTo>
                  <a:pt x="141" y="332"/>
                  <a:pt x="141" y="332"/>
                  <a:pt x="141" y="332"/>
                </a:cubicBezTo>
                <a:cubicBezTo>
                  <a:pt x="141" y="332"/>
                  <a:pt x="142" y="332"/>
                  <a:pt x="142" y="332"/>
                </a:cubicBezTo>
                <a:cubicBezTo>
                  <a:pt x="151" y="332"/>
                  <a:pt x="151" y="332"/>
                  <a:pt x="151" y="332"/>
                </a:cubicBezTo>
                <a:cubicBezTo>
                  <a:pt x="151" y="332"/>
                  <a:pt x="152" y="332"/>
                  <a:pt x="152" y="332"/>
                </a:cubicBezTo>
                <a:cubicBezTo>
                  <a:pt x="152" y="333"/>
                  <a:pt x="152" y="333"/>
                  <a:pt x="152" y="333"/>
                </a:cubicBezTo>
                <a:cubicBezTo>
                  <a:pt x="153" y="334"/>
                  <a:pt x="154" y="334"/>
                  <a:pt x="155" y="334"/>
                </a:cubicBezTo>
                <a:cubicBezTo>
                  <a:pt x="155" y="334"/>
                  <a:pt x="156" y="335"/>
                  <a:pt x="157" y="334"/>
                </a:cubicBezTo>
                <a:cubicBezTo>
                  <a:pt x="159" y="334"/>
                  <a:pt x="162" y="334"/>
                  <a:pt x="164" y="334"/>
                </a:cubicBezTo>
                <a:cubicBezTo>
                  <a:pt x="165" y="334"/>
                  <a:pt x="167" y="334"/>
                  <a:pt x="169" y="335"/>
                </a:cubicBezTo>
                <a:cubicBezTo>
                  <a:pt x="169" y="336"/>
                  <a:pt x="170" y="336"/>
                  <a:pt x="171" y="337"/>
                </a:cubicBezTo>
                <a:cubicBezTo>
                  <a:pt x="171" y="337"/>
                  <a:pt x="172" y="337"/>
                  <a:pt x="173" y="338"/>
                </a:cubicBezTo>
                <a:cubicBezTo>
                  <a:pt x="174" y="338"/>
                  <a:pt x="175" y="339"/>
                  <a:pt x="176" y="341"/>
                </a:cubicBezTo>
                <a:cubicBezTo>
                  <a:pt x="177" y="342"/>
                  <a:pt x="177" y="343"/>
                  <a:pt x="177" y="343"/>
                </a:cubicBezTo>
                <a:cubicBezTo>
                  <a:pt x="178" y="344"/>
                  <a:pt x="178" y="345"/>
                  <a:pt x="179" y="345"/>
                </a:cubicBezTo>
                <a:cubicBezTo>
                  <a:pt x="180" y="346"/>
                  <a:pt x="181" y="347"/>
                  <a:pt x="182" y="347"/>
                </a:cubicBezTo>
                <a:cubicBezTo>
                  <a:pt x="183" y="348"/>
                  <a:pt x="184" y="348"/>
                  <a:pt x="185" y="348"/>
                </a:cubicBezTo>
                <a:cubicBezTo>
                  <a:pt x="186" y="349"/>
                  <a:pt x="187" y="349"/>
                  <a:pt x="188" y="350"/>
                </a:cubicBezTo>
                <a:cubicBezTo>
                  <a:pt x="188" y="350"/>
                  <a:pt x="188" y="350"/>
                  <a:pt x="188" y="350"/>
                </a:cubicBezTo>
                <a:cubicBezTo>
                  <a:pt x="189" y="350"/>
                  <a:pt x="189" y="350"/>
                  <a:pt x="189" y="350"/>
                </a:cubicBezTo>
                <a:cubicBezTo>
                  <a:pt x="190" y="351"/>
                  <a:pt x="190" y="351"/>
                  <a:pt x="191" y="351"/>
                </a:cubicBezTo>
                <a:cubicBezTo>
                  <a:pt x="191" y="351"/>
                  <a:pt x="192" y="351"/>
                  <a:pt x="192" y="351"/>
                </a:cubicBezTo>
                <a:cubicBezTo>
                  <a:pt x="193" y="351"/>
                  <a:pt x="193" y="351"/>
                  <a:pt x="193" y="351"/>
                </a:cubicBezTo>
                <a:cubicBezTo>
                  <a:pt x="193" y="351"/>
                  <a:pt x="193" y="351"/>
                  <a:pt x="194" y="351"/>
                </a:cubicBezTo>
                <a:cubicBezTo>
                  <a:pt x="194" y="350"/>
                  <a:pt x="195" y="351"/>
                  <a:pt x="195" y="351"/>
                </a:cubicBezTo>
                <a:cubicBezTo>
                  <a:pt x="195" y="351"/>
                  <a:pt x="196" y="351"/>
                  <a:pt x="196" y="351"/>
                </a:cubicBezTo>
                <a:cubicBezTo>
                  <a:pt x="196" y="351"/>
                  <a:pt x="197" y="351"/>
                  <a:pt x="197" y="351"/>
                </a:cubicBezTo>
                <a:cubicBezTo>
                  <a:pt x="197" y="350"/>
                  <a:pt x="198" y="350"/>
                  <a:pt x="198" y="350"/>
                </a:cubicBezTo>
                <a:cubicBezTo>
                  <a:pt x="199" y="350"/>
                  <a:pt x="199" y="350"/>
                  <a:pt x="199" y="350"/>
                </a:cubicBezTo>
                <a:cubicBezTo>
                  <a:pt x="199" y="349"/>
                  <a:pt x="200" y="350"/>
                  <a:pt x="200" y="350"/>
                </a:cubicBezTo>
                <a:cubicBezTo>
                  <a:pt x="201" y="350"/>
                  <a:pt x="201" y="350"/>
                  <a:pt x="202" y="350"/>
                </a:cubicBezTo>
                <a:cubicBezTo>
                  <a:pt x="202" y="350"/>
                  <a:pt x="202" y="350"/>
                  <a:pt x="203" y="350"/>
                </a:cubicBezTo>
                <a:cubicBezTo>
                  <a:pt x="203" y="351"/>
                  <a:pt x="203" y="351"/>
                  <a:pt x="204" y="351"/>
                </a:cubicBezTo>
                <a:cubicBezTo>
                  <a:pt x="204" y="352"/>
                  <a:pt x="204" y="352"/>
                  <a:pt x="205" y="352"/>
                </a:cubicBezTo>
                <a:cubicBezTo>
                  <a:pt x="205" y="353"/>
                  <a:pt x="205" y="354"/>
                  <a:pt x="205" y="354"/>
                </a:cubicBezTo>
                <a:cubicBezTo>
                  <a:pt x="206" y="355"/>
                  <a:pt x="206" y="355"/>
                  <a:pt x="206" y="355"/>
                </a:cubicBezTo>
                <a:cubicBezTo>
                  <a:pt x="206" y="355"/>
                  <a:pt x="206" y="356"/>
                  <a:pt x="206" y="356"/>
                </a:cubicBezTo>
                <a:cubicBezTo>
                  <a:pt x="206" y="357"/>
                  <a:pt x="207" y="357"/>
                  <a:pt x="207" y="357"/>
                </a:cubicBezTo>
                <a:cubicBezTo>
                  <a:pt x="207" y="359"/>
                  <a:pt x="206" y="360"/>
                  <a:pt x="207" y="361"/>
                </a:cubicBezTo>
                <a:cubicBezTo>
                  <a:pt x="207" y="362"/>
                  <a:pt x="207" y="362"/>
                  <a:pt x="207" y="362"/>
                </a:cubicBezTo>
                <a:cubicBezTo>
                  <a:pt x="208" y="363"/>
                  <a:pt x="208" y="362"/>
                  <a:pt x="209" y="363"/>
                </a:cubicBezTo>
                <a:cubicBezTo>
                  <a:pt x="209" y="363"/>
                  <a:pt x="209" y="363"/>
                  <a:pt x="210" y="363"/>
                </a:cubicBezTo>
                <a:cubicBezTo>
                  <a:pt x="210" y="363"/>
                  <a:pt x="211" y="363"/>
                  <a:pt x="211" y="363"/>
                </a:cubicBezTo>
                <a:cubicBezTo>
                  <a:pt x="212" y="363"/>
                  <a:pt x="212" y="362"/>
                  <a:pt x="213" y="362"/>
                </a:cubicBezTo>
                <a:cubicBezTo>
                  <a:pt x="214" y="362"/>
                  <a:pt x="215" y="362"/>
                  <a:pt x="216" y="362"/>
                </a:cubicBezTo>
                <a:cubicBezTo>
                  <a:pt x="216" y="363"/>
                  <a:pt x="217" y="363"/>
                  <a:pt x="217" y="363"/>
                </a:cubicBezTo>
                <a:cubicBezTo>
                  <a:pt x="218" y="363"/>
                  <a:pt x="218" y="363"/>
                  <a:pt x="219" y="363"/>
                </a:cubicBezTo>
                <a:cubicBezTo>
                  <a:pt x="219" y="363"/>
                  <a:pt x="220" y="365"/>
                  <a:pt x="220" y="366"/>
                </a:cubicBezTo>
                <a:cubicBezTo>
                  <a:pt x="221" y="366"/>
                  <a:pt x="225" y="369"/>
                  <a:pt x="226" y="370"/>
                </a:cubicBezTo>
                <a:cubicBezTo>
                  <a:pt x="228" y="371"/>
                  <a:pt x="239" y="381"/>
                  <a:pt x="239" y="381"/>
                </a:cubicBezTo>
                <a:cubicBezTo>
                  <a:pt x="241" y="383"/>
                  <a:pt x="243" y="387"/>
                  <a:pt x="244" y="388"/>
                </a:cubicBezTo>
                <a:cubicBezTo>
                  <a:pt x="244" y="390"/>
                  <a:pt x="245" y="392"/>
                  <a:pt x="245" y="393"/>
                </a:cubicBezTo>
                <a:cubicBezTo>
                  <a:pt x="246" y="395"/>
                  <a:pt x="246" y="397"/>
                  <a:pt x="246" y="397"/>
                </a:cubicBezTo>
                <a:cubicBezTo>
                  <a:pt x="246" y="398"/>
                  <a:pt x="246" y="401"/>
                  <a:pt x="246" y="402"/>
                </a:cubicBezTo>
                <a:cubicBezTo>
                  <a:pt x="246" y="402"/>
                  <a:pt x="246" y="404"/>
                  <a:pt x="246" y="404"/>
                </a:cubicBezTo>
                <a:cubicBezTo>
                  <a:pt x="247" y="405"/>
                  <a:pt x="248" y="404"/>
                  <a:pt x="249" y="405"/>
                </a:cubicBezTo>
                <a:cubicBezTo>
                  <a:pt x="250" y="405"/>
                  <a:pt x="250" y="406"/>
                  <a:pt x="250" y="406"/>
                </a:cubicBezTo>
                <a:cubicBezTo>
                  <a:pt x="251" y="406"/>
                  <a:pt x="251" y="408"/>
                  <a:pt x="251" y="409"/>
                </a:cubicBezTo>
                <a:cubicBezTo>
                  <a:pt x="251" y="410"/>
                  <a:pt x="251" y="412"/>
                  <a:pt x="251" y="412"/>
                </a:cubicBezTo>
                <a:cubicBezTo>
                  <a:pt x="334" y="404"/>
                  <a:pt x="334" y="404"/>
                  <a:pt x="334" y="404"/>
                </a:cubicBezTo>
                <a:cubicBezTo>
                  <a:pt x="339" y="404"/>
                  <a:pt x="339" y="404"/>
                  <a:pt x="339" y="404"/>
                </a:cubicBezTo>
                <a:lnTo>
                  <a:pt x="340" y="403"/>
                </a:lnTo>
                <a:close/>
              </a:path>
            </a:pathLst>
          </a:custGeom>
          <a:solidFill>
            <a:srgbClr val="0070C0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5" name="Freeform 53">
            <a:extLst>
              <a:ext uri="{FF2B5EF4-FFF2-40B4-BE49-F238E27FC236}">
                <a16:creationId xmlns:a16="http://schemas.microsoft.com/office/drawing/2014/main" id="{53B75DFC-370F-477C-B7EE-35808BA0F145}"/>
              </a:ext>
            </a:extLst>
          </p:cNvPr>
          <p:cNvSpPr>
            <a:spLocks/>
          </p:cNvSpPr>
          <p:nvPr/>
        </p:nvSpPr>
        <p:spPr bwMode="auto">
          <a:xfrm>
            <a:off x="8115819" y="3605786"/>
            <a:ext cx="682361" cy="578272"/>
          </a:xfrm>
          <a:custGeom>
            <a:avLst/>
            <a:gdLst>
              <a:gd name="T0" fmla="*/ 118 w 172"/>
              <a:gd name="T1" fmla="*/ 142 h 146"/>
              <a:gd name="T2" fmla="*/ 121 w 172"/>
              <a:gd name="T3" fmla="*/ 139 h 146"/>
              <a:gd name="T4" fmla="*/ 121 w 172"/>
              <a:gd name="T5" fmla="*/ 135 h 146"/>
              <a:gd name="T6" fmla="*/ 120 w 172"/>
              <a:gd name="T7" fmla="*/ 132 h 146"/>
              <a:gd name="T8" fmla="*/ 121 w 172"/>
              <a:gd name="T9" fmla="*/ 130 h 146"/>
              <a:gd name="T10" fmla="*/ 119 w 172"/>
              <a:gd name="T11" fmla="*/ 129 h 146"/>
              <a:gd name="T12" fmla="*/ 118 w 172"/>
              <a:gd name="T13" fmla="*/ 127 h 146"/>
              <a:gd name="T14" fmla="*/ 117 w 172"/>
              <a:gd name="T15" fmla="*/ 123 h 146"/>
              <a:gd name="T16" fmla="*/ 118 w 172"/>
              <a:gd name="T17" fmla="*/ 119 h 146"/>
              <a:gd name="T18" fmla="*/ 122 w 172"/>
              <a:gd name="T19" fmla="*/ 119 h 146"/>
              <a:gd name="T20" fmla="*/ 120 w 172"/>
              <a:gd name="T21" fmla="*/ 117 h 146"/>
              <a:gd name="T22" fmla="*/ 124 w 172"/>
              <a:gd name="T23" fmla="*/ 115 h 146"/>
              <a:gd name="T24" fmla="*/ 123 w 172"/>
              <a:gd name="T25" fmla="*/ 113 h 146"/>
              <a:gd name="T26" fmla="*/ 124 w 172"/>
              <a:gd name="T27" fmla="*/ 109 h 146"/>
              <a:gd name="T28" fmla="*/ 122 w 172"/>
              <a:gd name="T29" fmla="*/ 107 h 146"/>
              <a:gd name="T30" fmla="*/ 125 w 172"/>
              <a:gd name="T31" fmla="*/ 106 h 146"/>
              <a:gd name="T32" fmla="*/ 126 w 172"/>
              <a:gd name="T33" fmla="*/ 105 h 146"/>
              <a:gd name="T34" fmla="*/ 127 w 172"/>
              <a:gd name="T35" fmla="*/ 99 h 146"/>
              <a:gd name="T36" fmla="*/ 129 w 172"/>
              <a:gd name="T37" fmla="*/ 98 h 146"/>
              <a:gd name="T38" fmla="*/ 131 w 172"/>
              <a:gd name="T39" fmla="*/ 95 h 146"/>
              <a:gd name="T40" fmla="*/ 133 w 172"/>
              <a:gd name="T41" fmla="*/ 91 h 146"/>
              <a:gd name="T42" fmla="*/ 137 w 172"/>
              <a:gd name="T43" fmla="*/ 91 h 146"/>
              <a:gd name="T44" fmla="*/ 139 w 172"/>
              <a:gd name="T45" fmla="*/ 84 h 146"/>
              <a:gd name="T46" fmla="*/ 139 w 172"/>
              <a:gd name="T47" fmla="*/ 78 h 146"/>
              <a:gd name="T48" fmla="*/ 142 w 172"/>
              <a:gd name="T49" fmla="*/ 79 h 146"/>
              <a:gd name="T50" fmla="*/ 140 w 172"/>
              <a:gd name="T51" fmla="*/ 73 h 146"/>
              <a:gd name="T52" fmla="*/ 144 w 172"/>
              <a:gd name="T53" fmla="*/ 74 h 146"/>
              <a:gd name="T54" fmla="*/ 144 w 172"/>
              <a:gd name="T55" fmla="*/ 70 h 146"/>
              <a:gd name="T56" fmla="*/ 150 w 172"/>
              <a:gd name="T57" fmla="*/ 67 h 146"/>
              <a:gd name="T58" fmla="*/ 154 w 172"/>
              <a:gd name="T59" fmla="*/ 58 h 146"/>
              <a:gd name="T60" fmla="*/ 156 w 172"/>
              <a:gd name="T61" fmla="*/ 55 h 146"/>
              <a:gd name="T62" fmla="*/ 154 w 172"/>
              <a:gd name="T63" fmla="*/ 51 h 146"/>
              <a:gd name="T64" fmla="*/ 157 w 172"/>
              <a:gd name="T65" fmla="*/ 48 h 146"/>
              <a:gd name="T66" fmla="*/ 153 w 172"/>
              <a:gd name="T67" fmla="*/ 47 h 146"/>
              <a:gd name="T68" fmla="*/ 157 w 172"/>
              <a:gd name="T69" fmla="*/ 45 h 146"/>
              <a:gd name="T70" fmla="*/ 158 w 172"/>
              <a:gd name="T71" fmla="*/ 41 h 146"/>
              <a:gd name="T72" fmla="*/ 162 w 172"/>
              <a:gd name="T73" fmla="*/ 40 h 146"/>
              <a:gd name="T74" fmla="*/ 164 w 172"/>
              <a:gd name="T75" fmla="*/ 35 h 146"/>
              <a:gd name="T76" fmla="*/ 163 w 172"/>
              <a:gd name="T77" fmla="*/ 32 h 146"/>
              <a:gd name="T78" fmla="*/ 168 w 172"/>
              <a:gd name="T79" fmla="*/ 29 h 146"/>
              <a:gd name="T80" fmla="*/ 169 w 172"/>
              <a:gd name="T81" fmla="*/ 25 h 146"/>
              <a:gd name="T82" fmla="*/ 169 w 172"/>
              <a:gd name="T83" fmla="*/ 21 h 146"/>
              <a:gd name="T84" fmla="*/ 153 w 172"/>
              <a:gd name="T85" fmla="*/ 12 h 146"/>
              <a:gd name="T86" fmla="*/ 154 w 172"/>
              <a:gd name="T87" fmla="*/ 0 h 146"/>
              <a:gd name="T88" fmla="*/ 5 w 172"/>
              <a:gd name="T89" fmla="*/ 120 h 146"/>
              <a:gd name="T90" fmla="*/ 8 w 172"/>
              <a:gd name="T91" fmla="*/ 123 h 146"/>
              <a:gd name="T92" fmla="*/ 9 w 172"/>
              <a:gd name="T93" fmla="*/ 124 h 146"/>
              <a:gd name="T94" fmla="*/ 12 w 172"/>
              <a:gd name="T95" fmla="*/ 123 h 146"/>
              <a:gd name="T96" fmla="*/ 16 w 172"/>
              <a:gd name="T97" fmla="*/ 123 h 146"/>
              <a:gd name="T98" fmla="*/ 19 w 172"/>
              <a:gd name="T99" fmla="*/ 124 h 146"/>
              <a:gd name="T100" fmla="*/ 120 w 172"/>
              <a:gd name="T101" fmla="*/ 14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2" h="146">
                <a:moveTo>
                  <a:pt x="120" y="144"/>
                </a:moveTo>
                <a:cubicBezTo>
                  <a:pt x="120" y="144"/>
                  <a:pt x="119" y="144"/>
                  <a:pt x="119" y="144"/>
                </a:cubicBezTo>
                <a:cubicBezTo>
                  <a:pt x="119" y="143"/>
                  <a:pt x="119" y="143"/>
                  <a:pt x="118" y="143"/>
                </a:cubicBezTo>
                <a:cubicBezTo>
                  <a:pt x="118" y="143"/>
                  <a:pt x="118" y="142"/>
                  <a:pt x="118" y="142"/>
                </a:cubicBezTo>
                <a:cubicBezTo>
                  <a:pt x="118" y="142"/>
                  <a:pt x="119" y="141"/>
                  <a:pt x="120" y="141"/>
                </a:cubicBezTo>
                <a:cubicBezTo>
                  <a:pt x="120" y="141"/>
                  <a:pt x="121" y="141"/>
                  <a:pt x="122" y="141"/>
                </a:cubicBezTo>
                <a:cubicBezTo>
                  <a:pt x="122" y="141"/>
                  <a:pt x="122" y="140"/>
                  <a:pt x="122" y="140"/>
                </a:cubicBezTo>
                <a:cubicBezTo>
                  <a:pt x="122" y="140"/>
                  <a:pt x="122" y="139"/>
                  <a:pt x="121" y="139"/>
                </a:cubicBezTo>
                <a:cubicBezTo>
                  <a:pt x="121" y="138"/>
                  <a:pt x="121" y="138"/>
                  <a:pt x="122" y="137"/>
                </a:cubicBezTo>
                <a:cubicBezTo>
                  <a:pt x="122" y="137"/>
                  <a:pt x="123" y="137"/>
                  <a:pt x="123" y="136"/>
                </a:cubicBezTo>
                <a:cubicBezTo>
                  <a:pt x="123" y="136"/>
                  <a:pt x="123" y="136"/>
                  <a:pt x="122" y="135"/>
                </a:cubicBezTo>
                <a:cubicBezTo>
                  <a:pt x="122" y="135"/>
                  <a:pt x="122" y="135"/>
                  <a:pt x="121" y="135"/>
                </a:cubicBezTo>
                <a:cubicBezTo>
                  <a:pt x="121" y="135"/>
                  <a:pt x="121" y="136"/>
                  <a:pt x="121" y="136"/>
                </a:cubicBezTo>
                <a:cubicBezTo>
                  <a:pt x="121" y="136"/>
                  <a:pt x="120" y="136"/>
                  <a:pt x="120" y="136"/>
                </a:cubicBezTo>
                <a:cubicBezTo>
                  <a:pt x="120" y="135"/>
                  <a:pt x="120" y="134"/>
                  <a:pt x="120" y="133"/>
                </a:cubicBezTo>
                <a:cubicBezTo>
                  <a:pt x="120" y="132"/>
                  <a:pt x="120" y="132"/>
                  <a:pt x="120" y="132"/>
                </a:cubicBezTo>
                <a:cubicBezTo>
                  <a:pt x="121" y="131"/>
                  <a:pt x="122" y="130"/>
                  <a:pt x="122" y="129"/>
                </a:cubicBezTo>
                <a:cubicBezTo>
                  <a:pt x="122" y="129"/>
                  <a:pt x="122" y="128"/>
                  <a:pt x="122" y="128"/>
                </a:cubicBezTo>
                <a:cubicBezTo>
                  <a:pt x="122" y="128"/>
                  <a:pt x="121" y="128"/>
                  <a:pt x="121" y="129"/>
                </a:cubicBezTo>
                <a:cubicBezTo>
                  <a:pt x="121" y="129"/>
                  <a:pt x="121" y="129"/>
                  <a:pt x="121" y="130"/>
                </a:cubicBezTo>
                <a:cubicBezTo>
                  <a:pt x="121" y="130"/>
                  <a:pt x="120" y="130"/>
                  <a:pt x="120" y="131"/>
                </a:cubicBezTo>
                <a:cubicBezTo>
                  <a:pt x="120" y="131"/>
                  <a:pt x="120" y="131"/>
                  <a:pt x="119" y="131"/>
                </a:cubicBezTo>
                <a:cubicBezTo>
                  <a:pt x="119" y="131"/>
                  <a:pt x="118" y="131"/>
                  <a:pt x="118" y="130"/>
                </a:cubicBezTo>
                <a:cubicBezTo>
                  <a:pt x="118" y="130"/>
                  <a:pt x="119" y="130"/>
                  <a:pt x="119" y="129"/>
                </a:cubicBezTo>
                <a:cubicBezTo>
                  <a:pt x="119" y="129"/>
                  <a:pt x="120" y="129"/>
                  <a:pt x="120" y="128"/>
                </a:cubicBezTo>
                <a:cubicBezTo>
                  <a:pt x="120" y="128"/>
                  <a:pt x="119" y="128"/>
                  <a:pt x="119" y="128"/>
                </a:cubicBezTo>
                <a:cubicBezTo>
                  <a:pt x="118" y="128"/>
                  <a:pt x="117" y="129"/>
                  <a:pt x="117" y="128"/>
                </a:cubicBezTo>
                <a:cubicBezTo>
                  <a:pt x="116" y="128"/>
                  <a:pt x="117" y="127"/>
                  <a:pt x="118" y="127"/>
                </a:cubicBezTo>
                <a:cubicBezTo>
                  <a:pt x="118" y="127"/>
                  <a:pt x="119" y="127"/>
                  <a:pt x="118" y="126"/>
                </a:cubicBezTo>
                <a:cubicBezTo>
                  <a:pt x="118" y="126"/>
                  <a:pt x="118" y="126"/>
                  <a:pt x="118" y="125"/>
                </a:cubicBezTo>
                <a:cubicBezTo>
                  <a:pt x="118" y="125"/>
                  <a:pt x="117" y="125"/>
                  <a:pt x="117" y="125"/>
                </a:cubicBezTo>
                <a:cubicBezTo>
                  <a:pt x="117" y="124"/>
                  <a:pt x="117" y="124"/>
                  <a:pt x="117" y="123"/>
                </a:cubicBezTo>
                <a:cubicBezTo>
                  <a:pt x="118" y="123"/>
                  <a:pt x="118" y="123"/>
                  <a:pt x="119" y="123"/>
                </a:cubicBezTo>
                <a:cubicBezTo>
                  <a:pt x="119" y="122"/>
                  <a:pt x="120" y="122"/>
                  <a:pt x="120" y="122"/>
                </a:cubicBezTo>
                <a:cubicBezTo>
                  <a:pt x="120" y="121"/>
                  <a:pt x="119" y="121"/>
                  <a:pt x="119" y="121"/>
                </a:cubicBezTo>
                <a:cubicBezTo>
                  <a:pt x="119" y="120"/>
                  <a:pt x="118" y="120"/>
                  <a:pt x="118" y="119"/>
                </a:cubicBezTo>
                <a:cubicBezTo>
                  <a:pt x="117" y="119"/>
                  <a:pt x="118" y="117"/>
                  <a:pt x="119" y="117"/>
                </a:cubicBezTo>
                <a:cubicBezTo>
                  <a:pt x="120" y="117"/>
                  <a:pt x="120" y="118"/>
                  <a:pt x="120" y="118"/>
                </a:cubicBezTo>
                <a:cubicBezTo>
                  <a:pt x="121" y="119"/>
                  <a:pt x="121" y="119"/>
                  <a:pt x="121" y="119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3" y="120"/>
                  <a:pt x="124" y="119"/>
                  <a:pt x="124" y="119"/>
                </a:cubicBezTo>
                <a:cubicBezTo>
                  <a:pt x="124" y="118"/>
                  <a:pt x="123" y="118"/>
                  <a:pt x="123" y="118"/>
                </a:cubicBezTo>
                <a:cubicBezTo>
                  <a:pt x="122" y="117"/>
                  <a:pt x="122" y="117"/>
                  <a:pt x="121" y="117"/>
                </a:cubicBezTo>
                <a:cubicBezTo>
                  <a:pt x="121" y="117"/>
                  <a:pt x="121" y="117"/>
                  <a:pt x="120" y="117"/>
                </a:cubicBezTo>
                <a:cubicBezTo>
                  <a:pt x="120" y="117"/>
                  <a:pt x="120" y="116"/>
                  <a:pt x="120" y="116"/>
                </a:cubicBezTo>
                <a:cubicBezTo>
                  <a:pt x="120" y="116"/>
                  <a:pt x="120" y="115"/>
                  <a:pt x="120" y="115"/>
                </a:cubicBezTo>
                <a:cubicBezTo>
                  <a:pt x="121" y="115"/>
                  <a:pt x="122" y="114"/>
                  <a:pt x="123" y="115"/>
                </a:cubicBezTo>
                <a:cubicBezTo>
                  <a:pt x="123" y="115"/>
                  <a:pt x="123" y="115"/>
                  <a:pt x="124" y="115"/>
                </a:cubicBezTo>
                <a:cubicBezTo>
                  <a:pt x="124" y="115"/>
                  <a:pt x="124" y="115"/>
                  <a:pt x="125" y="115"/>
                </a:cubicBezTo>
                <a:cubicBezTo>
                  <a:pt x="125" y="115"/>
                  <a:pt x="125" y="115"/>
                  <a:pt x="125" y="114"/>
                </a:cubicBezTo>
                <a:cubicBezTo>
                  <a:pt x="124" y="114"/>
                  <a:pt x="124" y="114"/>
                  <a:pt x="124" y="113"/>
                </a:cubicBezTo>
                <a:cubicBezTo>
                  <a:pt x="124" y="113"/>
                  <a:pt x="123" y="113"/>
                  <a:pt x="123" y="113"/>
                </a:cubicBezTo>
                <a:cubicBezTo>
                  <a:pt x="123" y="112"/>
                  <a:pt x="123" y="112"/>
                  <a:pt x="123" y="112"/>
                </a:cubicBezTo>
                <a:cubicBezTo>
                  <a:pt x="123" y="111"/>
                  <a:pt x="123" y="111"/>
                  <a:pt x="123" y="111"/>
                </a:cubicBezTo>
                <a:cubicBezTo>
                  <a:pt x="123" y="110"/>
                  <a:pt x="124" y="110"/>
                  <a:pt x="124" y="110"/>
                </a:cubicBezTo>
                <a:cubicBezTo>
                  <a:pt x="124" y="109"/>
                  <a:pt x="124" y="109"/>
                  <a:pt x="124" y="109"/>
                </a:cubicBezTo>
                <a:cubicBezTo>
                  <a:pt x="124" y="108"/>
                  <a:pt x="124" y="108"/>
                  <a:pt x="124" y="108"/>
                </a:cubicBezTo>
                <a:cubicBezTo>
                  <a:pt x="124" y="108"/>
                  <a:pt x="124" y="108"/>
                  <a:pt x="123" y="108"/>
                </a:cubicBezTo>
                <a:cubicBezTo>
                  <a:pt x="123" y="108"/>
                  <a:pt x="123" y="108"/>
                  <a:pt x="123" y="108"/>
                </a:cubicBezTo>
                <a:cubicBezTo>
                  <a:pt x="122" y="107"/>
                  <a:pt x="122" y="107"/>
                  <a:pt x="122" y="107"/>
                </a:cubicBezTo>
                <a:cubicBezTo>
                  <a:pt x="122" y="107"/>
                  <a:pt x="122" y="107"/>
                  <a:pt x="122" y="106"/>
                </a:cubicBezTo>
                <a:cubicBezTo>
                  <a:pt x="122" y="106"/>
                  <a:pt x="122" y="106"/>
                  <a:pt x="122" y="105"/>
                </a:cubicBezTo>
                <a:cubicBezTo>
                  <a:pt x="123" y="105"/>
                  <a:pt x="124" y="106"/>
                  <a:pt x="125" y="106"/>
                </a:cubicBezTo>
                <a:cubicBezTo>
                  <a:pt x="125" y="106"/>
                  <a:pt x="125" y="106"/>
                  <a:pt x="125" y="106"/>
                </a:cubicBezTo>
                <a:cubicBezTo>
                  <a:pt x="125" y="106"/>
                  <a:pt x="125" y="106"/>
                  <a:pt x="125" y="106"/>
                </a:cubicBezTo>
                <a:cubicBezTo>
                  <a:pt x="126" y="107"/>
                  <a:pt x="126" y="107"/>
                  <a:pt x="126" y="106"/>
                </a:cubicBezTo>
                <a:cubicBezTo>
                  <a:pt x="126" y="106"/>
                  <a:pt x="126" y="106"/>
                  <a:pt x="126" y="105"/>
                </a:cubicBezTo>
                <a:cubicBezTo>
                  <a:pt x="125" y="105"/>
                  <a:pt x="126" y="105"/>
                  <a:pt x="126" y="105"/>
                </a:cubicBezTo>
                <a:cubicBezTo>
                  <a:pt x="127" y="104"/>
                  <a:pt x="128" y="105"/>
                  <a:pt x="129" y="104"/>
                </a:cubicBezTo>
                <a:cubicBezTo>
                  <a:pt x="129" y="104"/>
                  <a:pt x="129" y="102"/>
                  <a:pt x="129" y="102"/>
                </a:cubicBezTo>
                <a:cubicBezTo>
                  <a:pt x="128" y="101"/>
                  <a:pt x="127" y="101"/>
                  <a:pt x="127" y="100"/>
                </a:cubicBezTo>
                <a:cubicBezTo>
                  <a:pt x="126" y="100"/>
                  <a:pt x="127" y="99"/>
                  <a:pt x="127" y="99"/>
                </a:cubicBezTo>
                <a:cubicBezTo>
                  <a:pt x="128" y="99"/>
                  <a:pt x="128" y="99"/>
                  <a:pt x="129" y="99"/>
                </a:cubicBezTo>
                <a:cubicBezTo>
                  <a:pt x="129" y="99"/>
                  <a:pt x="130" y="99"/>
                  <a:pt x="130" y="99"/>
                </a:cubicBezTo>
                <a:cubicBezTo>
                  <a:pt x="131" y="99"/>
                  <a:pt x="131" y="99"/>
                  <a:pt x="131" y="98"/>
                </a:cubicBezTo>
                <a:cubicBezTo>
                  <a:pt x="131" y="98"/>
                  <a:pt x="130" y="98"/>
                  <a:pt x="129" y="98"/>
                </a:cubicBezTo>
                <a:cubicBezTo>
                  <a:pt x="129" y="98"/>
                  <a:pt x="127" y="97"/>
                  <a:pt x="127" y="96"/>
                </a:cubicBezTo>
                <a:cubicBezTo>
                  <a:pt x="127" y="96"/>
                  <a:pt x="127" y="96"/>
                  <a:pt x="127" y="95"/>
                </a:cubicBezTo>
                <a:cubicBezTo>
                  <a:pt x="128" y="95"/>
                  <a:pt x="128" y="96"/>
                  <a:pt x="129" y="96"/>
                </a:cubicBezTo>
                <a:cubicBezTo>
                  <a:pt x="130" y="96"/>
                  <a:pt x="131" y="97"/>
                  <a:pt x="131" y="95"/>
                </a:cubicBezTo>
                <a:cubicBezTo>
                  <a:pt x="131" y="95"/>
                  <a:pt x="131" y="95"/>
                  <a:pt x="131" y="94"/>
                </a:cubicBezTo>
                <a:cubicBezTo>
                  <a:pt x="131" y="94"/>
                  <a:pt x="132" y="93"/>
                  <a:pt x="132" y="93"/>
                </a:cubicBezTo>
                <a:cubicBezTo>
                  <a:pt x="132" y="93"/>
                  <a:pt x="133" y="93"/>
                  <a:pt x="133" y="93"/>
                </a:cubicBezTo>
                <a:cubicBezTo>
                  <a:pt x="134" y="92"/>
                  <a:pt x="133" y="92"/>
                  <a:pt x="133" y="91"/>
                </a:cubicBezTo>
                <a:cubicBezTo>
                  <a:pt x="133" y="90"/>
                  <a:pt x="135" y="90"/>
                  <a:pt x="135" y="90"/>
                </a:cubicBezTo>
                <a:cubicBezTo>
                  <a:pt x="136" y="90"/>
                  <a:pt x="135" y="91"/>
                  <a:pt x="136" y="92"/>
                </a:cubicBezTo>
                <a:cubicBezTo>
                  <a:pt x="136" y="92"/>
                  <a:pt x="136" y="93"/>
                  <a:pt x="137" y="92"/>
                </a:cubicBezTo>
                <a:cubicBezTo>
                  <a:pt x="137" y="92"/>
                  <a:pt x="137" y="91"/>
                  <a:pt x="137" y="91"/>
                </a:cubicBezTo>
                <a:cubicBezTo>
                  <a:pt x="137" y="91"/>
                  <a:pt x="137" y="90"/>
                  <a:pt x="137" y="90"/>
                </a:cubicBezTo>
                <a:cubicBezTo>
                  <a:pt x="137" y="90"/>
                  <a:pt x="138" y="89"/>
                  <a:pt x="138" y="89"/>
                </a:cubicBezTo>
                <a:cubicBezTo>
                  <a:pt x="139" y="88"/>
                  <a:pt x="140" y="88"/>
                  <a:pt x="139" y="87"/>
                </a:cubicBezTo>
                <a:cubicBezTo>
                  <a:pt x="139" y="86"/>
                  <a:pt x="139" y="85"/>
                  <a:pt x="139" y="84"/>
                </a:cubicBezTo>
                <a:cubicBezTo>
                  <a:pt x="140" y="84"/>
                  <a:pt x="140" y="83"/>
                  <a:pt x="140" y="83"/>
                </a:cubicBezTo>
                <a:cubicBezTo>
                  <a:pt x="140" y="83"/>
                  <a:pt x="140" y="82"/>
                  <a:pt x="140" y="82"/>
                </a:cubicBezTo>
                <a:cubicBezTo>
                  <a:pt x="140" y="81"/>
                  <a:pt x="140" y="81"/>
                  <a:pt x="140" y="80"/>
                </a:cubicBezTo>
                <a:cubicBezTo>
                  <a:pt x="139" y="79"/>
                  <a:pt x="139" y="79"/>
                  <a:pt x="139" y="78"/>
                </a:cubicBezTo>
                <a:cubicBezTo>
                  <a:pt x="139" y="78"/>
                  <a:pt x="139" y="77"/>
                  <a:pt x="140" y="77"/>
                </a:cubicBezTo>
                <a:cubicBezTo>
                  <a:pt x="140" y="77"/>
                  <a:pt x="140" y="78"/>
                  <a:pt x="140" y="78"/>
                </a:cubicBezTo>
                <a:cubicBezTo>
                  <a:pt x="140" y="79"/>
                  <a:pt x="141" y="79"/>
                  <a:pt x="141" y="79"/>
                </a:cubicBezTo>
                <a:cubicBezTo>
                  <a:pt x="142" y="79"/>
                  <a:pt x="142" y="79"/>
                  <a:pt x="142" y="79"/>
                </a:cubicBezTo>
                <a:cubicBezTo>
                  <a:pt x="143" y="78"/>
                  <a:pt x="143" y="78"/>
                  <a:pt x="143" y="78"/>
                </a:cubicBezTo>
                <a:cubicBezTo>
                  <a:pt x="143" y="78"/>
                  <a:pt x="143" y="77"/>
                  <a:pt x="143" y="77"/>
                </a:cubicBezTo>
                <a:cubicBezTo>
                  <a:pt x="142" y="76"/>
                  <a:pt x="141" y="76"/>
                  <a:pt x="140" y="75"/>
                </a:cubicBezTo>
                <a:cubicBezTo>
                  <a:pt x="140" y="74"/>
                  <a:pt x="140" y="73"/>
                  <a:pt x="140" y="73"/>
                </a:cubicBezTo>
                <a:cubicBezTo>
                  <a:pt x="140" y="72"/>
                  <a:pt x="140" y="72"/>
                  <a:pt x="141" y="71"/>
                </a:cubicBezTo>
                <a:cubicBezTo>
                  <a:pt x="141" y="72"/>
                  <a:pt x="141" y="73"/>
                  <a:pt x="141" y="73"/>
                </a:cubicBezTo>
                <a:cubicBezTo>
                  <a:pt x="141" y="73"/>
                  <a:pt x="141" y="74"/>
                  <a:pt x="142" y="74"/>
                </a:cubicBezTo>
                <a:cubicBezTo>
                  <a:pt x="142" y="75"/>
                  <a:pt x="143" y="75"/>
                  <a:pt x="144" y="74"/>
                </a:cubicBezTo>
                <a:cubicBezTo>
                  <a:pt x="144" y="72"/>
                  <a:pt x="143" y="71"/>
                  <a:pt x="143" y="70"/>
                </a:cubicBezTo>
                <a:cubicBezTo>
                  <a:pt x="143" y="70"/>
                  <a:pt x="143" y="69"/>
                  <a:pt x="143" y="69"/>
                </a:cubicBezTo>
                <a:cubicBezTo>
                  <a:pt x="143" y="69"/>
                  <a:pt x="143" y="68"/>
                  <a:pt x="144" y="68"/>
                </a:cubicBezTo>
                <a:cubicBezTo>
                  <a:pt x="144" y="69"/>
                  <a:pt x="144" y="69"/>
                  <a:pt x="144" y="70"/>
                </a:cubicBezTo>
                <a:cubicBezTo>
                  <a:pt x="145" y="70"/>
                  <a:pt x="145" y="70"/>
                  <a:pt x="146" y="70"/>
                </a:cubicBezTo>
                <a:cubicBezTo>
                  <a:pt x="147" y="70"/>
                  <a:pt x="148" y="70"/>
                  <a:pt x="149" y="69"/>
                </a:cubicBezTo>
                <a:cubicBezTo>
                  <a:pt x="149" y="69"/>
                  <a:pt x="149" y="69"/>
                  <a:pt x="150" y="69"/>
                </a:cubicBezTo>
                <a:cubicBezTo>
                  <a:pt x="150" y="68"/>
                  <a:pt x="150" y="68"/>
                  <a:pt x="150" y="67"/>
                </a:cubicBezTo>
                <a:cubicBezTo>
                  <a:pt x="151" y="66"/>
                  <a:pt x="151" y="66"/>
                  <a:pt x="150" y="65"/>
                </a:cubicBezTo>
                <a:cubicBezTo>
                  <a:pt x="150" y="64"/>
                  <a:pt x="149" y="63"/>
                  <a:pt x="149" y="62"/>
                </a:cubicBezTo>
                <a:cubicBezTo>
                  <a:pt x="150" y="61"/>
                  <a:pt x="152" y="62"/>
                  <a:pt x="153" y="61"/>
                </a:cubicBezTo>
                <a:cubicBezTo>
                  <a:pt x="153" y="61"/>
                  <a:pt x="153" y="59"/>
                  <a:pt x="154" y="58"/>
                </a:cubicBezTo>
                <a:cubicBezTo>
                  <a:pt x="154" y="58"/>
                  <a:pt x="155" y="58"/>
                  <a:pt x="156" y="58"/>
                </a:cubicBezTo>
                <a:cubicBezTo>
                  <a:pt x="156" y="58"/>
                  <a:pt x="156" y="57"/>
                  <a:pt x="156" y="57"/>
                </a:cubicBezTo>
                <a:cubicBezTo>
                  <a:pt x="156" y="57"/>
                  <a:pt x="156" y="56"/>
                  <a:pt x="156" y="56"/>
                </a:cubicBezTo>
                <a:cubicBezTo>
                  <a:pt x="156" y="56"/>
                  <a:pt x="156" y="56"/>
                  <a:pt x="156" y="55"/>
                </a:cubicBezTo>
                <a:cubicBezTo>
                  <a:pt x="156" y="55"/>
                  <a:pt x="156" y="55"/>
                  <a:pt x="156" y="54"/>
                </a:cubicBezTo>
                <a:cubicBezTo>
                  <a:pt x="156" y="54"/>
                  <a:pt x="156" y="54"/>
                  <a:pt x="155" y="54"/>
                </a:cubicBezTo>
                <a:cubicBezTo>
                  <a:pt x="155" y="53"/>
                  <a:pt x="154" y="53"/>
                  <a:pt x="154" y="52"/>
                </a:cubicBezTo>
                <a:cubicBezTo>
                  <a:pt x="154" y="52"/>
                  <a:pt x="154" y="52"/>
                  <a:pt x="154" y="51"/>
                </a:cubicBezTo>
                <a:cubicBezTo>
                  <a:pt x="154" y="51"/>
                  <a:pt x="155" y="51"/>
                  <a:pt x="155" y="51"/>
                </a:cubicBezTo>
                <a:cubicBezTo>
                  <a:pt x="155" y="51"/>
                  <a:pt x="156" y="50"/>
                  <a:pt x="156" y="50"/>
                </a:cubicBezTo>
                <a:cubicBezTo>
                  <a:pt x="156" y="50"/>
                  <a:pt x="156" y="49"/>
                  <a:pt x="156" y="49"/>
                </a:cubicBezTo>
                <a:cubicBezTo>
                  <a:pt x="156" y="49"/>
                  <a:pt x="157" y="48"/>
                  <a:pt x="157" y="48"/>
                </a:cubicBezTo>
                <a:cubicBezTo>
                  <a:pt x="156" y="47"/>
                  <a:pt x="156" y="47"/>
                  <a:pt x="156" y="47"/>
                </a:cubicBezTo>
                <a:cubicBezTo>
                  <a:pt x="156" y="47"/>
                  <a:pt x="156" y="47"/>
                  <a:pt x="156" y="46"/>
                </a:cubicBezTo>
                <a:cubicBezTo>
                  <a:pt x="155" y="46"/>
                  <a:pt x="155" y="47"/>
                  <a:pt x="155" y="47"/>
                </a:cubicBezTo>
                <a:cubicBezTo>
                  <a:pt x="154" y="47"/>
                  <a:pt x="154" y="47"/>
                  <a:pt x="153" y="47"/>
                </a:cubicBezTo>
                <a:cubicBezTo>
                  <a:pt x="153" y="46"/>
                  <a:pt x="154" y="46"/>
                  <a:pt x="155" y="45"/>
                </a:cubicBezTo>
                <a:cubicBezTo>
                  <a:pt x="155" y="44"/>
                  <a:pt x="155" y="43"/>
                  <a:pt x="157" y="43"/>
                </a:cubicBezTo>
                <a:cubicBezTo>
                  <a:pt x="157" y="44"/>
                  <a:pt x="157" y="44"/>
                  <a:pt x="157" y="44"/>
                </a:cubicBezTo>
                <a:cubicBezTo>
                  <a:pt x="157" y="45"/>
                  <a:pt x="157" y="45"/>
                  <a:pt x="157" y="45"/>
                </a:cubicBezTo>
                <a:cubicBezTo>
                  <a:pt x="157" y="46"/>
                  <a:pt x="157" y="46"/>
                  <a:pt x="157" y="46"/>
                </a:cubicBezTo>
                <a:cubicBezTo>
                  <a:pt x="157" y="46"/>
                  <a:pt x="158" y="45"/>
                  <a:pt x="158" y="45"/>
                </a:cubicBezTo>
                <a:cubicBezTo>
                  <a:pt x="159" y="44"/>
                  <a:pt x="159" y="44"/>
                  <a:pt x="158" y="43"/>
                </a:cubicBezTo>
                <a:cubicBezTo>
                  <a:pt x="158" y="42"/>
                  <a:pt x="158" y="41"/>
                  <a:pt x="158" y="41"/>
                </a:cubicBezTo>
                <a:cubicBezTo>
                  <a:pt x="159" y="40"/>
                  <a:pt x="159" y="40"/>
                  <a:pt x="160" y="40"/>
                </a:cubicBezTo>
                <a:cubicBezTo>
                  <a:pt x="160" y="40"/>
                  <a:pt x="161" y="41"/>
                  <a:pt x="161" y="41"/>
                </a:cubicBezTo>
                <a:cubicBezTo>
                  <a:pt x="161" y="41"/>
                  <a:pt x="162" y="41"/>
                  <a:pt x="162" y="41"/>
                </a:cubicBezTo>
                <a:cubicBezTo>
                  <a:pt x="162" y="41"/>
                  <a:pt x="162" y="40"/>
                  <a:pt x="162" y="40"/>
                </a:cubicBezTo>
                <a:cubicBezTo>
                  <a:pt x="162" y="40"/>
                  <a:pt x="161" y="40"/>
                  <a:pt x="161" y="39"/>
                </a:cubicBezTo>
                <a:cubicBezTo>
                  <a:pt x="161" y="38"/>
                  <a:pt x="162" y="38"/>
                  <a:pt x="163" y="38"/>
                </a:cubicBezTo>
                <a:cubicBezTo>
                  <a:pt x="163" y="37"/>
                  <a:pt x="164" y="37"/>
                  <a:pt x="164" y="37"/>
                </a:cubicBezTo>
                <a:cubicBezTo>
                  <a:pt x="164" y="36"/>
                  <a:pt x="164" y="36"/>
                  <a:pt x="164" y="35"/>
                </a:cubicBezTo>
                <a:cubicBezTo>
                  <a:pt x="163" y="35"/>
                  <a:pt x="163" y="35"/>
                  <a:pt x="162" y="35"/>
                </a:cubicBezTo>
                <a:cubicBezTo>
                  <a:pt x="162" y="35"/>
                  <a:pt x="162" y="35"/>
                  <a:pt x="161" y="34"/>
                </a:cubicBezTo>
                <a:cubicBezTo>
                  <a:pt x="161" y="34"/>
                  <a:pt x="161" y="33"/>
                  <a:pt x="161" y="32"/>
                </a:cubicBezTo>
                <a:cubicBezTo>
                  <a:pt x="162" y="31"/>
                  <a:pt x="162" y="32"/>
                  <a:pt x="163" y="32"/>
                </a:cubicBezTo>
                <a:cubicBezTo>
                  <a:pt x="163" y="32"/>
                  <a:pt x="164" y="32"/>
                  <a:pt x="164" y="32"/>
                </a:cubicBezTo>
                <a:cubicBezTo>
                  <a:pt x="165" y="32"/>
                  <a:pt x="165" y="31"/>
                  <a:pt x="165" y="31"/>
                </a:cubicBezTo>
                <a:cubicBezTo>
                  <a:pt x="166" y="30"/>
                  <a:pt x="166" y="30"/>
                  <a:pt x="166" y="30"/>
                </a:cubicBezTo>
                <a:cubicBezTo>
                  <a:pt x="167" y="29"/>
                  <a:pt x="167" y="29"/>
                  <a:pt x="168" y="29"/>
                </a:cubicBezTo>
                <a:cubicBezTo>
                  <a:pt x="168" y="29"/>
                  <a:pt x="169" y="29"/>
                  <a:pt x="169" y="28"/>
                </a:cubicBezTo>
                <a:cubicBezTo>
                  <a:pt x="169" y="28"/>
                  <a:pt x="168" y="28"/>
                  <a:pt x="168" y="28"/>
                </a:cubicBezTo>
                <a:cubicBezTo>
                  <a:pt x="167" y="27"/>
                  <a:pt x="167" y="26"/>
                  <a:pt x="167" y="26"/>
                </a:cubicBezTo>
                <a:cubicBezTo>
                  <a:pt x="168" y="25"/>
                  <a:pt x="169" y="25"/>
                  <a:pt x="169" y="25"/>
                </a:cubicBezTo>
                <a:cubicBezTo>
                  <a:pt x="170" y="25"/>
                  <a:pt x="170" y="25"/>
                  <a:pt x="170" y="26"/>
                </a:cubicBezTo>
                <a:cubicBezTo>
                  <a:pt x="171" y="26"/>
                  <a:pt x="171" y="26"/>
                  <a:pt x="171" y="26"/>
                </a:cubicBezTo>
                <a:cubicBezTo>
                  <a:pt x="172" y="25"/>
                  <a:pt x="171" y="25"/>
                  <a:pt x="171" y="25"/>
                </a:cubicBezTo>
                <a:cubicBezTo>
                  <a:pt x="171" y="24"/>
                  <a:pt x="169" y="21"/>
                  <a:pt x="169" y="21"/>
                </a:cubicBezTo>
                <a:cubicBezTo>
                  <a:pt x="147" y="21"/>
                  <a:pt x="147" y="21"/>
                  <a:pt x="147" y="21"/>
                </a:cubicBezTo>
                <a:cubicBezTo>
                  <a:pt x="147" y="20"/>
                  <a:pt x="147" y="20"/>
                  <a:pt x="147" y="20"/>
                </a:cubicBezTo>
                <a:cubicBezTo>
                  <a:pt x="147" y="20"/>
                  <a:pt x="150" y="16"/>
                  <a:pt x="150" y="15"/>
                </a:cubicBezTo>
                <a:cubicBezTo>
                  <a:pt x="150" y="15"/>
                  <a:pt x="153" y="12"/>
                  <a:pt x="153" y="12"/>
                </a:cubicBezTo>
                <a:cubicBezTo>
                  <a:pt x="153" y="12"/>
                  <a:pt x="157" y="9"/>
                  <a:pt x="157" y="9"/>
                </a:cubicBezTo>
                <a:cubicBezTo>
                  <a:pt x="157" y="4"/>
                  <a:pt x="157" y="4"/>
                  <a:pt x="157" y="4"/>
                </a:cubicBezTo>
                <a:cubicBezTo>
                  <a:pt x="154" y="2"/>
                  <a:pt x="154" y="2"/>
                  <a:pt x="154" y="2"/>
                </a:cubicBezTo>
                <a:cubicBezTo>
                  <a:pt x="154" y="0"/>
                  <a:pt x="154" y="0"/>
                  <a:pt x="154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50"/>
                  <a:pt x="6" y="50"/>
                  <a:pt x="6" y="50"/>
                </a:cubicBezTo>
                <a:cubicBezTo>
                  <a:pt x="5" y="120"/>
                  <a:pt x="5" y="120"/>
                  <a:pt x="5" y="120"/>
                </a:cubicBezTo>
                <a:cubicBezTo>
                  <a:pt x="5" y="120"/>
                  <a:pt x="6" y="121"/>
                  <a:pt x="6" y="121"/>
                </a:cubicBezTo>
                <a:cubicBezTo>
                  <a:pt x="5" y="122"/>
                  <a:pt x="5" y="122"/>
                  <a:pt x="5" y="122"/>
                </a:cubicBezTo>
                <a:cubicBezTo>
                  <a:pt x="5" y="122"/>
                  <a:pt x="6" y="123"/>
                  <a:pt x="6" y="123"/>
                </a:cubicBezTo>
                <a:cubicBezTo>
                  <a:pt x="7" y="123"/>
                  <a:pt x="8" y="122"/>
                  <a:pt x="8" y="123"/>
                </a:cubicBezTo>
                <a:cubicBezTo>
                  <a:pt x="8" y="124"/>
                  <a:pt x="7" y="124"/>
                  <a:pt x="8" y="124"/>
                </a:cubicBezTo>
                <a:cubicBezTo>
                  <a:pt x="8" y="124"/>
                  <a:pt x="8" y="125"/>
                  <a:pt x="9" y="124"/>
                </a:cubicBezTo>
                <a:cubicBezTo>
                  <a:pt x="9" y="124"/>
                  <a:pt x="9" y="124"/>
                  <a:pt x="9" y="124"/>
                </a:cubicBezTo>
                <a:cubicBezTo>
                  <a:pt x="9" y="124"/>
                  <a:pt x="9" y="124"/>
                  <a:pt x="9" y="124"/>
                </a:cubicBezTo>
                <a:cubicBezTo>
                  <a:pt x="10" y="124"/>
                  <a:pt x="10" y="123"/>
                  <a:pt x="10" y="124"/>
                </a:cubicBezTo>
                <a:cubicBezTo>
                  <a:pt x="11" y="123"/>
                  <a:pt x="11" y="123"/>
                  <a:pt x="11" y="123"/>
                </a:cubicBezTo>
                <a:cubicBezTo>
                  <a:pt x="11" y="124"/>
                  <a:pt x="12" y="124"/>
                  <a:pt x="12" y="124"/>
                </a:cubicBezTo>
                <a:cubicBezTo>
                  <a:pt x="12" y="124"/>
                  <a:pt x="12" y="123"/>
                  <a:pt x="12" y="123"/>
                </a:cubicBezTo>
                <a:cubicBezTo>
                  <a:pt x="13" y="123"/>
                  <a:pt x="13" y="123"/>
                  <a:pt x="13" y="124"/>
                </a:cubicBezTo>
                <a:cubicBezTo>
                  <a:pt x="13" y="124"/>
                  <a:pt x="14" y="124"/>
                  <a:pt x="14" y="124"/>
                </a:cubicBezTo>
                <a:cubicBezTo>
                  <a:pt x="14" y="123"/>
                  <a:pt x="14" y="122"/>
                  <a:pt x="15" y="123"/>
                </a:cubicBezTo>
                <a:cubicBezTo>
                  <a:pt x="16" y="123"/>
                  <a:pt x="16" y="123"/>
                  <a:pt x="16" y="123"/>
                </a:cubicBezTo>
                <a:cubicBezTo>
                  <a:pt x="16" y="123"/>
                  <a:pt x="16" y="123"/>
                  <a:pt x="16" y="124"/>
                </a:cubicBezTo>
                <a:cubicBezTo>
                  <a:pt x="17" y="124"/>
                  <a:pt x="17" y="124"/>
                  <a:pt x="18" y="123"/>
                </a:cubicBezTo>
                <a:cubicBezTo>
                  <a:pt x="18" y="123"/>
                  <a:pt x="19" y="122"/>
                  <a:pt x="19" y="123"/>
                </a:cubicBezTo>
                <a:cubicBezTo>
                  <a:pt x="19" y="123"/>
                  <a:pt x="19" y="124"/>
                  <a:pt x="19" y="124"/>
                </a:cubicBezTo>
                <a:cubicBezTo>
                  <a:pt x="19" y="125"/>
                  <a:pt x="20" y="125"/>
                  <a:pt x="20" y="126"/>
                </a:cubicBezTo>
                <a:cubicBezTo>
                  <a:pt x="20" y="146"/>
                  <a:pt x="20" y="146"/>
                  <a:pt x="20" y="146"/>
                </a:cubicBezTo>
                <a:cubicBezTo>
                  <a:pt x="119" y="146"/>
                  <a:pt x="119" y="146"/>
                  <a:pt x="119" y="146"/>
                </a:cubicBezTo>
                <a:cubicBezTo>
                  <a:pt x="120" y="146"/>
                  <a:pt x="121" y="145"/>
                  <a:pt x="120" y="144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6" name="Freeform 54">
            <a:extLst>
              <a:ext uri="{FF2B5EF4-FFF2-40B4-BE49-F238E27FC236}">
                <a16:creationId xmlns:a16="http://schemas.microsoft.com/office/drawing/2014/main" id="{53A8AAC5-7AB2-4D6A-BB59-1305DCE3A0C4}"/>
              </a:ext>
            </a:extLst>
          </p:cNvPr>
          <p:cNvSpPr>
            <a:spLocks/>
          </p:cNvSpPr>
          <p:nvPr/>
        </p:nvSpPr>
        <p:spPr bwMode="auto">
          <a:xfrm>
            <a:off x="5351682" y="3518220"/>
            <a:ext cx="791406" cy="935148"/>
          </a:xfrm>
          <a:custGeom>
            <a:avLst/>
            <a:gdLst>
              <a:gd name="T0" fmla="*/ 27 w 200"/>
              <a:gd name="T1" fmla="*/ 35 h 236"/>
              <a:gd name="T2" fmla="*/ 24 w 200"/>
              <a:gd name="T3" fmla="*/ 38 h 236"/>
              <a:gd name="T4" fmla="*/ 22 w 200"/>
              <a:gd name="T5" fmla="*/ 42 h 236"/>
              <a:gd name="T6" fmla="*/ 16 w 200"/>
              <a:gd name="T7" fmla="*/ 39 h 236"/>
              <a:gd name="T8" fmla="*/ 12 w 200"/>
              <a:gd name="T9" fmla="*/ 38 h 236"/>
              <a:gd name="T10" fmla="*/ 9 w 200"/>
              <a:gd name="T11" fmla="*/ 37 h 236"/>
              <a:gd name="T12" fmla="*/ 4 w 200"/>
              <a:gd name="T13" fmla="*/ 38 h 236"/>
              <a:gd name="T14" fmla="*/ 4 w 200"/>
              <a:gd name="T15" fmla="*/ 41 h 236"/>
              <a:gd name="T16" fmla="*/ 4 w 200"/>
              <a:gd name="T17" fmla="*/ 47 h 236"/>
              <a:gd name="T18" fmla="*/ 4 w 200"/>
              <a:gd name="T19" fmla="*/ 50 h 236"/>
              <a:gd name="T20" fmla="*/ 4 w 200"/>
              <a:gd name="T21" fmla="*/ 55 h 236"/>
              <a:gd name="T22" fmla="*/ 5 w 200"/>
              <a:gd name="T23" fmla="*/ 62 h 236"/>
              <a:gd name="T24" fmla="*/ 7 w 200"/>
              <a:gd name="T25" fmla="*/ 68 h 236"/>
              <a:gd name="T26" fmla="*/ 8 w 200"/>
              <a:gd name="T27" fmla="*/ 74 h 236"/>
              <a:gd name="T28" fmla="*/ 8 w 200"/>
              <a:gd name="T29" fmla="*/ 80 h 236"/>
              <a:gd name="T30" fmla="*/ 7 w 200"/>
              <a:gd name="T31" fmla="*/ 81 h 236"/>
              <a:gd name="T32" fmla="*/ 7 w 200"/>
              <a:gd name="T33" fmla="*/ 85 h 236"/>
              <a:gd name="T34" fmla="*/ 11 w 200"/>
              <a:gd name="T35" fmla="*/ 96 h 236"/>
              <a:gd name="T36" fmla="*/ 15 w 200"/>
              <a:gd name="T37" fmla="*/ 108 h 236"/>
              <a:gd name="T38" fmla="*/ 23 w 200"/>
              <a:gd name="T39" fmla="*/ 113 h 236"/>
              <a:gd name="T40" fmla="*/ 23 w 200"/>
              <a:gd name="T41" fmla="*/ 117 h 236"/>
              <a:gd name="T42" fmla="*/ 14 w 200"/>
              <a:gd name="T43" fmla="*/ 123 h 236"/>
              <a:gd name="T44" fmla="*/ 10 w 200"/>
              <a:gd name="T45" fmla="*/ 129 h 236"/>
              <a:gd name="T46" fmla="*/ 10 w 200"/>
              <a:gd name="T47" fmla="*/ 142 h 236"/>
              <a:gd name="T48" fmla="*/ 7 w 200"/>
              <a:gd name="T49" fmla="*/ 151 h 236"/>
              <a:gd name="T50" fmla="*/ 4 w 200"/>
              <a:gd name="T51" fmla="*/ 155 h 236"/>
              <a:gd name="T52" fmla="*/ 5 w 200"/>
              <a:gd name="T53" fmla="*/ 158 h 236"/>
              <a:gd name="T54" fmla="*/ 4 w 200"/>
              <a:gd name="T55" fmla="*/ 164 h 236"/>
              <a:gd name="T56" fmla="*/ 5 w 200"/>
              <a:gd name="T57" fmla="*/ 168 h 236"/>
              <a:gd name="T58" fmla="*/ 11 w 200"/>
              <a:gd name="T59" fmla="*/ 169 h 236"/>
              <a:gd name="T60" fmla="*/ 12 w 200"/>
              <a:gd name="T61" fmla="*/ 175 h 236"/>
              <a:gd name="T62" fmla="*/ 10 w 200"/>
              <a:gd name="T63" fmla="*/ 179 h 236"/>
              <a:gd name="T64" fmla="*/ 4 w 200"/>
              <a:gd name="T65" fmla="*/ 180 h 236"/>
              <a:gd name="T66" fmla="*/ 0 w 200"/>
              <a:gd name="T67" fmla="*/ 189 h 236"/>
              <a:gd name="T68" fmla="*/ 199 w 200"/>
              <a:gd name="T69" fmla="*/ 236 h 236"/>
              <a:gd name="T70" fmla="*/ 27 w 200"/>
              <a:gd name="T71" fmla="*/ 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00" h="236">
                <a:moveTo>
                  <a:pt x="27" y="0"/>
                </a:moveTo>
                <a:cubicBezTo>
                  <a:pt x="27" y="35"/>
                  <a:pt x="27" y="35"/>
                  <a:pt x="27" y="35"/>
                </a:cubicBezTo>
                <a:cubicBezTo>
                  <a:pt x="27" y="35"/>
                  <a:pt x="26" y="35"/>
                  <a:pt x="25" y="36"/>
                </a:cubicBezTo>
                <a:cubicBezTo>
                  <a:pt x="25" y="37"/>
                  <a:pt x="25" y="38"/>
                  <a:pt x="24" y="38"/>
                </a:cubicBezTo>
                <a:cubicBezTo>
                  <a:pt x="24" y="39"/>
                  <a:pt x="24" y="40"/>
                  <a:pt x="24" y="41"/>
                </a:cubicBezTo>
                <a:cubicBezTo>
                  <a:pt x="23" y="42"/>
                  <a:pt x="23" y="42"/>
                  <a:pt x="22" y="42"/>
                </a:cubicBezTo>
                <a:cubicBezTo>
                  <a:pt x="21" y="43"/>
                  <a:pt x="20" y="42"/>
                  <a:pt x="19" y="41"/>
                </a:cubicBezTo>
                <a:cubicBezTo>
                  <a:pt x="18" y="41"/>
                  <a:pt x="17" y="39"/>
                  <a:pt x="16" y="39"/>
                </a:cubicBezTo>
                <a:cubicBezTo>
                  <a:pt x="16" y="38"/>
                  <a:pt x="14" y="37"/>
                  <a:pt x="14" y="37"/>
                </a:cubicBezTo>
                <a:cubicBezTo>
                  <a:pt x="14" y="37"/>
                  <a:pt x="13" y="38"/>
                  <a:pt x="12" y="38"/>
                </a:cubicBezTo>
                <a:cubicBezTo>
                  <a:pt x="11" y="38"/>
                  <a:pt x="11" y="37"/>
                  <a:pt x="11" y="37"/>
                </a:cubicBezTo>
                <a:cubicBezTo>
                  <a:pt x="10" y="36"/>
                  <a:pt x="9" y="37"/>
                  <a:pt x="9" y="37"/>
                </a:cubicBezTo>
                <a:cubicBezTo>
                  <a:pt x="8" y="37"/>
                  <a:pt x="7" y="37"/>
                  <a:pt x="6" y="38"/>
                </a:cubicBezTo>
                <a:cubicBezTo>
                  <a:pt x="6" y="38"/>
                  <a:pt x="5" y="38"/>
                  <a:pt x="4" y="38"/>
                </a:cubicBezTo>
                <a:cubicBezTo>
                  <a:pt x="3" y="39"/>
                  <a:pt x="3" y="39"/>
                  <a:pt x="3" y="39"/>
                </a:cubicBezTo>
                <a:cubicBezTo>
                  <a:pt x="3" y="39"/>
                  <a:pt x="3" y="40"/>
                  <a:pt x="4" y="41"/>
                </a:cubicBezTo>
                <a:cubicBezTo>
                  <a:pt x="4" y="42"/>
                  <a:pt x="4" y="44"/>
                  <a:pt x="4" y="45"/>
                </a:cubicBezTo>
                <a:cubicBezTo>
                  <a:pt x="4" y="46"/>
                  <a:pt x="4" y="46"/>
                  <a:pt x="4" y="47"/>
                </a:cubicBezTo>
                <a:cubicBezTo>
                  <a:pt x="4" y="47"/>
                  <a:pt x="6" y="48"/>
                  <a:pt x="6" y="48"/>
                </a:cubicBezTo>
                <a:cubicBezTo>
                  <a:pt x="6" y="48"/>
                  <a:pt x="4" y="50"/>
                  <a:pt x="4" y="50"/>
                </a:cubicBezTo>
                <a:cubicBezTo>
                  <a:pt x="3" y="51"/>
                  <a:pt x="4" y="52"/>
                  <a:pt x="4" y="53"/>
                </a:cubicBezTo>
                <a:cubicBezTo>
                  <a:pt x="4" y="54"/>
                  <a:pt x="4" y="54"/>
                  <a:pt x="4" y="55"/>
                </a:cubicBezTo>
                <a:cubicBezTo>
                  <a:pt x="4" y="56"/>
                  <a:pt x="5" y="59"/>
                  <a:pt x="6" y="59"/>
                </a:cubicBezTo>
                <a:cubicBezTo>
                  <a:pt x="6" y="60"/>
                  <a:pt x="6" y="61"/>
                  <a:pt x="5" y="62"/>
                </a:cubicBezTo>
                <a:cubicBezTo>
                  <a:pt x="5" y="63"/>
                  <a:pt x="5" y="64"/>
                  <a:pt x="5" y="65"/>
                </a:cubicBezTo>
                <a:cubicBezTo>
                  <a:pt x="5" y="66"/>
                  <a:pt x="6" y="67"/>
                  <a:pt x="7" y="68"/>
                </a:cubicBezTo>
                <a:cubicBezTo>
                  <a:pt x="7" y="69"/>
                  <a:pt x="8" y="71"/>
                  <a:pt x="8" y="71"/>
                </a:cubicBezTo>
                <a:cubicBezTo>
                  <a:pt x="8" y="72"/>
                  <a:pt x="9" y="74"/>
                  <a:pt x="8" y="74"/>
                </a:cubicBezTo>
                <a:cubicBezTo>
                  <a:pt x="8" y="75"/>
                  <a:pt x="9" y="77"/>
                  <a:pt x="9" y="78"/>
                </a:cubicBezTo>
                <a:cubicBezTo>
                  <a:pt x="10" y="78"/>
                  <a:pt x="8" y="80"/>
                  <a:pt x="8" y="80"/>
                </a:cubicBezTo>
                <a:cubicBezTo>
                  <a:pt x="8" y="80"/>
                  <a:pt x="7" y="81"/>
                  <a:pt x="6" y="81"/>
                </a:cubicBezTo>
                <a:cubicBezTo>
                  <a:pt x="6" y="81"/>
                  <a:pt x="7" y="81"/>
                  <a:pt x="7" y="81"/>
                </a:cubicBezTo>
                <a:cubicBezTo>
                  <a:pt x="8" y="82"/>
                  <a:pt x="7" y="83"/>
                  <a:pt x="7" y="83"/>
                </a:cubicBezTo>
                <a:cubicBezTo>
                  <a:pt x="7" y="83"/>
                  <a:pt x="7" y="85"/>
                  <a:pt x="7" y="85"/>
                </a:cubicBezTo>
                <a:cubicBezTo>
                  <a:pt x="7" y="85"/>
                  <a:pt x="6" y="90"/>
                  <a:pt x="7" y="90"/>
                </a:cubicBezTo>
                <a:cubicBezTo>
                  <a:pt x="7" y="91"/>
                  <a:pt x="11" y="96"/>
                  <a:pt x="11" y="96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4"/>
                  <a:pt x="15" y="108"/>
                  <a:pt x="15" y="108"/>
                </a:cubicBezTo>
                <a:cubicBezTo>
                  <a:pt x="16" y="109"/>
                  <a:pt x="17" y="108"/>
                  <a:pt x="18" y="108"/>
                </a:cubicBezTo>
                <a:cubicBezTo>
                  <a:pt x="18" y="108"/>
                  <a:pt x="23" y="112"/>
                  <a:pt x="23" y="113"/>
                </a:cubicBezTo>
                <a:cubicBezTo>
                  <a:pt x="23" y="113"/>
                  <a:pt x="23" y="115"/>
                  <a:pt x="23" y="115"/>
                </a:cubicBezTo>
                <a:cubicBezTo>
                  <a:pt x="23" y="115"/>
                  <a:pt x="23" y="117"/>
                  <a:pt x="23" y="117"/>
                </a:cubicBezTo>
                <a:cubicBezTo>
                  <a:pt x="18" y="121"/>
                  <a:pt x="18" y="121"/>
                  <a:pt x="18" y="121"/>
                </a:cubicBezTo>
                <a:cubicBezTo>
                  <a:pt x="14" y="123"/>
                  <a:pt x="14" y="123"/>
                  <a:pt x="14" y="123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0" y="129"/>
                  <a:pt x="10" y="129"/>
                  <a:pt x="10" y="129"/>
                </a:cubicBezTo>
                <a:cubicBezTo>
                  <a:pt x="12" y="139"/>
                  <a:pt x="12" y="139"/>
                  <a:pt x="12" y="139"/>
                </a:cubicBezTo>
                <a:cubicBezTo>
                  <a:pt x="10" y="142"/>
                  <a:pt x="10" y="142"/>
                  <a:pt x="10" y="142"/>
                </a:cubicBezTo>
                <a:cubicBezTo>
                  <a:pt x="11" y="146"/>
                  <a:pt x="11" y="146"/>
                  <a:pt x="11" y="146"/>
                </a:cubicBezTo>
                <a:cubicBezTo>
                  <a:pt x="7" y="151"/>
                  <a:pt x="7" y="151"/>
                  <a:pt x="7" y="151"/>
                </a:cubicBezTo>
                <a:cubicBezTo>
                  <a:pt x="4" y="152"/>
                  <a:pt x="4" y="152"/>
                  <a:pt x="4" y="152"/>
                </a:cubicBezTo>
                <a:cubicBezTo>
                  <a:pt x="4" y="155"/>
                  <a:pt x="4" y="155"/>
                  <a:pt x="4" y="155"/>
                </a:cubicBezTo>
                <a:cubicBezTo>
                  <a:pt x="4" y="155"/>
                  <a:pt x="3" y="156"/>
                  <a:pt x="3" y="156"/>
                </a:cubicBezTo>
                <a:cubicBezTo>
                  <a:pt x="3" y="157"/>
                  <a:pt x="5" y="157"/>
                  <a:pt x="5" y="158"/>
                </a:cubicBezTo>
                <a:cubicBezTo>
                  <a:pt x="6" y="158"/>
                  <a:pt x="6" y="159"/>
                  <a:pt x="6" y="159"/>
                </a:cubicBezTo>
                <a:cubicBezTo>
                  <a:pt x="6" y="159"/>
                  <a:pt x="4" y="163"/>
                  <a:pt x="4" y="164"/>
                </a:cubicBezTo>
                <a:cubicBezTo>
                  <a:pt x="4" y="164"/>
                  <a:pt x="4" y="166"/>
                  <a:pt x="5" y="166"/>
                </a:cubicBezTo>
                <a:cubicBezTo>
                  <a:pt x="5" y="166"/>
                  <a:pt x="5" y="168"/>
                  <a:pt x="5" y="168"/>
                </a:cubicBezTo>
                <a:cubicBezTo>
                  <a:pt x="5" y="168"/>
                  <a:pt x="11" y="167"/>
                  <a:pt x="11" y="168"/>
                </a:cubicBezTo>
                <a:cubicBezTo>
                  <a:pt x="11" y="168"/>
                  <a:pt x="11" y="169"/>
                  <a:pt x="11" y="169"/>
                </a:cubicBezTo>
                <a:cubicBezTo>
                  <a:pt x="13" y="170"/>
                  <a:pt x="13" y="170"/>
                  <a:pt x="13" y="170"/>
                </a:cubicBezTo>
                <a:cubicBezTo>
                  <a:pt x="13" y="170"/>
                  <a:pt x="12" y="175"/>
                  <a:pt x="12" y="175"/>
                </a:cubicBezTo>
                <a:cubicBezTo>
                  <a:pt x="12" y="175"/>
                  <a:pt x="10" y="176"/>
                  <a:pt x="10" y="176"/>
                </a:cubicBezTo>
                <a:cubicBezTo>
                  <a:pt x="10" y="179"/>
                  <a:pt x="10" y="179"/>
                  <a:pt x="10" y="179"/>
                </a:cubicBezTo>
                <a:cubicBezTo>
                  <a:pt x="9" y="180"/>
                  <a:pt x="9" y="180"/>
                  <a:pt x="9" y="180"/>
                </a:cubicBezTo>
                <a:cubicBezTo>
                  <a:pt x="4" y="180"/>
                  <a:pt x="4" y="180"/>
                  <a:pt x="4" y="180"/>
                </a:cubicBezTo>
                <a:cubicBezTo>
                  <a:pt x="0" y="184"/>
                  <a:pt x="0" y="184"/>
                  <a:pt x="0" y="184"/>
                </a:cubicBezTo>
                <a:cubicBezTo>
                  <a:pt x="0" y="189"/>
                  <a:pt x="0" y="189"/>
                  <a:pt x="0" y="189"/>
                </a:cubicBezTo>
                <a:cubicBezTo>
                  <a:pt x="129" y="236"/>
                  <a:pt x="129" y="236"/>
                  <a:pt x="129" y="236"/>
                </a:cubicBezTo>
                <a:cubicBezTo>
                  <a:pt x="199" y="236"/>
                  <a:pt x="199" y="236"/>
                  <a:pt x="199" y="236"/>
                </a:cubicBezTo>
                <a:cubicBezTo>
                  <a:pt x="200" y="0"/>
                  <a:pt x="200" y="0"/>
                  <a:pt x="200" y="0"/>
                </a:cubicBezTo>
                <a:lnTo>
                  <a:pt x="27" y="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7" name="Freeform 55">
            <a:extLst>
              <a:ext uri="{FF2B5EF4-FFF2-40B4-BE49-F238E27FC236}">
                <a16:creationId xmlns:a16="http://schemas.microsoft.com/office/drawing/2014/main" id="{D4E0C57B-BE74-455A-ABA7-19294A4561A7}"/>
              </a:ext>
            </a:extLst>
          </p:cNvPr>
          <p:cNvSpPr>
            <a:spLocks/>
          </p:cNvSpPr>
          <p:nvPr/>
        </p:nvSpPr>
        <p:spPr bwMode="auto">
          <a:xfrm>
            <a:off x="8956790" y="3858574"/>
            <a:ext cx="485748" cy="773232"/>
          </a:xfrm>
          <a:custGeom>
            <a:avLst/>
            <a:gdLst>
              <a:gd name="T0" fmla="*/ 37 w 123"/>
              <a:gd name="T1" fmla="*/ 179 h 195"/>
              <a:gd name="T2" fmla="*/ 34 w 123"/>
              <a:gd name="T3" fmla="*/ 176 h 195"/>
              <a:gd name="T4" fmla="*/ 31 w 123"/>
              <a:gd name="T5" fmla="*/ 172 h 195"/>
              <a:gd name="T6" fmla="*/ 30 w 123"/>
              <a:gd name="T7" fmla="*/ 167 h 195"/>
              <a:gd name="T8" fmla="*/ 120 w 123"/>
              <a:gd name="T9" fmla="*/ 164 h 195"/>
              <a:gd name="T10" fmla="*/ 117 w 123"/>
              <a:gd name="T11" fmla="*/ 158 h 195"/>
              <a:gd name="T12" fmla="*/ 116 w 123"/>
              <a:gd name="T13" fmla="*/ 152 h 195"/>
              <a:gd name="T14" fmla="*/ 118 w 123"/>
              <a:gd name="T15" fmla="*/ 144 h 195"/>
              <a:gd name="T16" fmla="*/ 115 w 123"/>
              <a:gd name="T17" fmla="*/ 133 h 195"/>
              <a:gd name="T18" fmla="*/ 117 w 123"/>
              <a:gd name="T19" fmla="*/ 125 h 195"/>
              <a:gd name="T20" fmla="*/ 118 w 123"/>
              <a:gd name="T21" fmla="*/ 119 h 195"/>
              <a:gd name="T22" fmla="*/ 123 w 123"/>
              <a:gd name="T23" fmla="*/ 113 h 195"/>
              <a:gd name="T24" fmla="*/ 120 w 123"/>
              <a:gd name="T25" fmla="*/ 110 h 195"/>
              <a:gd name="T26" fmla="*/ 120 w 123"/>
              <a:gd name="T27" fmla="*/ 105 h 195"/>
              <a:gd name="T28" fmla="*/ 116 w 123"/>
              <a:gd name="T29" fmla="*/ 96 h 195"/>
              <a:gd name="T30" fmla="*/ 115 w 123"/>
              <a:gd name="T31" fmla="*/ 92 h 195"/>
              <a:gd name="T32" fmla="*/ 99 w 123"/>
              <a:gd name="T33" fmla="*/ 0 h 195"/>
              <a:gd name="T34" fmla="*/ 11 w 123"/>
              <a:gd name="T35" fmla="*/ 3 h 195"/>
              <a:gd name="T36" fmla="*/ 0 w 123"/>
              <a:gd name="T37" fmla="*/ 126 h 195"/>
              <a:gd name="T38" fmla="*/ 4 w 123"/>
              <a:gd name="T39" fmla="*/ 189 h 195"/>
              <a:gd name="T40" fmla="*/ 11 w 123"/>
              <a:gd name="T41" fmla="*/ 189 h 195"/>
              <a:gd name="T42" fmla="*/ 13 w 123"/>
              <a:gd name="T43" fmla="*/ 187 h 195"/>
              <a:gd name="T44" fmla="*/ 14 w 123"/>
              <a:gd name="T45" fmla="*/ 181 h 195"/>
              <a:gd name="T46" fmla="*/ 15 w 123"/>
              <a:gd name="T47" fmla="*/ 179 h 195"/>
              <a:gd name="T48" fmla="*/ 17 w 123"/>
              <a:gd name="T49" fmla="*/ 177 h 195"/>
              <a:gd name="T50" fmla="*/ 19 w 123"/>
              <a:gd name="T51" fmla="*/ 180 h 195"/>
              <a:gd name="T52" fmla="*/ 20 w 123"/>
              <a:gd name="T53" fmla="*/ 188 h 195"/>
              <a:gd name="T54" fmla="*/ 22 w 123"/>
              <a:gd name="T55" fmla="*/ 190 h 195"/>
              <a:gd name="T56" fmla="*/ 25 w 123"/>
              <a:gd name="T57" fmla="*/ 194 h 195"/>
              <a:gd name="T58" fmla="*/ 20 w 123"/>
              <a:gd name="T59" fmla="*/ 195 h 195"/>
              <a:gd name="T60" fmla="*/ 25 w 123"/>
              <a:gd name="T61" fmla="*/ 195 h 195"/>
              <a:gd name="T62" fmla="*/ 28 w 123"/>
              <a:gd name="T63" fmla="*/ 195 h 195"/>
              <a:gd name="T64" fmla="*/ 31 w 123"/>
              <a:gd name="T65" fmla="*/ 193 h 195"/>
              <a:gd name="T66" fmla="*/ 36 w 123"/>
              <a:gd name="T67" fmla="*/ 189 h 195"/>
              <a:gd name="T68" fmla="*/ 36 w 123"/>
              <a:gd name="T69" fmla="*/ 185 h 195"/>
              <a:gd name="T70" fmla="*/ 36 w 123"/>
              <a:gd name="T71" fmla="*/ 181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3" h="195">
                <a:moveTo>
                  <a:pt x="36" y="181"/>
                </a:moveTo>
                <a:cubicBezTo>
                  <a:pt x="36" y="181"/>
                  <a:pt x="37" y="179"/>
                  <a:pt x="37" y="179"/>
                </a:cubicBezTo>
                <a:cubicBezTo>
                  <a:pt x="37" y="179"/>
                  <a:pt x="37" y="177"/>
                  <a:pt x="37" y="177"/>
                </a:cubicBezTo>
                <a:cubicBezTo>
                  <a:pt x="37" y="177"/>
                  <a:pt x="34" y="176"/>
                  <a:pt x="34" y="176"/>
                </a:cubicBezTo>
                <a:cubicBezTo>
                  <a:pt x="33" y="176"/>
                  <a:pt x="33" y="175"/>
                  <a:pt x="33" y="174"/>
                </a:cubicBezTo>
                <a:cubicBezTo>
                  <a:pt x="33" y="174"/>
                  <a:pt x="31" y="173"/>
                  <a:pt x="31" y="172"/>
                </a:cubicBezTo>
                <a:cubicBezTo>
                  <a:pt x="31" y="172"/>
                  <a:pt x="29" y="170"/>
                  <a:pt x="29" y="170"/>
                </a:cubicBezTo>
                <a:cubicBezTo>
                  <a:pt x="30" y="167"/>
                  <a:pt x="30" y="167"/>
                  <a:pt x="30" y="167"/>
                </a:cubicBezTo>
                <a:cubicBezTo>
                  <a:pt x="31" y="164"/>
                  <a:pt x="31" y="164"/>
                  <a:pt x="31" y="164"/>
                </a:cubicBezTo>
                <a:cubicBezTo>
                  <a:pt x="120" y="164"/>
                  <a:pt x="120" y="164"/>
                  <a:pt x="120" y="164"/>
                </a:cubicBezTo>
                <a:cubicBezTo>
                  <a:pt x="120" y="164"/>
                  <a:pt x="119" y="161"/>
                  <a:pt x="119" y="160"/>
                </a:cubicBezTo>
                <a:cubicBezTo>
                  <a:pt x="119" y="160"/>
                  <a:pt x="118" y="159"/>
                  <a:pt x="117" y="158"/>
                </a:cubicBezTo>
                <a:cubicBezTo>
                  <a:pt x="117" y="157"/>
                  <a:pt x="116" y="156"/>
                  <a:pt x="116" y="156"/>
                </a:cubicBezTo>
                <a:cubicBezTo>
                  <a:pt x="116" y="155"/>
                  <a:pt x="116" y="152"/>
                  <a:pt x="116" y="152"/>
                </a:cubicBezTo>
                <a:cubicBezTo>
                  <a:pt x="116" y="152"/>
                  <a:pt x="117" y="149"/>
                  <a:pt x="117" y="149"/>
                </a:cubicBezTo>
                <a:cubicBezTo>
                  <a:pt x="118" y="148"/>
                  <a:pt x="118" y="144"/>
                  <a:pt x="118" y="144"/>
                </a:cubicBezTo>
                <a:cubicBezTo>
                  <a:pt x="118" y="143"/>
                  <a:pt x="117" y="138"/>
                  <a:pt x="117" y="137"/>
                </a:cubicBezTo>
                <a:cubicBezTo>
                  <a:pt x="116" y="137"/>
                  <a:pt x="115" y="134"/>
                  <a:pt x="115" y="133"/>
                </a:cubicBezTo>
                <a:cubicBezTo>
                  <a:pt x="115" y="132"/>
                  <a:pt x="115" y="129"/>
                  <a:pt x="115" y="129"/>
                </a:cubicBezTo>
                <a:cubicBezTo>
                  <a:pt x="115" y="128"/>
                  <a:pt x="116" y="126"/>
                  <a:pt x="117" y="125"/>
                </a:cubicBezTo>
                <a:cubicBezTo>
                  <a:pt x="117" y="124"/>
                  <a:pt x="118" y="123"/>
                  <a:pt x="118" y="122"/>
                </a:cubicBezTo>
                <a:cubicBezTo>
                  <a:pt x="118" y="121"/>
                  <a:pt x="118" y="120"/>
                  <a:pt x="118" y="119"/>
                </a:cubicBezTo>
                <a:cubicBezTo>
                  <a:pt x="118" y="118"/>
                  <a:pt x="121" y="116"/>
                  <a:pt x="121" y="115"/>
                </a:cubicBezTo>
                <a:cubicBezTo>
                  <a:pt x="121" y="115"/>
                  <a:pt x="123" y="113"/>
                  <a:pt x="123" y="113"/>
                </a:cubicBezTo>
                <a:cubicBezTo>
                  <a:pt x="123" y="113"/>
                  <a:pt x="122" y="112"/>
                  <a:pt x="122" y="112"/>
                </a:cubicBezTo>
                <a:cubicBezTo>
                  <a:pt x="121" y="111"/>
                  <a:pt x="120" y="111"/>
                  <a:pt x="120" y="110"/>
                </a:cubicBezTo>
                <a:cubicBezTo>
                  <a:pt x="120" y="109"/>
                  <a:pt x="120" y="108"/>
                  <a:pt x="120" y="108"/>
                </a:cubicBezTo>
                <a:cubicBezTo>
                  <a:pt x="121" y="107"/>
                  <a:pt x="121" y="105"/>
                  <a:pt x="120" y="105"/>
                </a:cubicBezTo>
                <a:cubicBezTo>
                  <a:pt x="120" y="105"/>
                  <a:pt x="117" y="100"/>
                  <a:pt x="117" y="99"/>
                </a:cubicBezTo>
                <a:cubicBezTo>
                  <a:pt x="117" y="98"/>
                  <a:pt x="116" y="97"/>
                  <a:pt x="116" y="96"/>
                </a:cubicBezTo>
                <a:cubicBezTo>
                  <a:pt x="116" y="95"/>
                  <a:pt x="116" y="94"/>
                  <a:pt x="115" y="93"/>
                </a:cubicBezTo>
                <a:cubicBezTo>
                  <a:pt x="115" y="93"/>
                  <a:pt x="115" y="92"/>
                  <a:pt x="115" y="92"/>
                </a:cubicBezTo>
                <a:cubicBezTo>
                  <a:pt x="115" y="91"/>
                  <a:pt x="114" y="89"/>
                  <a:pt x="114" y="89"/>
                </a:cubicBezTo>
                <a:cubicBezTo>
                  <a:pt x="114" y="88"/>
                  <a:pt x="99" y="0"/>
                  <a:pt x="99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1" y="3"/>
                  <a:pt x="11" y="3"/>
                  <a:pt x="11" y="3"/>
                </a:cubicBezTo>
                <a:cubicBezTo>
                  <a:pt x="13" y="4"/>
                  <a:pt x="13" y="4"/>
                  <a:pt x="13" y="4"/>
                </a:cubicBezTo>
                <a:cubicBezTo>
                  <a:pt x="0" y="126"/>
                  <a:pt x="0" y="126"/>
                  <a:pt x="0" y="126"/>
                </a:cubicBezTo>
                <a:cubicBezTo>
                  <a:pt x="3" y="189"/>
                  <a:pt x="3" y="189"/>
                  <a:pt x="3" y="189"/>
                </a:cubicBezTo>
                <a:cubicBezTo>
                  <a:pt x="3" y="189"/>
                  <a:pt x="3" y="189"/>
                  <a:pt x="4" y="189"/>
                </a:cubicBezTo>
                <a:cubicBezTo>
                  <a:pt x="5" y="189"/>
                  <a:pt x="6" y="189"/>
                  <a:pt x="6" y="189"/>
                </a:cubicBezTo>
                <a:cubicBezTo>
                  <a:pt x="8" y="189"/>
                  <a:pt x="10" y="189"/>
                  <a:pt x="11" y="189"/>
                </a:cubicBezTo>
                <a:cubicBezTo>
                  <a:pt x="12" y="189"/>
                  <a:pt x="13" y="189"/>
                  <a:pt x="13" y="189"/>
                </a:cubicBezTo>
                <a:cubicBezTo>
                  <a:pt x="13" y="189"/>
                  <a:pt x="13" y="188"/>
                  <a:pt x="13" y="187"/>
                </a:cubicBezTo>
                <a:cubicBezTo>
                  <a:pt x="13" y="186"/>
                  <a:pt x="13" y="185"/>
                  <a:pt x="13" y="184"/>
                </a:cubicBezTo>
                <a:cubicBezTo>
                  <a:pt x="14" y="183"/>
                  <a:pt x="14" y="182"/>
                  <a:pt x="14" y="181"/>
                </a:cubicBezTo>
                <a:cubicBezTo>
                  <a:pt x="14" y="181"/>
                  <a:pt x="14" y="181"/>
                  <a:pt x="14" y="180"/>
                </a:cubicBezTo>
                <a:cubicBezTo>
                  <a:pt x="14" y="180"/>
                  <a:pt x="15" y="179"/>
                  <a:pt x="15" y="179"/>
                </a:cubicBezTo>
                <a:cubicBezTo>
                  <a:pt x="15" y="178"/>
                  <a:pt x="15" y="177"/>
                  <a:pt x="16" y="177"/>
                </a:cubicBezTo>
                <a:cubicBezTo>
                  <a:pt x="17" y="177"/>
                  <a:pt x="17" y="177"/>
                  <a:pt x="17" y="177"/>
                </a:cubicBezTo>
                <a:cubicBezTo>
                  <a:pt x="18" y="177"/>
                  <a:pt x="18" y="177"/>
                  <a:pt x="19" y="178"/>
                </a:cubicBezTo>
                <a:cubicBezTo>
                  <a:pt x="19" y="178"/>
                  <a:pt x="19" y="179"/>
                  <a:pt x="19" y="180"/>
                </a:cubicBezTo>
                <a:cubicBezTo>
                  <a:pt x="19" y="180"/>
                  <a:pt x="19" y="181"/>
                  <a:pt x="19" y="182"/>
                </a:cubicBezTo>
                <a:cubicBezTo>
                  <a:pt x="19" y="184"/>
                  <a:pt x="19" y="186"/>
                  <a:pt x="20" y="188"/>
                </a:cubicBezTo>
                <a:cubicBezTo>
                  <a:pt x="20" y="189"/>
                  <a:pt x="20" y="189"/>
                  <a:pt x="21" y="189"/>
                </a:cubicBezTo>
                <a:cubicBezTo>
                  <a:pt x="21" y="190"/>
                  <a:pt x="21" y="190"/>
                  <a:pt x="22" y="190"/>
                </a:cubicBezTo>
                <a:cubicBezTo>
                  <a:pt x="22" y="191"/>
                  <a:pt x="23" y="191"/>
                  <a:pt x="24" y="192"/>
                </a:cubicBezTo>
                <a:cubicBezTo>
                  <a:pt x="24" y="192"/>
                  <a:pt x="25" y="193"/>
                  <a:pt x="25" y="194"/>
                </a:cubicBezTo>
                <a:cubicBezTo>
                  <a:pt x="25" y="195"/>
                  <a:pt x="23" y="194"/>
                  <a:pt x="22" y="194"/>
                </a:cubicBezTo>
                <a:cubicBezTo>
                  <a:pt x="22" y="194"/>
                  <a:pt x="20" y="194"/>
                  <a:pt x="20" y="195"/>
                </a:cubicBezTo>
                <a:cubicBezTo>
                  <a:pt x="21" y="195"/>
                  <a:pt x="22" y="195"/>
                  <a:pt x="23" y="195"/>
                </a:cubicBezTo>
                <a:cubicBezTo>
                  <a:pt x="23" y="195"/>
                  <a:pt x="24" y="195"/>
                  <a:pt x="25" y="195"/>
                </a:cubicBezTo>
                <a:cubicBezTo>
                  <a:pt x="25" y="195"/>
                  <a:pt x="26" y="195"/>
                  <a:pt x="27" y="195"/>
                </a:cubicBezTo>
                <a:cubicBezTo>
                  <a:pt x="27" y="195"/>
                  <a:pt x="28" y="195"/>
                  <a:pt x="28" y="195"/>
                </a:cubicBezTo>
                <a:cubicBezTo>
                  <a:pt x="29" y="195"/>
                  <a:pt x="29" y="194"/>
                  <a:pt x="30" y="194"/>
                </a:cubicBezTo>
                <a:cubicBezTo>
                  <a:pt x="30" y="194"/>
                  <a:pt x="31" y="194"/>
                  <a:pt x="31" y="193"/>
                </a:cubicBezTo>
                <a:cubicBezTo>
                  <a:pt x="32" y="193"/>
                  <a:pt x="32" y="192"/>
                  <a:pt x="32" y="192"/>
                </a:cubicBezTo>
                <a:cubicBezTo>
                  <a:pt x="33" y="191"/>
                  <a:pt x="34" y="190"/>
                  <a:pt x="36" y="189"/>
                </a:cubicBezTo>
                <a:cubicBezTo>
                  <a:pt x="36" y="189"/>
                  <a:pt x="37" y="188"/>
                  <a:pt x="37" y="187"/>
                </a:cubicBezTo>
                <a:cubicBezTo>
                  <a:pt x="37" y="187"/>
                  <a:pt x="35" y="185"/>
                  <a:pt x="36" y="185"/>
                </a:cubicBezTo>
                <a:cubicBezTo>
                  <a:pt x="36" y="184"/>
                  <a:pt x="36" y="183"/>
                  <a:pt x="36" y="183"/>
                </a:cubicBezTo>
                <a:cubicBezTo>
                  <a:pt x="36" y="183"/>
                  <a:pt x="36" y="182"/>
                  <a:pt x="36" y="181"/>
                </a:cubicBezTo>
                <a:close/>
              </a:path>
            </a:pathLst>
          </a:custGeom>
          <a:solidFill>
            <a:srgbClr val="C00000"/>
          </a:solidFill>
          <a:ln w="3175" cap="rnd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D451754-1599-3A5B-F415-8DE356E748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7704" y="3228374"/>
            <a:ext cx="807927" cy="3693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9310C-CD3F-AADF-70B4-E09FDF64E3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0469" y="2890458"/>
            <a:ext cx="488540" cy="32569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0400C2-288E-BEF7-D240-CAA3C884A2FD}"/>
              </a:ext>
            </a:extLst>
          </p:cNvPr>
          <p:cNvSpPr txBox="1"/>
          <p:nvPr/>
        </p:nvSpPr>
        <p:spPr>
          <a:xfrm flipH="1">
            <a:off x="1144921" y="255240"/>
            <a:ext cx="40398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7030A0"/>
                </a:solidFill>
                <a:highlight>
                  <a:srgbClr val="FFFF00"/>
                </a:highlight>
              </a:rPr>
              <a:t>Play here</a:t>
            </a:r>
            <a:endParaRPr lang="en-US" b="1" dirty="0">
              <a:solidFill>
                <a:srgbClr val="7030A0"/>
              </a:solidFill>
              <a:highlight>
                <a:srgbClr val="FFFF00"/>
              </a:highligh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764E5B-B521-F552-715A-904615B176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6183" y="4028752"/>
            <a:ext cx="342005" cy="2280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A5254B-4EBE-F6E5-EC9A-4A127F1D0E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842351" y="2828785"/>
            <a:ext cx="776636" cy="56869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451825-38D6-711F-57E6-52A3703DBF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29007" y="1456982"/>
            <a:ext cx="488230" cy="3254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5584BDC-17BE-BF7F-7125-4E76B8C2A6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92332" flipV="1">
            <a:off x="4263666" y="2145460"/>
            <a:ext cx="592494" cy="3949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40F1828-624F-0AAE-FC92-A8CF6ED1415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42020" y="2795111"/>
            <a:ext cx="584054" cy="389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630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98AE82-3F92-4767-A59E-F4831887E9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98AE82-3F92-4767-A59E-F4831887E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F27FD09-D148-706B-A808-D44E7D79F1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84" y="0"/>
            <a:ext cx="109496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7462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F6C8A0D-32B1-8E20-4676-4AA6A00AB0EA}"/>
              </a:ext>
            </a:extLst>
          </p:cNvPr>
          <p:cNvSpPr txBox="1"/>
          <p:nvPr/>
        </p:nvSpPr>
        <p:spPr>
          <a:xfrm>
            <a:off x="6169716" y="387478"/>
            <a:ext cx="14039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elawa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5BFF2E-9EE3-E0FF-0AAD-944CB764D1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758" y="3878139"/>
            <a:ext cx="1277459" cy="8516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4D619B-3232-422B-FB96-76C0F982E5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814" y="5817721"/>
            <a:ext cx="1277459" cy="85163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098FD39-FA3C-CE2B-FCDE-D0B6241F6A9A}"/>
              </a:ext>
            </a:extLst>
          </p:cNvPr>
          <p:cNvSpPr txBox="1"/>
          <p:nvPr/>
        </p:nvSpPr>
        <p:spPr>
          <a:xfrm>
            <a:off x="113059" y="1391138"/>
            <a:ext cx="9963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lask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5863AF-AE9F-485B-05EA-678551190466}"/>
              </a:ext>
            </a:extLst>
          </p:cNvPr>
          <p:cNvSpPr txBox="1"/>
          <p:nvPr/>
        </p:nvSpPr>
        <p:spPr>
          <a:xfrm>
            <a:off x="103120" y="2245488"/>
            <a:ext cx="9963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rizon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E9AEF2-F4A9-47CB-AEF7-E76F7100DAB5}"/>
              </a:ext>
            </a:extLst>
          </p:cNvPr>
          <p:cNvSpPr txBox="1"/>
          <p:nvPr/>
        </p:nvSpPr>
        <p:spPr>
          <a:xfrm>
            <a:off x="103120" y="3226656"/>
            <a:ext cx="12746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rkansa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F681DE-0C39-1802-340E-15588B070D49}"/>
              </a:ext>
            </a:extLst>
          </p:cNvPr>
          <p:cNvSpPr txBox="1"/>
          <p:nvPr/>
        </p:nvSpPr>
        <p:spPr>
          <a:xfrm>
            <a:off x="126725" y="387478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labam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093B753-5065-C630-F573-C375CE4F57EF}"/>
              </a:ext>
            </a:extLst>
          </p:cNvPr>
          <p:cNvSpPr txBox="1"/>
          <p:nvPr/>
        </p:nvSpPr>
        <p:spPr>
          <a:xfrm>
            <a:off x="103120" y="4178612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aliforni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CCEEED3-269C-3FA3-8DEF-09270B94F06D}"/>
              </a:ext>
            </a:extLst>
          </p:cNvPr>
          <p:cNvSpPr txBox="1"/>
          <p:nvPr/>
        </p:nvSpPr>
        <p:spPr>
          <a:xfrm>
            <a:off x="103120" y="5219908"/>
            <a:ext cx="12746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lorad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2F2F366-79C8-B810-536B-59E5CAB56F21}"/>
              </a:ext>
            </a:extLst>
          </p:cNvPr>
          <p:cNvSpPr txBox="1"/>
          <p:nvPr/>
        </p:nvSpPr>
        <p:spPr>
          <a:xfrm>
            <a:off x="126725" y="6065834"/>
            <a:ext cx="15335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nectic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A27188-AEF2-A38B-36A9-1F05A18E8D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228" y="4927888"/>
            <a:ext cx="1203380" cy="8022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B016927-9BB9-AD53-8ADE-46E6A0CAEC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858" y="188640"/>
            <a:ext cx="1277459" cy="85163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E2001B-8FCE-6BEA-E9D4-7A23C9E4F1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12" y="1186213"/>
            <a:ext cx="1428750" cy="952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D1AC846-4DE2-C060-A21C-F1D9906E7A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962" y="1235455"/>
            <a:ext cx="1428750" cy="952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7FE3F56-AC6E-B8C4-DF4A-4F8621D475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66" y="2096766"/>
            <a:ext cx="1428750" cy="9525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A009E3-A655-6BF6-9EA7-0E81908E45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4250" y="2136255"/>
            <a:ext cx="1428750" cy="9525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D17321E-FB98-68A0-3935-A12D58DB51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543" y="3007319"/>
            <a:ext cx="1428750" cy="9525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B138CD7-4ADA-4E77-74A4-89A2784C47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17" y="2979476"/>
            <a:ext cx="1428750" cy="9525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EC7C745-491A-F44A-7913-09010DD939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163534"/>
            <a:ext cx="1428750" cy="9525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218C85E-AF62-FD6C-60DB-38F812A3ADA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2508" y="3970615"/>
            <a:ext cx="1428750" cy="9525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B2FC8B4-BBBF-BE8F-3E34-2753EE42D3A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544" y="4852764"/>
            <a:ext cx="1428750" cy="9525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D45A37C-7B0D-D815-8B85-B673BE365C0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267" y="4842918"/>
            <a:ext cx="1428750" cy="9525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EBF0A3C-C619-9E91-1B71-4084312EF3C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549" y="3887028"/>
            <a:ext cx="1428750" cy="9525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DD4E7919-FA57-2D8A-0B63-3ED510DEFA9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7570" y="3900264"/>
            <a:ext cx="1428750" cy="9525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FDE0E7A-E7D0-D515-BEEE-246818A565A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587" y="3868176"/>
            <a:ext cx="1428750" cy="9525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66FD1826-545B-E6D7-9C02-17D6A854092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034" y="3931504"/>
            <a:ext cx="1428750" cy="952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C38ECA-AF04-5584-B500-E172597410C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63534"/>
            <a:ext cx="1428750" cy="952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5C77D60-2755-225A-365A-A52282745EE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886" y="132294"/>
            <a:ext cx="1428750" cy="952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0C21D4-591B-438F-820B-2752DC1E6E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12" y="1187497"/>
            <a:ext cx="14287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38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91C553D-D683-00EC-D81D-D8754ED7263D}"/>
              </a:ext>
            </a:extLst>
          </p:cNvPr>
          <p:cNvSpPr txBox="1"/>
          <p:nvPr/>
        </p:nvSpPr>
        <p:spPr>
          <a:xfrm>
            <a:off x="96905" y="411682"/>
            <a:ext cx="13542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lori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84BF59-AAA9-3F73-387C-46009366B070}"/>
              </a:ext>
            </a:extLst>
          </p:cNvPr>
          <p:cNvSpPr txBox="1"/>
          <p:nvPr/>
        </p:nvSpPr>
        <p:spPr>
          <a:xfrm>
            <a:off x="96905" y="1399618"/>
            <a:ext cx="13542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Georgi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B259A7-4A38-F5AC-1E6D-713887688C9B}"/>
              </a:ext>
            </a:extLst>
          </p:cNvPr>
          <p:cNvSpPr txBox="1"/>
          <p:nvPr/>
        </p:nvSpPr>
        <p:spPr>
          <a:xfrm>
            <a:off x="96905" y="2310055"/>
            <a:ext cx="10262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awai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83ABC8-92E7-AA8F-1B46-98E91F22079A}"/>
              </a:ext>
            </a:extLst>
          </p:cNvPr>
          <p:cNvSpPr txBox="1"/>
          <p:nvPr/>
        </p:nvSpPr>
        <p:spPr>
          <a:xfrm>
            <a:off x="168187" y="3220492"/>
            <a:ext cx="9597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dah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CDCFCE-77C2-5D3F-2FA1-A6459236C1B0}"/>
              </a:ext>
            </a:extLst>
          </p:cNvPr>
          <p:cNvSpPr txBox="1"/>
          <p:nvPr/>
        </p:nvSpPr>
        <p:spPr>
          <a:xfrm>
            <a:off x="168187" y="4191628"/>
            <a:ext cx="10317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llino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6CA5B3-8990-8D7E-15F4-340A293B8833}"/>
              </a:ext>
            </a:extLst>
          </p:cNvPr>
          <p:cNvSpPr txBox="1"/>
          <p:nvPr/>
        </p:nvSpPr>
        <p:spPr>
          <a:xfrm>
            <a:off x="139664" y="5162764"/>
            <a:ext cx="1319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ndian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AED260-5DF3-F156-DD4F-E6F127F059B8}"/>
              </a:ext>
            </a:extLst>
          </p:cNvPr>
          <p:cNvSpPr txBox="1"/>
          <p:nvPr/>
        </p:nvSpPr>
        <p:spPr>
          <a:xfrm>
            <a:off x="139664" y="6076986"/>
            <a:ext cx="9597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owa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AF5DA2-6190-804D-758B-60DA06B711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468" y="4980814"/>
            <a:ext cx="1428750" cy="952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DB8FE75-AE44-F781-E277-C9CE40CC12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170445"/>
            <a:ext cx="1428750" cy="9525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201EF93-F628-B14F-5A05-A70F420519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32" y="170445"/>
            <a:ext cx="1428750" cy="9525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8223B07-1E21-9945-BFB3-60C16D7D09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7924" y="170445"/>
            <a:ext cx="1428750" cy="9525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105F997-FDC3-D814-BE54-B9C3096EB2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174" y="1122945"/>
            <a:ext cx="1428750" cy="9525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DFFC770-C187-0351-BC93-DD42155176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7666" y="1196752"/>
            <a:ext cx="1428750" cy="9525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8680279-D6D3-EB7B-8486-A0FC4A02446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32" y="2178870"/>
            <a:ext cx="1428750" cy="9525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2FAF6F5-8EAE-4622-C7F2-D2261C0E7B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768" y="2952750"/>
            <a:ext cx="1428750" cy="9525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2193806-6FD7-B3CC-5280-3A54A524AB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7423" y="3027945"/>
            <a:ext cx="1428750" cy="9525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2861C68-964C-4EE3-C695-E28C72D7588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053" y="3069605"/>
            <a:ext cx="1428750" cy="9525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1692A71-1382-CCBB-ECEE-52B6A906C41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32" y="4941168"/>
            <a:ext cx="1428750" cy="9525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1229A59B-B4F1-D47F-FE9E-D6B297E6160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64" y="5879554"/>
            <a:ext cx="1428750" cy="9525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C0999D4-748F-5D15-358B-19C891528DF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85" y="5866132"/>
            <a:ext cx="1428750" cy="9525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73C6461-CD33-9720-C21F-2EE207BCFFF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234" y="4002782"/>
            <a:ext cx="1428750" cy="9525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DE5839F-9D8F-CCE7-70EA-20397D42821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270" y="207349"/>
            <a:ext cx="1428750" cy="9525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F3A832B0-D7DD-24BD-9222-E9DAB6A081E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2535" y="3966782"/>
            <a:ext cx="1428750" cy="9525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9ABA108-8C9D-056F-727B-FADBCBFD020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333" y="4963920"/>
            <a:ext cx="1428750" cy="95250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E6B29779-47CD-0773-CC8C-29FCACB7440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9545" y="3974795"/>
            <a:ext cx="1428750" cy="95250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6D29B09B-6618-32E1-9824-90CBDE6467C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4980814"/>
            <a:ext cx="1428750" cy="9525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DCEB0D3-49FF-FE79-6C51-4AB959840EF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096" y="120098"/>
            <a:ext cx="14287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286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E406D87-8C24-8F91-2ABB-2FB01DF2A1E1}"/>
              </a:ext>
            </a:extLst>
          </p:cNvPr>
          <p:cNvSpPr txBox="1"/>
          <p:nvPr/>
        </p:nvSpPr>
        <p:spPr>
          <a:xfrm>
            <a:off x="216175" y="404664"/>
            <a:ext cx="1247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ansa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82C1E06-31FF-036C-352A-DADB1A292859}"/>
              </a:ext>
            </a:extLst>
          </p:cNvPr>
          <p:cNvSpPr txBox="1"/>
          <p:nvPr/>
        </p:nvSpPr>
        <p:spPr>
          <a:xfrm>
            <a:off x="216175" y="1403484"/>
            <a:ext cx="15358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entuck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01A257-9620-C4BE-B454-CE374A04134E}"/>
              </a:ext>
            </a:extLst>
          </p:cNvPr>
          <p:cNvSpPr txBox="1"/>
          <p:nvPr/>
        </p:nvSpPr>
        <p:spPr>
          <a:xfrm>
            <a:off x="182182" y="2334687"/>
            <a:ext cx="11757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Louisian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4A10B1-E4FD-5B6C-226B-48CFEB0664E3}"/>
              </a:ext>
            </a:extLst>
          </p:cNvPr>
          <p:cNvSpPr txBox="1"/>
          <p:nvPr/>
        </p:nvSpPr>
        <p:spPr>
          <a:xfrm>
            <a:off x="182182" y="3271965"/>
            <a:ext cx="1247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ain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DC27CE-21D8-4A0D-81D1-E62F58575FA2}"/>
              </a:ext>
            </a:extLst>
          </p:cNvPr>
          <p:cNvSpPr txBox="1"/>
          <p:nvPr/>
        </p:nvSpPr>
        <p:spPr>
          <a:xfrm>
            <a:off x="164321" y="4203168"/>
            <a:ext cx="1247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aryl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B6830DB-44BC-974F-3E5D-E8443BC1C87E}"/>
              </a:ext>
            </a:extLst>
          </p:cNvPr>
          <p:cNvSpPr txBox="1"/>
          <p:nvPr/>
        </p:nvSpPr>
        <p:spPr>
          <a:xfrm>
            <a:off x="164321" y="5109777"/>
            <a:ext cx="17518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assachuset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959B8F-69DD-86A4-B6ED-81F4789D9198}"/>
              </a:ext>
            </a:extLst>
          </p:cNvPr>
          <p:cNvSpPr txBox="1"/>
          <p:nvPr/>
        </p:nvSpPr>
        <p:spPr>
          <a:xfrm>
            <a:off x="216175" y="6016386"/>
            <a:ext cx="13918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ichiga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21658C1-936D-481F-1AFE-C36D39D60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335" y="4950991"/>
            <a:ext cx="1389421" cy="92628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B2F7BAD-58D7-5153-7DAC-752F7D4CBE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816" y="5911359"/>
            <a:ext cx="1428750" cy="9525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4245669-BCA8-DE8B-CBA3-9F28D90720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5475" y="113080"/>
            <a:ext cx="1428750" cy="9525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5F54E73-6430-11B0-A59F-3271415275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96" y="169897"/>
            <a:ext cx="1428750" cy="9525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881A831-D560-FA01-29C8-060EE31563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148" y="1196752"/>
            <a:ext cx="1428750" cy="9525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91BDE36-5598-B850-0115-06FB139631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193" y="2163276"/>
            <a:ext cx="1428750" cy="9525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F7767C5-5097-4693-5D92-1DEEEF46A4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007" y="2163276"/>
            <a:ext cx="1428750" cy="9525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3413EDC-870F-3C10-9B05-726F0504AC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007" y="3160277"/>
            <a:ext cx="1428750" cy="9525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8844F5DE-8E88-4D3B-5880-5848CB519EA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4132684"/>
            <a:ext cx="1247799" cy="83186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A41A07C-3EC3-6F1A-EE27-876F253AD48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520" y="4924772"/>
            <a:ext cx="1428750" cy="9525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78DE16E-37F9-FC66-055A-4A5FC0EAC46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006" y="5903491"/>
            <a:ext cx="1428750" cy="9525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58C6019-A873-B867-9B51-E12326B5F60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054" y="5905500"/>
            <a:ext cx="1428750" cy="9525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2FE6EF5A-9D5B-F1AD-6373-BD8EEE86BFE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950" y="3912121"/>
            <a:ext cx="1428750" cy="9525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C63F952-01D5-4373-4618-929827E8841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131" y="211157"/>
            <a:ext cx="1428750" cy="95250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0957D7C7-0073-5050-D1B6-05889A4A876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750" y="1122171"/>
            <a:ext cx="14287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5332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D3B3FC7-70FD-7250-2E6E-27EA0C8916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9536" y="4924772"/>
            <a:ext cx="1428750" cy="9525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3875759-519F-57D9-854D-CB095422BF4A}"/>
              </a:ext>
            </a:extLst>
          </p:cNvPr>
          <p:cNvSpPr txBox="1"/>
          <p:nvPr/>
        </p:nvSpPr>
        <p:spPr>
          <a:xfrm>
            <a:off x="179411" y="3244334"/>
            <a:ext cx="14401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ontan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B06727-51BD-5389-322B-C3ACB96A55D7}"/>
              </a:ext>
            </a:extLst>
          </p:cNvPr>
          <p:cNvSpPr txBox="1"/>
          <p:nvPr/>
        </p:nvSpPr>
        <p:spPr>
          <a:xfrm>
            <a:off x="191344" y="416869"/>
            <a:ext cx="15358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inneso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5C45E0-03A8-6A6E-1481-55161A138CCC}"/>
              </a:ext>
            </a:extLst>
          </p:cNvPr>
          <p:cNvSpPr txBox="1"/>
          <p:nvPr/>
        </p:nvSpPr>
        <p:spPr>
          <a:xfrm>
            <a:off x="191344" y="1386365"/>
            <a:ext cx="15358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ississipp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99F8C5-B7EA-5B47-9932-025B7343FF6C}"/>
              </a:ext>
            </a:extLst>
          </p:cNvPr>
          <p:cNvSpPr txBox="1"/>
          <p:nvPr/>
        </p:nvSpPr>
        <p:spPr>
          <a:xfrm>
            <a:off x="179411" y="2293899"/>
            <a:ext cx="13918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issour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7AA4F5-BCD7-8A2E-EC74-0BCD0A3926B9}"/>
              </a:ext>
            </a:extLst>
          </p:cNvPr>
          <p:cNvSpPr txBox="1"/>
          <p:nvPr/>
        </p:nvSpPr>
        <p:spPr>
          <a:xfrm>
            <a:off x="191344" y="4215612"/>
            <a:ext cx="15358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brask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41FE21-5FD8-E068-E793-5C6214499BC7}"/>
              </a:ext>
            </a:extLst>
          </p:cNvPr>
          <p:cNvSpPr txBox="1"/>
          <p:nvPr/>
        </p:nvSpPr>
        <p:spPr>
          <a:xfrm>
            <a:off x="179411" y="5123146"/>
            <a:ext cx="1247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vad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D9B0DFE-5271-5567-70B7-302AA6FC1206}"/>
              </a:ext>
            </a:extLst>
          </p:cNvPr>
          <p:cNvSpPr txBox="1"/>
          <p:nvPr/>
        </p:nvSpPr>
        <p:spPr>
          <a:xfrm>
            <a:off x="179411" y="6057479"/>
            <a:ext cx="2183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w Hampshi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EA905B7-CE66-8A75-1A14-0F34900805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5614" y="3924028"/>
            <a:ext cx="1428750" cy="9525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64385AF-0454-BF19-529C-4797EC894B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5229" y="147727"/>
            <a:ext cx="1428750" cy="9525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8B623C6-C961-6794-A2E3-288040BCED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1098456"/>
            <a:ext cx="1428750" cy="9525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909BD50-4C49-0EBB-18DE-091EF3F99E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609" y="1154991"/>
            <a:ext cx="1428750" cy="9525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2744066-0116-C9E2-C90B-E6270EA8BB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5229" y="2060848"/>
            <a:ext cx="1428750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41B6743-E9DE-6311-D733-93C57A7E00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624" y="2952750"/>
            <a:ext cx="1428750" cy="9525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6A192EC-5B96-A9C7-6D1F-893540DB247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729" y="2963642"/>
            <a:ext cx="1428750" cy="9525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544308A-4B35-544C-F7BA-53C312BC8A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971" y="3913371"/>
            <a:ext cx="1428750" cy="9525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5852045-585C-E671-8227-3853037073F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857" y="5016228"/>
            <a:ext cx="1428750" cy="9525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7207EFC-C0AE-2C76-471E-83B56D57BE1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6892" y="5874814"/>
            <a:ext cx="14287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559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OMFQCFl5aUInQCf7iZ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3</TotalTime>
  <Words>320</Words>
  <Application>Microsoft Office PowerPoint</Application>
  <PresentationFormat>Widescreen</PresentationFormat>
  <Paragraphs>262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esh Nair</dc:creator>
  <cp:lastModifiedBy>CAMBO Leepster</cp:lastModifiedBy>
  <cp:revision>12</cp:revision>
  <dcterms:created xsi:type="dcterms:W3CDTF">2020-10-25T17:16:00Z</dcterms:created>
  <dcterms:modified xsi:type="dcterms:W3CDTF">2023-03-20T14:09:43Z</dcterms:modified>
</cp:coreProperties>
</file>